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av" ContentType="audio/wav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7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8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9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0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1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2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audio1.wav" ContentType="audio/x-wav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media/audio2.wav" ContentType="audio/x-wav"/>
  <Override PartName="/ppt/media/audio3.wav" ContentType="audio/x-wav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33" r:id="rId1"/>
    <p:sldMasterId id="2147483945" r:id="rId2"/>
    <p:sldMasterId id="2147483996" r:id="rId3"/>
    <p:sldMasterId id="2147484009" r:id="rId4"/>
    <p:sldMasterId id="2147484021" r:id="rId5"/>
    <p:sldMasterId id="2147484033" r:id="rId6"/>
    <p:sldMasterId id="2147484071" r:id="rId7"/>
    <p:sldMasterId id="2147484111" r:id="rId8"/>
    <p:sldMasterId id="2147484145" r:id="rId9"/>
    <p:sldMasterId id="2147484157" r:id="rId10"/>
    <p:sldMasterId id="2147484168" r:id="rId11"/>
    <p:sldMasterId id="2147484180" r:id="rId12"/>
    <p:sldMasterId id="2147484192" r:id="rId13"/>
  </p:sldMasterIdLst>
  <p:notesMasterIdLst>
    <p:notesMasterId r:id="rId39"/>
  </p:notesMasterIdLst>
  <p:sldIdLst>
    <p:sldId id="425" r:id="rId14"/>
    <p:sldId id="294" r:id="rId15"/>
    <p:sldId id="256" r:id="rId16"/>
    <p:sldId id="11088544" r:id="rId17"/>
    <p:sldId id="11088532" r:id="rId18"/>
    <p:sldId id="11088531" r:id="rId19"/>
    <p:sldId id="297" r:id="rId20"/>
    <p:sldId id="412" r:id="rId21"/>
    <p:sldId id="11088534" r:id="rId22"/>
    <p:sldId id="503" r:id="rId23"/>
    <p:sldId id="514" r:id="rId24"/>
    <p:sldId id="11088542" r:id="rId25"/>
    <p:sldId id="520" r:id="rId26"/>
    <p:sldId id="521" r:id="rId27"/>
    <p:sldId id="286" r:id="rId28"/>
    <p:sldId id="501" r:id="rId29"/>
    <p:sldId id="11088538" r:id="rId30"/>
    <p:sldId id="11088539" r:id="rId31"/>
    <p:sldId id="257" r:id="rId32"/>
    <p:sldId id="11088545" r:id="rId33"/>
    <p:sldId id="428" r:id="rId34"/>
    <p:sldId id="11088537" r:id="rId35"/>
    <p:sldId id="429" r:id="rId36"/>
    <p:sldId id="351" r:id="rId37"/>
    <p:sldId id="409" r:id="rId38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86343"/>
    <a:srgbClr val="689C2D"/>
    <a:srgbClr val="CC99FF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4291" autoAdjust="0"/>
  </p:normalViewPr>
  <p:slideViewPr>
    <p:cSldViewPr snapToGrid="0">
      <p:cViewPr varScale="1">
        <p:scale>
          <a:sx n="64" d="100"/>
          <a:sy n="64" d="100"/>
        </p:scale>
        <p:origin x="-748" y="-6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451CF6-44E3-4ADF-B069-871E8C15E9C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FBC8FC-B0C4-457D-8AB7-E6D4931CB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0367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61" name="Google Shape;1361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4A2E44-615F-4CBD-B612-D887467EBED5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03">
          <a:extLst>
            <a:ext uri="{FF2B5EF4-FFF2-40B4-BE49-F238E27FC236}">
              <a16:creationId xmlns:a16="http://schemas.microsoft.com/office/drawing/2014/main" xmlns="" id="{9E5458E8-43A3-61F4-F911-EA29EE04F2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4" name="Google Shape;1304;ga1242414e1_0_4:notes">
            <a:extLst>
              <a:ext uri="{FF2B5EF4-FFF2-40B4-BE49-F238E27FC236}">
                <a16:creationId xmlns:a16="http://schemas.microsoft.com/office/drawing/2014/main" xmlns="" id="{C5832642-943D-5AA6-2B03-EB9F38CF7C4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05" name="Google Shape;1305;ga1242414e1_0_4:notes">
            <a:extLst>
              <a:ext uri="{FF2B5EF4-FFF2-40B4-BE49-F238E27FC236}">
                <a16:creationId xmlns:a16="http://schemas.microsoft.com/office/drawing/2014/main" xmlns="" id="{502602FB-2ACB-F463-4B66-332464A535B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188955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03">
          <a:extLst>
            <a:ext uri="{FF2B5EF4-FFF2-40B4-BE49-F238E27FC236}">
              <a16:creationId xmlns:a16="http://schemas.microsoft.com/office/drawing/2014/main" xmlns="" id="{9E5458E8-43A3-61F4-F911-EA29EE04F2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4" name="Google Shape;1304;ga1242414e1_0_4:notes">
            <a:extLst>
              <a:ext uri="{FF2B5EF4-FFF2-40B4-BE49-F238E27FC236}">
                <a16:creationId xmlns:a16="http://schemas.microsoft.com/office/drawing/2014/main" xmlns="" id="{C5832642-943D-5AA6-2B03-EB9F38CF7C4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05" name="Google Shape;1305;ga1242414e1_0_4:notes">
            <a:extLst>
              <a:ext uri="{FF2B5EF4-FFF2-40B4-BE49-F238E27FC236}">
                <a16:creationId xmlns:a16="http://schemas.microsoft.com/office/drawing/2014/main" xmlns="" id="{502602FB-2ACB-F463-4B66-332464A535B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361422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a1242414e1_0_3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a1242414e1_0_3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11115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61" name="Google Shape;1361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960577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a1242414e1_0_3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a1242414e1_0_3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09129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4" name="Google Shape;1304;ga1242414e1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05" name="Google Shape;1305;ga1242414e1_0_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67948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họn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/>
              <a:t> ô để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</a:t>
            </a:r>
            <a:r>
              <a:rPr lang="en-US" dirty="0" err="1"/>
              <a:t>gương</a:t>
            </a:r>
            <a:r>
              <a:rPr lang="en-US" dirty="0"/>
              <a:t> </a:t>
            </a:r>
            <a:r>
              <a:rPr lang="en-US" dirty="0" err="1"/>
              <a:t>mặt</a:t>
            </a:r>
            <a:r>
              <a:rPr lang="en-US" dirty="0"/>
              <a:t> </a:t>
            </a:r>
            <a:r>
              <a:rPr lang="en-US" dirty="0" err="1"/>
              <a:t>cảm</a:t>
            </a:r>
            <a:r>
              <a:rPr lang="en-US" dirty="0"/>
              <a:t> </a:t>
            </a:r>
            <a:r>
              <a:rPr lang="en-US" dirty="0" err="1"/>
              <a:t>xú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49D3E0-124D-4DFF-AE99-4EA4CC201DB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10060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49D3E0-124D-4DFF-AE99-4EA4CC201DB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3738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49D3E0-124D-4DFF-AE99-4EA4CC201DB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94931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49D3E0-124D-4DFF-AE99-4EA4CC201DB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87760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49D3E0-124D-4DFF-AE99-4EA4CC201DB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782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7.xml"/><Relationship Id="rId4" Type="http://schemas.openxmlformats.org/officeDocument/2006/relationships/hyperlink" Target="http://bit.ly/2TtBDfr" TargetMode="Externa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8.xml"/><Relationship Id="rId4" Type="http://schemas.openxmlformats.org/officeDocument/2006/relationships/hyperlink" Target="https://www.freepik.com/" TargetMode="Externa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6.xml"/><Relationship Id="rId4" Type="http://schemas.openxmlformats.org/officeDocument/2006/relationships/hyperlink" Target="http://bit.ly/2TtBDfr" TargetMode="Externa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453E62E-4A80-4A04-AF51-E045AAC518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4486560-8CAC-4D11-A1B9-D2722263B3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BBA1551-AACD-4F7E-80AB-8C2804EDE5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D74D931-313D-4129-94CD-4B8944819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056D2E4-DE62-46A7-B1AF-C8B66D421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3902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2AA5278-46E8-4FAF-BCC1-B4B7A664E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66D1322A-AF7A-4ABC-9CBC-565396CFDA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6BFF989-CDD8-4101-A501-754A7AD4E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05F76C8-7999-483B-AC1E-81ED19751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68AECFC-7710-4922-A837-57C51C9CD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9800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p8"/>
          <p:cNvSpPr/>
          <p:nvPr/>
        </p:nvSpPr>
        <p:spPr>
          <a:xfrm>
            <a:off x="-2461909" y="3216130"/>
            <a:ext cx="5996052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8" name="Google Shape;298;p8"/>
          <p:cNvSpPr/>
          <p:nvPr/>
        </p:nvSpPr>
        <p:spPr>
          <a:xfrm>
            <a:off x="9298291" y="-317837"/>
            <a:ext cx="5996052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9" name="Google Shape;299;p8"/>
          <p:cNvSpPr/>
          <p:nvPr/>
        </p:nvSpPr>
        <p:spPr>
          <a:xfrm>
            <a:off x="-94033" y="4188029"/>
            <a:ext cx="4435896" cy="678868"/>
          </a:xfrm>
          <a:custGeom>
            <a:avLst/>
            <a:gdLst/>
            <a:ahLst/>
            <a:cxnLst/>
            <a:rect l="l" t="t" r="r" b="b"/>
            <a:pathLst>
              <a:path w="31630" h="2270" extrusionOk="0">
                <a:moveTo>
                  <a:pt x="15211" y="0"/>
                </a:moveTo>
                <a:cubicBezTo>
                  <a:pt x="9192" y="0"/>
                  <a:pt x="1" y="2270"/>
                  <a:pt x="1" y="2270"/>
                </a:cubicBezTo>
                <a:lnTo>
                  <a:pt x="31523" y="2270"/>
                </a:lnTo>
                <a:cubicBezTo>
                  <a:pt x="31630" y="2121"/>
                  <a:pt x="21641" y="70"/>
                  <a:pt x="15472" y="2"/>
                </a:cubicBezTo>
                <a:cubicBezTo>
                  <a:pt x="15386" y="1"/>
                  <a:pt x="15299" y="0"/>
                  <a:pt x="1521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0" name="Google Shape;300;p8"/>
          <p:cNvSpPr/>
          <p:nvPr/>
        </p:nvSpPr>
        <p:spPr>
          <a:xfrm>
            <a:off x="5928032" y="4241734"/>
            <a:ext cx="6263987" cy="1069401"/>
          </a:xfrm>
          <a:custGeom>
            <a:avLst/>
            <a:gdLst/>
            <a:ahLst/>
            <a:cxnLst/>
            <a:rect l="l" t="t" r="r" b="b"/>
            <a:pathLst>
              <a:path w="29281" h="2270" extrusionOk="0">
                <a:moveTo>
                  <a:pt x="14071" y="0"/>
                </a:moveTo>
                <a:cubicBezTo>
                  <a:pt x="8512" y="0"/>
                  <a:pt x="1" y="2270"/>
                  <a:pt x="1" y="2270"/>
                </a:cubicBezTo>
                <a:lnTo>
                  <a:pt x="29187" y="2270"/>
                </a:lnTo>
                <a:cubicBezTo>
                  <a:pt x="29281" y="2121"/>
                  <a:pt x="20034" y="70"/>
                  <a:pt x="14312" y="2"/>
                </a:cubicBezTo>
                <a:cubicBezTo>
                  <a:pt x="14232" y="1"/>
                  <a:pt x="14152" y="0"/>
                  <a:pt x="1407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1" name="Google Shape;301;p8"/>
          <p:cNvSpPr/>
          <p:nvPr/>
        </p:nvSpPr>
        <p:spPr>
          <a:xfrm>
            <a:off x="-94033" y="4628444"/>
            <a:ext cx="10998007" cy="1541984"/>
          </a:xfrm>
          <a:custGeom>
            <a:avLst/>
            <a:gdLst/>
            <a:ahLst/>
            <a:cxnLst/>
            <a:rect l="l" t="t" r="r" b="b"/>
            <a:pathLst>
              <a:path w="45536" h="8845" extrusionOk="0">
                <a:moveTo>
                  <a:pt x="10609" y="1"/>
                </a:moveTo>
                <a:cubicBezTo>
                  <a:pt x="2565" y="1"/>
                  <a:pt x="1" y="719"/>
                  <a:pt x="1" y="719"/>
                </a:cubicBezTo>
                <a:lnTo>
                  <a:pt x="1" y="8845"/>
                </a:lnTo>
                <a:lnTo>
                  <a:pt x="45536" y="8845"/>
                </a:lnTo>
                <a:lnTo>
                  <a:pt x="45536" y="3230"/>
                </a:lnTo>
                <a:cubicBezTo>
                  <a:pt x="44954" y="3336"/>
                  <a:pt x="44228" y="3384"/>
                  <a:pt x="43384" y="3384"/>
                </a:cubicBezTo>
                <a:cubicBezTo>
                  <a:pt x="36402" y="3384"/>
                  <a:pt x="21312" y="137"/>
                  <a:pt x="12676" y="16"/>
                </a:cubicBezTo>
                <a:cubicBezTo>
                  <a:pt x="11950" y="6"/>
                  <a:pt x="11262" y="1"/>
                  <a:pt x="106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2" name="Google Shape;302;p8"/>
          <p:cNvSpPr/>
          <p:nvPr/>
        </p:nvSpPr>
        <p:spPr>
          <a:xfrm>
            <a:off x="-94033" y="5018775"/>
            <a:ext cx="10998007" cy="678856"/>
          </a:xfrm>
          <a:custGeom>
            <a:avLst/>
            <a:gdLst/>
            <a:ahLst/>
            <a:cxnLst/>
            <a:rect l="l" t="t" r="r" b="b"/>
            <a:pathLst>
              <a:path w="45536" h="3894" extrusionOk="0">
                <a:moveTo>
                  <a:pt x="10726" y="0"/>
                </a:moveTo>
                <a:cubicBezTo>
                  <a:pt x="2590" y="0"/>
                  <a:pt x="1" y="314"/>
                  <a:pt x="1" y="314"/>
                </a:cubicBezTo>
                <a:lnTo>
                  <a:pt x="1" y="3894"/>
                </a:lnTo>
                <a:lnTo>
                  <a:pt x="45536" y="3894"/>
                </a:lnTo>
                <a:lnTo>
                  <a:pt x="45536" y="1422"/>
                </a:lnTo>
                <a:cubicBezTo>
                  <a:pt x="44956" y="1468"/>
                  <a:pt x="44232" y="1489"/>
                  <a:pt x="43390" y="1489"/>
                </a:cubicBezTo>
                <a:cubicBezTo>
                  <a:pt x="36411" y="1489"/>
                  <a:pt x="21315" y="64"/>
                  <a:pt x="12676" y="6"/>
                </a:cubicBezTo>
                <a:cubicBezTo>
                  <a:pt x="11993" y="2"/>
                  <a:pt x="11344" y="0"/>
                  <a:pt x="10726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3" name="Google Shape;303;p8"/>
          <p:cNvSpPr/>
          <p:nvPr/>
        </p:nvSpPr>
        <p:spPr>
          <a:xfrm>
            <a:off x="5552813" y="4652676"/>
            <a:ext cx="6710484" cy="625859"/>
          </a:xfrm>
          <a:custGeom>
            <a:avLst/>
            <a:gdLst/>
            <a:ahLst/>
            <a:cxnLst/>
            <a:rect l="l" t="t" r="r" b="b"/>
            <a:pathLst>
              <a:path w="27784" h="3590" extrusionOk="0">
                <a:moveTo>
                  <a:pt x="27784" y="0"/>
                </a:moveTo>
                <a:cubicBezTo>
                  <a:pt x="13745" y="201"/>
                  <a:pt x="1" y="3415"/>
                  <a:pt x="1" y="3415"/>
                </a:cubicBezTo>
                <a:lnTo>
                  <a:pt x="21061" y="3548"/>
                </a:lnTo>
                <a:lnTo>
                  <a:pt x="27784" y="3590"/>
                </a:lnTo>
                <a:lnTo>
                  <a:pt x="2778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4" name="Google Shape;304;p8"/>
          <p:cNvSpPr/>
          <p:nvPr/>
        </p:nvSpPr>
        <p:spPr>
          <a:xfrm>
            <a:off x="-94033" y="5226231"/>
            <a:ext cx="12357300" cy="1631592"/>
          </a:xfrm>
          <a:custGeom>
            <a:avLst/>
            <a:gdLst/>
            <a:ahLst/>
            <a:cxnLst/>
            <a:rect l="l" t="t" r="r" b="b"/>
            <a:pathLst>
              <a:path w="51164" h="9359" extrusionOk="0">
                <a:moveTo>
                  <a:pt x="28954" y="0"/>
                </a:moveTo>
                <a:cubicBezTo>
                  <a:pt x="13795" y="0"/>
                  <a:pt x="1" y="193"/>
                  <a:pt x="1" y="193"/>
                </a:cubicBezTo>
                <a:lnTo>
                  <a:pt x="1" y="9359"/>
                </a:lnTo>
                <a:lnTo>
                  <a:pt x="51164" y="9359"/>
                </a:lnTo>
                <a:lnTo>
                  <a:pt x="51164" y="193"/>
                </a:lnTo>
                <a:cubicBezTo>
                  <a:pt x="44455" y="48"/>
                  <a:pt x="36534" y="0"/>
                  <a:pt x="28954" y="0"/>
                </a:cubicBezTo>
                <a:close/>
              </a:path>
            </a:pathLst>
          </a:custGeom>
          <a:solidFill>
            <a:srgbClr val="FFC6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5" name="Google Shape;305;p8"/>
          <p:cNvSpPr/>
          <p:nvPr/>
        </p:nvSpPr>
        <p:spPr>
          <a:xfrm>
            <a:off x="-94033" y="5313745"/>
            <a:ext cx="12357300" cy="522304"/>
          </a:xfrm>
          <a:custGeom>
            <a:avLst/>
            <a:gdLst/>
            <a:ahLst/>
            <a:cxnLst/>
            <a:rect l="l" t="t" r="r" b="b"/>
            <a:pathLst>
              <a:path w="51164" h="2996" extrusionOk="0">
                <a:moveTo>
                  <a:pt x="28954" y="1"/>
                </a:moveTo>
                <a:cubicBezTo>
                  <a:pt x="13795" y="1"/>
                  <a:pt x="1" y="67"/>
                  <a:pt x="1" y="67"/>
                </a:cubicBezTo>
                <a:lnTo>
                  <a:pt x="1" y="2996"/>
                </a:lnTo>
                <a:lnTo>
                  <a:pt x="51164" y="2996"/>
                </a:lnTo>
                <a:lnTo>
                  <a:pt x="51164" y="67"/>
                </a:lnTo>
                <a:cubicBezTo>
                  <a:pt x="44455" y="17"/>
                  <a:pt x="36534" y="1"/>
                  <a:pt x="28954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6" name="Google Shape;306;p8"/>
          <p:cNvSpPr/>
          <p:nvPr/>
        </p:nvSpPr>
        <p:spPr>
          <a:xfrm>
            <a:off x="-94033" y="5395857"/>
            <a:ext cx="12357300" cy="1461964"/>
          </a:xfrm>
          <a:custGeom>
            <a:avLst/>
            <a:gdLst/>
            <a:ahLst/>
            <a:cxnLst/>
            <a:rect l="l" t="t" r="r" b="b"/>
            <a:pathLst>
              <a:path w="51164" h="8386" extrusionOk="0">
                <a:moveTo>
                  <a:pt x="51164" y="1"/>
                </a:moveTo>
                <a:cubicBezTo>
                  <a:pt x="51164" y="1"/>
                  <a:pt x="12488" y="1783"/>
                  <a:pt x="1" y="4579"/>
                </a:cubicBezTo>
                <a:lnTo>
                  <a:pt x="1" y="8386"/>
                </a:lnTo>
                <a:lnTo>
                  <a:pt x="51164" y="8386"/>
                </a:lnTo>
                <a:lnTo>
                  <a:pt x="51164" y="1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7" name="Google Shape;307;p8"/>
          <p:cNvSpPr/>
          <p:nvPr/>
        </p:nvSpPr>
        <p:spPr>
          <a:xfrm>
            <a:off x="-94033" y="5540727"/>
            <a:ext cx="12357300" cy="1317093"/>
          </a:xfrm>
          <a:custGeom>
            <a:avLst/>
            <a:gdLst/>
            <a:ahLst/>
            <a:cxnLst/>
            <a:rect l="l" t="t" r="r" b="b"/>
            <a:pathLst>
              <a:path w="51164" h="7555" extrusionOk="0">
                <a:moveTo>
                  <a:pt x="7656" y="1"/>
                </a:moveTo>
                <a:cubicBezTo>
                  <a:pt x="2876" y="1"/>
                  <a:pt x="1" y="385"/>
                  <a:pt x="1" y="385"/>
                </a:cubicBezTo>
                <a:lnTo>
                  <a:pt x="1" y="7555"/>
                </a:lnTo>
                <a:lnTo>
                  <a:pt x="51164" y="7555"/>
                </a:lnTo>
                <a:lnTo>
                  <a:pt x="51164" y="3249"/>
                </a:lnTo>
                <a:cubicBezTo>
                  <a:pt x="49225" y="3578"/>
                  <a:pt x="47012" y="3826"/>
                  <a:pt x="44108" y="3826"/>
                </a:cubicBezTo>
                <a:cubicBezTo>
                  <a:pt x="39852" y="3826"/>
                  <a:pt x="34112" y="3292"/>
                  <a:pt x="25581" y="1694"/>
                </a:cubicBezTo>
                <a:cubicBezTo>
                  <a:pt x="18442" y="347"/>
                  <a:pt x="12191" y="1"/>
                  <a:pt x="765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8" name="Google Shape;308;p8"/>
          <p:cNvSpPr txBox="1">
            <a:spLocks noGrp="1"/>
          </p:cNvSpPr>
          <p:nvPr>
            <p:ph type="title"/>
          </p:nvPr>
        </p:nvSpPr>
        <p:spPr>
          <a:xfrm>
            <a:off x="1087000" y="1869033"/>
            <a:ext cx="10018000" cy="148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96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09" name="Google Shape;309;p8"/>
          <p:cNvSpPr txBox="1">
            <a:spLocks noGrp="1"/>
          </p:cNvSpPr>
          <p:nvPr>
            <p:ph type="subTitle" idx="1"/>
          </p:nvPr>
        </p:nvSpPr>
        <p:spPr>
          <a:xfrm>
            <a:off x="3069700" y="3350733"/>
            <a:ext cx="5910800" cy="11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882207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1" name="Google Shape;311;p9"/>
          <p:cNvGrpSpPr/>
          <p:nvPr/>
        </p:nvGrpSpPr>
        <p:grpSpPr>
          <a:xfrm>
            <a:off x="367" y="4156606"/>
            <a:ext cx="12223208" cy="2720188"/>
            <a:chOff x="271" y="2964551"/>
            <a:chExt cx="9167406" cy="2193229"/>
          </a:xfrm>
        </p:grpSpPr>
        <p:sp>
          <p:nvSpPr>
            <p:cNvPr id="312" name="Google Shape;312;p9"/>
            <p:cNvSpPr/>
            <p:nvPr/>
          </p:nvSpPr>
          <p:spPr>
            <a:xfrm>
              <a:off x="275" y="3538374"/>
              <a:ext cx="9167398" cy="1619406"/>
            </a:xfrm>
            <a:custGeom>
              <a:avLst/>
              <a:gdLst/>
              <a:ahLst/>
              <a:cxnLst/>
              <a:rect l="l" t="t" r="r" b="b"/>
              <a:pathLst>
                <a:path w="43860" h="10974" extrusionOk="0">
                  <a:moveTo>
                    <a:pt x="0" y="0"/>
                  </a:moveTo>
                  <a:lnTo>
                    <a:pt x="0" y="10974"/>
                  </a:lnTo>
                  <a:lnTo>
                    <a:pt x="43860" y="10974"/>
                  </a:lnTo>
                  <a:lnTo>
                    <a:pt x="43860" y="0"/>
                  </a:ln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3" name="Google Shape;313;p9"/>
            <p:cNvSpPr/>
            <p:nvPr/>
          </p:nvSpPr>
          <p:spPr>
            <a:xfrm>
              <a:off x="1413430" y="2964551"/>
              <a:ext cx="7754247" cy="680775"/>
            </a:xfrm>
            <a:custGeom>
              <a:avLst/>
              <a:gdLst/>
              <a:ahLst/>
              <a:cxnLst/>
              <a:rect l="l" t="t" r="r" b="b"/>
              <a:pathLst>
                <a:path w="37099" h="4687" extrusionOk="0">
                  <a:moveTo>
                    <a:pt x="29289" y="0"/>
                  </a:moveTo>
                  <a:cubicBezTo>
                    <a:pt x="28606" y="0"/>
                    <a:pt x="27911" y="10"/>
                    <a:pt x="27217" y="28"/>
                  </a:cubicBezTo>
                  <a:cubicBezTo>
                    <a:pt x="18981" y="245"/>
                    <a:pt x="8493" y="2688"/>
                    <a:pt x="1" y="4687"/>
                  </a:cubicBezTo>
                  <a:lnTo>
                    <a:pt x="37099" y="4687"/>
                  </a:lnTo>
                  <a:lnTo>
                    <a:pt x="37099" y="731"/>
                  </a:lnTo>
                  <a:cubicBezTo>
                    <a:pt x="35742" y="225"/>
                    <a:pt x="32651" y="0"/>
                    <a:pt x="2928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4" name="Google Shape;314;p9"/>
            <p:cNvSpPr/>
            <p:nvPr/>
          </p:nvSpPr>
          <p:spPr>
            <a:xfrm>
              <a:off x="271" y="3209866"/>
              <a:ext cx="4762825" cy="666541"/>
            </a:xfrm>
            <a:custGeom>
              <a:avLst/>
              <a:gdLst/>
              <a:ahLst/>
              <a:cxnLst/>
              <a:rect l="l" t="t" r="r" b="b"/>
              <a:pathLst>
                <a:path w="22787" h="4589" extrusionOk="0">
                  <a:moveTo>
                    <a:pt x="3161" y="1"/>
                  </a:moveTo>
                  <a:cubicBezTo>
                    <a:pt x="1090" y="1"/>
                    <a:pt x="0" y="199"/>
                    <a:pt x="0" y="199"/>
                  </a:cubicBezTo>
                  <a:lnTo>
                    <a:pt x="0" y="4589"/>
                  </a:lnTo>
                  <a:lnTo>
                    <a:pt x="22787" y="4589"/>
                  </a:lnTo>
                  <a:cubicBezTo>
                    <a:pt x="22787" y="4589"/>
                    <a:pt x="18128" y="2036"/>
                    <a:pt x="11029" y="766"/>
                  </a:cubicBezTo>
                  <a:cubicBezTo>
                    <a:pt x="7669" y="160"/>
                    <a:pt x="5020" y="1"/>
                    <a:pt x="316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5" name="Google Shape;315;p9"/>
            <p:cNvSpPr/>
            <p:nvPr/>
          </p:nvSpPr>
          <p:spPr>
            <a:xfrm>
              <a:off x="271" y="3612551"/>
              <a:ext cx="9167398" cy="362393"/>
            </a:xfrm>
            <a:custGeom>
              <a:avLst/>
              <a:gdLst/>
              <a:ahLst/>
              <a:cxnLst/>
              <a:rect l="l" t="t" r="r" b="b"/>
              <a:pathLst>
                <a:path w="43860" h="2495" extrusionOk="0">
                  <a:moveTo>
                    <a:pt x="0" y="0"/>
                  </a:moveTo>
                  <a:lnTo>
                    <a:pt x="0" y="512"/>
                  </a:lnTo>
                  <a:cubicBezTo>
                    <a:pt x="18857" y="538"/>
                    <a:pt x="31655" y="810"/>
                    <a:pt x="43860" y="2495"/>
                  </a:cubicBezTo>
                  <a:lnTo>
                    <a:pt x="4386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316" name="Google Shape;316;p9"/>
          <p:cNvSpPr/>
          <p:nvPr/>
        </p:nvSpPr>
        <p:spPr>
          <a:xfrm>
            <a:off x="-47168" y="720000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7" name="Google Shape;317;p9"/>
          <p:cNvSpPr/>
          <p:nvPr/>
        </p:nvSpPr>
        <p:spPr>
          <a:xfrm>
            <a:off x="-47167" y="2748407"/>
            <a:ext cx="2945241" cy="1889959"/>
          </a:xfrm>
          <a:custGeom>
            <a:avLst/>
            <a:gdLst/>
            <a:ahLst/>
            <a:cxnLst/>
            <a:rect l="l" t="t" r="r" b="b"/>
            <a:pathLst>
              <a:path w="9746" h="6254" extrusionOk="0">
                <a:moveTo>
                  <a:pt x="0" y="1"/>
                </a:moveTo>
                <a:lnTo>
                  <a:pt x="0" y="6092"/>
                </a:lnTo>
                <a:cubicBezTo>
                  <a:pt x="39" y="6131"/>
                  <a:pt x="94" y="6157"/>
                  <a:pt x="162" y="6186"/>
                </a:cubicBezTo>
                <a:cubicBezTo>
                  <a:pt x="282" y="6238"/>
                  <a:pt x="405" y="6254"/>
                  <a:pt x="541" y="6254"/>
                </a:cubicBezTo>
                <a:cubicBezTo>
                  <a:pt x="849" y="6254"/>
                  <a:pt x="1160" y="6092"/>
                  <a:pt x="1335" y="5833"/>
                </a:cubicBezTo>
                <a:cubicBezTo>
                  <a:pt x="1371" y="6021"/>
                  <a:pt x="1570" y="6139"/>
                  <a:pt x="1763" y="6139"/>
                </a:cubicBezTo>
                <a:cubicBezTo>
                  <a:pt x="1792" y="6139"/>
                  <a:pt x="1822" y="6136"/>
                  <a:pt x="1850" y="6131"/>
                </a:cubicBezTo>
                <a:cubicBezTo>
                  <a:pt x="2064" y="6076"/>
                  <a:pt x="2242" y="5930"/>
                  <a:pt x="2388" y="5781"/>
                </a:cubicBezTo>
                <a:cubicBezTo>
                  <a:pt x="2709" y="6054"/>
                  <a:pt x="3132" y="6222"/>
                  <a:pt x="3560" y="6222"/>
                </a:cubicBezTo>
                <a:cubicBezTo>
                  <a:pt x="3619" y="6222"/>
                  <a:pt x="3679" y="6219"/>
                  <a:pt x="3739" y="6212"/>
                </a:cubicBezTo>
                <a:cubicBezTo>
                  <a:pt x="4225" y="6173"/>
                  <a:pt x="4685" y="5930"/>
                  <a:pt x="4980" y="5551"/>
                </a:cubicBezTo>
                <a:cubicBezTo>
                  <a:pt x="5085" y="5759"/>
                  <a:pt x="5328" y="5857"/>
                  <a:pt x="5556" y="5857"/>
                </a:cubicBezTo>
                <a:cubicBezTo>
                  <a:pt x="5595" y="5857"/>
                  <a:pt x="5633" y="5855"/>
                  <a:pt x="5670" y="5849"/>
                </a:cubicBezTo>
                <a:cubicBezTo>
                  <a:pt x="5939" y="5807"/>
                  <a:pt x="6169" y="5658"/>
                  <a:pt x="6399" y="5509"/>
                </a:cubicBezTo>
                <a:cubicBezTo>
                  <a:pt x="6464" y="5683"/>
                  <a:pt x="6653" y="5781"/>
                  <a:pt x="6838" y="5781"/>
                </a:cubicBezTo>
                <a:cubicBezTo>
                  <a:pt x="6955" y="5781"/>
                  <a:pt x="7071" y="5742"/>
                  <a:pt x="7154" y="5658"/>
                </a:cubicBezTo>
                <a:cubicBezTo>
                  <a:pt x="7291" y="5764"/>
                  <a:pt x="7465" y="5815"/>
                  <a:pt x="7640" y="5815"/>
                </a:cubicBezTo>
                <a:cubicBezTo>
                  <a:pt x="7844" y="5815"/>
                  <a:pt x="8049" y="5744"/>
                  <a:pt x="8194" y="5606"/>
                </a:cubicBezTo>
                <a:cubicBezTo>
                  <a:pt x="8274" y="5684"/>
                  <a:pt x="8385" y="5725"/>
                  <a:pt x="8496" y="5725"/>
                </a:cubicBezTo>
                <a:cubicBezTo>
                  <a:pt x="8591" y="5725"/>
                  <a:pt x="8686" y="5695"/>
                  <a:pt x="8761" y="5632"/>
                </a:cubicBezTo>
                <a:cubicBezTo>
                  <a:pt x="8798" y="5704"/>
                  <a:pt x="8883" y="5727"/>
                  <a:pt x="8971" y="5727"/>
                </a:cubicBezTo>
                <a:cubicBezTo>
                  <a:pt x="9014" y="5727"/>
                  <a:pt x="9058" y="5721"/>
                  <a:pt x="9098" y="5713"/>
                </a:cubicBezTo>
                <a:cubicBezTo>
                  <a:pt x="9260" y="5700"/>
                  <a:pt x="9435" y="5671"/>
                  <a:pt x="9597" y="5645"/>
                </a:cubicBezTo>
                <a:cubicBezTo>
                  <a:pt x="9626" y="5645"/>
                  <a:pt x="9652" y="5632"/>
                  <a:pt x="9678" y="5619"/>
                </a:cubicBezTo>
                <a:cubicBezTo>
                  <a:pt x="9746" y="5551"/>
                  <a:pt x="9626" y="5457"/>
                  <a:pt x="9532" y="5457"/>
                </a:cubicBezTo>
                <a:cubicBezTo>
                  <a:pt x="9435" y="5457"/>
                  <a:pt x="9328" y="5483"/>
                  <a:pt x="9247" y="5538"/>
                </a:cubicBezTo>
                <a:cubicBezTo>
                  <a:pt x="9227" y="5452"/>
                  <a:pt x="9148" y="5402"/>
                  <a:pt x="9070" y="5402"/>
                </a:cubicBezTo>
                <a:cubicBezTo>
                  <a:pt x="9047" y="5402"/>
                  <a:pt x="9025" y="5406"/>
                  <a:pt x="9004" y="5415"/>
                </a:cubicBezTo>
                <a:cubicBezTo>
                  <a:pt x="8978" y="5444"/>
                  <a:pt x="8949" y="5457"/>
                  <a:pt x="8923" y="5470"/>
                </a:cubicBezTo>
                <a:cubicBezTo>
                  <a:pt x="8916" y="5471"/>
                  <a:pt x="8910" y="5472"/>
                  <a:pt x="8903" y="5472"/>
                </a:cubicBezTo>
                <a:cubicBezTo>
                  <a:pt x="8833" y="5472"/>
                  <a:pt x="8783" y="5410"/>
                  <a:pt x="8735" y="5363"/>
                </a:cubicBezTo>
                <a:cubicBezTo>
                  <a:pt x="8599" y="5201"/>
                  <a:pt x="8437" y="5065"/>
                  <a:pt x="8236" y="5010"/>
                </a:cubicBezTo>
                <a:cubicBezTo>
                  <a:pt x="8180" y="4996"/>
                  <a:pt x="8123" y="4988"/>
                  <a:pt x="8066" y="4988"/>
                </a:cubicBezTo>
                <a:cubicBezTo>
                  <a:pt x="7913" y="4988"/>
                  <a:pt x="7761" y="5041"/>
                  <a:pt x="7653" y="5159"/>
                </a:cubicBezTo>
                <a:cubicBezTo>
                  <a:pt x="7721" y="5078"/>
                  <a:pt x="7303" y="4848"/>
                  <a:pt x="7248" y="4835"/>
                </a:cubicBezTo>
                <a:cubicBezTo>
                  <a:pt x="7178" y="4810"/>
                  <a:pt x="7108" y="4795"/>
                  <a:pt x="7040" y="4795"/>
                </a:cubicBezTo>
                <a:cubicBezTo>
                  <a:pt x="6927" y="4795"/>
                  <a:pt x="6821" y="4835"/>
                  <a:pt x="6736" y="4929"/>
                </a:cubicBezTo>
                <a:cubicBezTo>
                  <a:pt x="6655" y="4537"/>
                  <a:pt x="6344" y="4200"/>
                  <a:pt x="5952" y="4106"/>
                </a:cubicBezTo>
                <a:cubicBezTo>
                  <a:pt x="5874" y="4087"/>
                  <a:pt x="5794" y="4078"/>
                  <a:pt x="5714" y="4078"/>
                </a:cubicBezTo>
                <a:cubicBezTo>
                  <a:pt x="5392" y="4078"/>
                  <a:pt x="5067" y="4223"/>
                  <a:pt x="4873" y="4472"/>
                </a:cubicBezTo>
                <a:cubicBezTo>
                  <a:pt x="4873" y="4275"/>
                  <a:pt x="4674" y="4135"/>
                  <a:pt x="4483" y="4135"/>
                </a:cubicBezTo>
                <a:cubicBezTo>
                  <a:pt x="4410" y="4135"/>
                  <a:pt x="4339" y="4155"/>
                  <a:pt x="4280" y="4200"/>
                </a:cubicBezTo>
                <a:cubicBezTo>
                  <a:pt x="4307" y="3976"/>
                  <a:pt x="4076" y="3810"/>
                  <a:pt x="3865" y="3810"/>
                </a:cubicBezTo>
                <a:cubicBezTo>
                  <a:pt x="3771" y="3810"/>
                  <a:pt x="3681" y="3843"/>
                  <a:pt x="3619" y="3918"/>
                </a:cubicBezTo>
                <a:cubicBezTo>
                  <a:pt x="3765" y="3458"/>
                  <a:pt x="3551" y="2904"/>
                  <a:pt x="3133" y="2690"/>
                </a:cubicBezTo>
                <a:cubicBezTo>
                  <a:pt x="2993" y="2620"/>
                  <a:pt x="2838" y="2587"/>
                  <a:pt x="2683" y="2587"/>
                </a:cubicBezTo>
                <a:cubicBezTo>
                  <a:pt x="2358" y="2587"/>
                  <a:pt x="2032" y="2734"/>
                  <a:pt x="1850" y="2998"/>
                </a:cubicBezTo>
                <a:cubicBezTo>
                  <a:pt x="1837" y="2674"/>
                  <a:pt x="1837" y="2337"/>
                  <a:pt x="1675" y="2055"/>
                </a:cubicBezTo>
                <a:cubicBezTo>
                  <a:pt x="1540" y="1839"/>
                  <a:pt x="1299" y="1679"/>
                  <a:pt x="1060" y="1679"/>
                </a:cubicBezTo>
                <a:cubicBezTo>
                  <a:pt x="984" y="1679"/>
                  <a:pt x="908" y="1695"/>
                  <a:pt x="836" y="1731"/>
                </a:cubicBezTo>
                <a:cubicBezTo>
                  <a:pt x="983" y="1498"/>
                  <a:pt x="753" y="1153"/>
                  <a:pt x="486" y="1153"/>
                </a:cubicBezTo>
                <a:cubicBezTo>
                  <a:pt x="459" y="1153"/>
                  <a:pt x="432" y="1157"/>
                  <a:pt x="405" y="1164"/>
                </a:cubicBezTo>
                <a:cubicBezTo>
                  <a:pt x="593" y="1109"/>
                  <a:pt x="486" y="584"/>
                  <a:pt x="431" y="474"/>
                </a:cubicBezTo>
                <a:cubicBezTo>
                  <a:pt x="350" y="260"/>
                  <a:pt x="188" y="98"/>
                  <a:pt x="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8" name="Google Shape;318;p9"/>
          <p:cNvSpPr/>
          <p:nvPr/>
        </p:nvSpPr>
        <p:spPr>
          <a:xfrm>
            <a:off x="8156693" y="444452"/>
            <a:ext cx="4035276" cy="1851277"/>
          </a:xfrm>
          <a:custGeom>
            <a:avLst/>
            <a:gdLst/>
            <a:ahLst/>
            <a:cxnLst/>
            <a:rect l="l" t="t" r="r" b="b"/>
            <a:pathLst>
              <a:path w="13353" h="6126" extrusionOk="0">
                <a:moveTo>
                  <a:pt x="13095" y="1"/>
                </a:moveTo>
                <a:cubicBezTo>
                  <a:pt x="13024" y="1"/>
                  <a:pt x="12953" y="8"/>
                  <a:pt x="12880" y="21"/>
                </a:cubicBezTo>
                <a:cubicBezTo>
                  <a:pt x="12313" y="102"/>
                  <a:pt x="11921" y="588"/>
                  <a:pt x="11840" y="1139"/>
                </a:cubicBezTo>
                <a:cubicBezTo>
                  <a:pt x="11652" y="925"/>
                  <a:pt x="11302" y="750"/>
                  <a:pt x="11017" y="750"/>
                </a:cubicBezTo>
                <a:cubicBezTo>
                  <a:pt x="11003" y="749"/>
                  <a:pt x="10989" y="748"/>
                  <a:pt x="10975" y="748"/>
                </a:cubicBezTo>
                <a:cubicBezTo>
                  <a:pt x="10799" y="748"/>
                  <a:pt x="10615" y="841"/>
                  <a:pt x="10492" y="964"/>
                </a:cubicBezTo>
                <a:cubicBezTo>
                  <a:pt x="10343" y="1113"/>
                  <a:pt x="10275" y="1317"/>
                  <a:pt x="10288" y="1518"/>
                </a:cubicBezTo>
                <a:cubicBezTo>
                  <a:pt x="10211" y="1506"/>
                  <a:pt x="10129" y="1493"/>
                  <a:pt x="10048" y="1493"/>
                </a:cubicBezTo>
                <a:cubicBezTo>
                  <a:pt x="9957" y="1493"/>
                  <a:pt x="9868" y="1509"/>
                  <a:pt x="9789" y="1560"/>
                </a:cubicBezTo>
                <a:cubicBezTo>
                  <a:pt x="9666" y="1654"/>
                  <a:pt x="9614" y="1816"/>
                  <a:pt x="9666" y="1965"/>
                </a:cubicBezTo>
                <a:cubicBezTo>
                  <a:pt x="9465" y="1774"/>
                  <a:pt x="9180" y="1654"/>
                  <a:pt x="8911" y="1654"/>
                </a:cubicBezTo>
                <a:cubicBezTo>
                  <a:pt x="8629" y="1654"/>
                  <a:pt x="8344" y="1803"/>
                  <a:pt x="8195" y="2030"/>
                </a:cubicBezTo>
                <a:cubicBezTo>
                  <a:pt x="8114" y="2153"/>
                  <a:pt x="8075" y="2302"/>
                  <a:pt x="8033" y="2451"/>
                </a:cubicBezTo>
                <a:cubicBezTo>
                  <a:pt x="7981" y="2678"/>
                  <a:pt x="8020" y="2882"/>
                  <a:pt x="8007" y="3112"/>
                </a:cubicBezTo>
                <a:cubicBezTo>
                  <a:pt x="7888" y="3061"/>
                  <a:pt x="7763" y="3015"/>
                  <a:pt x="7636" y="3015"/>
                </a:cubicBezTo>
                <a:cubicBezTo>
                  <a:pt x="7562" y="3015"/>
                  <a:pt x="7488" y="3030"/>
                  <a:pt x="7414" y="3070"/>
                </a:cubicBezTo>
                <a:cubicBezTo>
                  <a:pt x="7210" y="3164"/>
                  <a:pt x="7090" y="3368"/>
                  <a:pt x="7074" y="3585"/>
                </a:cubicBezTo>
                <a:cubicBezTo>
                  <a:pt x="6891" y="3395"/>
                  <a:pt x="6691" y="3317"/>
                  <a:pt x="6491" y="3317"/>
                </a:cubicBezTo>
                <a:cubicBezTo>
                  <a:pt x="5877" y="3317"/>
                  <a:pt x="5255" y="4053"/>
                  <a:pt x="5091" y="4583"/>
                </a:cubicBezTo>
                <a:cubicBezTo>
                  <a:pt x="4916" y="4366"/>
                  <a:pt x="4699" y="4152"/>
                  <a:pt x="4417" y="4110"/>
                </a:cubicBezTo>
                <a:cubicBezTo>
                  <a:pt x="4396" y="4107"/>
                  <a:pt x="4374" y="4106"/>
                  <a:pt x="4352" y="4106"/>
                </a:cubicBezTo>
                <a:cubicBezTo>
                  <a:pt x="4085" y="4106"/>
                  <a:pt x="3813" y="4319"/>
                  <a:pt x="3876" y="4583"/>
                </a:cubicBezTo>
                <a:cubicBezTo>
                  <a:pt x="3687" y="4484"/>
                  <a:pt x="3490" y="4393"/>
                  <a:pt x="3289" y="4393"/>
                </a:cubicBezTo>
                <a:cubicBezTo>
                  <a:pt x="3273" y="4393"/>
                  <a:pt x="3257" y="4394"/>
                  <a:pt x="3241" y="4395"/>
                </a:cubicBezTo>
                <a:cubicBezTo>
                  <a:pt x="2972" y="4421"/>
                  <a:pt x="2849" y="4609"/>
                  <a:pt x="2755" y="4826"/>
                </a:cubicBezTo>
                <a:cubicBezTo>
                  <a:pt x="2679" y="4710"/>
                  <a:pt x="2540" y="4643"/>
                  <a:pt x="2403" y="4643"/>
                </a:cubicBezTo>
                <a:cubicBezTo>
                  <a:pt x="2348" y="4643"/>
                  <a:pt x="2293" y="4654"/>
                  <a:pt x="2243" y="4677"/>
                </a:cubicBezTo>
                <a:cubicBezTo>
                  <a:pt x="2052" y="4745"/>
                  <a:pt x="1932" y="4933"/>
                  <a:pt x="1919" y="5137"/>
                </a:cubicBezTo>
                <a:cubicBezTo>
                  <a:pt x="1878" y="5027"/>
                  <a:pt x="1766" y="4961"/>
                  <a:pt x="1650" y="4961"/>
                </a:cubicBezTo>
                <a:cubicBezTo>
                  <a:pt x="1608" y="4961"/>
                  <a:pt x="1566" y="4970"/>
                  <a:pt x="1527" y="4988"/>
                </a:cubicBezTo>
                <a:cubicBezTo>
                  <a:pt x="1378" y="5043"/>
                  <a:pt x="1297" y="5189"/>
                  <a:pt x="1271" y="5351"/>
                </a:cubicBezTo>
                <a:cubicBezTo>
                  <a:pt x="1189" y="5294"/>
                  <a:pt x="1103" y="5258"/>
                  <a:pt x="1015" y="5258"/>
                </a:cubicBezTo>
                <a:cubicBezTo>
                  <a:pt x="956" y="5258"/>
                  <a:pt x="897" y="5274"/>
                  <a:pt x="837" y="5312"/>
                </a:cubicBezTo>
                <a:cubicBezTo>
                  <a:pt x="798" y="5351"/>
                  <a:pt x="743" y="5406"/>
                  <a:pt x="691" y="5432"/>
                </a:cubicBezTo>
                <a:cubicBezTo>
                  <a:pt x="623" y="5461"/>
                  <a:pt x="542" y="5461"/>
                  <a:pt x="474" y="5461"/>
                </a:cubicBezTo>
                <a:lnTo>
                  <a:pt x="43" y="5461"/>
                </a:lnTo>
                <a:cubicBezTo>
                  <a:pt x="1" y="5513"/>
                  <a:pt x="69" y="5581"/>
                  <a:pt x="137" y="5610"/>
                </a:cubicBezTo>
                <a:cubicBezTo>
                  <a:pt x="284" y="5676"/>
                  <a:pt x="459" y="5710"/>
                  <a:pt x="636" y="5710"/>
                </a:cubicBezTo>
                <a:cubicBezTo>
                  <a:pt x="813" y="5710"/>
                  <a:pt x="992" y="5676"/>
                  <a:pt x="1148" y="5610"/>
                </a:cubicBezTo>
                <a:cubicBezTo>
                  <a:pt x="1221" y="5677"/>
                  <a:pt x="1320" y="5708"/>
                  <a:pt x="1422" y="5708"/>
                </a:cubicBezTo>
                <a:cubicBezTo>
                  <a:pt x="1588" y="5708"/>
                  <a:pt x="1762" y="5625"/>
                  <a:pt x="1838" y="5474"/>
                </a:cubicBezTo>
                <a:cubicBezTo>
                  <a:pt x="1917" y="5516"/>
                  <a:pt x="2010" y="5537"/>
                  <a:pt x="2104" y="5537"/>
                </a:cubicBezTo>
                <a:cubicBezTo>
                  <a:pt x="2219" y="5537"/>
                  <a:pt x="2335" y="5507"/>
                  <a:pt x="2431" y="5448"/>
                </a:cubicBezTo>
                <a:cubicBezTo>
                  <a:pt x="2623" y="5738"/>
                  <a:pt x="2969" y="5948"/>
                  <a:pt x="3307" y="5948"/>
                </a:cubicBezTo>
                <a:cubicBezTo>
                  <a:pt x="3517" y="5948"/>
                  <a:pt x="3724" y="5867"/>
                  <a:pt x="3889" y="5675"/>
                </a:cubicBezTo>
                <a:cubicBezTo>
                  <a:pt x="3955" y="5950"/>
                  <a:pt x="4250" y="6126"/>
                  <a:pt x="4540" y="6126"/>
                </a:cubicBezTo>
                <a:cubicBezTo>
                  <a:pt x="4608" y="6126"/>
                  <a:pt x="4676" y="6116"/>
                  <a:pt x="4741" y="6096"/>
                </a:cubicBezTo>
                <a:cubicBezTo>
                  <a:pt x="5078" y="5999"/>
                  <a:pt x="5308" y="5662"/>
                  <a:pt x="5373" y="5325"/>
                </a:cubicBezTo>
                <a:lnTo>
                  <a:pt x="5373" y="5325"/>
                </a:lnTo>
                <a:cubicBezTo>
                  <a:pt x="5334" y="5529"/>
                  <a:pt x="6037" y="5756"/>
                  <a:pt x="6157" y="5785"/>
                </a:cubicBezTo>
                <a:cubicBezTo>
                  <a:pt x="6211" y="5792"/>
                  <a:pt x="6262" y="5796"/>
                  <a:pt x="6313" y="5796"/>
                </a:cubicBezTo>
                <a:cubicBezTo>
                  <a:pt x="6617" y="5796"/>
                  <a:pt x="6866" y="5672"/>
                  <a:pt x="7155" y="5555"/>
                </a:cubicBezTo>
                <a:cubicBezTo>
                  <a:pt x="7171" y="5662"/>
                  <a:pt x="7252" y="5772"/>
                  <a:pt x="7359" y="5798"/>
                </a:cubicBezTo>
                <a:cubicBezTo>
                  <a:pt x="7381" y="5803"/>
                  <a:pt x="7403" y="5806"/>
                  <a:pt x="7426" y="5806"/>
                </a:cubicBezTo>
                <a:cubicBezTo>
                  <a:pt x="7514" y="5806"/>
                  <a:pt x="7603" y="5766"/>
                  <a:pt x="7657" y="5691"/>
                </a:cubicBezTo>
                <a:cubicBezTo>
                  <a:pt x="7777" y="5853"/>
                  <a:pt x="7981" y="5947"/>
                  <a:pt x="8182" y="5973"/>
                </a:cubicBezTo>
                <a:cubicBezTo>
                  <a:pt x="8219" y="5978"/>
                  <a:pt x="8255" y="5980"/>
                  <a:pt x="8293" y="5980"/>
                </a:cubicBezTo>
                <a:cubicBezTo>
                  <a:pt x="8462" y="5980"/>
                  <a:pt x="8634" y="5935"/>
                  <a:pt x="8791" y="5879"/>
                </a:cubicBezTo>
                <a:cubicBezTo>
                  <a:pt x="9128" y="5772"/>
                  <a:pt x="9504" y="5568"/>
                  <a:pt x="9763" y="5325"/>
                </a:cubicBezTo>
                <a:cubicBezTo>
                  <a:pt x="9883" y="5662"/>
                  <a:pt x="10233" y="5905"/>
                  <a:pt x="10599" y="5905"/>
                </a:cubicBezTo>
                <a:cubicBezTo>
                  <a:pt x="10608" y="5905"/>
                  <a:pt x="10617" y="5905"/>
                  <a:pt x="10627" y="5905"/>
                </a:cubicBezTo>
                <a:cubicBezTo>
                  <a:pt x="10980" y="5905"/>
                  <a:pt x="11331" y="5666"/>
                  <a:pt x="11464" y="5338"/>
                </a:cubicBezTo>
                <a:cubicBezTo>
                  <a:pt x="11477" y="5649"/>
                  <a:pt x="11720" y="5934"/>
                  <a:pt x="12015" y="5999"/>
                </a:cubicBezTo>
                <a:cubicBezTo>
                  <a:pt x="12055" y="6006"/>
                  <a:pt x="12097" y="6009"/>
                  <a:pt x="12138" y="6009"/>
                </a:cubicBezTo>
                <a:cubicBezTo>
                  <a:pt x="12411" y="6009"/>
                  <a:pt x="12681" y="5855"/>
                  <a:pt x="12799" y="5610"/>
                </a:cubicBezTo>
                <a:cubicBezTo>
                  <a:pt x="12922" y="5811"/>
                  <a:pt x="13123" y="5960"/>
                  <a:pt x="13353" y="6054"/>
                </a:cubicBezTo>
                <a:lnTo>
                  <a:pt x="13353" y="34"/>
                </a:lnTo>
                <a:cubicBezTo>
                  <a:pt x="13265" y="11"/>
                  <a:pt x="13180" y="1"/>
                  <a:pt x="13095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9" name="Google Shape;319;p9"/>
          <p:cNvSpPr/>
          <p:nvPr/>
        </p:nvSpPr>
        <p:spPr>
          <a:xfrm>
            <a:off x="7539967" y="6089568"/>
            <a:ext cx="4683636" cy="787233"/>
          </a:xfrm>
          <a:custGeom>
            <a:avLst/>
            <a:gdLst/>
            <a:ahLst/>
            <a:cxnLst/>
            <a:rect l="l" t="t" r="r" b="b"/>
            <a:pathLst>
              <a:path w="7278" h="2110" extrusionOk="0">
                <a:moveTo>
                  <a:pt x="7196" y="1"/>
                </a:moveTo>
                <a:cubicBezTo>
                  <a:pt x="7059" y="1"/>
                  <a:pt x="6916" y="28"/>
                  <a:pt x="6792" y="85"/>
                </a:cubicBezTo>
                <a:cubicBezTo>
                  <a:pt x="6562" y="192"/>
                  <a:pt x="6374" y="354"/>
                  <a:pt x="6225" y="545"/>
                </a:cubicBezTo>
                <a:cubicBezTo>
                  <a:pt x="6131" y="652"/>
                  <a:pt x="6063" y="775"/>
                  <a:pt x="6063" y="895"/>
                </a:cubicBezTo>
                <a:cubicBezTo>
                  <a:pt x="5966" y="827"/>
                  <a:pt x="5855" y="795"/>
                  <a:pt x="5750" y="795"/>
                </a:cubicBezTo>
                <a:cubicBezTo>
                  <a:pt x="5518" y="795"/>
                  <a:pt x="5315" y="953"/>
                  <a:pt x="5360" y="1232"/>
                </a:cubicBezTo>
                <a:cubicBezTo>
                  <a:pt x="5317" y="1168"/>
                  <a:pt x="5236" y="1138"/>
                  <a:pt x="5152" y="1138"/>
                </a:cubicBezTo>
                <a:cubicBezTo>
                  <a:pt x="5077" y="1138"/>
                  <a:pt x="5000" y="1162"/>
                  <a:pt x="4942" y="1206"/>
                </a:cubicBezTo>
                <a:cubicBezTo>
                  <a:pt x="4822" y="1313"/>
                  <a:pt x="4793" y="1462"/>
                  <a:pt x="4793" y="1611"/>
                </a:cubicBezTo>
                <a:cubicBezTo>
                  <a:pt x="4524" y="1436"/>
                  <a:pt x="4242" y="1245"/>
                  <a:pt x="3918" y="1232"/>
                </a:cubicBezTo>
                <a:cubicBezTo>
                  <a:pt x="3910" y="1232"/>
                  <a:pt x="3902" y="1231"/>
                  <a:pt x="3894" y="1231"/>
                </a:cubicBezTo>
                <a:cubicBezTo>
                  <a:pt x="3576" y="1231"/>
                  <a:pt x="3229" y="1482"/>
                  <a:pt x="3296" y="1773"/>
                </a:cubicBezTo>
                <a:cubicBezTo>
                  <a:pt x="3202" y="1637"/>
                  <a:pt x="3092" y="1504"/>
                  <a:pt x="2930" y="1449"/>
                </a:cubicBezTo>
                <a:cubicBezTo>
                  <a:pt x="2896" y="1437"/>
                  <a:pt x="2858" y="1432"/>
                  <a:pt x="2821" y="1432"/>
                </a:cubicBezTo>
                <a:cubicBezTo>
                  <a:pt x="2682" y="1432"/>
                  <a:pt x="2541" y="1509"/>
                  <a:pt x="2541" y="1637"/>
                </a:cubicBezTo>
                <a:cubicBezTo>
                  <a:pt x="2388" y="1511"/>
                  <a:pt x="2173" y="1406"/>
                  <a:pt x="1967" y="1406"/>
                </a:cubicBezTo>
                <a:cubicBezTo>
                  <a:pt x="1955" y="1406"/>
                  <a:pt x="1944" y="1406"/>
                  <a:pt x="1932" y="1407"/>
                </a:cubicBezTo>
                <a:cubicBezTo>
                  <a:pt x="1702" y="1436"/>
                  <a:pt x="1472" y="1611"/>
                  <a:pt x="1501" y="1828"/>
                </a:cubicBezTo>
                <a:cubicBezTo>
                  <a:pt x="1425" y="1700"/>
                  <a:pt x="1278" y="1610"/>
                  <a:pt x="1126" y="1610"/>
                </a:cubicBezTo>
                <a:cubicBezTo>
                  <a:pt x="1116" y="1610"/>
                  <a:pt x="1106" y="1610"/>
                  <a:pt x="1096" y="1611"/>
                </a:cubicBezTo>
                <a:cubicBezTo>
                  <a:pt x="934" y="1624"/>
                  <a:pt x="785" y="1786"/>
                  <a:pt x="811" y="1935"/>
                </a:cubicBezTo>
                <a:cubicBezTo>
                  <a:pt x="728" y="1813"/>
                  <a:pt x="571" y="1744"/>
                  <a:pt x="416" y="1744"/>
                </a:cubicBezTo>
                <a:cubicBezTo>
                  <a:pt x="347" y="1744"/>
                  <a:pt x="279" y="1757"/>
                  <a:pt x="218" y="1786"/>
                </a:cubicBezTo>
                <a:cubicBezTo>
                  <a:pt x="95" y="1854"/>
                  <a:pt x="30" y="1974"/>
                  <a:pt x="1" y="2110"/>
                </a:cubicBezTo>
                <a:lnTo>
                  <a:pt x="7278" y="2110"/>
                </a:lnTo>
                <a:lnTo>
                  <a:pt x="7278" y="4"/>
                </a:lnTo>
                <a:cubicBezTo>
                  <a:pt x="7251" y="2"/>
                  <a:pt x="7224" y="1"/>
                  <a:pt x="719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0" name="Google Shape;320;p9"/>
          <p:cNvSpPr txBox="1">
            <a:spLocks noGrp="1"/>
          </p:cNvSpPr>
          <p:nvPr>
            <p:ph type="title"/>
          </p:nvPr>
        </p:nvSpPr>
        <p:spPr>
          <a:xfrm>
            <a:off x="2336600" y="548895"/>
            <a:ext cx="7518800" cy="8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321" name="Google Shape;321;p9"/>
          <p:cNvSpPr txBox="1">
            <a:spLocks noGrp="1"/>
          </p:cNvSpPr>
          <p:nvPr>
            <p:ph type="subTitle" idx="1"/>
          </p:nvPr>
        </p:nvSpPr>
        <p:spPr>
          <a:xfrm>
            <a:off x="2182267" y="2901833"/>
            <a:ext cx="4435200" cy="236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 sz="2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9935875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10"/>
          <p:cNvSpPr/>
          <p:nvPr/>
        </p:nvSpPr>
        <p:spPr>
          <a:xfrm>
            <a:off x="1" y="2822333"/>
            <a:ext cx="7670060" cy="6858000"/>
          </a:xfrm>
          <a:custGeom>
            <a:avLst/>
            <a:gdLst/>
            <a:ahLst/>
            <a:cxnLst/>
            <a:rect l="l" t="t" r="r" b="b"/>
            <a:pathLst>
              <a:path w="2281" h="2858" extrusionOk="0">
                <a:moveTo>
                  <a:pt x="194" y="1"/>
                </a:moveTo>
                <a:cubicBezTo>
                  <a:pt x="112" y="1"/>
                  <a:pt x="55" y="30"/>
                  <a:pt x="0" y="85"/>
                </a:cubicBezTo>
                <a:lnTo>
                  <a:pt x="0" y="2693"/>
                </a:lnTo>
                <a:lnTo>
                  <a:pt x="687" y="2693"/>
                </a:lnTo>
                <a:cubicBezTo>
                  <a:pt x="808" y="2811"/>
                  <a:pt x="989" y="2857"/>
                  <a:pt x="1162" y="2857"/>
                </a:cubicBezTo>
                <a:cubicBezTo>
                  <a:pt x="1184" y="2857"/>
                  <a:pt x="1206" y="2856"/>
                  <a:pt x="1228" y="2855"/>
                </a:cubicBezTo>
                <a:cubicBezTo>
                  <a:pt x="1348" y="2839"/>
                  <a:pt x="1458" y="2813"/>
                  <a:pt x="1565" y="2745"/>
                </a:cubicBezTo>
                <a:cubicBezTo>
                  <a:pt x="1659" y="2677"/>
                  <a:pt x="1727" y="2570"/>
                  <a:pt x="1727" y="2450"/>
                </a:cubicBezTo>
                <a:cubicBezTo>
                  <a:pt x="1769" y="2461"/>
                  <a:pt x="1813" y="2467"/>
                  <a:pt x="1856" y="2467"/>
                </a:cubicBezTo>
                <a:cubicBezTo>
                  <a:pt x="1968" y="2467"/>
                  <a:pt x="2077" y="2428"/>
                  <a:pt x="2145" y="2340"/>
                </a:cubicBezTo>
                <a:cubicBezTo>
                  <a:pt x="2239" y="2220"/>
                  <a:pt x="2239" y="2029"/>
                  <a:pt x="2119" y="1922"/>
                </a:cubicBezTo>
                <a:cubicBezTo>
                  <a:pt x="2187" y="1896"/>
                  <a:pt x="2268" y="1854"/>
                  <a:pt x="2268" y="1786"/>
                </a:cubicBezTo>
                <a:cubicBezTo>
                  <a:pt x="2281" y="1734"/>
                  <a:pt x="2239" y="1679"/>
                  <a:pt x="2187" y="1653"/>
                </a:cubicBezTo>
                <a:cubicBezTo>
                  <a:pt x="2132" y="1624"/>
                  <a:pt x="2077" y="1611"/>
                  <a:pt x="2025" y="1611"/>
                </a:cubicBezTo>
                <a:cubicBezTo>
                  <a:pt x="2132" y="1611"/>
                  <a:pt x="2213" y="1504"/>
                  <a:pt x="2213" y="1397"/>
                </a:cubicBezTo>
                <a:cubicBezTo>
                  <a:pt x="2200" y="1287"/>
                  <a:pt x="2132" y="1193"/>
                  <a:pt x="2038" y="1138"/>
                </a:cubicBezTo>
                <a:cubicBezTo>
                  <a:pt x="1957" y="1086"/>
                  <a:pt x="1847" y="1057"/>
                  <a:pt x="1740" y="1057"/>
                </a:cubicBezTo>
                <a:cubicBezTo>
                  <a:pt x="1782" y="1005"/>
                  <a:pt x="1795" y="937"/>
                  <a:pt x="1753" y="882"/>
                </a:cubicBezTo>
                <a:cubicBezTo>
                  <a:pt x="1725" y="844"/>
                  <a:pt x="1674" y="818"/>
                  <a:pt x="1627" y="818"/>
                </a:cubicBezTo>
                <a:cubicBezTo>
                  <a:pt x="1610" y="818"/>
                  <a:pt x="1593" y="822"/>
                  <a:pt x="1578" y="830"/>
                </a:cubicBezTo>
                <a:cubicBezTo>
                  <a:pt x="1672" y="668"/>
                  <a:pt x="1578" y="425"/>
                  <a:pt x="1416" y="357"/>
                </a:cubicBezTo>
                <a:cubicBezTo>
                  <a:pt x="1365" y="333"/>
                  <a:pt x="1309" y="322"/>
                  <a:pt x="1253" y="322"/>
                </a:cubicBezTo>
                <a:cubicBezTo>
                  <a:pt x="1117" y="322"/>
                  <a:pt x="980" y="387"/>
                  <a:pt x="904" y="490"/>
                </a:cubicBezTo>
                <a:cubicBezTo>
                  <a:pt x="904" y="409"/>
                  <a:pt x="862" y="328"/>
                  <a:pt x="781" y="289"/>
                </a:cubicBezTo>
                <a:cubicBezTo>
                  <a:pt x="758" y="275"/>
                  <a:pt x="731" y="269"/>
                  <a:pt x="703" y="269"/>
                </a:cubicBezTo>
                <a:cubicBezTo>
                  <a:pt x="647" y="269"/>
                  <a:pt x="588" y="293"/>
                  <a:pt x="551" y="328"/>
                </a:cubicBezTo>
                <a:cubicBezTo>
                  <a:pt x="538" y="234"/>
                  <a:pt x="499" y="140"/>
                  <a:pt x="431" y="72"/>
                </a:cubicBezTo>
                <a:cubicBezTo>
                  <a:pt x="405" y="46"/>
                  <a:pt x="376" y="33"/>
                  <a:pt x="350" y="20"/>
                </a:cubicBezTo>
                <a:cubicBezTo>
                  <a:pt x="324" y="4"/>
                  <a:pt x="282" y="4"/>
                  <a:pt x="243" y="4"/>
                </a:cubicBezTo>
                <a:cubicBezTo>
                  <a:pt x="226" y="2"/>
                  <a:pt x="210" y="1"/>
                  <a:pt x="194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4" name="Google Shape;324;p10"/>
          <p:cNvSpPr txBox="1">
            <a:spLocks noGrp="1"/>
          </p:cNvSpPr>
          <p:nvPr>
            <p:ph type="title"/>
          </p:nvPr>
        </p:nvSpPr>
        <p:spPr>
          <a:xfrm>
            <a:off x="960000" y="4895933"/>
            <a:ext cx="4361600" cy="124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919399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Google Shape;326;p11"/>
          <p:cNvSpPr/>
          <p:nvPr/>
        </p:nvSpPr>
        <p:spPr>
          <a:xfrm>
            <a:off x="-47167" y="2748407"/>
            <a:ext cx="2945241" cy="1889959"/>
          </a:xfrm>
          <a:custGeom>
            <a:avLst/>
            <a:gdLst/>
            <a:ahLst/>
            <a:cxnLst/>
            <a:rect l="l" t="t" r="r" b="b"/>
            <a:pathLst>
              <a:path w="9746" h="6254" extrusionOk="0">
                <a:moveTo>
                  <a:pt x="0" y="1"/>
                </a:moveTo>
                <a:lnTo>
                  <a:pt x="0" y="6092"/>
                </a:lnTo>
                <a:cubicBezTo>
                  <a:pt x="39" y="6131"/>
                  <a:pt x="94" y="6157"/>
                  <a:pt x="162" y="6186"/>
                </a:cubicBezTo>
                <a:cubicBezTo>
                  <a:pt x="282" y="6238"/>
                  <a:pt x="405" y="6254"/>
                  <a:pt x="541" y="6254"/>
                </a:cubicBezTo>
                <a:cubicBezTo>
                  <a:pt x="849" y="6254"/>
                  <a:pt x="1160" y="6092"/>
                  <a:pt x="1335" y="5833"/>
                </a:cubicBezTo>
                <a:cubicBezTo>
                  <a:pt x="1371" y="6021"/>
                  <a:pt x="1570" y="6139"/>
                  <a:pt x="1763" y="6139"/>
                </a:cubicBezTo>
                <a:cubicBezTo>
                  <a:pt x="1792" y="6139"/>
                  <a:pt x="1822" y="6136"/>
                  <a:pt x="1850" y="6131"/>
                </a:cubicBezTo>
                <a:cubicBezTo>
                  <a:pt x="2064" y="6076"/>
                  <a:pt x="2242" y="5930"/>
                  <a:pt x="2388" y="5781"/>
                </a:cubicBezTo>
                <a:cubicBezTo>
                  <a:pt x="2709" y="6054"/>
                  <a:pt x="3132" y="6222"/>
                  <a:pt x="3560" y="6222"/>
                </a:cubicBezTo>
                <a:cubicBezTo>
                  <a:pt x="3619" y="6222"/>
                  <a:pt x="3679" y="6219"/>
                  <a:pt x="3739" y="6212"/>
                </a:cubicBezTo>
                <a:cubicBezTo>
                  <a:pt x="4225" y="6173"/>
                  <a:pt x="4685" y="5930"/>
                  <a:pt x="4980" y="5551"/>
                </a:cubicBezTo>
                <a:cubicBezTo>
                  <a:pt x="5085" y="5759"/>
                  <a:pt x="5328" y="5857"/>
                  <a:pt x="5556" y="5857"/>
                </a:cubicBezTo>
                <a:cubicBezTo>
                  <a:pt x="5595" y="5857"/>
                  <a:pt x="5633" y="5855"/>
                  <a:pt x="5670" y="5849"/>
                </a:cubicBezTo>
                <a:cubicBezTo>
                  <a:pt x="5939" y="5807"/>
                  <a:pt x="6169" y="5658"/>
                  <a:pt x="6399" y="5509"/>
                </a:cubicBezTo>
                <a:cubicBezTo>
                  <a:pt x="6464" y="5683"/>
                  <a:pt x="6653" y="5781"/>
                  <a:pt x="6838" y="5781"/>
                </a:cubicBezTo>
                <a:cubicBezTo>
                  <a:pt x="6955" y="5781"/>
                  <a:pt x="7071" y="5742"/>
                  <a:pt x="7154" y="5658"/>
                </a:cubicBezTo>
                <a:cubicBezTo>
                  <a:pt x="7291" y="5764"/>
                  <a:pt x="7465" y="5815"/>
                  <a:pt x="7640" y="5815"/>
                </a:cubicBezTo>
                <a:cubicBezTo>
                  <a:pt x="7844" y="5815"/>
                  <a:pt x="8049" y="5744"/>
                  <a:pt x="8194" y="5606"/>
                </a:cubicBezTo>
                <a:cubicBezTo>
                  <a:pt x="8274" y="5684"/>
                  <a:pt x="8385" y="5725"/>
                  <a:pt x="8496" y="5725"/>
                </a:cubicBezTo>
                <a:cubicBezTo>
                  <a:pt x="8591" y="5725"/>
                  <a:pt x="8686" y="5695"/>
                  <a:pt x="8761" y="5632"/>
                </a:cubicBezTo>
                <a:cubicBezTo>
                  <a:pt x="8798" y="5704"/>
                  <a:pt x="8883" y="5727"/>
                  <a:pt x="8971" y="5727"/>
                </a:cubicBezTo>
                <a:cubicBezTo>
                  <a:pt x="9014" y="5727"/>
                  <a:pt x="9058" y="5721"/>
                  <a:pt x="9098" y="5713"/>
                </a:cubicBezTo>
                <a:cubicBezTo>
                  <a:pt x="9260" y="5700"/>
                  <a:pt x="9435" y="5671"/>
                  <a:pt x="9597" y="5645"/>
                </a:cubicBezTo>
                <a:cubicBezTo>
                  <a:pt x="9626" y="5645"/>
                  <a:pt x="9652" y="5632"/>
                  <a:pt x="9678" y="5619"/>
                </a:cubicBezTo>
                <a:cubicBezTo>
                  <a:pt x="9746" y="5551"/>
                  <a:pt x="9626" y="5457"/>
                  <a:pt x="9532" y="5457"/>
                </a:cubicBezTo>
                <a:cubicBezTo>
                  <a:pt x="9435" y="5457"/>
                  <a:pt x="9328" y="5483"/>
                  <a:pt x="9247" y="5538"/>
                </a:cubicBezTo>
                <a:cubicBezTo>
                  <a:pt x="9227" y="5452"/>
                  <a:pt x="9148" y="5402"/>
                  <a:pt x="9070" y="5402"/>
                </a:cubicBezTo>
                <a:cubicBezTo>
                  <a:pt x="9047" y="5402"/>
                  <a:pt x="9025" y="5406"/>
                  <a:pt x="9004" y="5415"/>
                </a:cubicBezTo>
                <a:cubicBezTo>
                  <a:pt x="8978" y="5444"/>
                  <a:pt x="8949" y="5457"/>
                  <a:pt x="8923" y="5470"/>
                </a:cubicBezTo>
                <a:cubicBezTo>
                  <a:pt x="8916" y="5471"/>
                  <a:pt x="8910" y="5472"/>
                  <a:pt x="8903" y="5472"/>
                </a:cubicBezTo>
                <a:cubicBezTo>
                  <a:pt x="8833" y="5472"/>
                  <a:pt x="8783" y="5410"/>
                  <a:pt x="8735" y="5363"/>
                </a:cubicBezTo>
                <a:cubicBezTo>
                  <a:pt x="8599" y="5201"/>
                  <a:pt x="8437" y="5065"/>
                  <a:pt x="8236" y="5010"/>
                </a:cubicBezTo>
                <a:cubicBezTo>
                  <a:pt x="8180" y="4996"/>
                  <a:pt x="8123" y="4988"/>
                  <a:pt x="8066" y="4988"/>
                </a:cubicBezTo>
                <a:cubicBezTo>
                  <a:pt x="7913" y="4988"/>
                  <a:pt x="7761" y="5041"/>
                  <a:pt x="7653" y="5159"/>
                </a:cubicBezTo>
                <a:cubicBezTo>
                  <a:pt x="7721" y="5078"/>
                  <a:pt x="7303" y="4848"/>
                  <a:pt x="7248" y="4835"/>
                </a:cubicBezTo>
                <a:cubicBezTo>
                  <a:pt x="7178" y="4810"/>
                  <a:pt x="7108" y="4795"/>
                  <a:pt x="7040" y="4795"/>
                </a:cubicBezTo>
                <a:cubicBezTo>
                  <a:pt x="6927" y="4795"/>
                  <a:pt x="6821" y="4835"/>
                  <a:pt x="6736" y="4929"/>
                </a:cubicBezTo>
                <a:cubicBezTo>
                  <a:pt x="6655" y="4537"/>
                  <a:pt x="6344" y="4200"/>
                  <a:pt x="5952" y="4106"/>
                </a:cubicBezTo>
                <a:cubicBezTo>
                  <a:pt x="5874" y="4087"/>
                  <a:pt x="5794" y="4078"/>
                  <a:pt x="5714" y="4078"/>
                </a:cubicBezTo>
                <a:cubicBezTo>
                  <a:pt x="5392" y="4078"/>
                  <a:pt x="5067" y="4223"/>
                  <a:pt x="4873" y="4472"/>
                </a:cubicBezTo>
                <a:cubicBezTo>
                  <a:pt x="4873" y="4275"/>
                  <a:pt x="4674" y="4135"/>
                  <a:pt x="4483" y="4135"/>
                </a:cubicBezTo>
                <a:cubicBezTo>
                  <a:pt x="4410" y="4135"/>
                  <a:pt x="4339" y="4155"/>
                  <a:pt x="4280" y="4200"/>
                </a:cubicBezTo>
                <a:cubicBezTo>
                  <a:pt x="4307" y="3976"/>
                  <a:pt x="4076" y="3810"/>
                  <a:pt x="3865" y="3810"/>
                </a:cubicBezTo>
                <a:cubicBezTo>
                  <a:pt x="3771" y="3810"/>
                  <a:pt x="3681" y="3843"/>
                  <a:pt x="3619" y="3918"/>
                </a:cubicBezTo>
                <a:cubicBezTo>
                  <a:pt x="3765" y="3458"/>
                  <a:pt x="3551" y="2904"/>
                  <a:pt x="3133" y="2690"/>
                </a:cubicBezTo>
                <a:cubicBezTo>
                  <a:pt x="2993" y="2620"/>
                  <a:pt x="2838" y="2587"/>
                  <a:pt x="2683" y="2587"/>
                </a:cubicBezTo>
                <a:cubicBezTo>
                  <a:pt x="2358" y="2587"/>
                  <a:pt x="2032" y="2734"/>
                  <a:pt x="1850" y="2998"/>
                </a:cubicBezTo>
                <a:cubicBezTo>
                  <a:pt x="1837" y="2674"/>
                  <a:pt x="1837" y="2337"/>
                  <a:pt x="1675" y="2055"/>
                </a:cubicBezTo>
                <a:cubicBezTo>
                  <a:pt x="1540" y="1839"/>
                  <a:pt x="1299" y="1679"/>
                  <a:pt x="1060" y="1679"/>
                </a:cubicBezTo>
                <a:cubicBezTo>
                  <a:pt x="984" y="1679"/>
                  <a:pt x="908" y="1695"/>
                  <a:pt x="836" y="1731"/>
                </a:cubicBezTo>
                <a:cubicBezTo>
                  <a:pt x="983" y="1498"/>
                  <a:pt x="753" y="1153"/>
                  <a:pt x="486" y="1153"/>
                </a:cubicBezTo>
                <a:cubicBezTo>
                  <a:pt x="459" y="1153"/>
                  <a:pt x="432" y="1157"/>
                  <a:pt x="405" y="1164"/>
                </a:cubicBezTo>
                <a:cubicBezTo>
                  <a:pt x="593" y="1109"/>
                  <a:pt x="486" y="584"/>
                  <a:pt x="431" y="474"/>
                </a:cubicBezTo>
                <a:cubicBezTo>
                  <a:pt x="350" y="260"/>
                  <a:pt x="188" y="98"/>
                  <a:pt x="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7" name="Google Shape;327;p11"/>
          <p:cNvSpPr/>
          <p:nvPr/>
        </p:nvSpPr>
        <p:spPr>
          <a:xfrm>
            <a:off x="-165295" y="3841842"/>
            <a:ext cx="12499755" cy="945404"/>
          </a:xfrm>
          <a:custGeom>
            <a:avLst/>
            <a:gdLst/>
            <a:ahLst/>
            <a:cxnLst/>
            <a:rect l="l" t="t" r="r" b="b"/>
            <a:pathLst>
              <a:path w="47603" h="5412" extrusionOk="0">
                <a:moveTo>
                  <a:pt x="36217" y="1"/>
                </a:moveTo>
                <a:cubicBezTo>
                  <a:pt x="34122" y="1"/>
                  <a:pt x="32206" y="1117"/>
                  <a:pt x="30593" y="1848"/>
                </a:cubicBezTo>
                <a:cubicBezTo>
                  <a:pt x="28988" y="2571"/>
                  <a:pt x="26764" y="3064"/>
                  <a:pt x="24764" y="3064"/>
                </a:cubicBezTo>
                <a:cubicBezTo>
                  <a:pt x="24713" y="3064"/>
                  <a:pt x="24662" y="3064"/>
                  <a:pt x="24612" y="3063"/>
                </a:cubicBezTo>
                <a:cubicBezTo>
                  <a:pt x="22331" y="3021"/>
                  <a:pt x="20361" y="2428"/>
                  <a:pt x="18579" y="1537"/>
                </a:cubicBezTo>
                <a:cubicBezTo>
                  <a:pt x="17746" y="1121"/>
                  <a:pt x="16926" y="962"/>
                  <a:pt x="16098" y="962"/>
                </a:cubicBezTo>
                <a:cubicBezTo>
                  <a:pt x="14857" y="962"/>
                  <a:pt x="13597" y="1318"/>
                  <a:pt x="12245" y="1699"/>
                </a:cubicBezTo>
                <a:cubicBezTo>
                  <a:pt x="10518" y="2185"/>
                  <a:pt x="10398" y="2820"/>
                  <a:pt x="474" y="4009"/>
                </a:cubicBezTo>
                <a:cubicBezTo>
                  <a:pt x="474" y="4521"/>
                  <a:pt x="1" y="5412"/>
                  <a:pt x="811" y="5412"/>
                </a:cubicBezTo>
                <a:lnTo>
                  <a:pt x="46563" y="5412"/>
                </a:lnTo>
                <a:cubicBezTo>
                  <a:pt x="47062" y="5412"/>
                  <a:pt x="47480" y="2522"/>
                  <a:pt x="47603" y="2065"/>
                </a:cubicBezTo>
                <a:cubicBezTo>
                  <a:pt x="45970" y="1955"/>
                  <a:pt x="44256" y="1874"/>
                  <a:pt x="42743" y="1443"/>
                </a:cubicBezTo>
                <a:cubicBezTo>
                  <a:pt x="40676" y="850"/>
                  <a:pt x="38868" y="160"/>
                  <a:pt x="36561" y="11"/>
                </a:cubicBezTo>
                <a:cubicBezTo>
                  <a:pt x="36446" y="4"/>
                  <a:pt x="36331" y="1"/>
                  <a:pt x="36217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8" name="Google Shape;328;p11"/>
          <p:cNvSpPr/>
          <p:nvPr/>
        </p:nvSpPr>
        <p:spPr>
          <a:xfrm>
            <a:off x="2186075" y="4192761"/>
            <a:ext cx="10111199" cy="1351865"/>
          </a:xfrm>
          <a:custGeom>
            <a:avLst/>
            <a:gdLst/>
            <a:ahLst/>
            <a:cxnLst/>
            <a:rect l="l" t="t" r="r" b="b"/>
            <a:pathLst>
              <a:path w="40877" h="7230" extrusionOk="0">
                <a:moveTo>
                  <a:pt x="40877" y="0"/>
                </a:moveTo>
                <a:cubicBezTo>
                  <a:pt x="38042" y="81"/>
                  <a:pt x="35058" y="201"/>
                  <a:pt x="31980" y="376"/>
                </a:cubicBezTo>
                <a:cubicBezTo>
                  <a:pt x="14189" y="1364"/>
                  <a:pt x="1" y="3603"/>
                  <a:pt x="296" y="5359"/>
                </a:cubicBezTo>
                <a:cubicBezTo>
                  <a:pt x="498" y="6559"/>
                  <a:pt x="7302" y="7230"/>
                  <a:pt x="17211" y="7230"/>
                </a:cubicBezTo>
                <a:cubicBezTo>
                  <a:pt x="21911" y="7230"/>
                  <a:pt x="27309" y="7079"/>
                  <a:pt x="33033" y="6762"/>
                </a:cubicBezTo>
                <a:cubicBezTo>
                  <a:pt x="35748" y="6600"/>
                  <a:pt x="38379" y="6425"/>
                  <a:pt x="40877" y="6224"/>
                </a:cubicBezTo>
                <a:lnTo>
                  <a:pt x="40877" y="0"/>
                </a:ln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9" name="Google Shape;329;p11"/>
          <p:cNvSpPr/>
          <p:nvPr/>
        </p:nvSpPr>
        <p:spPr>
          <a:xfrm>
            <a:off x="-77719" y="4521842"/>
            <a:ext cx="12412149" cy="1873913"/>
          </a:xfrm>
          <a:custGeom>
            <a:avLst/>
            <a:gdLst/>
            <a:ahLst/>
            <a:cxnLst/>
            <a:rect l="l" t="t" r="r" b="b"/>
            <a:pathLst>
              <a:path w="49599" h="10022" extrusionOk="0">
                <a:moveTo>
                  <a:pt x="3334" y="1"/>
                </a:moveTo>
                <a:cubicBezTo>
                  <a:pt x="2192" y="1"/>
                  <a:pt x="1080" y="8"/>
                  <a:pt x="1" y="22"/>
                </a:cubicBezTo>
                <a:lnTo>
                  <a:pt x="1" y="7811"/>
                </a:lnTo>
                <a:cubicBezTo>
                  <a:pt x="5833" y="8514"/>
                  <a:pt x="12624" y="9107"/>
                  <a:pt x="19914" y="9499"/>
                </a:cubicBezTo>
                <a:cubicBezTo>
                  <a:pt x="26275" y="9854"/>
                  <a:pt x="32318" y="10022"/>
                  <a:pt x="37716" y="10022"/>
                </a:cubicBezTo>
                <a:cubicBezTo>
                  <a:pt x="42180" y="10022"/>
                  <a:pt x="46202" y="9907"/>
                  <a:pt x="49599" y="9687"/>
                </a:cubicBezTo>
                <a:lnTo>
                  <a:pt x="49599" y="3382"/>
                </a:lnTo>
                <a:cubicBezTo>
                  <a:pt x="42445" y="2180"/>
                  <a:pt x="32495" y="1127"/>
                  <a:pt x="21411" y="521"/>
                </a:cubicBezTo>
                <a:cubicBezTo>
                  <a:pt x="14945" y="164"/>
                  <a:pt x="8802" y="1"/>
                  <a:pt x="3334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0" name="Google Shape;330;p11"/>
          <p:cNvSpPr/>
          <p:nvPr/>
        </p:nvSpPr>
        <p:spPr>
          <a:xfrm>
            <a:off x="4361557" y="4958520"/>
            <a:ext cx="1435659" cy="298233"/>
          </a:xfrm>
          <a:custGeom>
            <a:avLst/>
            <a:gdLst/>
            <a:ahLst/>
            <a:cxnLst/>
            <a:rect l="l" t="t" r="r" b="b"/>
            <a:pathLst>
              <a:path w="5804" h="1595" extrusionOk="0">
                <a:moveTo>
                  <a:pt x="3212" y="1135"/>
                </a:moveTo>
                <a:cubicBezTo>
                  <a:pt x="3215" y="1138"/>
                  <a:pt x="3217" y="1139"/>
                  <a:pt x="3218" y="1139"/>
                </a:cubicBezTo>
                <a:cubicBezTo>
                  <a:pt x="3219" y="1139"/>
                  <a:pt x="3219" y="1137"/>
                  <a:pt x="3218" y="1135"/>
                </a:cubicBezTo>
                <a:close/>
                <a:moveTo>
                  <a:pt x="2094" y="1"/>
                </a:moveTo>
                <a:cubicBezTo>
                  <a:pt x="2052" y="1"/>
                  <a:pt x="2026" y="43"/>
                  <a:pt x="1997" y="43"/>
                </a:cubicBezTo>
                <a:cubicBezTo>
                  <a:pt x="1971" y="43"/>
                  <a:pt x="1932" y="56"/>
                  <a:pt x="1903" y="56"/>
                </a:cubicBezTo>
                <a:cubicBezTo>
                  <a:pt x="1877" y="56"/>
                  <a:pt x="1851" y="43"/>
                  <a:pt x="1809" y="43"/>
                </a:cubicBezTo>
                <a:lnTo>
                  <a:pt x="1715" y="43"/>
                </a:lnTo>
                <a:cubicBezTo>
                  <a:pt x="1710" y="45"/>
                  <a:pt x="1705" y="46"/>
                  <a:pt x="1700" y="46"/>
                </a:cubicBezTo>
                <a:cubicBezTo>
                  <a:pt x="1678" y="46"/>
                  <a:pt x="1653" y="27"/>
                  <a:pt x="1621" y="27"/>
                </a:cubicBezTo>
                <a:cubicBezTo>
                  <a:pt x="1592" y="27"/>
                  <a:pt x="1566" y="95"/>
                  <a:pt x="1540" y="95"/>
                </a:cubicBezTo>
                <a:cubicBezTo>
                  <a:pt x="1511" y="108"/>
                  <a:pt x="1485" y="108"/>
                  <a:pt x="1459" y="124"/>
                </a:cubicBezTo>
                <a:cubicBezTo>
                  <a:pt x="1422" y="124"/>
                  <a:pt x="1388" y="92"/>
                  <a:pt x="1361" y="92"/>
                </a:cubicBezTo>
                <a:cubicBezTo>
                  <a:pt x="1357" y="92"/>
                  <a:pt x="1353" y="93"/>
                  <a:pt x="1349" y="95"/>
                </a:cubicBezTo>
                <a:cubicBezTo>
                  <a:pt x="1323" y="95"/>
                  <a:pt x="1297" y="108"/>
                  <a:pt x="1268" y="108"/>
                </a:cubicBezTo>
                <a:cubicBezTo>
                  <a:pt x="1229" y="124"/>
                  <a:pt x="1229" y="189"/>
                  <a:pt x="1203" y="189"/>
                </a:cubicBezTo>
                <a:cubicBezTo>
                  <a:pt x="1196" y="192"/>
                  <a:pt x="1189" y="193"/>
                  <a:pt x="1181" y="193"/>
                </a:cubicBezTo>
                <a:cubicBezTo>
                  <a:pt x="1150" y="193"/>
                  <a:pt x="1115" y="173"/>
                  <a:pt x="1092" y="173"/>
                </a:cubicBezTo>
                <a:cubicBezTo>
                  <a:pt x="1087" y="173"/>
                  <a:pt x="1083" y="174"/>
                  <a:pt x="1080" y="176"/>
                </a:cubicBezTo>
                <a:cubicBezTo>
                  <a:pt x="1054" y="205"/>
                  <a:pt x="1041" y="257"/>
                  <a:pt x="1041" y="270"/>
                </a:cubicBezTo>
                <a:cubicBezTo>
                  <a:pt x="1041" y="299"/>
                  <a:pt x="1067" y="325"/>
                  <a:pt x="1080" y="351"/>
                </a:cubicBezTo>
                <a:cubicBezTo>
                  <a:pt x="1093" y="367"/>
                  <a:pt x="1135" y="380"/>
                  <a:pt x="1161" y="393"/>
                </a:cubicBezTo>
                <a:cubicBezTo>
                  <a:pt x="1135" y="393"/>
                  <a:pt x="1080" y="406"/>
                  <a:pt x="1054" y="406"/>
                </a:cubicBezTo>
                <a:cubicBezTo>
                  <a:pt x="1025" y="406"/>
                  <a:pt x="999" y="380"/>
                  <a:pt x="960" y="380"/>
                </a:cubicBezTo>
                <a:cubicBezTo>
                  <a:pt x="931" y="380"/>
                  <a:pt x="905" y="432"/>
                  <a:pt x="879" y="432"/>
                </a:cubicBezTo>
                <a:cubicBezTo>
                  <a:pt x="853" y="432"/>
                  <a:pt x="819" y="391"/>
                  <a:pt x="792" y="391"/>
                </a:cubicBezTo>
                <a:cubicBezTo>
                  <a:pt x="788" y="391"/>
                  <a:pt x="785" y="392"/>
                  <a:pt x="782" y="393"/>
                </a:cubicBezTo>
                <a:lnTo>
                  <a:pt x="688" y="393"/>
                </a:lnTo>
                <a:cubicBezTo>
                  <a:pt x="662" y="393"/>
                  <a:pt x="636" y="419"/>
                  <a:pt x="607" y="432"/>
                </a:cubicBezTo>
                <a:cubicBezTo>
                  <a:pt x="576" y="432"/>
                  <a:pt x="551" y="415"/>
                  <a:pt x="529" y="415"/>
                </a:cubicBezTo>
                <a:cubicBezTo>
                  <a:pt x="523" y="415"/>
                  <a:pt x="518" y="416"/>
                  <a:pt x="513" y="419"/>
                </a:cubicBezTo>
                <a:cubicBezTo>
                  <a:pt x="474" y="419"/>
                  <a:pt x="445" y="448"/>
                  <a:pt x="419" y="448"/>
                </a:cubicBezTo>
                <a:cubicBezTo>
                  <a:pt x="410" y="452"/>
                  <a:pt x="400" y="454"/>
                  <a:pt x="389" y="454"/>
                </a:cubicBezTo>
                <a:cubicBezTo>
                  <a:pt x="367" y="454"/>
                  <a:pt x="342" y="448"/>
                  <a:pt x="325" y="448"/>
                </a:cubicBezTo>
                <a:cubicBezTo>
                  <a:pt x="296" y="461"/>
                  <a:pt x="283" y="500"/>
                  <a:pt x="257" y="513"/>
                </a:cubicBezTo>
                <a:cubicBezTo>
                  <a:pt x="215" y="513"/>
                  <a:pt x="189" y="542"/>
                  <a:pt x="176" y="542"/>
                </a:cubicBezTo>
                <a:cubicBezTo>
                  <a:pt x="155" y="548"/>
                  <a:pt x="135" y="548"/>
                  <a:pt x="116" y="548"/>
                </a:cubicBezTo>
                <a:cubicBezTo>
                  <a:pt x="98" y="548"/>
                  <a:pt x="82" y="548"/>
                  <a:pt x="69" y="555"/>
                </a:cubicBezTo>
                <a:cubicBezTo>
                  <a:pt x="40" y="581"/>
                  <a:pt x="1" y="610"/>
                  <a:pt x="1" y="636"/>
                </a:cubicBezTo>
                <a:cubicBezTo>
                  <a:pt x="1" y="662"/>
                  <a:pt x="27" y="717"/>
                  <a:pt x="53" y="743"/>
                </a:cubicBezTo>
                <a:cubicBezTo>
                  <a:pt x="82" y="756"/>
                  <a:pt x="121" y="756"/>
                  <a:pt x="150" y="772"/>
                </a:cubicBezTo>
                <a:cubicBezTo>
                  <a:pt x="163" y="779"/>
                  <a:pt x="179" y="779"/>
                  <a:pt x="196" y="779"/>
                </a:cubicBezTo>
                <a:cubicBezTo>
                  <a:pt x="212" y="779"/>
                  <a:pt x="229" y="779"/>
                  <a:pt x="244" y="785"/>
                </a:cubicBezTo>
                <a:cubicBezTo>
                  <a:pt x="270" y="798"/>
                  <a:pt x="296" y="811"/>
                  <a:pt x="338" y="824"/>
                </a:cubicBezTo>
                <a:cubicBezTo>
                  <a:pt x="364" y="824"/>
                  <a:pt x="377" y="879"/>
                  <a:pt x="406" y="892"/>
                </a:cubicBezTo>
                <a:cubicBezTo>
                  <a:pt x="437" y="892"/>
                  <a:pt x="470" y="875"/>
                  <a:pt x="495" y="875"/>
                </a:cubicBezTo>
                <a:cubicBezTo>
                  <a:pt x="502" y="875"/>
                  <a:pt x="508" y="876"/>
                  <a:pt x="513" y="879"/>
                </a:cubicBezTo>
                <a:cubicBezTo>
                  <a:pt x="539" y="879"/>
                  <a:pt x="568" y="905"/>
                  <a:pt x="594" y="918"/>
                </a:cubicBezTo>
                <a:cubicBezTo>
                  <a:pt x="620" y="918"/>
                  <a:pt x="662" y="905"/>
                  <a:pt x="688" y="905"/>
                </a:cubicBezTo>
                <a:cubicBezTo>
                  <a:pt x="730" y="918"/>
                  <a:pt x="756" y="960"/>
                  <a:pt x="782" y="960"/>
                </a:cubicBezTo>
                <a:cubicBezTo>
                  <a:pt x="811" y="973"/>
                  <a:pt x="837" y="986"/>
                  <a:pt x="879" y="986"/>
                </a:cubicBezTo>
                <a:cubicBezTo>
                  <a:pt x="905" y="986"/>
                  <a:pt x="944" y="960"/>
                  <a:pt x="973" y="960"/>
                </a:cubicBezTo>
                <a:cubicBezTo>
                  <a:pt x="999" y="973"/>
                  <a:pt x="1054" y="973"/>
                  <a:pt x="1080" y="973"/>
                </a:cubicBezTo>
                <a:cubicBezTo>
                  <a:pt x="1054" y="986"/>
                  <a:pt x="999" y="1015"/>
                  <a:pt x="999" y="1041"/>
                </a:cubicBezTo>
                <a:cubicBezTo>
                  <a:pt x="999" y="1054"/>
                  <a:pt x="999" y="1067"/>
                  <a:pt x="1025" y="1096"/>
                </a:cubicBezTo>
                <a:cubicBezTo>
                  <a:pt x="986" y="1096"/>
                  <a:pt x="999" y="1122"/>
                  <a:pt x="960" y="1122"/>
                </a:cubicBezTo>
                <a:cubicBezTo>
                  <a:pt x="931" y="1122"/>
                  <a:pt x="905" y="1080"/>
                  <a:pt x="863" y="1080"/>
                </a:cubicBezTo>
                <a:cubicBezTo>
                  <a:pt x="837" y="1080"/>
                  <a:pt x="811" y="1135"/>
                  <a:pt x="782" y="1135"/>
                </a:cubicBezTo>
                <a:cubicBezTo>
                  <a:pt x="743" y="1135"/>
                  <a:pt x="717" y="1109"/>
                  <a:pt x="688" y="1109"/>
                </a:cubicBezTo>
                <a:cubicBezTo>
                  <a:pt x="649" y="1109"/>
                  <a:pt x="620" y="1096"/>
                  <a:pt x="594" y="1096"/>
                </a:cubicBezTo>
                <a:cubicBezTo>
                  <a:pt x="555" y="1109"/>
                  <a:pt x="526" y="1122"/>
                  <a:pt x="500" y="1122"/>
                </a:cubicBezTo>
                <a:cubicBezTo>
                  <a:pt x="494" y="1124"/>
                  <a:pt x="488" y="1125"/>
                  <a:pt x="482" y="1125"/>
                </a:cubicBezTo>
                <a:cubicBezTo>
                  <a:pt x="455" y="1125"/>
                  <a:pt x="434" y="1106"/>
                  <a:pt x="409" y="1106"/>
                </a:cubicBezTo>
                <a:cubicBezTo>
                  <a:pt x="404" y="1106"/>
                  <a:pt x="399" y="1107"/>
                  <a:pt x="393" y="1109"/>
                </a:cubicBezTo>
                <a:cubicBezTo>
                  <a:pt x="364" y="1109"/>
                  <a:pt x="351" y="1177"/>
                  <a:pt x="312" y="1177"/>
                </a:cubicBezTo>
                <a:cubicBezTo>
                  <a:pt x="297" y="1184"/>
                  <a:pt x="280" y="1184"/>
                  <a:pt x="263" y="1184"/>
                </a:cubicBezTo>
                <a:cubicBezTo>
                  <a:pt x="246" y="1184"/>
                  <a:pt x="229" y="1184"/>
                  <a:pt x="215" y="1190"/>
                </a:cubicBezTo>
                <a:cubicBezTo>
                  <a:pt x="189" y="1190"/>
                  <a:pt x="176" y="1229"/>
                  <a:pt x="150" y="1242"/>
                </a:cubicBezTo>
                <a:cubicBezTo>
                  <a:pt x="108" y="1258"/>
                  <a:pt x="40" y="1258"/>
                  <a:pt x="40" y="1284"/>
                </a:cubicBezTo>
                <a:cubicBezTo>
                  <a:pt x="40" y="1310"/>
                  <a:pt x="82" y="1339"/>
                  <a:pt x="121" y="1365"/>
                </a:cubicBezTo>
                <a:cubicBezTo>
                  <a:pt x="134" y="1378"/>
                  <a:pt x="163" y="1391"/>
                  <a:pt x="202" y="1404"/>
                </a:cubicBezTo>
                <a:cubicBezTo>
                  <a:pt x="204" y="1407"/>
                  <a:pt x="207" y="1408"/>
                  <a:pt x="211" y="1408"/>
                </a:cubicBezTo>
                <a:cubicBezTo>
                  <a:pt x="229" y="1408"/>
                  <a:pt x="261" y="1388"/>
                  <a:pt x="284" y="1388"/>
                </a:cubicBezTo>
                <a:cubicBezTo>
                  <a:pt x="288" y="1388"/>
                  <a:pt x="292" y="1389"/>
                  <a:pt x="296" y="1391"/>
                </a:cubicBezTo>
                <a:cubicBezTo>
                  <a:pt x="325" y="1404"/>
                  <a:pt x="338" y="1446"/>
                  <a:pt x="364" y="1459"/>
                </a:cubicBezTo>
                <a:cubicBezTo>
                  <a:pt x="393" y="1459"/>
                  <a:pt x="419" y="1485"/>
                  <a:pt x="458" y="1485"/>
                </a:cubicBezTo>
                <a:lnTo>
                  <a:pt x="539" y="1485"/>
                </a:lnTo>
                <a:cubicBezTo>
                  <a:pt x="568" y="1485"/>
                  <a:pt x="594" y="1527"/>
                  <a:pt x="620" y="1540"/>
                </a:cubicBezTo>
                <a:cubicBezTo>
                  <a:pt x="662" y="1540"/>
                  <a:pt x="688" y="1514"/>
                  <a:pt x="717" y="1514"/>
                </a:cubicBezTo>
                <a:cubicBezTo>
                  <a:pt x="726" y="1518"/>
                  <a:pt x="736" y="1520"/>
                  <a:pt x="746" y="1520"/>
                </a:cubicBezTo>
                <a:cubicBezTo>
                  <a:pt x="768" y="1520"/>
                  <a:pt x="791" y="1514"/>
                  <a:pt x="811" y="1514"/>
                </a:cubicBezTo>
                <a:cubicBezTo>
                  <a:pt x="837" y="1527"/>
                  <a:pt x="863" y="1566"/>
                  <a:pt x="892" y="1566"/>
                </a:cubicBezTo>
                <a:lnTo>
                  <a:pt x="986" y="1566"/>
                </a:lnTo>
                <a:cubicBezTo>
                  <a:pt x="1012" y="1566"/>
                  <a:pt x="1041" y="1582"/>
                  <a:pt x="1080" y="1582"/>
                </a:cubicBezTo>
                <a:cubicBezTo>
                  <a:pt x="1106" y="1582"/>
                  <a:pt x="1135" y="1566"/>
                  <a:pt x="1161" y="1566"/>
                </a:cubicBezTo>
                <a:lnTo>
                  <a:pt x="1255" y="1566"/>
                </a:lnTo>
                <a:cubicBezTo>
                  <a:pt x="1284" y="1566"/>
                  <a:pt x="1310" y="1553"/>
                  <a:pt x="1336" y="1553"/>
                </a:cubicBezTo>
                <a:cubicBezTo>
                  <a:pt x="1378" y="1553"/>
                  <a:pt x="1404" y="1595"/>
                  <a:pt x="1430" y="1595"/>
                </a:cubicBezTo>
                <a:cubicBezTo>
                  <a:pt x="1459" y="1595"/>
                  <a:pt x="1485" y="1540"/>
                  <a:pt x="1527" y="1540"/>
                </a:cubicBezTo>
                <a:cubicBezTo>
                  <a:pt x="1553" y="1540"/>
                  <a:pt x="1579" y="1566"/>
                  <a:pt x="1608" y="1566"/>
                </a:cubicBezTo>
                <a:cubicBezTo>
                  <a:pt x="1647" y="1566"/>
                  <a:pt x="1673" y="1527"/>
                  <a:pt x="1702" y="1527"/>
                </a:cubicBezTo>
                <a:cubicBezTo>
                  <a:pt x="1728" y="1527"/>
                  <a:pt x="1770" y="1582"/>
                  <a:pt x="1796" y="1582"/>
                </a:cubicBezTo>
                <a:cubicBezTo>
                  <a:pt x="1822" y="1566"/>
                  <a:pt x="1851" y="1514"/>
                  <a:pt x="1877" y="1514"/>
                </a:cubicBezTo>
                <a:cubicBezTo>
                  <a:pt x="1882" y="1511"/>
                  <a:pt x="1888" y="1510"/>
                  <a:pt x="1894" y="1510"/>
                </a:cubicBezTo>
                <a:cubicBezTo>
                  <a:pt x="1909" y="1510"/>
                  <a:pt x="1925" y="1518"/>
                  <a:pt x="1941" y="1518"/>
                </a:cubicBezTo>
                <a:cubicBezTo>
                  <a:pt x="1947" y="1518"/>
                  <a:pt x="1952" y="1517"/>
                  <a:pt x="1958" y="1514"/>
                </a:cubicBezTo>
                <a:cubicBezTo>
                  <a:pt x="1997" y="1514"/>
                  <a:pt x="2039" y="1540"/>
                  <a:pt x="2065" y="1540"/>
                </a:cubicBezTo>
                <a:cubicBezTo>
                  <a:pt x="2094" y="1527"/>
                  <a:pt x="2107" y="1459"/>
                  <a:pt x="2133" y="1459"/>
                </a:cubicBezTo>
                <a:cubicBezTo>
                  <a:pt x="2159" y="1446"/>
                  <a:pt x="2188" y="1446"/>
                  <a:pt x="2214" y="1433"/>
                </a:cubicBezTo>
                <a:cubicBezTo>
                  <a:pt x="2240" y="1404"/>
                  <a:pt x="2282" y="1404"/>
                  <a:pt x="2282" y="1378"/>
                </a:cubicBezTo>
                <a:cubicBezTo>
                  <a:pt x="2282" y="1365"/>
                  <a:pt x="2282" y="1352"/>
                  <a:pt x="2256" y="1323"/>
                </a:cubicBezTo>
                <a:cubicBezTo>
                  <a:pt x="2282" y="1323"/>
                  <a:pt x="2295" y="1310"/>
                  <a:pt x="2337" y="1310"/>
                </a:cubicBezTo>
                <a:cubicBezTo>
                  <a:pt x="2363" y="1310"/>
                  <a:pt x="2389" y="1323"/>
                  <a:pt x="2431" y="1323"/>
                </a:cubicBezTo>
                <a:cubicBezTo>
                  <a:pt x="2457" y="1323"/>
                  <a:pt x="2483" y="1284"/>
                  <a:pt x="2512" y="1284"/>
                </a:cubicBezTo>
                <a:cubicBezTo>
                  <a:pt x="2551" y="1284"/>
                  <a:pt x="2580" y="1323"/>
                  <a:pt x="2606" y="1323"/>
                </a:cubicBezTo>
                <a:cubicBezTo>
                  <a:pt x="2645" y="1323"/>
                  <a:pt x="2674" y="1339"/>
                  <a:pt x="2713" y="1339"/>
                </a:cubicBezTo>
                <a:cubicBezTo>
                  <a:pt x="2742" y="1323"/>
                  <a:pt x="2768" y="1284"/>
                  <a:pt x="2794" y="1284"/>
                </a:cubicBezTo>
                <a:lnTo>
                  <a:pt x="2888" y="1284"/>
                </a:lnTo>
                <a:cubicBezTo>
                  <a:pt x="2930" y="1284"/>
                  <a:pt x="2956" y="1284"/>
                  <a:pt x="2985" y="1271"/>
                </a:cubicBezTo>
                <a:cubicBezTo>
                  <a:pt x="3024" y="1271"/>
                  <a:pt x="3037" y="1216"/>
                  <a:pt x="3066" y="1203"/>
                </a:cubicBezTo>
                <a:cubicBezTo>
                  <a:pt x="3105" y="1203"/>
                  <a:pt x="3118" y="1190"/>
                  <a:pt x="3147" y="1177"/>
                </a:cubicBezTo>
                <a:cubicBezTo>
                  <a:pt x="3173" y="1148"/>
                  <a:pt x="3212" y="1161"/>
                  <a:pt x="3212" y="1135"/>
                </a:cubicBezTo>
                <a:cubicBezTo>
                  <a:pt x="3212" y="1132"/>
                  <a:pt x="3212" y="1131"/>
                  <a:pt x="3213" y="1131"/>
                </a:cubicBezTo>
                <a:cubicBezTo>
                  <a:pt x="3215" y="1131"/>
                  <a:pt x="3217" y="1133"/>
                  <a:pt x="3218" y="1135"/>
                </a:cubicBezTo>
                <a:lnTo>
                  <a:pt x="3309" y="1135"/>
                </a:lnTo>
                <a:cubicBezTo>
                  <a:pt x="3335" y="1135"/>
                  <a:pt x="3374" y="1096"/>
                  <a:pt x="3403" y="1096"/>
                </a:cubicBezTo>
                <a:cubicBezTo>
                  <a:pt x="3429" y="1109"/>
                  <a:pt x="3455" y="1177"/>
                  <a:pt x="3484" y="1177"/>
                </a:cubicBezTo>
                <a:cubicBezTo>
                  <a:pt x="3523" y="1177"/>
                  <a:pt x="3565" y="1122"/>
                  <a:pt x="3591" y="1122"/>
                </a:cubicBezTo>
                <a:cubicBezTo>
                  <a:pt x="3591" y="1135"/>
                  <a:pt x="3604" y="1161"/>
                  <a:pt x="3604" y="1177"/>
                </a:cubicBezTo>
                <a:cubicBezTo>
                  <a:pt x="3604" y="1203"/>
                  <a:pt x="3591" y="1229"/>
                  <a:pt x="3617" y="1242"/>
                </a:cubicBezTo>
                <a:cubicBezTo>
                  <a:pt x="3646" y="1258"/>
                  <a:pt x="3659" y="1284"/>
                  <a:pt x="3698" y="1297"/>
                </a:cubicBezTo>
                <a:cubicBezTo>
                  <a:pt x="3727" y="1310"/>
                  <a:pt x="3753" y="1339"/>
                  <a:pt x="3779" y="1352"/>
                </a:cubicBezTo>
                <a:cubicBezTo>
                  <a:pt x="3808" y="1352"/>
                  <a:pt x="3847" y="1310"/>
                  <a:pt x="3876" y="1310"/>
                </a:cubicBezTo>
                <a:cubicBezTo>
                  <a:pt x="3902" y="1323"/>
                  <a:pt x="3928" y="1365"/>
                  <a:pt x="3957" y="1378"/>
                </a:cubicBezTo>
                <a:cubicBezTo>
                  <a:pt x="3983" y="1378"/>
                  <a:pt x="4022" y="1352"/>
                  <a:pt x="4051" y="1352"/>
                </a:cubicBezTo>
                <a:cubicBezTo>
                  <a:pt x="4077" y="1365"/>
                  <a:pt x="4103" y="1404"/>
                  <a:pt x="4132" y="1404"/>
                </a:cubicBezTo>
                <a:cubicBezTo>
                  <a:pt x="4158" y="1420"/>
                  <a:pt x="4184" y="1446"/>
                  <a:pt x="4213" y="1446"/>
                </a:cubicBezTo>
                <a:cubicBezTo>
                  <a:pt x="4239" y="1446"/>
                  <a:pt x="4281" y="1391"/>
                  <a:pt x="4307" y="1391"/>
                </a:cubicBezTo>
                <a:cubicBezTo>
                  <a:pt x="4346" y="1391"/>
                  <a:pt x="4375" y="1433"/>
                  <a:pt x="4401" y="1433"/>
                </a:cubicBezTo>
                <a:cubicBezTo>
                  <a:pt x="4427" y="1446"/>
                  <a:pt x="4456" y="1459"/>
                  <a:pt x="4482" y="1459"/>
                </a:cubicBezTo>
                <a:cubicBezTo>
                  <a:pt x="4503" y="1459"/>
                  <a:pt x="4534" y="1442"/>
                  <a:pt x="4558" y="1442"/>
                </a:cubicBezTo>
                <a:cubicBezTo>
                  <a:pt x="4565" y="1442"/>
                  <a:pt x="4571" y="1443"/>
                  <a:pt x="4576" y="1446"/>
                </a:cubicBezTo>
                <a:cubicBezTo>
                  <a:pt x="4605" y="1446"/>
                  <a:pt x="4631" y="1459"/>
                  <a:pt x="4670" y="1459"/>
                </a:cubicBezTo>
                <a:cubicBezTo>
                  <a:pt x="4699" y="1472"/>
                  <a:pt x="4725" y="1485"/>
                  <a:pt x="4751" y="1485"/>
                </a:cubicBezTo>
                <a:cubicBezTo>
                  <a:pt x="4780" y="1485"/>
                  <a:pt x="4819" y="1420"/>
                  <a:pt x="4848" y="1420"/>
                </a:cubicBezTo>
                <a:cubicBezTo>
                  <a:pt x="4874" y="1433"/>
                  <a:pt x="4900" y="1446"/>
                  <a:pt x="4929" y="1446"/>
                </a:cubicBezTo>
                <a:cubicBezTo>
                  <a:pt x="4968" y="1446"/>
                  <a:pt x="4994" y="1472"/>
                  <a:pt x="5023" y="1472"/>
                </a:cubicBezTo>
                <a:cubicBezTo>
                  <a:pt x="5049" y="1459"/>
                  <a:pt x="5075" y="1433"/>
                  <a:pt x="5117" y="1433"/>
                </a:cubicBezTo>
                <a:cubicBezTo>
                  <a:pt x="5125" y="1429"/>
                  <a:pt x="5134" y="1427"/>
                  <a:pt x="5144" y="1427"/>
                </a:cubicBezTo>
                <a:cubicBezTo>
                  <a:pt x="5162" y="1427"/>
                  <a:pt x="5181" y="1433"/>
                  <a:pt x="5198" y="1433"/>
                </a:cubicBezTo>
                <a:cubicBezTo>
                  <a:pt x="5206" y="1429"/>
                  <a:pt x="5217" y="1427"/>
                  <a:pt x="5228" y="1427"/>
                </a:cubicBezTo>
                <a:cubicBezTo>
                  <a:pt x="5250" y="1427"/>
                  <a:pt x="5274" y="1433"/>
                  <a:pt x="5292" y="1433"/>
                </a:cubicBezTo>
                <a:cubicBezTo>
                  <a:pt x="5318" y="1433"/>
                  <a:pt x="5360" y="1459"/>
                  <a:pt x="5386" y="1459"/>
                </a:cubicBezTo>
                <a:cubicBezTo>
                  <a:pt x="5415" y="1459"/>
                  <a:pt x="5441" y="1420"/>
                  <a:pt x="5467" y="1404"/>
                </a:cubicBezTo>
                <a:cubicBezTo>
                  <a:pt x="5496" y="1404"/>
                  <a:pt x="5522" y="1378"/>
                  <a:pt x="5548" y="1365"/>
                </a:cubicBezTo>
                <a:cubicBezTo>
                  <a:pt x="5567" y="1365"/>
                  <a:pt x="5591" y="1371"/>
                  <a:pt x="5612" y="1371"/>
                </a:cubicBezTo>
                <a:cubicBezTo>
                  <a:pt x="5623" y="1371"/>
                  <a:pt x="5633" y="1369"/>
                  <a:pt x="5642" y="1365"/>
                </a:cubicBezTo>
                <a:cubicBezTo>
                  <a:pt x="5661" y="1365"/>
                  <a:pt x="5685" y="1371"/>
                  <a:pt x="5707" y="1371"/>
                </a:cubicBezTo>
                <a:cubicBezTo>
                  <a:pt x="5718" y="1371"/>
                  <a:pt x="5729" y="1369"/>
                  <a:pt x="5739" y="1365"/>
                </a:cubicBezTo>
                <a:cubicBezTo>
                  <a:pt x="5765" y="1339"/>
                  <a:pt x="5804" y="1297"/>
                  <a:pt x="5804" y="1271"/>
                </a:cubicBezTo>
                <a:cubicBezTo>
                  <a:pt x="5804" y="1258"/>
                  <a:pt x="5778" y="1203"/>
                  <a:pt x="5739" y="1190"/>
                </a:cubicBezTo>
                <a:cubicBezTo>
                  <a:pt x="5723" y="1177"/>
                  <a:pt x="5697" y="1148"/>
                  <a:pt x="5671" y="1135"/>
                </a:cubicBezTo>
                <a:cubicBezTo>
                  <a:pt x="5665" y="1132"/>
                  <a:pt x="5658" y="1131"/>
                  <a:pt x="5651" y="1131"/>
                </a:cubicBezTo>
                <a:cubicBezTo>
                  <a:pt x="5633" y="1131"/>
                  <a:pt x="5612" y="1139"/>
                  <a:pt x="5595" y="1139"/>
                </a:cubicBezTo>
                <a:cubicBezTo>
                  <a:pt x="5588" y="1139"/>
                  <a:pt x="5582" y="1138"/>
                  <a:pt x="5577" y="1135"/>
                </a:cubicBezTo>
                <a:cubicBezTo>
                  <a:pt x="5548" y="1135"/>
                  <a:pt x="5522" y="1122"/>
                  <a:pt x="5496" y="1122"/>
                </a:cubicBezTo>
                <a:cubicBezTo>
                  <a:pt x="5467" y="1109"/>
                  <a:pt x="5441" y="1096"/>
                  <a:pt x="5415" y="1080"/>
                </a:cubicBezTo>
                <a:cubicBezTo>
                  <a:pt x="5386" y="1080"/>
                  <a:pt x="5347" y="1096"/>
                  <a:pt x="5318" y="1096"/>
                </a:cubicBezTo>
                <a:cubicBezTo>
                  <a:pt x="5292" y="1096"/>
                  <a:pt x="5266" y="1041"/>
                  <a:pt x="5237" y="1041"/>
                </a:cubicBezTo>
                <a:cubicBezTo>
                  <a:pt x="5211" y="1041"/>
                  <a:pt x="5156" y="1041"/>
                  <a:pt x="5130" y="1028"/>
                </a:cubicBezTo>
                <a:cubicBezTo>
                  <a:pt x="5156" y="1015"/>
                  <a:pt x="5211" y="999"/>
                  <a:pt x="5237" y="986"/>
                </a:cubicBezTo>
                <a:cubicBezTo>
                  <a:pt x="5266" y="960"/>
                  <a:pt x="5305" y="947"/>
                  <a:pt x="5305" y="918"/>
                </a:cubicBezTo>
                <a:cubicBezTo>
                  <a:pt x="5305" y="892"/>
                  <a:pt x="5253" y="892"/>
                  <a:pt x="5224" y="866"/>
                </a:cubicBezTo>
                <a:cubicBezTo>
                  <a:pt x="5198" y="853"/>
                  <a:pt x="5198" y="824"/>
                  <a:pt x="5172" y="798"/>
                </a:cubicBezTo>
                <a:cubicBezTo>
                  <a:pt x="5143" y="785"/>
                  <a:pt x="5130" y="730"/>
                  <a:pt x="5104" y="717"/>
                </a:cubicBezTo>
                <a:cubicBezTo>
                  <a:pt x="5098" y="714"/>
                  <a:pt x="5091" y="713"/>
                  <a:pt x="5084" y="713"/>
                </a:cubicBezTo>
                <a:cubicBezTo>
                  <a:pt x="5065" y="713"/>
                  <a:pt x="5043" y="721"/>
                  <a:pt x="5020" y="721"/>
                </a:cubicBezTo>
                <a:cubicBezTo>
                  <a:pt x="5011" y="721"/>
                  <a:pt x="5003" y="720"/>
                  <a:pt x="4994" y="717"/>
                </a:cubicBezTo>
                <a:cubicBezTo>
                  <a:pt x="4968" y="717"/>
                  <a:pt x="4942" y="704"/>
                  <a:pt x="4913" y="704"/>
                </a:cubicBezTo>
                <a:cubicBezTo>
                  <a:pt x="4887" y="691"/>
                  <a:pt x="4861" y="649"/>
                  <a:pt x="4832" y="649"/>
                </a:cubicBezTo>
                <a:cubicBezTo>
                  <a:pt x="4827" y="646"/>
                  <a:pt x="4821" y="645"/>
                  <a:pt x="4815" y="645"/>
                </a:cubicBezTo>
                <a:cubicBezTo>
                  <a:pt x="4791" y="645"/>
                  <a:pt x="4761" y="662"/>
                  <a:pt x="4738" y="662"/>
                </a:cubicBezTo>
                <a:cubicBezTo>
                  <a:pt x="4699" y="662"/>
                  <a:pt x="4686" y="610"/>
                  <a:pt x="4657" y="594"/>
                </a:cubicBezTo>
                <a:cubicBezTo>
                  <a:pt x="4625" y="594"/>
                  <a:pt x="4600" y="613"/>
                  <a:pt x="4570" y="613"/>
                </a:cubicBezTo>
                <a:cubicBezTo>
                  <a:pt x="4564" y="613"/>
                  <a:pt x="4557" y="612"/>
                  <a:pt x="4550" y="610"/>
                </a:cubicBezTo>
                <a:cubicBezTo>
                  <a:pt x="4524" y="610"/>
                  <a:pt x="4495" y="581"/>
                  <a:pt x="4469" y="568"/>
                </a:cubicBezTo>
                <a:cubicBezTo>
                  <a:pt x="4445" y="568"/>
                  <a:pt x="4408" y="625"/>
                  <a:pt x="4382" y="625"/>
                </a:cubicBezTo>
                <a:cubicBezTo>
                  <a:pt x="4379" y="625"/>
                  <a:pt x="4377" y="624"/>
                  <a:pt x="4375" y="623"/>
                </a:cubicBezTo>
                <a:cubicBezTo>
                  <a:pt x="4333" y="623"/>
                  <a:pt x="4307" y="594"/>
                  <a:pt x="4281" y="594"/>
                </a:cubicBezTo>
                <a:cubicBezTo>
                  <a:pt x="4252" y="581"/>
                  <a:pt x="4226" y="568"/>
                  <a:pt x="4200" y="568"/>
                </a:cubicBezTo>
                <a:cubicBezTo>
                  <a:pt x="4158" y="555"/>
                  <a:pt x="4132" y="555"/>
                  <a:pt x="4103" y="555"/>
                </a:cubicBezTo>
                <a:cubicBezTo>
                  <a:pt x="4077" y="555"/>
                  <a:pt x="4038" y="594"/>
                  <a:pt x="4009" y="594"/>
                </a:cubicBezTo>
                <a:cubicBezTo>
                  <a:pt x="3983" y="594"/>
                  <a:pt x="3941" y="581"/>
                  <a:pt x="3915" y="581"/>
                </a:cubicBezTo>
                <a:cubicBezTo>
                  <a:pt x="3889" y="581"/>
                  <a:pt x="3860" y="555"/>
                  <a:pt x="3834" y="542"/>
                </a:cubicBezTo>
                <a:cubicBezTo>
                  <a:pt x="3851" y="542"/>
                  <a:pt x="3870" y="548"/>
                  <a:pt x="3888" y="548"/>
                </a:cubicBezTo>
                <a:cubicBezTo>
                  <a:pt x="3897" y="548"/>
                  <a:pt x="3906" y="546"/>
                  <a:pt x="3915" y="542"/>
                </a:cubicBezTo>
                <a:cubicBezTo>
                  <a:pt x="3941" y="529"/>
                  <a:pt x="3970" y="513"/>
                  <a:pt x="3996" y="500"/>
                </a:cubicBezTo>
                <a:cubicBezTo>
                  <a:pt x="4022" y="474"/>
                  <a:pt x="3996" y="432"/>
                  <a:pt x="3996" y="406"/>
                </a:cubicBezTo>
                <a:cubicBezTo>
                  <a:pt x="3996" y="380"/>
                  <a:pt x="3983" y="380"/>
                  <a:pt x="3957" y="351"/>
                </a:cubicBezTo>
                <a:cubicBezTo>
                  <a:pt x="3928" y="338"/>
                  <a:pt x="3928" y="299"/>
                  <a:pt x="3902" y="286"/>
                </a:cubicBezTo>
                <a:cubicBezTo>
                  <a:pt x="3889" y="278"/>
                  <a:pt x="3872" y="278"/>
                  <a:pt x="3855" y="278"/>
                </a:cubicBezTo>
                <a:cubicBezTo>
                  <a:pt x="3838" y="278"/>
                  <a:pt x="3821" y="278"/>
                  <a:pt x="3808" y="270"/>
                </a:cubicBezTo>
                <a:cubicBezTo>
                  <a:pt x="3779" y="270"/>
                  <a:pt x="3753" y="218"/>
                  <a:pt x="3727" y="205"/>
                </a:cubicBezTo>
                <a:lnTo>
                  <a:pt x="3633" y="205"/>
                </a:lnTo>
                <a:cubicBezTo>
                  <a:pt x="3618" y="197"/>
                  <a:pt x="3605" y="197"/>
                  <a:pt x="3589" y="197"/>
                </a:cubicBezTo>
                <a:cubicBezTo>
                  <a:pt x="3574" y="197"/>
                  <a:pt x="3557" y="197"/>
                  <a:pt x="3536" y="189"/>
                </a:cubicBezTo>
                <a:cubicBezTo>
                  <a:pt x="3510" y="189"/>
                  <a:pt x="3484" y="163"/>
                  <a:pt x="3455" y="150"/>
                </a:cubicBezTo>
                <a:cubicBezTo>
                  <a:pt x="3429" y="150"/>
                  <a:pt x="3403" y="137"/>
                  <a:pt x="3374" y="137"/>
                </a:cubicBezTo>
                <a:cubicBezTo>
                  <a:pt x="3335" y="124"/>
                  <a:pt x="3322" y="82"/>
                  <a:pt x="3280" y="69"/>
                </a:cubicBezTo>
                <a:cubicBezTo>
                  <a:pt x="3254" y="69"/>
                  <a:pt x="3228" y="82"/>
                  <a:pt x="3186" y="82"/>
                </a:cubicBezTo>
                <a:cubicBezTo>
                  <a:pt x="3160" y="69"/>
                  <a:pt x="3131" y="69"/>
                  <a:pt x="3105" y="56"/>
                </a:cubicBezTo>
                <a:cubicBezTo>
                  <a:pt x="3071" y="56"/>
                  <a:pt x="3045" y="85"/>
                  <a:pt x="3022" y="85"/>
                </a:cubicBezTo>
                <a:cubicBezTo>
                  <a:pt x="3018" y="85"/>
                  <a:pt x="3015" y="84"/>
                  <a:pt x="3011" y="82"/>
                </a:cubicBezTo>
                <a:cubicBezTo>
                  <a:pt x="2969" y="82"/>
                  <a:pt x="2943" y="43"/>
                  <a:pt x="2917" y="27"/>
                </a:cubicBezTo>
                <a:cubicBezTo>
                  <a:pt x="2888" y="27"/>
                  <a:pt x="2849" y="69"/>
                  <a:pt x="2823" y="69"/>
                </a:cubicBezTo>
                <a:lnTo>
                  <a:pt x="2726" y="69"/>
                </a:lnTo>
                <a:cubicBezTo>
                  <a:pt x="2700" y="69"/>
                  <a:pt x="2674" y="43"/>
                  <a:pt x="2645" y="43"/>
                </a:cubicBezTo>
                <a:cubicBezTo>
                  <a:pt x="2606" y="43"/>
                  <a:pt x="2580" y="69"/>
                  <a:pt x="2551" y="69"/>
                </a:cubicBezTo>
                <a:cubicBezTo>
                  <a:pt x="2512" y="69"/>
                  <a:pt x="2483" y="1"/>
                  <a:pt x="2457" y="1"/>
                </a:cubicBezTo>
                <a:cubicBezTo>
                  <a:pt x="2431" y="1"/>
                  <a:pt x="2389" y="56"/>
                  <a:pt x="2363" y="56"/>
                </a:cubicBezTo>
                <a:cubicBezTo>
                  <a:pt x="2337" y="56"/>
                  <a:pt x="2308" y="1"/>
                  <a:pt x="2269" y="1"/>
                </a:cubicBezTo>
                <a:cubicBezTo>
                  <a:pt x="2240" y="1"/>
                  <a:pt x="2214" y="56"/>
                  <a:pt x="2188" y="56"/>
                </a:cubicBezTo>
                <a:cubicBezTo>
                  <a:pt x="2146" y="56"/>
                  <a:pt x="2120" y="1"/>
                  <a:pt x="2094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1" name="Google Shape;331;p11"/>
          <p:cNvSpPr/>
          <p:nvPr/>
        </p:nvSpPr>
        <p:spPr>
          <a:xfrm>
            <a:off x="84313" y="4791920"/>
            <a:ext cx="1435659" cy="300664"/>
          </a:xfrm>
          <a:custGeom>
            <a:avLst/>
            <a:gdLst/>
            <a:ahLst/>
            <a:cxnLst/>
            <a:rect l="l" t="t" r="r" b="b"/>
            <a:pathLst>
              <a:path w="5804" h="1608" extrusionOk="0">
                <a:moveTo>
                  <a:pt x="1430" y="1"/>
                </a:moveTo>
                <a:cubicBezTo>
                  <a:pt x="1404" y="1"/>
                  <a:pt x="1365" y="56"/>
                  <a:pt x="1336" y="56"/>
                </a:cubicBezTo>
                <a:cubicBezTo>
                  <a:pt x="1310" y="56"/>
                  <a:pt x="1284" y="43"/>
                  <a:pt x="1255" y="43"/>
                </a:cubicBezTo>
                <a:lnTo>
                  <a:pt x="1161" y="43"/>
                </a:lnTo>
                <a:cubicBezTo>
                  <a:pt x="1135" y="43"/>
                  <a:pt x="1093" y="27"/>
                  <a:pt x="1067" y="27"/>
                </a:cubicBezTo>
                <a:cubicBezTo>
                  <a:pt x="1041" y="27"/>
                  <a:pt x="1012" y="43"/>
                  <a:pt x="986" y="43"/>
                </a:cubicBezTo>
                <a:lnTo>
                  <a:pt x="892" y="43"/>
                </a:lnTo>
                <a:cubicBezTo>
                  <a:pt x="863" y="43"/>
                  <a:pt x="837" y="82"/>
                  <a:pt x="811" y="95"/>
                </a:cubicBezTo>
                <a:cubicBezTo>
                  <a:pt x="783" y="95"/>
                  <a:pt x="762" y="89"/>
                  <a:pt x="743" y="89"/>
                </a:cubicBezTo>
                <a:cubicBezTo>
                  <a:pt x="734" y="89"/>
                  <a:pt x="726" y="91"/>
                  <a:pt x="717" y="95"/>
                </a:cubicBezTo>
                <a:cubicBezTo>
                  <a:pt x="688" y="95"/>
                  <a:pt x="649" y="69"/>
                  <a:pt x="620" y="69"/>
                </a:cubicBezTo>
                <a:cubicBezTo>
                  <a:pt x="594" y="82"/>
                  <a:pt x="568" y="124"/>
                  <a:pt x="539" y="124"/>
                </a:cubicBezTo>
                <a:cubicBezTo>
                  <a:pt x="521" y="124"/>
                  <a:pt x="498" y="117"/>
                  <a:pt x="476" y="117"/>
                </a:cubicBezTo>
                <a:cubicBezTo>
                  <a:pt x="465" y="117"/>
                  <a:pt x="454" y="119"/>
                  <a:pt x="445" y="124"/>
                </a:cubicBezTo>
                <a:cubicBezTo>
                  <a:pt x="419" y="124"/>
                  <a:pt x="393" y="137"/>
                  <a:pt x="364" y="150"/>
                </a:cubicBezTo>
                <a:cubicBezTo>
                  <a:pt x="338" y="163"/>
                  <a:pt x="325" y="205"/>
                  <a:pt x="296" y="218"/>
                </a:cubicBezTo>
                <a:cubicBezTo>
                  <a:pt x="290" y="220"/>
                  <a:pt x="285" y="221"/>
                  <a:pt x="280" y="221"/>
                </a:cubicBezTo>
                <a:cubicBezTo>
                  <a:pt x="252" y="221"/>
                  <a:pt x="224" y="201"/>
                  <a:pt x="203" y="201"/>
                </a:cubicBezTo>
                <a:cubicBezTo>
                  <a:pt x="198" y="201"/>
                  <a:pt x="193" y="202"/>
                  <a:pt x="189" y="205"/>
                </a:cubicBezTo>
                <a:cubicBezTo>
                  <a:pt x="163" y="218"/>
                  <a:pt x="134" y="231"/>
                  <a:pt x="108" y="244"/>
                </a:cubicBezTo>
                <a:cubicBezTo>
                  <a:pt x="82" y="270"/>
                  <a:pt x="40" y="299"/>
                  <a:pt x="40" y="325"/>
                </a:cubicBezTo>
                <a:cubicBezTo>
                  <a:pt x="40" y="351"/>
                  <a:pt x="108" y="351"/>
                  <a:pt x="150" y="367"/>
                </a:cubicBezTo>
                <a:cubicBezTo>
                  <a:pt x="163" y="380"/>
                  <a:pt x="189" y="419"/>
                  <a:pt x="215" y="419"/>
                </a:cubicBezTo>
                <a:cubicBezTo>
                  <a:pt x="224" y="423"/>
                  <a:pt x="235" y="425"/>
                  <a:pt x="246" y="425"/>
                </a:cubicBezTo>
                <a:cubicBezTo>
                  <a:pt x="269" y="425"/>
                  <a:pt x="292" y="419"/>
                  <a:pt x="312" y="419"/>
                </a:cubicBezTo>
                <a:cubicBezTo>
                  <a:pt x="338" y="432"/>
                  <a:pt x="364" y="500"/>
                  <a:pt x="393" y="500"/>
                </a:cubicBezTo>
                <a:cubicBezTo>
                  <a:pt x="397" y="502"/>
                  <a:pt x="401" y="503"/>
                  <a:pt x="405" y="503"/>
                </a:cubicBezTo>
                <a:cubicBezTo>
                  <a:pt x="426" y="503"/>
                  <a:pt x="451" y="484"/>
                  <a:pt x="474" y="484"/>
                </a:cubicBezTo>
                <a:cubicBezTo>
                  <a:pt x="478" y="484"/>
                  <a:pt x="483" y="485"/>
                  <a:pt x="487" y="487"/>
                </a:cubicBezTo>
                <a:cubicBezTo>
                  <a:pt x="526" y="487"/>
                  <a:pt x="555" y="500"/>
                  <a:pt x="581" y="500"/>
                </a:cubicBezTo>
                <a:cubicBezTo>
                  <a:pt x="589" y="504"/>
                  <a:pt x="600" y="506"/>
                  <a:pt x="611" y="506"/>
                </a:cubicBezTo>
                <a:cubicBezTo>
                  <a:pt x="633" y="506"/>
                  <a:pt x="658" y="500"/>
                  <a:pt x="675" y="500"/>
                </a:cubicBezTo>
                <a:cubicBezTo>
                  <a:pt x="717" y="500"/>
                  <a:pt x="743" y="474"/>
                  <a:pt x="769" y="474"/>
                </a:cubicBezTo>
                <a:cubicBezTo>
                  <a:pt x="811" y="474"/>
                  <a:pt x="837" y="529"/>
                  <a:pt x="863" y="529"/>
                </a:cubicBezTo>
                <a:cubicBezTo>
                  <a:pt x="892" y="529"/>
                  <a:pt x="931" y="487"/>
                  <a:pt x="960" y="487"/>
                </a:cubicBezTo>
                <a:cubicBezTo>
                  <a:pt x="986" y="487"/>
                  <a:pt x="986" y="513"/>
                  <a:pt x="1025" y="513"/>
                </a:cubicBezTo>
                <a:cubicBezTo>
                  <a:pt x="999" y="542"/>
                  <a:pt x="999" y="555"/>
                  <a:pt x="999" y="568"/>
                </a:cubicBezTo>
                <a:cubicBezTo>
                  <a:pt x="999" y="594"/>
                  <a:pt x="1054" y="610"/>
                  <a:pt x="1080" y="636"/>
                </a:cubicBezTo>
                <a:cubicBezTo>
                  <a:pt x="1054" y="636"/>
                  <a:pt x="999" y="636"/>
                  <a:pt x="973" y="649"/>
                </a:cubicBezTo>
                <a:cubicBezTo>
                  <a:pt x="931" y="649"/>
                  <a:pt x="905" y="623"/>
                  <a:pt x="863" y="623"/>
                </a:cubicBezTo>
                <a:cubicBezTo>
                  <a:pt x="837" y="623"/>
                  <a:pt x="811" y="636"/>
                  <a:pt x="782" y="649"/>
                </a:cubicBezTo>
                <a:cubicBezTo>
                  <a:pt x="743" y="649"/>
                  <a:pt x="717" y="691"/>
                  <a:pt x="688" y="704"/>
                </a:cubicBezTo>
                <a:cubicBezTo>
                  <a:pt x="662" y="704"/>
                  <a:pt x="620" y="691"/>
                  <a:pt x="594" y="691"/>
                </a:cubicBezTo>
                <a:cubicBezTo>
                  <a:pt x="568" y="691"/>
                  <a:pt x="539" y="730"/>
                  <a:pt x="513" y="730"/>
                </a:cubicBezTo>
                <a:cubicBezTo>
                  <a:pt x="505" y="733"/>
                  <a:pt x="497" y="734"/>
                  <a:pt x="489" y="734"/>
                </a:cubicBezTo>
                <a:cubicBezTo>
                  <a:pt x="458" y="734"/>
                  <a:pt x="427" y="717"/>
                  <a:pt x="406" y="717"/>
                </a:cubicBezTo>
                <a:cubicBezTo>
                  <a:pt x="377" y="730"/>
                  <a:pt x="364" y="785"/>
                  <a:pt x="325" y="785"/>
                </a:cubicBezTo>
                <a:cubicBezTo>
                  <a:pt x="296" y="798"/>
                  <a:pt x="270" y="811"/>
                  <a:pt x="244" y="824"/>
                </a:cubicBezTo>
                <a:cubicBezTo>
                  <a:pt x="229" y="830"/>
                  <a:pt x="212" y="830"/>
                  <a:pt x="196" y="830"/>
                </a:cubicBezTo>
                <a:cubicBezTo>
                  <a:pt x="179" y="830"/>
                  <a:pt x="163" y="830"/>
                  <a:pt x="150" y="837"/>
                </a:cubicBezTo>
                <a:cubicBezTo>
                  <a:pt x="108" y="853"/>
                  <a:pt x="69" y="853"/>
                  <a:pt x="53" y="866"/>
                </a:cubicBezTo>
                <a:cubicBezTo>
                  <a:pt x="27" y="892"/>
                  <a:pt x="1" y="947"/>
                  <a:pt x="1" y="973"/>
                </a:cubicBezTo>
                <a:cubicBezTo>
                  <a:pt x="1" y="999"/>
                  <a:pt x="40" y="1028"/>
                  <a:pt x="69" y="1054"/>
                </a:cubicBezTo>
                <a:cubicBezTo>
                  <a:pt x="75" y="1060"/>
                  <a:pt x="92" y="1060"/>
                  <a:pt x="110" y="1060"/>
                </a:cubicBezTo>
                <a:cubicBezTo>
                  <a:pt x="128" y="1060"/>
                  <a:pt x="148" y="1060"/>
                  <a:pt x="163" y="1067"/>
                </a:cubicBezTo>
                <a:cubicBezTo>
                  <a:pt x="189" y="1067"/>
                  <a:pt x="215" y="1096"/>
                  <a:pt x="244" y="1096"/>
                </a:cubicBezTo>
                <a:cubicBezTo>
                  <a:pt x="270" y="1109"/>
                  <a:pt x="296" y="1148"/>
                  <a:pt x="325" y="1161"/>
                </a:cubicBezTo>
                <a:cubicBezTo>
                  <a:pt x="342" y="1161"/>
                  <a:pt x="367" y="1155"/>
                  <a:pt x="389" y="1155"/>
                </a:cubicBezTo>
                <a:cubicBezTo>
                  <a:pt x="400" y="1155"/>
                  <a:pt x="410" y="1157"/>
                  <a:pt x="419" y="1161"/>
                </a:cubicBezTo>
                <a:cubicBezTo>
                  <a:pt x="445" y="1161"/>
                  <a:pt x="474" y="1190"/>
                  <a:pt x="500" y="1190"/>
                </a:cubicBezTo>
                <a:cubicBezTo>
                  <a:pt x="508" y="1193"/>
                  <a:pt x="515" y="1194"/>
                  <a:pt x="522" y="1194"/>
                </a:cubicBezTo>
                <a:cubicBezTo>
                  <a:pt x="550" y="1194"/>
                  <a:pt x="573" y="1177"/>
                  <a:pt x="594" y="1177"/>
                </a:cubicBezTo>
                <a:cubicBezTo>
                  <a:pt x="636" y="1190"/>
                  <a:pt x="662" y="1216"/>
                  <a:pt x="688" y="1216"/>
                </a:cubicBezTo>
                <a:lnTo>
                  <a:pt x="782" y="1216"/>
                </a:lnTo>
                <a:cubicBezTo>
                  <a:pt x="785" y="1217"/>
                  <a:pt x="788" y="1218"/>
                  <a:pt x="791" y="1218"/>
                </a:cubicBezTo>
                <a:cubicBezTo>
                  <a:pt x="817" y="1218"/>
                  <a:pt x="841" y="1177"/>
                  <a:pt x="879" y="1177"/>
                </a:cubicBezTo>
                <a:cubicBezTo>
                  <a:pt x="905" y="1177"/>
                  <a:pt x="931" y="1229"/>
                  <a:pt x="960" y="1229"/>
                </a:cubicBezTo>
                <a:cubicBezTo>
                  <a:pt x="986" y="1229"/>
                  <a:pt x="1025" y="1203"/>
                  <a:pt x="1054" y="1203"/>
                </a:cubicBezTo>
                <a:cubicBezTo>
                  <a:pt x="1080" y="1203"/>
                  <a:pt x="1122" y="1216"/>
                  <a:pt x="1161" y="1216"/>
                </a:cubicBezTo>
                <a:cubicBezTo>
                  <a:pt x="1135" y="1229"/>
                  <a:pt x="1093" y="1242"/>
                  <a:pt x="1080" y="1258"/>
                </a:cubicBezTo>
                <a:cubicBezTo>
                  <a:pt x="1054" y="1284"/>
                  <a:pt x="1041" y="1310"/>
                  <a:pt x="1041" y="1323"/>
                </a:cubicBezTo>
                <a:cubicBezTo>
                  <a:pt x="1041" y="1352"/>
                  <a:pt x="1041" y="1404"/>
                  <a:pt x="1080" y="1433"/>
                </a:cubicBezTo>
                <a:cubicBezTo>
                  <a:pt x="1082" y="1435"/>
                  <a:pt x="1084" y="1436"/>
                  <a:pt x="1088" y="1436"/>
                </a:cubicBezTo>
                <a:cubicBezTo>
                  <a:pt x="1106" y="1436"/>
                  <a:pt x="1145" y="1416"/>
                  <a:pt x="1171" y="1416"/>
                </a:cubicBezTo>
                <a:cubicBezTo>
                  <a:pt x="1177" y="1416"/>
                  <a:pt x="1182" y="1417"/>
                  <a:pt x="1187" y="1420"/>
                </a:cubicBezTo>
                <a:cubicBezTo>
                  <a:pt x="1216" y="1420"/>
                  <a:pt x="1229" y="1485"/>
                  <a:pt x="1255" y="1501"/>
                </a:cubicBezTo>
                <a:cubicBezTo>
                  <a:pt x="1284" y="1501"/>
                  <a:pt x="1323" y="1514"/>
                  <a:pt x="1349" y="1514"/>
                </a:cubicBezTo>
                <a:cubicBezTo>
                  <a:pt x="1353" y="1516"/>
                  <a:pt x="1357" y="1516"/>
                  <a:pt x="1361" y="1516"/>
                </a:cubicBezTo>
                <a:cubicBezTo>
                  <a:pt x="1388" y="1516"/>
                  <a:pt x="1421" y="1485"/>
                  <a:pt x="1446" y="1485"/>
                </a:cubicBezTo>
                <a:cubicBezTo>
                  <a:pt x="1485" y="1501"/>
                  <a:pt x="1511" y="1501"/>
                  <a:pt x="1540" y="1514"/>
                </a:cubicBezTo>
                <a:cubicBezTo>
                  <a:pt x="1566" y="1514"/>
                  <a:pt x="1592" y="1582"/>
                  <a:pt x="1621" y="1582"/>
                </a:cubicBezTo>
                <a:cubicBezTo>
                  <a:pt x="1642" y="1582"/>
                  <a:pt x="1674" y="1563"/>
                  <a:pt x="1699" y="1563"/>
                </a:cubicBezTo>
                <a:cubicBezTo>
                  <a:pt x="1705" y="1563"/>
                  <a:pt x="1710" y="1563"/>
                  <a:pt x="1715" y="1566"/>
                </a:cubicBezTo>
                <a:lnTo>
                  <a:pt x="1809" y="1566"/>
                </a:lnTo>
                <a:cubicBezTo>
                  <a:pt x="1835" y="1566"/>
                  <a:pt x="1877" y="1553"/>
                  <a:pt x="1903" y="1553"/>
                </a:cubicBezTo>
                <a:cubicBezTo>
                  <a:pt x="1932" y="1553"/>
                  <a:pt x="1958" y="1566"/>
                  <a:pt x="1997" y="1566"/>
                </a:cubicBezTo>
                <a:cubicBezTo>
                  <a:pt x="2026" y="1566"/>
                  <a:pt x="2052" y="1608"/>
                  <a:pt x="2078" y="1608"/>
                </a:cubicBezTo>
                <a:cubicBezTo>
                  <a:pt x="2120" y="1608"/>
                  <a:pt x="2146" y="1553"/>
                  <a:pt x="2175" y="1553"/>
                </a:cubicBezTo>
                <a:cubicBezTo>
                  <a:pt x="2214" y="1553"/>
                  <a:pt x="2240" y="1608"/>
                  <a:pt x="2269" y="1608"/>
                </a:cubicBezTo>
                <a:cubicBezTo>
                  <a:pt x="2295" y="1608"/>
                  <a:pt x="2337" y="1553"/>
                  <a:pt x="2363" y="1553"/>
                </a:cubicBezTo>
                <a:cubicBezTo>
                  <a:pt x="2389" y="1553"/>
                  <a:pt x="2418" y="1608"/>
                  <a:pt x="2457" y="1608"/>
                </a:cubicBezTo>
                <a:cubicBezTo>
                  <a:pt x="2483" y="1608"/>
                  <a:pt x="2512" y="1540"/>
                  <a:pt x="2538" y="1540"/>
                </a:cubicBezTo>
                <a:cubicBezTo>
                  <a:pt x="2580" y="1540"/>
                  <a:pt x="2606" y="1566"/>
                  <a:pt x="2632" y="1566"/>
                </a:cubicBezTo>
                <a:cubicBezTo>
                  <a:pt x="2674" y="1566"/>
                  <a:pt x="2700" y="1540"/>
                  <a:pt x="2726" y="1540"/>
                </a:cubicBezTo>
                <a:lnTo>
                  <a:pt x="2823" y="1540"/>
                </a:lnTo>
                <a:cubicBezTo>
                  <a:pt x="2849" y="1540"/>
                  <a:pt x="2888" y="1582"/>
                  <a:pt x="2917" y="1582"/>
                </a:cubicBezTo>
                <a:cubicBezTo>
                  <a:pt x="2943" y="1566"/>
                  <a:pt x="2969" y="1527"/>
                  <a:pt x="2998" y="1527"/>
                </a:cubicBezTo>
                <a:cubicBezTo>
                  <a:pt x="3003" y="1525"/>
                  <a:pt x="3009" y="1524"/>
                  <a:pt x="3014" y="1524"/>
                </a:cubicBezTo>
                <a:cubicBezTo>
                  <a:pt x="3045" y="1524"/>
                  <a:pt x="3070" y="1553"/>
                  <a:pt x="3092" y="1553"/>
                </a:cubicBezTo>
                <a:cubicBezTo>
                  <a:pt x="3131" y="1540"/>
                  <a:pt x="3160" y="1540"/>
                  <a:pt x="3186" y="1527"/>
                </a:cubicBezTo>
                <a:cubicBezTo>
                  <a:pt x="3212" y="1527"/>
                  <a:pt x="3254" y="1540"/>
                  <a:pt x="3280" y="1540"/>
                </a:cubicBezTo>
                <a:cubicBezTo>
                  <a:pt x="3309" y="1527"/>
                  <a:pt x="3335" y="1472"/>
                  <a:pt x="3361" y="1472"/>
                </a:cubicBezTo>
                <a:cubicBezTo>
                  <a:pt x="3403" y="1472"/>
                  <a:pt x="3429" y="1459"/>
                  <a:pt x="3455" y="1459"/>
                </a:cubicBezTo>
                <a:cubicBezTo>
                  <a:pt x="3484" y="1446"/>
                  <a:pt x="3510" y="1420"/>
                  <a:pt x="3536" y="1420"/>
                </a:cubicBezTo>
                <a:cubicBezTo>
                  <a:pt x="3557" y="1412"/>
                  <a:pt x="3574" y="1412"/>
                  <a:pt x="3589" y="1412"/>
                </a:cubicBezTo>
                <a:cubicBezTo>
                  <a:pt x="3605" y="1412"/>
                  <a:pt x="3618" y="1412"/>
                  <a:pt x="3633" y="1404"/>
                </a:cubicBezTo>
                <a:lnTo>
                  <a:pt x="3727" y="1404"/>
                </a:lnTo>
                <a:cubicBezTo>
                  <a:pt x="3753" y="1391"/>
                  <a:pt x="3766" y="1339"/>
                  <a:pt x="3795" y="1339"/>
                </a:cubicBezTo>
                <a:cubicBezTo>
                  <a:pt x="3814" y="1331"/>
                  <a:pt x="3831" y="1331"/>
                  <a:pt x="3846" y="1331"/>
                </a:cubicBezTo>
                <a:cubicBezTo>
                  <a:pt x="3861" y="1331"/>
                  <a:pt x="3874" y="1331"/>
                  <a:pt x="3889" y="1323"/>
                </a:cubicBezTo>
                <a:cubicBezTo>
                  <a:pt x="3928" y="1310"/>
                  <a:pt x="3928" y="1271"/>
                  <a:pt x="3957" y="1258"/>
                </a:cubicBezTo>
                <a:cubicBezTo>
                  <a:pt x="3983" y="1229"/>
                  <a:pt x="3996" y="1229"/>
                  <a:pt x="3996" y="1203"/>
                </a:cubicBezTo>
                <a:cubicBezTo>
                  <a:pt x="3996" y="1177"/>
                  <a:pt x="4009" y="1135"/>
                  <a:pt x="3983" y="1109"/>
                </a:cubicBezTo>
                <a:cubicBezTo>
                  <a:pt x="3970" y="1096"/>
                  <a:pt x="3941" y="1080"/>
                  <a:pt x="3915" y="1067"/>
                </a:cubicBezTo>
                <a:cubicBezTo>
                  <a:pt x="3902" y="1060"/>
                  <a:pt x="3888" y="1060"/>
                  <a:pt x="3874" y="1060"/>
                </a:cubicBezTo>
                <a:cubicBezTo>
                  <a:pt x="3861" y="1060"/>
                  <a:pt x="3847" y="1060"/>
                  <a:pt x="3834" y="1054"/>
                </a:cubicBezTo>
                <a:cubicBezTo>
                  <a:pt x="3860" y="1054"/>
                  <a:pt x="3889" y="1028"/>
                  <a:pt x="3915" y="1028"/>
                </a:cubicBezTo>
                <a:cubicBezTo>
                  <a:pt x="3941" y="1028"/>
                  <a:pt x="3970" y="1015"/>
                  <a:pt x="3996" y="1015"/>
                </a:cubicBezTo>
                <a:cubicBezTo>
                  <a:pt x="4038" y="1015"/>
                  <a:pt x="4064" y="1054"/>
                  <a:pt x="4090" y="1054"/>
                </a:cubicBezTo>
                <a:cubicBezTo>
                  <a:pt x="4132" y="1054"/>
                  <a:pt x="4158" y="1041"/>
                  <a:pt x="4184" y="1041"/>
                </a:cubicBezTo>
                <a:cubicBezTo>
                  <a:pt x="4226" y="1041"/>
                  <a:pt x="4252" y="1028"/>
                  <a:pt x="4281" y="1015"/>
                </a:cubicBezTo>
                <a:cubicBezTo>
                  <a:pt x="4307" y="1015"/>
                  <a:pt x="4333" y="986"/>
                  <a:pt x="4362" y="986"/>
                </a:cubicBezTo>
                <a:cubicBezTo>
                  <a:pt x="4365" y="985"/>
                  <a:pt x="4369" y="984"/>
                  <a:pt x="4372" y="984"/>
                </a:cubicBezTo>
                <a:cubicBezTo>
                  <a:pt x="4408" y="984"/>
                  <a:pt x="4445" y="1041"/>
                  <a:pt x="4469" y="1041"/>
                </a:cubicBezTo>
                <a:cubicBezTo>
                  <a:pt x="4495" y="1028"/>
                  <a:pt x="4524" y="999"/>
                  <a:pt x="4550" y="986"/>
                </a:cubicBezTo>
                <a:cubicBezTo>
                  <a:pt x="4570" y="986"/>
                  <a:pt x="4600" y="1004"/>
                  <a:pt x="4625" y="1004"/>
                </a:cubicBezTo>
                <a:cubicBezTo>
                  <a:pt x="4632" y="1004"/>
                  <a:pt x="4638" y="1002"/>
                  <a:pt x="4644" y="999"/>
                </a:cubicBezTo>
                <a:cubicBezTo>
                  <a:pt x="4686" y="999"/>
                  <a:pt x="4699" y="947"/>
                  <a:pt x="4725" y="947"/>
                </a:cubicBezTo>
                <a:cubicBezTo>
                  <a:pt x="4731" y="945"/>
                  <a:pt x="4737" y="944"/>
                  <a:pt x="4742" y="944"/>
                </a:cubicBezTo>
                <a:cubicBezTo>
                  <a:pt x="4769" y="944"/>
                  <a:pt x="4790" y="963"/>
                  <a:pt x="4815" y="963"/>
                </a:cubicBezTo>
                <a:cubicBezTo>
                  <a:pt x="4821" y="963"/>
                  <a:pt x="4826" y="962"/>
                  <a:pt x="4832" y="960"/>
                </a:cubicBezTo>
                <a:cubicBezTo>
                  <a:pt x="4861" y="960"/>
                  <a:pt x="4874" y="918"/>
                  <a:pt x="4913" y="905"/>
                </a:cubicBezTo>
                <a:cubicBezTo>
                  <a:pt x="4942" y="905"/>
                  <a:pt x="4968" y="892"/>
                  <a:pt x="4994" y="892"/>
                </a:cubicBezTo>
                <a:cubicBezTo>
                  <a:pt x="5003" y="888"/>
                  <a:pt x="5014" y="886"/>
                  <a:pt x="5025" y="886"/>
                </a:cubicBezTo>
                <a:cubicBezTo>
                  <a:pt x="5048" y="886"/>
                  <a:pt x="5071" y="892"/>
                  <a:pt x="5091" y="892"/>
                </a:cubicBezTo>
                <a:cubicBezTo>
                  <a:pt x="5130" y="879"/>
                  <a:pt x="5130" y="824"/>
                  <a:pt x="5156" y="811"/>
                </a:cubicBezTo>
                <a:cubicBezTo>
                  <a:pt x="5198" y="785"/>
                  <a:pt x="5198" y="756"/>
                  <a:pt x="5224" y="743"/>
                </a:cubicBezTo>
                <a:cubicBezTo>
                  <a:pt x="5253" y="717"/>
                  <a:pt x="5305" y="717"/>
                  <a:pt x="5305" y="691"/>
                </a:cubicBezTo>
                <a:cubicBezTo>
                  <a:pt x="5305" y="662"/>
                  <a:pt x="5266" y="649"/>
                  <a:pt x="5224" y="623"/>
                </a:cubicBezTo>
                <a:cubicBezTo>
                  <a:pt x="5211" y="610"/>
                  <a:pt x="5156" y="594"/>
                  <a:pt x="5130" y="581"/>
                </a:cubicBezTo>
                <a:cubicBezTo>
                  <a:pt x="5156" y="568"/>
                  <a:pt x="5211" y="568"/>
                  <a:pt x="5237" y="568"/>
                </a:cubicBezTo>
                <a:cubicBezTo>
                  <a:pt x="5266" y="568"/>
                  <a:pt x="5292" y="513"/>
                  <a:pt x="5318" y="513"/>
                </a:cubicBezTo>
                <a:cubicBezTo>
                  <a:pt x="5347" y="513"/>
                  <a:pt x="5373" y="529"/>
                  <a:pt x="5399" y="529"/>
                </a:cubicBezTo>
                <a:cubicBezTo>
                  <a:pt x="5441" y="513"/>
                  <a:pt x="5454" y="500"/>
                  <a:pt x="5480" y="487"/>
                </a:cubicBezTo>
                <a:cubicBezTo>
                  <a:pt x="5509" y="487"/>
                  <a:pt x="5535" y="474"/>
                  <a:pt x="5561" y="474"/>
                </a:cubicBezTo>
                <a:cubicBezTo>
                  <a:pt x="5575" y="470"/>
                  <a:pt x="5588" y="468"/>
                  <a:pt x="5601" y="468"/>
                </a:cubicBezTo>
                <a:cubicBezTo>
                  <a:pt x="5626" y="468"/>
                  <a:pt x="5647" y="474"/>
                  <a:pt x="5658" y="474"/>
                </a:cubicBezTo>
                <a:cubicBezTo>
                  <a:pt x="5697" y="461"/>
                  <a:pt x="5723" y="432"/>
                  <a:pt x="5739" y="419"/>
                </a:cubicBezTo>
                <a:cubicBezTo>
                  <a:pt x="5765" y="406"/>
                  <a:pt x="5804" y="351"/>
                  <a:pt x="5804" y="338"/>
                </a:cubicBezTo>
                <a:cubicBezTo>
                  <a:pt x="5804" y="312"/>
                  <a:pt x="5765" y="270"/>
                  <a:pt x="5723" y="244"/>
                </a:cubicBezTo>
                <a:cubicBezTo>
                  <a:pt x="5716" y="237"/>
                  <a:pt x="5703" y="237"/>
                  <a:pt x="5687" y="237"/>
                </a:cubicBezTo>
                <a:cubicBezTo>
                  <a:pt x="5670" y="237"/>
                  <a:pt x="5650" y="237"/>
                  <a:pt x="5629" y="231"/>
                </a:cubicBezTo>
                <a:cubicBezTo>
                  <a:pt x="5603" y="231"/>
                  <a:pt x="5577" y="244"/>
                  <a:pt x="5548" y="244"/>
                </a:cubicBezTo>
                <a:cubicBezTo>
                  <a:pt x="5522" y="231"/>
                  <a:pt x="5496" y="205"/>
                  <a:pt x="5467" y="205"/>
                </a:cubicBezTo>
                <a:cubicBezTo>
                  <a:pt x="5428" y="189"/>
                  <a:pt x="5415" y="150"/>
                  <a:pt x="5373" y="150"/>
                </a:cubicBezTo>
                <a:cubicBezTo>
                  <a:pt x="5347" y="150"/>
                  <a:pt x="5318" y="176"/>
                  <a:pt x="5292" y="176"/>
                </a:cubicBezTo>
                <a:cubicBezTo>
                  <a:pt x="5266" y="176"/>
                  <a:pt x="5244" y="182"/>
                  <a:pt x="5225" y="182"/>
                </a:cubicBezTo>
                <a:cubicBezTo>
                  <a:pt x="5215" y="182"/>
                  <a:pt x="5206" y="180"/>
                  <a:pt x="5198" y="176"/>
                </a:cubicBezTo>
                <a:lnTo>
                  <a:pt x="5104" y="176"/>
                </a:lnTo>
                <a:cubicBezTo>
                  <a:pt x="5075" y="176"/>
                  <a:pt x="5049" y="137"/>
                  <a:pt x="5023" y="137"/>
                </a:cubicBezTo>
                <a:cubicBezTo>
                  <a:pt x="4994" y="137"/>
                  <a:pt x="4955" y="163"/>
                  <a:pt x="4929" y="163"/>
                </a:cubicBezTo>
                <a:cubicBezTo>
                  <a:pt x="4900" y="163"/>
                  <a:pt x="4874" y="176"/>
                  <a:pt x="4848" y="176"/>
                </a:cubicBezTo>
                <a:cubicBezTo>
                  <a:pt x="4806" y="176"/>
                  <a:pt x="4780" y="124"/>
                  <a:pt x="4751" y="124"/>
                </a:cubicBezTo>
                <a:cubicBezTo>
                  <a:pt x="4725" y="124"/>
                  <a:pt x="4686" y="137"/>
                  <a:pt x="4657" y="137"/>
                </a:cubicBezTo>
                <a:cubicBezTo>
                  <a:pt x="4631" y="150"/>
                  <a:pt x="4605" y="163"/>
                  <a:pt x="4576" y="163"/>
                </a:cubicBezTo>
                <a:cubicBezTo>
                  <a:pt x="4568" y="166"/>
                  <a:pt x="4561" y="167"/>
                  <a:pt x="4554" y="167"/>
                </a:cubicBezTo>
                <a:cubicBezTo>
                  <a:pt x="4525" y="167"/>
                  <a:pt x="4503" y="150"/>
                  <a:pt x="4482" y="150"/>
                </a:cubicBezTo>
                <a:cubicBezTo>
                  <a:pt x="4456" y="150"/>
                  <a:pt x="4427" y="163"/>
                  <a:pt x="4388" y="163"/>
                </a:cubicBezTo>
                <a:cubicBezTo>
                  <a:pt x="4362" y="176"/>
                  <a:pt x="4333" y="205"/>
                  <a:pt x="4307" y="218"/>
                </a:cubicBezTo>
                <a:cubicBezTo>
                  <a:pt x="4281" y="218"/>
                  <a:pt x="4239" y="163"/>
                  <a:pt x="4213" y="163"/>
                </a:cubicBezTo>
                <a:cubicBezTo>
                  <a:pt x="4184" y="163"/>
                  <a:pt x="4158" y="189"/>
                  <a:pt x="4132" y="205"/>
                </a:cubicBezTo>
                <a:cubicBezTo>
                  <a:pt x="4090" y="205"/>
                  <a:pt x="4077" y="244"/>
                  <a:pt x="4051" y="244"/>
                </a:cubicBezTo>
                <a:cubicBezTo>
                  <a:pt x="4042" y="247"/>
                  <a:pt x="4035" y="248"/>
                  <a:pt x="4027" y="248"/>
                </a:cubicBezTo>
                <a:cubicBezTo>
                  <a:pt x="3998" y="248"/>
                  <a:pt x="3978" y="231"/>
                  <a:pt x="3957" y="231"/>
                </a:cubicBezTo>
                <a:cubicBezTo>
                  <a:pt x="3915" y="231"/>
                  <a:pt x="3902" y="286"/>
                  <a:pt x="3876" y="299"/>
                </a:cubicBezTo>
                <a:cubicBezTo>
                  <a:pt x="3847" y="299"/>
                  <a:pt x="3795" y="257"/>
                  <a:pt x="3779" y="257"/>
                </a:cubicBezTo>
                <a:cubicBezTo>
                  <a:pt x="3740" y="270"/>
                  <a:pt x="3714" y="299"/>
                  <a:pt x="3698" y="312"/>
                </a:cubicBezTo>
                <a:cubicBezTo>
                  <a:pt x="3659" y="325"/>
                  <a:pt x="3646" y="351"/>
                  <a:pt x="3617" y="367"/>
                </a:cubicBezTo>
                <a:cubicBezTo>
                  <a:pt x="3591" y="380"/>
                  <a:pt x="3604" y="406"/>
                  <a:pt x="3604" y="432"/>
                </a:cubicBezTo>
                <a:cubicBezTo>
                  <a:pt x="3604" y="448"/>
                  <a:pt x="3591" y="474"/>
                  <a:pt x="3591" y="487"/>
                </a:cubicBezTo>
                <a:cubicBezTo>
                  <a:pt x="3565" y="487"/>
                  <a:pt x="3510" y="432"/>
                  <a:pt x="3484" y="432"/>
                </a:cubicBezTo>
                <a:cubicBezTo>
                  <a:pt x="3455" y="432"/>
                  <a:pt x="3429" y="500"/>
                  <a:pt x="3403" y="513"/>
                </a:cubicBezTo>
                <a:cubicBezTo>
                  <a:pt x="3361" y="513"/>
                  <a:pt x="3335" y="474"/>
                  <a:pt x="3293" y="474"/>
                </a:cubicBezTo>
                <a:lnTo>
                  <a:pt x="3212" y="474"/>
                </a:lnTo>
                <a:cubicBezTo>
                  <a:pt x="3212" y="448"/>
                  <a:pt x="3173" y="461"/>
                  <a:pt x="3131" y="432"/>
                </a:cubicBezTo>
                <a:cubicBezTo>
                  <a:pt x="3118" y="419"/>
                  <a:pt x="3092" y="406"/>
                  <a:pt x="3066" y="393"/>
                </a:cubicBezTo>
                <a:cubicBezTo>
                  <a:pt x="3037" y="393"/>
                  <a:pt x="3011" y="338"/>
                  <a:pt x="2985" y="338"/>
                </a:cubicBezTo>
                <a:cubicBezTo>
                  <a:pt x="2956" y="325"/>
                  <a:pt x="2917" y="325"/>
                  <a:pt x="2888" y="325"/>
                </a:cubicBezTo>
                <a:lnTo>
                  <a:pt x="2794" y="325"/>
                </a:lnTo>
                <a:cubicBezTo>
                  <a:pt x="2768" y="325"/>
                  <a:pt x="2742" y="270"/>
                  <a:pt x="2700" y="270"/>
                </a:cubicBezTo>
                <a:cubicBezTo>
                  <a:pt x="2674" y="270"/>
                  <a:pt x="2645" y="286"/>
                  <a:pt x="2606" y="286"/>
                </a:cubicBezTo>
                <a:cubicBezTo>
                  <a:pt x="2580" y="286"/>
                  <a:pt x="2538" y="325"/>
                  <a:pt x="2512" y="325"/>
                </a:cubicBezTo>
                <a:cubicBezTo>
                  <a:pt x="2483" y="312"/>
                  <a:pt x="2457" y="286"/>
                  <a:pt x="2418" y="286"/>
                </a:cubicBezTo>
                <a:cubicBezTo>
                  <a:pt x="2389" y="286"/>
                  <a:pt x="2363" y="299"/>
                  <a:pt x="2321" y="299"/>
                </a:cubicBezTo>
                <a:cubicBezTo>
                  <a:pt x="2295" y="299"/>
                  <a:pt x="2282" y="286"/>
                  <a:pt x="2256" y="286"/>
                </a:cubicBezTo>
                <a:cubicBezTo>
                  <a:pt x="2282" y="257"/>
                  <a:pt x="2282" y="244"/>
                  <a:pt x="2282" y="231"/>
                </a:cubicBezTo>
                <a:cubicBezTo>
                  <a:pt x="2282" y="205"/>
                  <a:pt x="2240" y="205"/>
                  <a:pt x="2201" y="176"/>
                </a:cubicBezTo>
                <a:cubicBezTo>
                  <a:pt x="2188" y="163"/>
                  <a:pt x="2159" y="163"/>
                  <a:pt x="2120" y="150"/>
                </a:cubicBezTo>
                <a:cubicBezTo>
                  <a:pt x="2107" y="150"/>
                  <a:pt x="2094" y="69"/>
                  <a:pt x="2052" y="69"/>
                </a:cubicBezTo>
                <a:cubicBezTo>
                  <a:pt x="2048" y="67"/>
                  <a:pt x="2044" y="66"/>
                  <a:pt x="2040" y="66"/>
                </a:cubicBezTo>
                <a:cubicBezTo>
                  <a:pt x="2014" y="66"/>
                  <a:pt x="1980" y="95"/>
                  <a:pt x="1958" y="95"/>
                </a:cubicBezTo>
                <a:cubicBezTo>
                  <a:pt x="1952" y="92"/>
                  <a:pt x="1947" y="91"/>
                  <a:pt x="1941" y="91"/>
                </a:cubicBezTo>
                <a:cubicBezTo>
                  <a:pt x="1925" y="91"/>
                  <a:pt x="1908" y="99"/>
                  <a:pt x="1887" y="99"/>
                </a:cubicBezTo>
                <a:cubicBezTo>
                  <a:pt x="1880" y="99"/>
                  <a:pt x="1872" y="98"/>
                  <a:pt x="1864" y="95"/>
                </a:cubicBezTo>
                <a:cubicBezTo>
                  <a:pt x="1835" y="95"/>
                  <a:pt x="1822" y="43"/>
                  <a:pt x="1783" y="27"/>
                </a:cubicBezTo>
                <a:cubicBezTo>
                  <a:pt x="1754" y="27"/>
                  <a:pt x="1728" y="82"/>
                  <a:pt x="1689" y="82"/>
                </a:cubicBezTo>
                <a:cubicBezTo>
                  <a:pt x="1660" y="82"/>
                  <a:pt x="1634" y="43"/>
                  <a:pt x="1608" y="43"/>
                </a:cubicBezTo>
                <a:cubicBezTo>
                  <a:pt x="1579" y="43"/>
                  <a:pt x="1553" y="69"/>
                  <a:pt x="1511" y="69"/>
                </a:cubicBezTo>
                <a:cubicBezTo>
                  <a:pt x="1485" y="69"/>
                  <a:pt x="1459" y="1"/>
                  <a:pt x="143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2" name="Google Shape;332;p11"/>
          <p:cNvSpPr/>
          <p:nvPr/>
        </p:nvSpPr>
        <p:spPr>
          <a:xfrm>
            <a:off x="1570782" y="4770339"/>
            <a:ext cx="564468" cy="98164"/>
          </a:xfrm>
          <a:custGeom>
            <a:avLst/>
            <a:gdLst/>
            <a:ahLst/>
            <a:cxnLst/>
            <a:rect l="l" t="t" r="r" b="b"/>
            <a:pathLst>
              <a:path w="2282" h="525" extrusionOk="0">
                <a:moveTo>
                  <a:pt x="973" y="0"/>
                </a:moveTo>
                <a:cubicBezTo>
                  <a:pt x="944" y="0"/>
                  <a:pt x="918" y="13"/>
                  <a:pt x="876" y="13"/>
                </a:cubicBezTo>
                <a:lnTo>
                  <a:pt x="795" y="13"/>
                </a:lnTo>
                <a:cubicBezTo>
                  <a:pt x="756" y="13"/>
                  <a:pt x="730" y="39"/>
                  <a:pt x="701" y="39"/>
                </a:cubicBezTo>
                <a:cubicBezTo>
                  <a:pt x="675" y="39"/>
                  <a:pt x="649" y="26"/>
                  <a:pt x="607" y="26"/>
                </a:cubicBezTo>
                <a:cubicBezTo>
                  <a:pt x="581" y="26"/>
                  <a:pt x="552" y="68"/>
                  <a:pt x="526" y="68"/>
                </a:cubicBezTo>
                <a:cubicBezTo>
                  <a:pt x="524" y="69"/>
                  <a:pt x="521" y="70"/>
                  <a:pt x="519" y="70"/>
                </a:cubicBezTo>
                <a:cubicBezTo>
                  <a:pt x="495" y="70"/>
                  <a:pt x="463" y="24"/>
                  <a:pt x="439" y="24"/>
                </a:cubicBezTo>
                <a:cubicBezTo>
                  <a:pt x="437" y="24"/>
                  <a:pt x="434" y="25"/>
                  <a:pt x="432" y="26"/>
                </a:cubicBezTo>
                <a:cubicBezTo>
                  <a:pt x="406" y="26"/>
                  <a:pt x="364" y="26"/>
                  <a:pt x="338" y="39"/>
                </a:cubicBezTo>
                <a:cubicBezTo>
                  <a:pt x="309" y="39"/>
                  <a:pt x="296" y="107"/>
                  <a:pt x="270" y="120"/>
                </a:cubicBezTo>
                <a:cubicBezTo>
                  <a:pt x="242" y="120"/>
                  <a:pt x="221" y="114"/>
                  <a:pt x="202" y="114"/>
                </a:cubicBezTo>
                <a:cubicBezTo>
                  <a:pt x="193" y="114"/>
                  <a:pt x="185" y="116"/>
                  <a:pt x="176" y="120"/>
                </a:cubicBezTo>
                <a:cubicBezTo>
                  <a:pt x="148" y="120"/>
                  <a:pt x="121" y="114"/>
                  <a:pt x="103" y="114"/>
                </a:cubicBezTo>
                <a:cubicBezTo>
                  <a:pt x="93" y="114"/>
                  <a:pt x="86" y="116"/>
                  <a:pt x="82" y="120"/>
                </a:cubicBezTo>
                <a:cubicBezTo>
                  <a:pt x="40" y="149"/>
                  <a:pt x="1" y="188"/>
                  <a:pt x="1" y="214"/>
                </a:cubicBezTo>
                <a:cubicBezTo>
                  <a:pt x="1" y="243"/>
                  <a:pt x="53" y="256"/>
                  <a:pt x="95" y="282"/>
                </a:cubicBezTo>
                <a:cubicBezTo>
                  <a:pt x="108" y="295"/>
                  <a:pt x="121" y="337"/>
                  <a:pt x="147" y="350"/>
                </a:cubicBezTo>
                <a:cubicBezTo>
                  <a:pt x="176" y="363"/>
                  <a:pt x="202" y="376"/>
                  <a:pt x="244" y="392"/>
                </a:cubicBezTo>
                <a:cubicBezTo>
                  <a:pt x="265" y="392"/>
                  <a:pt x="295" y="373"/>
                  <a:pt x="321" y="373"/>
                </a:cubicBezTo>
                <a:cubicBezTo>
                  <a:pt x="327" y="373"/>
                  <a:pt x="333" y="373"/>
                  <a:pt x="338" y="376"/>
                </a:cubicBezTo>
                <a:cubicBezTo>
                  <a:pt x="364" y="376"/>
                  <a:pt x="390" y="392"/>
                  <a:pt x="419" y="392"/>
                </a:cubicBezTo>
                <a:cubicBezTo>
                  <a:pt x="424" y="395"/>
                  <a:pt x="429" y="395"/>
                  <a:pt x="435" y="395"/>
                </a:cubicBezTo>
                <a:cubicBezTo>
                  <a:pt x="453" y="395"/>
                  <a:pt x="475" y="387"/>
                  <a:pt x="493" y="387"/>
                </a:cubicBezTo>
                <a:cubicBezTo>
                  <a:pt x="500" y="387"/>
                  <a:pt x="507" y="388"/>
                  <a:pt x="513" y="392"/>
                </a:cubicBezTo>
                <a:cubicBezTo>
                  <a:pt x="539" y="392"/>
                  <a:pt x="568" y="405"/>
                  <a:pt x="607" y="418"/>
                </a:cubicBezTo>
                <a:cubicBezTo>
                  <a:pt x="633" y="418"/>
                  <a:pt x="662" y="431"/>
                  <a:pt x="688" y="431"/>
                </a:cubicBezTo>
                <a:cubicBezTo>
                  <a:pt x="705" y="431"/>
                  <a:pt x="724" y="425"/>
                  <a:pt x="746" y="425"/>
                </a:cubicBezTo>
                <a:cubicBezTo>
                  <a:pt x="757" y="425"/>
                  <a:pt x="769" y="427"/>
                  <a:pt x="782" y="431"/>
                </a:cubicBezTo>
                <a:cubicBezTo>
                  <a:pt x="811" y="431"/>
                  <a:pt x="837" y="499"/>
                  <a:pt x="863" y="512"/>
                </a:cubicBezTo>
                <a:lnTo>
                  <a:pt x="944" y="512"/>
                </a:lnTo>
                <a:cubicBezTo>
                  <a:pt x="986" y="512"/>
                  <a:pt x="1012" y="486"/>
                  <a:pt x="1038" y="486"/>
                </a:cubicBezTo>
                <a:lnTo>
                  <a:pt x="1135" y="486"/>
                </a:lnTo>
                <a:cubicBezTo>
                  <a:pt x="1161" y="486"/>
                  <a:pt x="1187" y="457"/>
                  <a:pt x="1229" y="457"/>
                </a:cubicBezTo>
                <a:cubicBezTo>
                  <a:pt x="1255" y="457"/>
                  <a:pt x="1281" y="525"/>
                  <a:pt x="1310" y="525"/>
                </a:cubicBezTo>
                <a:cubicBezTo>
                  <a:pt x="1349" y="525"/>
                  <a:pt x="1378" y="512"/>
                  <a:pt x="1404" y="512"/>
                </a:cubicBezTo>
                <a:lnTo>
                  <a:pt x="1498" y="512"/>
                </a:lnTo>
                <a:cubicBezTo>
                  <a:pt x="1524" y="499"/>
                  <a:pt x="1553" y="486"/>
                  <a:pt x="1579" y="486"/>
                </a:cubicBezTo>
                <a:cubicBezTo>
                  <a:pt x="1605" y="486"/>
                  <a:pt x="1647" y="473"/>
                  <a:pt x="1673" y="473"/>
                </a:cubicBezTo>
                <a:cubicBezTo>
                  <a:pt x="1702" y="473"/>
                  <a:pt x="1728" y="457"/>
                  <a:pt x="1754" y="457"/>
                </a:cubicBezTo>
                <a:cubicBezTo>
                  <a:pt x="1796" y="457"/>
                  <a:pt x="1822" y="444"/>
                  <a:pt x="1848" y="444"/>
                </a:cubicBezTo>
                <a:cubicBezTo>
                  <a:pt x="1877" y="431"/>
                  <a:pt x="1903" y="418"/>
                  <a:pt x="1929" y="418"/>
                </a:cubicBezTo>
                <a:cubicBezTo>
                  <a:pt x="1932" y="417"/>
                  <a:pt x="1935" y="416"/>
                  <a:pt x="1939" y="416"/>
                </a:cubicBezTo>
                <a:cubicBezTo>
                  <a:pt x="1963" y="416"/>
                  <a:pt x="1992" y="446"/>
                  <a:pt x="2016" y="446"/>
                </a:cubicBezTo>
                <a:cubicBezTo>
                  <a:pt x="2019" y="446"/>
                  <a:pt x="2023" y="445"/>
                  <a:pt x="2026" y="444"/>
                </a:cubicBezTo>
                <a:lnTo>
                  <a:pt x="2120" y="444"/>
                </a:lnTo>
                <a:cubicBezTo>
                  <a:pt x="2159" y="431"/>
                  <a:pt x="2172" y="376"/>
                  <a:pt x="2188" y="363"/>
                </a:cubicBezTo>
                <a:cubicBezTo>
                  <a:pt x="2227" y="350"/>
                  <a:pt x="2282" y="337"/>
                  <a:pt x="2282" y="311"/>
                </a:cubicBezTo>
                <a:cubicBezTo>
                  <a:pt x="2282" y="282"/>
                  <a:pt x="2227" y="256"/>
                  <a:pt x="2201" y="243"/>
                </a:cubicBezTo>
                <a:cubicBezTo>
                  <a:pt x="2188" y="230"/>
                  <a:pt x="2146" y="214"/>
                  <a:pt x="2120" y="201"/>
                </a:cubicBezTo>
                <a:cubicBezTo>
                  <a:pt x="2091" y="188"/>
                  <a:pt x="2065" y="188"/>
                  <a:pt x="2039" y="175"/>
                </a:cubicBezTo>
                <a:cubicBezTo>
                  <a:pt x="2029" y="171"/>
                  <a:pt x="2018" y="169"/>
                  <a:pt x="2007" y="169"/>
                </a:cubicBezTo>
                <a:cubicBezTo>
                  <a:pt x="1985" y="169"/>
                  <a:pt x="1962" y="175"/>
                  <a:pt x="1945" y="175"/>
                </a:cubicBezTo>
                <a:cubicBezTo>
                  <a:pt x="1916" y="162"/>
                  <a:pt x="1903" y="120"/>
                  <a:pt x="1864" y="107"/>
                </a:cubicBezTo>
                <a:cubicBezTo>
                  <a:pt x="1835" y="107"/>
                  <a:pt x="1809" y="107"/>
                  <a:pt x="1783" y="94"/>
                </a:cubicBezTo>
                <a:cubicBezTo>
                  <a:pt x="1754" y="94"/>
                  <a:pt x="1728" y="52"/>
                  <a:pt x="1686" y="52"/>
                </a:cubicBezTo>
                <a:lnTo>
                  <a:pt x="1605" y="52"/>
                </a:lnTo>
                <a:cubicBezTo>
                  <a:pt x="1579" y="52"/>
                  <a:pt x="1540" y="94"/>
                  <a:pt x="1511" y="94"/>
                </a:cubicBezTo>
                <a:cubicBezTo>
                  <a:pt x="1472" y="94"/>
                  <a:pt x="1459" y="52"/>
                  <a:pt x="1417" y="52"/>
                </a:cubicBezTo>
                <a:cubicBezTo>
                  <a:pt x="1391" y="52"/>
                  <a:pt x="1362" y="52"/>
                  <a:pt x="1336" y="39"/>
                </a:cubicBezTo>
                <a:cubicBezTo>
                  <a:pt x="1297" y="39"/>
                  <a:pt x="1268" y="68"/>
                  <a:pt x="1242" y="68"/>
                </a:cubicBezTo>
                <a:cubicBezTo>
                  <a:pt x="1216" y="68"/>
                  <a:pt x="1187" y="26"/>
                  <a:pt x="1148" y="13"/>
                </a:cubicBezTo>
                <a:cubicBezTo>
                  <a:pt x="1119" y="13"/>
                  <a:pt x="1093" y="0"/>
                  <a:pt x="1067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3" name="Google Shape;333;p11"/>
          <p:cNvSpPr/>
          <p:nvPr/>
        </p:nvSpPr>
        <p:spPr>
          <a:xfrm>
            <a:off x="1506102" y="4948235"/>
            <a:ext cx="1129431" cy="209792"/>
          </a:xfrm>
          <a:custGeom>
            <a:avLst/>
            <a:gdLst/>
            <a:ahLst/>
            <a:cxnLst/>
            <a:rect l="l" t="t" r="r" b="b"/>
            <a:pathLst>
              <a:path w="4566" h="1122" extrusionOk="0">
                <a:moveTo>
                  <a:pt x="2201" y="1"/>
                </a:moveTo>
                <a:cubicBezTo>
                  <a:pt x="2162" y="1"/>
                  <a:pt x="2120" y="17"/>
                  <a:pt x="2081" y="17"/>
                </a:cubicBezTo>
                <a:cubicBezTo>
                  <a:pt x="2039" y="17"/>
                  <a:pt x="2013" y="111"/>
                  <a:pt x="1974" y="111"/>
                </a:cubicBezTo>
                <a:cubicBezTo>
                  <a:pt x="1965" y="114"/>
                  <a:pt x="1956" y="115"/>
                  <a:pt x="1948" y="115"/>
                </a:cubicBezTo>
                <a:cubicBezTo>
                  <a:pt x="1924" y="115"/>
                  <a:pt x="1903" y="107"/>
                  <a:pt x="1883" y="107"/>
                </a:cubicBezTo>
                <a:cubicBezTo>
                  <a:pt x="1877" y="107"/>
                  <a:pt x="1870" y="108"/>
                  <a:pt x="1864" y="111"/>
                </a:cubicBezTo>
                <a:cubicBezTo>
                  <a:pt x="1853" y="114"/>
                  <a:pt x="1842" y="115"/>
                  <a:pt x="1831" y="115"/>
                </a:cubicBezTo>
                <a:cubicBezTo>
                  <a:pt x="1801" y="115"/>
                  <a:pt x="1772" y="107"/>
                  <a:pt x="1751" y="107"/>
                </a:cubicBezTo>
                <a:cubicBezTo>
                  <a:pt x="1743" y="107"/>
                  <a:pt x="1736" y="108"/>
                  <a:pt x="1731" y="111"/>
                </a:cubicBezTo>
                <a:cubicBezTo>
                  <a:pt x="1689" y="137"/>
                  <a:pt x="1634" y="192"/>
                  <a:pt x="1634" y="218"/>
                </a:cubicBezTo>
                <a:cubicBezTo>
                  <a:pt x="1621" y="260"/>
                  <a:pt x="1702" y="286"/>
                  <a:pt x="1744" y="312"/>
                </a:cubicBezTo>
                <a:cubicBezTo>
                  <a:pt x="1744" y="325"/>
                  <a:pt x="1757" y="341"/>
                  <a:pt x="1770" y="354"/>
                </a:cubicBezTo>
                <a:lnTo>
                  <a:pt x="1744" y="354"/>
                </a:lnTo>
                <a:cubicBezTo>
                  <a:pt x="1702" y="354"/>
                  <a:pt x="1650" y="325"/>
                  <a:pt x="1595" y="325"/>
                </a:cubicBezTo>
                <a:lnTo>
                  <a:pt x="1446" y="325"/>
                </a:lnTo>
                <a:cubicBezTo>
                  <a:pt x="1407" y="325"/>
                  <a:pt x="1352" y="393"/>
                  <a:pt x="1310" y="393"/>
                </a:cubicBezTo>
                <a:cubicBezTo>
                  <a:pt x="1261" y="393"/>
                  <a:pt x="1210" y="311"/>
                  <a:pt x="1158" y="311"/>
                </a:cubicBezTo>
                <a:cubicBezTo>
                  <a:pt x="1155" y="311"/>
                  <a:pt x="1151" y="311"/>
                  <a:pt x="1148" y="312"/>
                </a:cubicBezTo>
                <a:cubicBezTo>
                  <a:pt x="1113" y="312"/>
                  <a:pt x="1077" y="306"/>
                  <a:pt x="1045" y="306"/>
                </a:cubicBezTo>
                <a:cubicBezTo>
                  <a:pt x="1030" y="306"/>
                  <a:pt x="1015" y="308"/>
                  <a:pt x="1002" y="312"/>
                </a:cubicBezTo>
                <a:cubicBezTo>
                  <a:pt x="947" y="312"/>
                  <a:pt x="905" y="367"/>
                  <a:pt x="853" y="380"/>
                </a:cubicBezTo>
                <a:cubicBezTo>
                  <a:pt x="798" y="380"/>
                  <a:pt x="759" y="380"/>
                  <a:pt x="704" y="393"/>
                </a:cubicBezTo>
                <a:cubicBezTo>
                  <a:pt x="649" y="393"/>
                  <a:pt x="623" y="461"/>
                  <a:pt x="568" y="474"/>
                </a:cubicBezTo>
                <a:cubicBezTo>
                  <a:pt x="557" y="477"/>
                  <a:pt x="546" y="478"/>
                  <a:pt x="535" y="478"/>
                </a:cubicBezTo>
                <a:cubicBezTo>
                  <a:pt x="504" y="478"/>
                  <a:pt x="474" y="470"/>
                  <a:pt x="447" y="470"/>
                </a:cubicBezTo>
                <a:cubicBezTo>
                  <a:pt x="437" y="470"/>
                  <a:pt x="428" y="471"/>
                  <a:pt x="419" y="474"/>
                </a:cubicBezTo>
                <a:cubicBezTo>
                  <a:pt x="367" y="487"/>
                  <a:pt x="325" y="503"/>
                  <a:pt x="273" y="516"/>
                </a:cubicBezTo>
                <a:cubicBezTo>
                  <a:pt x="218" y="542"/>
                  <a:pt x="176" y="555"/>
                  <a:pt x="137" y="568"/>
                </a:cubicBezTo>
                <a:cubicBezTo>
                  <a:pt x="82" y="610"/>
                  <a:pt x="1" y="649"/>
                  <a:pt x="1" y="691"/>
                </a:cubicBezTo>
                <a:cubicBezTo>
                  <a:pt x="1" y="730"/>
                  <a:pt x="95" y="746"/>
                  <a:pt x="150" y="785"/>
                </a:cubicBezTo>
                <a:cubicBezTo>
                  <a:pt x="176" y="811"/>
                  <a:pt x="205" y="892"/>
                  <a:pt x="257" y="921"/>
                </a:cubicBezTo>
                <a:cubicBezTo>
                  <a:pt x="278" y="927"/>
                  <a:pt x="302" y="927"/>
                  <a:pt x="328" y="927"/>
                </a:cubicBezTo>
                <a:cubicBezTo>
                  <a:pt x="353" y="927"/>
                  <a:pt x="380" y="927"/>
                  <a:pt x="406" y="934"/>
                </a:cubicBezTo>
                <a:cubicBezTo>
                  <a:pt x="409" y="935"/>
                  <a:pt x="413" y="936"/>
                  <a:pt x="417" y="936"/>
                </a:cubicBezTo>
                <a:cubicBezTo>
                  <a:pt x="456" y="936"/>
                  <a:pt x="509" y="890"/>
                  <a:pt x="554" y="890"/>
                </a:cubicBezTo>
                <a:cubicBezTo>
                  <a:pt x="559" y="890"/>
                  <a:pt x="563" y="891"/>
                  <a:pt x="568" y="892"/>
                </a:cubicBezTo>
                <a:cubicBezTo>
                  <a:pt x="623" y="892"/>
                  <a:pt x="662" y="921"/>
                  <a:pt x="717" y="934"/>
                </a:cubicBezTo>
                <a:cubicBezTo>
                  <a:pt x="759" y="947"/>
                  <a:pt x="811" y="960"/>
                  <a:pt x="853" y="973"/>
                </a:cubicBezTo>
                <a:cubicBezTo>
                  <a:pt x="905" y="973"/>
                  <a:pt x="947" y="989"/>
                  <a:pt x="1002" y="1002"/>
                </a:cubicBezTo>
                <a:cubicBezTo>
                  <a:pt x="1054" y="1002"/>
                  <a:pt x="1096" y="1028"/>
                  <a:pt x="1148" y="1028"/>
                </a:cubicBezTo>
                <a:cubicBezTo>
                  <a:pt x="1203" y="1041"/>
                  <a:pt x="1245" y="1070"/>
                  <a:pt x="1297" y="1070"/>
                </a:cubicBezTo>
                <a:cubicBezTo>
                  <a:pt x="1339" y="1083"/>
                  <a:pt x="1391" y="1083"/>
                  <a:pt x="1446" y="1083"/>
                </a:cubicBezTo>
                <a:cubicBezTo>
                  <a:pt x="1488" y="1096"/>
                  <a:pt x="1540" y="1122"/>
                  <a:pt x="1595" y="1122"/>
                </a:cubicBezTo>
                <a:cubicBezTo>
                  <a:pt x="1634" y="1122"/>
                  <a:pt x="1689" y="1015"/>
                  <a:pt x="1744" y="1015"/>
                </a:cubicBezTo>
                <a:cubicBezTo>
                  <a:pt x="1796" y="1015"/>
                  <a:pt x="1838" y="1070"/>
                  <a:pt x="1893" y="1070"/>
                </a:cubicBezTo>
                <a:cubicBezTo>
                  <a:pt x="1945" y="1070"/>
                  <a:pt x="2000" y="1083"/>
                  <a:pt x="2039" y="1083"/>
                </a:cubicBezTo>
                <a:cubicBezTo>
                  <a:pt x="2094" y="1083"/>
                  <a:pt x="2149" y="1122"/>
                  <a:pt x="2188" y="1122"/>
                </a:cubicBezTo>
                <a:lnTo>
                  <a:pt x="2337" y="1122"/>
                </a:lnTo>
                <a:cubicBezTo>
                  <a:pt x="2392" y="1122"/>
                  <a:pt x="2431" y="1002"/>
                  <a:pt x="2486" y="1002"/>
                </a:cubicBezTo>
                <a:cubicBezTo>
                  <a:pt x="2541" y="1002"/>
                  <a:pt x="2593" y="1015"/>
                  <a:pt x="2635" y="1015"/>
                </a:cubicBezTo>
                <a:cubicBezTo>
                  <a:pt x="2687" y="1015"/>
                  <a:pt x="2729" y="1002"/>
                  <a:pt x="2784" y="989"/>
                </a:cubicBezTo>
                <a:cubicBezTo>
                  <a:pt x="2836" y="989"/>
                  <a:pt x="2878" y="960"/>
                  <a:pt x="2930" y="960"/>
                </a:cubicBezTo>
                <a:cubicBezTo>
                  <a:pt x="2941" y="957"/>
                  <a:pt x="2951" y="956"/>
                  <a:pt x="2961" y="956"/>
                </a:cubicBezTo>
                <a:cubicBezTo>
                  <a:pt x="3002" y="956"/>
                  <a:pt x="3037" y="973"/>
                  <a:pt x="3079" y="973"/>
                </a:cubicBezTo>
                <a:cubicBezTo>
                  <a:pt x="3134" y="960"/>
                  <a:pt x="3173" y="947"/>
                  <a:pt x="3228" y="947"/>
                </a:cubicBezTo>
                <a:cubicBezTo>
                  <a:pt x="3234" y="946"/>
                  <a:pt x="3240" y="945"/>
                  <a:pt x="3245" y="945"/>
                </a:cubicBezTo>
                <a:cubicBezTo>
                  <a:pt x="3287" y="945"/>
                  <a:pt x="3327" y="976"/>
                  <a:pt x="3368" y="976"/>
                </a:cubicBezTo>
                <a:cubicBezTo>
                  <a:pt x="3376" y="976"/>
                  <a:pt x="3383" y="975"/>
                  <a:pt x="3390" y="973"/>
                </a:cubicBezTo>
                <a:cubicBezTo>
                  <a:pt x="3445" y="960"/>
                  <a:pt x="3484" y="934"/>
                  <a:pt x="3526" y="921"/>
                </a:cubicBezTo>
                <a:cubicBezTo>
                  <a:pt x="3578" y="908"/>
                  <a:pt x="3607" y="840"/>
                  <a:pt x="3646" y="811"/>
                </a:cubicBezTo>
                <a:cubicBezTo>
                  <a:pt x="3701" y="772"/>
                  <a:pt x="3795" y="746"/>
                  <a:pt x="3795" y="704"/>
                </a:cubicBezTo>
                <a:cubicBezTo>
                  <a:pt x="3795" y="691"/>
                  <a:pt x="3782" y="678"/>
                  <a:pt x="3769" y="649"/>
                </a:cubicBezTo>
                <a:lnTo>
                  <a:pt x="3876" y="649"/>
                </a:lnTo>
                <a:cubicBezTo>
                  <a:pt x="3918" y="636"/>
                  <a:pt x="3957" y="636"/>
                  <a:pt x="3999" y="623"/>
                </a:cubicBezTo>
                <a:cubicBezTo>
                  <a:pt x="4038" y="623"/>
                  <a:pt x="4064" y="610"/>
                  <a:pt x="4106" y="610"/>
                </a:cubicBezTo>
                <a:cubicBezTo>
                  <a:pt x="4109" y="609"/>
                  <a:pt x="4113" y="608"/>
                  <a:pt x="4116" y="608"/>
                </a:cubicBezTo>
                <a:cubicBezTo>
                  <a:pt x="4148" y="608"/>
                  <a:pt x="4181" y="651"/>
                  <a:pt x="4213" y="651"/>
                </a:cubicBezTo>
                <a:cubicBezTo>
                  <a:pt x="4217" y="651"/>
                  <a:pt x="4222" y="651"/>
                  <a:pt x="4226" y="649"/>
                </a:cubicBezTo>
                <a:cubicBezTo>
                  <a:pt x="4254" y="649"/>
                  <a:pt x="4288" y="656"/>
                  <a:pt x="4315" y="656"/>
                </a:cubicBezTo>
                <a:cubicBezTo>
                  <a:pt x="4328" y="656"/>
                  <a:pt x="4340" y="654"/>
                  <a:pt x="4349" y="649"/>
                </a:cubicBezTo>
                <a:cubicBezTo>
                  <a:pt x="4388" y="636"/>
                  <a:pt x="4417" y="568"/>
                  <a:pt x="4443" y="555"/>
                </a:cubicBezTo>
                <a:cubicBezTo>
                  <a:pt x="4485" y="529"/>
                  <a:pt x="4566" y="516"/>
                  <a:pt x="4566" y="487"/>
                </a:cubicBezTo>
                <a:cubicBezTo>
                  <a:pt x="4566" y="461"/>
                  <a:pt x="4498" y="422"/>
                  <a:pt x="4456" y="393"/>
                </a:cubicBezTo>
                <a:cubicBezTo>
                  <a:pt x="4430" y="367"/>
                  <a:pt x="4404" y="354"/>
                  <a:pt x="4362" y="341"/>
                </a:cubicBezTo>
                <a:cubicBezTo>
                  <a:pt x="4336" y="325"/>
                  <a:pt x="4294" y="312"/>
                  <a:pt x="4255" y="299"/>
                </a:cubicBezTo>
                <a:cubicBezTo>
                  <a:pt x="4234" y="292"/>
                  <a:pt x="4214" y="292"/>
                  <a:pt x="4193" y="292"/>
                </a:cubicBezTo>
                <a:cubicBezTo>
                  <a:pt x="4173" y="292"/>
                  <a:pt x="4153" y="292"/>
                  <a:pt x="4132" y="286"/>
                </a:cubicBezTo>
                <a:cubicBezTo>
                  <a:pt x="4106" y="273"/>
                  <a:pt x="4080" y="218"/>
                  <a:pt x="4038" y="205"/>
                </a:cubicBezTo>
                <a:cubicBezTo>
                  <a:pt x="3999" y="192"/>
                  <a:pt x="3970" y="192"/>
                  <a:pt x="3931" y="192"/>
                </a:cubicBezTo>
                <a:cubicBezTo>
                  <a:pt x="3889" y="179"/>
                  <a:pt x="3863" y="137"/>
                  <a:pt x="3821" y="124"/>
                </a:cubicBezTo>
                <a:cubicBezTo>
                  <a:pt x="3801" y="117"/>
                  <a:pt x="3781" y="117"/>
                  <a:pt x="3761" y="117"/>
                </a:cubicBezTo>
                <a:cubicBezTo>
                  <a:pt x="3741" y="117"/>
                  <a:pt x="3720" y="117"/>
                  <a:pt x="3701" y="111"/>
                </a:cubicBezTo>
                <a:cubicBezTo>
                  <a:pt x="3663" y="111"/>
                  <a:pt x="3628" y="165"/>
                  <a:pt x="3591" y="165"/>
                </a:cubicBezTo>
                <a:cubicBezTo>
                  <a:pt x="3587" y="165"/>
                  <a:pt x="3582" y="165"/>
                  <a:pt x="3578" y="163"/>
                </a:cubicBezTo>
                <a:cubicBezTo>
                  <a:pt x="3539" y="163"/>
                  <a:pt x="3513" y="111"/>
                  <a:pt x="3471" y="98"/>
                </a:cubicBezTo>
                <a:cubicBezTo>
                  <a:pt x="3432" y="98"/>
                  <a:pt x="3390" y="98"/>
                  <a:pt x="3351" y="82"/>
                </a:cubicBezTo>
                <a:cubicBezTo>
                  <a:pt x="3322" y="82"/>
                  <a:pt x="3270" y="111"/>
                  <a:pt x="3241" y="111"/>
                </a:cubicBezTo>
                <a:cubicBezTo>
                  <a:pt x="3202" y="98"/>
                  <a:pt x="3160" y="43"/>
                  <a:pt x="3121" y="43"/>
                </a:cubicBezTo>
                <a:cubicBezTo>
                  <a:pt x="3092" y="43"/>
                  <a:pt x="3053" y="17"/>
                  <a:pt x="3011" y="17"/>
                </a:cubicBezTo>
                <a:lnTo>
                  <a:pt x="2891" y="17"/>
                </a:lnTo>
                <a:cubicBezTo>
                  <a:pt x="2849" y="17"/>
                  <a:pt x="2810" y="30"/>
                  <a:pt x="2784" y="30"/>
                </a:cubicBezTo>
                <a:cubicBezTo>
                  <a:pt x="2742" y="30"/>
                  <a:pt x="2703" y="17"/>
                  <a:pt x="2661" y="17"/>
                </a:cubicBezTo>
                <a:cubicBezTo>
                  <a:pt x="2622" y="17"/>
                  <a:pt x="2580" y="43"/>
                  <a:pt x="2541" y="43"/>
                </a:cubicBezTo>
                <a:cubicBezTo>
                  <a:pt x="2512" y="43"/>
                  <a:pt x="2473" y="30"/>
                  <a:pt x="2431" y="30"/>
                </a:cubicBezTo>
                <a:cubicBezTo>
                  <a:pt x="2392" y="30"/>
                  <a:pt x="2350" y="69"/>
                  <a:pt x="2311" y="69"/>
                </a:cubicBezTo>
                <a:cubicBezTo>
                  <a:pt x="2269" y="69"/>
                  <a:pt x="2230" y="1"/>
                  <a:pt x="2201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4" name="Google Shape;334;p11"/>
          <p:cNvSpPr/>
          <p:nvPr/>
        </p:nvSpPr>
        <p:spPr>
          <a:xfrm>
            <a:off x="2498239" y="4799961"/>
            <a:ext cx="874653" cy="161177"/>
          </a:xfrm>
          <a:custGeom>
            <a:avLst/>
            <a:gdLst/>
            <a:ahLst/>
            <a:cxnLst/>
            <a:rect l="l" t="t" r="r" b="b"/>
            <a:pathLst>
              <a:path w="3536" h="862" extrusionOk="0">
                <a:moveTo>
                  <a:pt x="1203" y="0"/>
                </a:moveTo>
                <a:cubicBezTo>
                  <a:pt x="1174" y="13"/>
                  <a:pt x="1148" y="26"/>
                  <a:pt x="1106" y="26"/>
                </a:cubicBezTo>
                <a:cubicBezTo>
                  <a:pt x="1080" y="26"/>
                  <a:pt x="1054" y="81"/>
                  <a:pt x="1025" y="81"/>
                </a:cubicBezTo>
                <a:cubicBezTo>
                  <a:pt x="1004" y="81"/>
                  <a:pt x="974" y="62"/>
                  <a:pt x="947" y="62"/>
                </a:cubicBezTo>
                <a:cubicBezTo>
                  <a:pt x="942" y="62"/>
                  <a:pt x="936" y="62"/>
                  <a:pt x="931" y="65"/>
                </a:cubicBezTo>
                <a:cubicBezTo>
                  <a:pt x="905" y="65"/>
                  <a:pt x="879" y="65"/>
                  <a:pt x="850" y="81"/>
                </a:cubicBezTo>
                <a:cubicBezTo>
                  <a:pt x="811" y="81"/>
                  <a:pt x="798" y="120"/>
                  <a:pt x="756" y="120"/>
                </a:cubicBezTo>
                <a:cubicBezTo>
                  <a:pt x="753" y="121"/>
                  <a:pt x="750" y="122"/>
                  <a:pt x="747" y="122"/>
                </a:cubicBezTo>
                <a:cubicBezTo>
                  <a:pt x="721" y="122"/>
                  <a:pt x="685" y="81"/>
                  <a:pt x="662" y="81"/>
                </a:cubicBezTo>
                <a:cubicBezTo>
                  <a:pt x="649" y="88"/>
                  <a:pt x="635" y="88"/>
                  <a:pt x="620" y="88"/>
                </a:cubicBezTo>
                <a:cubicBezTo>
                  <a:pt x="604" y="88"/>
                  <a:pt x="587" y="88"/>
                  <a:pt x="568" y="94"/>
                </a:cubicBezTo>
                <a:cubicBezTo>
                  <a:pt x="539" y="94"/>
                  <a:pt x="513" y="133"/>
                  <a:pt x="487" y="133"/>
                </a:cubicBezTo>
                <a:cubicBezTo>
                  <a:pt x="458" y="146"/>
                  <a:pt x="432" y="146"/>
                  <a:pt x="406" y="162"/>
                </a:cubicBezTo>
                <a:cubicBezTo>
                  <a:pt x="377" y="162"/>
                  <a:pt x="351" y="201"/>
                  <a:pt x="325" y="214"/>
                </a:cubicBezTo>
                <a:cubicBezTo>
                  <a:pt x="310" y="220"/>
                  <a:pt x="297" y="220"/>
                  <a:pt x="283" y="220"/>
                </a:cubicBezTo>
                <a:cubicBezTo>
                  <a:pt x="270" y="220"/>
                  <a:pt x="257" y="220"/>
                  <a:pt x="244" y="227"/>
                </a:cubicBezTo>
                <a:cubicBezTo>
                  <a:pt x="202" y="243"/>
                  <a:pt x="176" y="243"/>
                  <a:pt x="150" y="256"/>
                </a:cubicBezTo>
                <a:cubicBezTo>
                  <a:pt x="121" y="269"/>
                  <a:pt x="95" y="282"/>
                  <a:pt x="82" y="295"/>
                </a:cubicBezTo>
                <a:cubicBezTo>
                  <a:pt x="40" y="324"/>
                  <a:pt x="1" y="350"/>
                  <a:pt x="1" y="376"/>
                </a:cubicBezTo>
                <a:cubicBezTo>
                  <a:pt x="1" y="405"/>
                  <a:pt x="53" y="405"/>
                  <a:pt x="95" y="431"/>
                </a:cubicBezTo>
                <a:cubicBezTo>
                  <a:pt x="108" y="444"/>
                  <a:pt x="134" y="486"/>
                  <a:pt x="163" y="499"/>
                </a:cubicBezTo>
                <a:lnTo>
                  <a:pt x="257" y="499"/>
                </a:lnTo>
                <a:cubicBezTo>
                  <a:pt x="283" y="499"/>
                  <a:pt x="325" y="457"/>
                  <a:pt x="351" y="457"/>
                </a:cubicBezTo>
                <a:cubicBezTo>
                  <a:pt x="377" y="470"/>
                  <a:pt x="406" y="486"/>
                  <a:pt x="432" y="486"/>
                </a:cubicBezTo>
                <a:cubicBezTo>
                  <a:pt x="474" y="486"/>
                  <a:pt x="500" y="499"/>
                  <a:pt x="526" y="499"/>
                </a:cubicBezTo>
                <a:lnTo>
                  <a:pt x="607" y="499"/>
                </a:lnTo>
                <a:cubicBezTo>
                  <a:pt x="594" y="512"/>
                  <a:pt x="594" y="525"/>
                  <a:pt x="594" y="538"/>
                </a:cubicBezTo>
                <a:cubicBezTo>
                  <a:pt x="594" y="580"/>
                  <a:pt x="662" y="593"/>
                  <a:pt x="717" y="619"/>
                </a:cubicBezTo>
                <a:cubicBezTo>
                  <a:pt x="743" y="648"/>
                  <a:pt x="756" y="687"/>
                  <a:pt x="798" y="713"/>
                </a:cubicBezTo>
                <a:cubicBezTo>
                  <a:pt x="824" y="729"/>
                  <a:pt x="863" y="742"/>
                  <a:pt x="905" y="755"/>
                </a:cubicBezTo>
                <a:cubicBezTo>
                  <a:pt x="937" y="755"/>
                  <a:pt x="981" y="725"/>
                  <a:pt x="1020" y="725"/>
                </a:cubicBezTo>
                <a:cubicBezTo>
                  <a:pt x="1027" y="725"/>
                  <a:pt x="1034" y="726"/>
                  <a:pt x="1041" y="729"/>
                </a:cubicBezTo>
                <a:cubicBezTo>
                  <a:pt x="1067" y="729"/>
                  <a:pt x="1106" y="742"/>
                  <a:pt x="1148" y="742"/>
                </a:cubicBezTo>
                <a:cubicBezTo>
                  <a:pt x="1156" y="745"/>
                  <a:pt x="1164" y="746"/>
                  <a:pt x="1171" y="746"/>
                </a:cubicBezTo>
                <a:cubicBezTo>
                  <a:pt x="1203" y="746"/>
                  <a:pt x="1237" y="729"/>
                  <a:pt x="1268" y="729"/>
                </a:cubicBezTo>
                <a:cubicBezTo>
                  <a:pt x="1297" y="742"/>
                  <a:pt x="1336" y="755"/>
                  <a:pt x="1378" y="768"/>
                </a:cubicBezTo>
                <a:cubicBezTo>
                  <a:pt x="1417" y="768"/>
                  <a:pt x="1459" y="781"/>
                  <a:pt x="1485" y="781"/>
                </a:cubicBezTo>
                <a:cubicBezTo>
                  <a:pt x="1527" y="781"/>
                  <a:pt x="1566" y="768"/>
                  <a:pt x="1608" y="768"/>
                </a:cubicBezTo>
                <a:cubicBezTo>
                  <a:pt x="1647" y="768"/>
                  <a:pt x="1673" y="862"/>
                  <a:pt x="1715" y="862"/>
                </a:cubicBezTo>
                <a:lnTo>
                  <a:pt x="1835" y="862"/>
                </a:lnTo>
                <a:cubicBezTo>
                  <a:pt x="1877" y="862"/>
                  <a:pt x="1916" y="836"/>
                  <a:pt x="1958" y="836"/>
                </a:cubicBezTo>
                <a:cubicBezTo>
                  <a:pt x="1984" y="836"/>
                  <a:pt x="2026" y="823"/>
                  <a:pt x="2065" y="823"/>
                </a:cubicBezTo>
                <a:cubicBezTo>
                  <a:pt x="2107" y="823"/>
                  <a:pt x="2146" y="781"/>
                  <a:pt x="2188" y="781"/>
                </a:cubicBezTo>
                <a:cubicBezTo>
                  <a:pt x="2227" y="781"/>
                  <a:pt x="2269" y="862"/>
                  <a:pt x="2295" y="862"/>
                </a:cubicBezTo>
                <a:cubicBezTo>
                  <a:pt x="2337" y="862"/>
                  <a:pt x="2376" y="836"/>
                  <a:pt x="2418" y="836"/>
                </a:cubicBezTo>
                <a:cubicBezTo>
                  <a:pt x="2457" y="836"/>
                  <a:pt x="2499" y="823"/>
                  <a:pt x="2538" y="823"/>
                </a:cubicBezTo>
                <a:cubicBezTo>
                  <a:pt x="2564" y="823"/>
                  <a:pt x="2606" y="794"/>
                  <a:pt x="2645" y="794"/>
                </a:cubicBezTo>
                <a:cubicBezTo>
                  <a:pt x="2687" y="794"/>
                  <a:pt x="2726" y="768"/>
                  <a:pt x="2755" y="768"/>
                </a:cubicBezTo>
                <a:cubicBezTo>
                  <a:pt x="2794" y="755"/>
                  <a:pt x="2836" y="755"/>
                  <a:pt x="2875" y="742"/>
                </a:cubicBezTo>
                <a:cubicBezTo>
                  <a:pt x="2917" y="742"/>
                  <a:pt x="2943" y="729"/>
                  <a:pt x="2985" y="713"/>
                </a:cubicBezTo>
                <a:cubicBezTo>
                  <a:pt x="3024" y="713"/>
                  <a:pt x="3050" y="687"/>
                  <a:pt x="3092" y="687"/>
                </a:cubicBezTo>
                <a:cubicBezTo>
                  <a:pt x="3096" y="686"/>
                  <a:pt x="3100" y="685"/>
                  <a:pt x="3105" y="685"/>
                </a:cubicBezTo>
                <a:cubicBezTo>
                  <a:pt x="3137" y="685"/>
                  <a:pt x="3177" y="716"/>
                  <a:pt x="3211" y="716"/>
                </a:cubicBezTo>
                <a:cubicBezTo>
                  <a:pt x="3217" y="716"/>
                  <a:pt x="3222" y="715"/>
                  <a:pt x="3228" y="713"/>
                </a:cubicBezTo>
                <a:cubicBezTo>
                  <a:pt x="3267" y="713"/>
                  <a:pt x="3309" y="713"/>
                  <a:pt x="3335" y="700"/>
                </a:cubicBezTo>
                <a:cubicBezTo>
                  <a:pt x="3374" y="687"/>
                  <a:pt x="3390" y="619"/>
                  <a:pt x="3416" y="606"/>
                </a:cubicBezTo>
                <a:cubicBezTo>
                  <a:pt x="3471" y="580"/>
                  <a:pt x="3536" y="551"/>
                  <a:pt x="3536" y="525"/>
                </a:cubicBezTo>
                <a:cubicBezTo>
                  <a:pt x="3536" y="499"/>
                  <a:pt x="3471" y="470"/>
                  <a:pt x="3429" y="444"/>
                </a:cubicBezTo>
                <a:cubicBezTo>
                  <a:pt x="3403" y="418"/>
                  <a:pt x="3361" y="405"/>
                  <a:pt x="3322" y="389"/>
                </a:cubicBezTo>
                <a:cubicBezTo>
                  <a:pt x="3293" y="376"/>
                  <a:pt x="3254" y="376"/>
                  <a:pt x="3212" y="363"/>
                </a:cubicBezTo>
                <a:cubicBezTo>
                  <a:pt x="3203" y="360"/>
                  <a:pt x="3195" y="359"/>
                  <a:pt x="3187" y="359"/>
                </a:cubicBezTo>
                <a:cubicBezTo>
                  <a:pt x="3164" y="359"/>
                  <a:pt x="3140" y="367"/>
                  <a:pt x="3117" y="367"/>
                </a:cubicBezTo>
                <a:cubicBezTo>
                  <a:pt x="3108" y="367"/>
                  <a:pt x="3100" y="366"/>
                  <a:pt x="3092" y="363"/>
                </a:cubicBezTo>
                <a:cubicBezTo>
                  <a:pt x="3050" y="350"/>
                  <a:pt x="3024" y="295"/>
                  <a:pt x="2985" y="295"/>
                </a:cubicBezTo>
                <a:cubicBezTo>
                  <a:pt x="2956" y="295"/>
                  <a:pt x="2917" y="295"/>
                  <a:pt x="2875" y="282"/>
                </a:cubicBezTo>
                <a:cubicBezTo>
                  <a:pt x="2836" y="282"/>
                  <a:pt x="2807" y="243"/>
                  <a:pt x="2768" y="227"/>
                </a:cubicBezTo>
                <a:cubicBezTo>
                  <a:pt x="2740" y="227"/>
                  <a:pt x="2713" y="234"/>
                  <a:pt x="2686" y="234"/>
                </a:cubicBezTo>
                <a:cubicBezTo>
                  <a:pt x="2672" y="234"/>
                  <a:pt x="2659" y="232"/>
                  <a:pt x="2645" y="227"/>
                </a:cubicBezTo>
                <a:cubicBezTo>
                  <a:pt x="2606" y="227"/>
                  <a:pt x="2564" y="295"/>
                  <a:pt x="2525" y="295"/>
                </a:cubicBezTo>
                <a:cubicBezTo>
                  <a:pt x="2483" y="295"/>
                  <a:pt x="2457" y="243"/>
                  <a:pt x="2418" y="243"/>
                </a:cubicBezTo>
                <a:lnTo>
                  <a:pt x="2295" y="243"/>
                </a:lnTo>
                <a:cubicBezTo>
                  <a:pt x="2256" y="243"/>
                  <a:pt x="2214" y="269"/>
                  <a:pt x="2175" y="269"/>
                </a:cubicBezTo>
                <a:lnTo>
                  <a:pt x="2159" y="269"/>
                </a:lnTo>
                <a:cubicBezTo>
                  <a:pt x="2175" y="256"/>
                  <a:pt x="2175" y="243"/>
                  <a:pt x="2188" y="243"/>
                </a:cubicBezTo>
                <a:cubicBezTo>
                  <a:pt x="2214" y="214"/>
                  <a:pt x="2269" y="188"/>
                  <a:pt x="2269" y="162"/>
                </a:cubicBezTo>
                <a:cubicBezTo>
                  <a:pt x="2269" y="146"/>
                  <a:pt x="2227" y="94"/>
                  <a:pt x="2188" y="81"/>
                </a:cubicBezTo>
                <a:cubicBezTo>
                  <a:pt x="2185" y="77"/>
                  <a:pt x="2180" y="76"/>
                  <a:pt x="2175" y="76"/>
                </a:cubicBezTo>
                <a:cubicBezTo>
                  <a:pt x="2160" y="76"/>
                  <a:pt x="2139" y="84"/>
                  <a:pt x="2116" y="84"/>
                </a:cubicBezTo>
                <a:cubicBezTo>
                  <a:pt x="2109" y="84"/>
                  <a:pt x="2101" y="84"/>
                  <a:pt x="2094" y="81"/>
                </a:cubicBezTo>
                <a:cubicBezTo>
                  <a:pt x="2087" y="77"/>
                  <a:pt x="2081" y="76"/>
                  <a:pt x="2074" y="76"/>
                </a:cubicBezTo>
                <a:cubicBezTo>
                  <a:pt x="2058" y="76"/>
                  <a:pt x="2041" y="84"/>
                  <a:pt x="2019" y="84"/>
                </a:cubicBezTo>
                <a:cubicBezTo>
                  <a:pt x="2012" y="84"/>
                  <a:pt x="2005" y="84"/>
                  <a:pt x="1997" y="81"/>
                </a:cubicBezTo>
                <a:cubicBezTo>
                  <a:pt x="1971" y="81"/>
                  <a:pt x="1958" y="13"/>
                  <a:pt x="1932" y="0"/>
                </a:cubicBezTo>
                <a:lnTo>
                  <a:pt x="1835" y="0"/>
                </a:lnTo>
                <a:cubicBezTo>
                  <a:pt x="1809" y="0"/>
                  <a:pt x="1770" y="52"/>
                  <a:pt x="1741" y="52"/>
                </a:cubicBezTo>
                <a:cubicBezTo>
                  <a:pt x="1715" y="52"/>
                  <a:pt x="1689" y="13"/>
                  <a:pt x="1647" y="13"/>
                </a:cubicBezTo>
                <a:cubicBezTo>
                  <a:pt x="1621" y="13"/>
                  <a:pt x="1592" y="26"/>
                  <a:pt x="1566" y="26"/>
                </a:cubicBezTo>
                <a:cubicBezTo>
                  <a:pt x="1527" y="26"/>
                  <a:pt x="1498" y="0"/>
                  <a:pt x="1472" y="0"/>
                </a:cubicBezTo>
                <a:cubicBezTo>
                  <a:pt x="1446" y="0"/>
                  <a:pt x="1417" y="13"/>
                  <a:pt x="1378" y="13"/>
                </a:cubicBezTo>
                <a:cubicBezTo>
                  <a:pt x="1349" y="13"/>
                  <a:pt x="1323" y="0"/>
                  <a:pt x="1297" y="0"/>
                </a:cubicBezTo>
                <a:cubicBezTo>
                  <a:pt x="1283" y="4"/>
                  <a:pt x="1271" y="6"/>
                  <a:pt x="1260" y="6"/>
                </a:cubicBezTo>
                <a:cubicBezTo>
                  <a:pt x="1237" y="6"/>
                  <a:pt x="1220" y="0"/>
                  <a:pt x="120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5" name="Google Shape;335;p11"/>
          <p:cNvSpPr/>
          <p:nvPr/>
        </p:nvSpPr>
        <p:spPr>
          <a:xfrm>
            <a:off x="3376594" y="4948236"/>
            <a:ext cx="737617" cy="224937"/>
          </a:xfrm>
          <a:custGeom>
            <a:avLst/>
            <a:gdLst/>
            <a:ahLst/>
            <a:cxnLst/>
            <a:rect l="l" t="t" r="r" b="b"/>
            <a:pathLst>
              <a:path w="2982" h="1203" extrusionOk="0">
                <a:moveTo>
                  <a:pt x="1404" y="1"/>
                </a:moveTo>
                <a:cubicBezTo>
                  <a:pt x="1378" y="1"/>
                  <a:pt x="1349" y="56"/>
                  <a:pt x="1323" y="56"/>
                </a:cubicBezTo>
                <a:cubicBezTo>
                  <a:pt x="1297" y="56"/>
                  <a:pt x="1268" y="43"/>
                  <a:pt x="1242" y="43"/>
                </a:cubicBezTo>
                <a:cubicBezTo>
                  <a:pt x="1216" y="43"/>
                  <a:pt x="1187" y="17"/>
                  <a:pt x="1161" y="17"/>
                </a:cubicBezTo>
                <a:lnTo>
                  <a:pt x="1093" y="17"/>
                </a:lnTo>
                <a:cubicBezTo>
                  <a:pt x="1067" y="17"/>
                  <a:pt x="1038" y="69"/>
                  <a:pt x="1012" y="69"/>
                </a:cubicBezTo>
                <a:cubicBezTo>
                  <a:pt x="986" y="69"/>
                  <a:pt x="957" y="56"/>
                  <a:pt x="931" y="56"/>
                </a:cubicBezTo>
                <a:lnTo>
                  <a:pt x="850" y="56"/>
                </a:lnTo>
                <a:cubicBezTo>
                  <a:pt x="824" y="56"/>
                  <a:pt x="811" y="82"/>
                  <a:pt x="782" y="82"/>
                </a:cubicBezTo>
                <a:cubicBezTo>
                  <a:pt x="764" y="82"/>
                  <a:pt x="747" y="76"/>
                  <a:pt x="729" y="76"/>
                </a:cubicBezTo>
                <a:cubicBezTo>
                  <a:pt x="720" y="76"/>
                  <a:pt x="710" y="78"/>
                  <a:pt x="701" y="82"/>
                </a:cubicBezTo>
                <a:cubicBezTo>
                  <a:pt x="675" y="82"/>
                  <a:pt x="649" y="98"/>
                  <a:pt x="620" y="98"/>
                </a:cubicBezTo>
                <a:cubicBezTo>
                  <a:pt x="594" y="98"/>
                  <a:pt x="568" y="56"/>
                  <a:pt x="539" y="56"/>
                </a:cubicBezTo>
                <a:cubicBezTo>
                  <a:pt x="513" y="69"/>
                  <a:pt x="487" y="69"/>
                  <a:pt x="471" y="82"/>
                </a:cubicBezTo>
                <a:cubicBezTo>
                  <a:pt x="445" y="82"/>
                  <a:pt x="419" y="111"/>
                  <a:pt x="390" y="111"/>
                </a:cubicBezTo>
                <a:cubicBezTo>
                  <a:pt x="369" y="111"/>
                  <a:pt x="349" y="93"/>
                  <a:pt x="327" y="93"/>
                </a:cubicBezTo>
                <a:cubicBezTo>
                  <a:pt x="321" y="93"/>
                  <a:pt x="315" y="95"/>
                  <a:pt x="309" y="98"/>
                </a:cubicBezTo>
                <a:cubicBezTo>
                  <a:pt x="283" y="98"/>
                  <a:pt x="270" y="150"/>
                  <a:pt x="244" y="150"/>
                </a:cubicBezTo>
                <a:cubicBezTo>
                  <a:pt x="234" y="154"/>
                  <a:pt x="225" y="156"/>
                  <a:pt x="216" y="156"/>
                </a:cubicBezTo>
                <a:cubicBezTo>
                  <a:pt x="197" y="156"/>
                  <a:pt x="180" y="150"/>
                  <a:pt x="163" y="150"/>
                </a:cubicBezTo>
                <a:cubicBezTo>
                  <a:pt x="134" y="163"/>
                  <a:pt x="108" y="163"/>
                  <a:pt x="95" y="179"/>
                </a:cubicBezTo>
                <a:cubicBezTo>
                  <a:pt x="66" y="192"/>
                  <a:pt x="40" y="218"/>
                  <a:pt x="27" y="231"/>
                </a:cubicBezTo>
                <a:cubicBezTo>
                  <a:pt x="1" y="244"/>
                  <a:pt x="14" y="273"/>
                  <a:pt x="14" y="299"/>
                </a:cubicBezTo>
                <a:cubicBezTo>
                  <a:pt x="14" y="325"/>
                  <a:pt x="14" y="341"/>
                  <a:pt x="40" y="354"/>
                </a:cubicBezTo>
                <a:cubicBezTo>
                  <a:pt x="46" y="360"/>
                  <a:pt x="60" y="360"/>
                  <a:pt x="75" y="360"/>
                </a:cubicBezTo>
                <a:cubicBezTo>
                  <a:pt x="91" y="360"/>
                  <a:pt x="108" y="360"/>
                  <a:pt x="121" y="367"/>
                </a:cubicBezTo>
                <a:cubicBezTo>
                  <a:pt x="134" y="380"/>
                  <a:pt x="163" y="406"/>
                  <a:pt x="189" y="406"/>
                </a:cubicBezTo>
                <a:cubicBezTo>
                  <a:pt x="197" y="411"/>
                  <a:pt x="206" y="413"/>
                  <a:pt x="216" y="413"/>
                </a:cubicBezTo>
                <a:cubicBezTo>
                  <a:pt x="234" y="413"/>
                  <a:pt x="253" y="406"/>
                  <a:pt x="270" y="406"/>
                </a:cubicBezTo>
                <a:cubicBezTo>
                  <a:pt x="296" y="422"/>
                  <a:pt x="309" y="461"/>
                  <a:pt x="338" y="461"/>
                </a:cubicBezTo>
                <a:cubicBezTo>
                  <a:pt x="364" y="461"/>
                  <a:pt x="390" y="487"/>
                  <a:pt x="419" y="487"/>
                </a:cubicBezTo>
                <a:lnTo>
                  <a:pt x="500" y="487"/>
                </a:lnTo>
                <a:cubicBezTo>
                  <a:pt x="526" y="487"/>
                  <a:pt x="552" y="516"/>
                  <a:pt x="581" y="516"/>
                </a:cubicBezTo>
                <a:lnTo>
                  <a:pt x="662" y="516"/>
                </a:lnTo>
                <a:cubicBezTo>
                  <a:pt x="688" y="516"/>
                  <a:pt x="714" y="503"/>
                  <a:pt x="743" y="503"/>
                </a:cubicBezTo>
                <a:cubicBezTo>
                  <a:pt x="769" y="503"/>
                  <a:pt x="782" y="474"/>
                  <a:pt x="811" y="474"/>
                </a:cubicBezTo>
                <a:cubicBezTo>
                  <a:pt x="756" y="503"/>
                  <a:pt x="769" y="542"/>
                  <a:pt x="769" y="568"/>
                </a:cubicBezTo>
                <a:cubicBezTo>
                  <a:pt x="769" y="597"/>
                  <a:pt x="769" y="610"/>
                  <a:pt x="795" y="636"/>
                </a:cubicBezTo>
                <a:cubicBezTo>
                  <a:pt x="798" y="639"/>
                  <a:pt x="803" y="640"/>
                  <a:pt x="808" y="640"/>
                </a:cubicBezTo>
                <a:cubicBezTo>
                  <a:pt x="822" y="640"/>
                  <a:pt x="841" y="632"/>
                  <a:pt x="858" y="632"/>
                </a:cubicBezTo>
                <a:cubicBezTo>
                  <a:pt x="864" y="632"/>
                  <a:pt x="870" y="633"/>
                  <a:pt x="876" y="636"/>
                </a:cubicBezTo>
                <a:cubicBezTo>
                  <a:pt x="892" y="649"/>
                  <a:pt x="892" y="691"/>
                  <a:pt x="918" y="691"/>
                </a:cubicBezTo>
                <a:cubicBezTo>
                  <a:pt x="892" y="691"/>
                  <a:pt x="876" y="678"/>
                  <a:pt x="850" y="678"/>
                </a:cubicBezTo>
                <a:cubicBezTo>
                  <a:pt x="824" y="691"/>
                  <a:pt x="795" y="717"/>
                  <a:pt x="782" y="717"/>
                </a:cubicBezTo>
                <a:cubicBezTo>
                  <a:pt x="743" y="730"/>
                  <a:pt x="730" y="746"/>
                  <a:pt x="701" y="759"/>
                </a:cubicBezTo>
                <a:cubicBezTo>
                  <a:pt x="695" y="762"/>
                  <a:pt x="689" y="763"/>
                  <a:pt x="682" y="763"/>
                </a:cubicBezTo>
                <a:cubicBezTo>
                  <a:pt x="664" y="763"/>
                  <a:pt x="643" y="755"/>
                  <a:pt x="625" y="755"/>
                </a:cubicBezTo>
                <a:cubicBezTo>
                  <a:pt x="618" y="755"/>
                  <a:pt x="612" y="756"/>
                  <a:pt x="607" y="759"/>
                </a:cubicBezTo>
                <a:cubicBezTo>
                  <a:pt x="581" y="785"/>
                  <a:pt x="594" y="827"/>
                  <a:pt x="594" y="840"/>
                </a:cubicBezTo>
                <a:cubicBezTo>
                  <a:pt x="607" y="866"/>
                  <a:pt x="594" y="892"/>
                  <a:pt x="620" y="921"/>
                </a:cubicBezTo>
                <a:cubicBezTo>
                  <a:pt x="649" y="921"/>
                  <a:pt x="675" y="934"/>
                  <a:pt x="701" y="947"/>
                </a:cubicBezTo>
                <a:lnTo>
                  <a:pt x="782" y="947"/>
                </a:lnTo>
                <a:cubicBezTo>
                  <a:pt x="795" y="947"/>
                  <a:pt x="824" y="960"/>
                  <a:pt x="850" y="960"/>
                </a:cubicBezTo>
                <a:cubicBezTo>
                  <a:pt x="876" y="960"/>
                  <a:pt x="905" y="960"/>
                  <a:pt x="931" y="973"/>
                </a:cubicBezTo>
                <a:cubicBezTo>
                  <a:pt x="957" y="973"/>
                  <a:pt x="986" y="960"/>
                  <a:pt x="1012" y="960"/>
                </a:cubicBezTo>
                <a:cubicBezTo>
                  <a:pt x="1038" y="960"/>
                  <a:pt x="1054" y="989"/>
                  <a:pt x="1080" y="989"/>
                </a:cubicBezTo>
                <a:cubicBezTo>
                  <a:pt x="1083" y="991"/>
                  <a:pt x="1087" y="992"/>
                  <a:pt x="1090" y="992"/>
                </a:cubicBezTo>
                <a:cubicBezTo>
                  <a:pt x="1113" y="992"/>
                  <a:pt x="1138" y="960"/>
                  <a:pt x="1161" y="960"/>
                </a:cubicBezTo>
                <a:cubicBezTo>
                  <a:pt x="1187" y="960"/>
                  <a:pt x="1216" y="973"/>
                  <a:pt x="1242" y="973"/>
                </a:cubicBezTo>
                <a:cubicBezTo>
                  <a:pt x="1268" y="973"/>
                  <a:pt x="1281" y="989"/>
                  <a:pt x="1310" y="989"/>
                </a:cubicBezTo>
                <a:cubicBezTo>
                  <a:pt x="1297" y="1002"/>
                  <a:pt x="1297" y="1015"/>
                  <a:pt x="1297" y="1028"/>
                </a:cubicBezTo>
                <a:cubicBezTo>
                  <a:pt x="1297" y="1054"/>
                  <a:pt x="1297" y="1096"/>
                  <a:pt x="1323" y="1109"/>
                </a:cubicBezTo>
                <a:cubicBezTo>
                  <a:pt x="1328" y="1112"/>
                  <a:pt x="1334" y="1113"/>
                  <a:pt x="1340" y="1113"/>
                </a:cubicBezTo>
                <a:cubicBezTo>
                  <a:pt x="1365" y="1113"/>
                  <a:pt x="1396" y="1096"/>
                  <a:pt x="1417" y="1096"/>
                </a:cubicBezTo>
                <a:cubicBezTo>
                  <a:pt x="1443" y="1109"/>
                  <a:pt x="1459" y="1122"/>
                  <a:pt x="1485" y="1135"/>
                </a:cubicBezTo>
                <a:cubicBezTo>
                  <a:pt x="1511" y="1135"/>
                  <a:pt x="1540" y="1151"/>
                  <a:pt x="1566" y="1151"/>
                </a:cubicBezTo>
                <a:cubicBezTo>
                  <a:pt x="1592" y="1151"/>
                  <a:pt x="1621" y="1177"/>
                  <a:pt x="1647" y="1177"/>
                </a:cubicBezTo>
                <a:cubicBezTo>
                  <a:pt x="1660" y="1177"/>
                  <a:pt x="1686" y="1190"/>
                  <a:pt x="1715" y="1190"/>
                </a:cubicBezTo>
                <a:cubicBezTo>
                  <a:pt x="1741" y="1190"/>
                  <a:pt x="1767" y="1151"/>
                  <a:pt x="1796" y="1151"/>
                </a:cubicBezTo>
                <a:cubicBezTo>
                  <a:pt x="1822" y="1151"/>
                  <a:pt x="1848" y="1203"/>
                  <a:pt x="1877" y="1203"/>
                </a:cubicBezTo>
                <a:cubicBezTo>
                  <a:pt x="1903" y="1203"/>
                  <a:pt x="1929" y="1151"/>
                  <a:pt x="1958" y="1151"/>
                </a:cubicBezTo>
                <a:lnTo>
                  <a:pt x="2039" y="1151"/>
                </a:lnTo>
                <a:cubicBezTo>
                  <a:pt x="2065" y="1151"/>
                  <a:pt x="2091" y="1177"/>
                  <a:pt x="2120" y="1177"/>
                </a:cubicBezTo>
                <a:cubicBezTo>
                  <a:pt x="2146" y="1177"/>
                  <a:pt x="2172" y="1164"/>
                  <a:pt x="2188" y="1164"/>
                </a:cubicBezTo>
                <a:cubicBezTo>
                  <a:pt x="2214" y="1164"/>
                  <a:pt x="2253" y="1190"/>
                  <a:pt x="2269" y="1190"/>
                </a:cubicBezTo>
                <a:cubicBezTo>
                  <a:pt x="2295" y="1190"/>
                  <a:pt x="2321" y="1164"/>
                  <a:pt x="2350" y="1164"/>
                </a:cubicBezTo>
                <a:cubicBezTo>
                  <a:pt x="2359" y="1160"/>
                  <a:pt x="2367" y="1158"/>
                  <a:pt x="2376" y="1158"/>
                </a:cubicBezTo>
                <a:cubicBezTo>
                  <a:pt x="2393" y="1158"/>
                  <a:pt x="2411" y="1164"/>
                  <a:pt x="2431" y="1164"/>
                </a:cubicBezTo>
                <a:lnTo>
                  <a:pt x="2512" y="1164"/>
                </a:lnTo>
                <a:cubicBezTo>
                  <a:pt x="2538" y="1151"/>
                  <a:pt x="2551" y="1109"/>
                  <a:pt x="2577" y="1109"/>
                </a:cubicBezTo>
                <a:cubicBezTo>
                  <a:pt x="2601" y="1109"/>
                  <a:pt x="2632" y="1139"/>
                  <a:pt x="2659" y="1139"/>
                </a:cubicBezTo>
                <a:cubicBezTo>
                  <a:pt x="2664" y="1139"/>
                  <a:pt x="2669" y="1137"/>
                  <a:pt x="2674" y="1135"/>
                </a:cubicBezTo>
                <a:cubicBezTo>
                  <a:pt x="2700" y="1135"/>
                  <a:pt x="2713" y="1109"/>
                  <a:pt x="2739" y="1096"/>
                </a:cubicBezTo>
                <a:cubicBezTo>
                  <a:pt x="2768" y="1083"/>
                  <a:pt x="2794" y="1070"/>
                  <a:pt x="2807" y="1070"/>
                </a:cubicBezTo>
                <a:cubicBezTo>
                  <a:pt x="2836" y="1054"/>
                  <a:pt x="2875" y="1054"/>
                  <a:pt x="2888" y="1041"/>
                </a:cubicBezTo>
                <a:cubicBezTo>
                  <a:pt x="2917" y="1015"/>
                  <a:pt x="2901" y="1002"/>
                  <a:pt x="2901" y="973"/>
                </a:cubicBezTo>
                <a:cubicBezTo>
                  <a:pt x="2901" y="960"/>
                  <a:pt x="2930" y="908"/>
                  <a:pt x="2901" y="892"/>
                </a:cubicBezTo>
                <a:cubicBezTo>
                  <a:pt x="2896" y="889"/>
                  <a:pt x="2891" y="889"/>
                  <a:pt x="2885" y="889"/>
                </a:cubicBezTo>
                <a:cubicBezTo>
                  <a:pt x="2861" y="889"/>
                  <a:pt x="2831" y="908"/>
                  <a:pt x="2807" y="908"/>
                </a:cubicBezTo>
                <a:cubicBezTo>
                  <a:pt x="2781" y="892"/>
                  <a:pt x="2768" y="866"/>
                  <a:pt x="2739" y="866"/>
                </a:cubicBezTo>
                <a:cubicBezTo>
                  <a:pt x="2730" y="862"/>
                  <a:pt x="2721" y="860"/>
                  <a:pt x="2713" y="860"/>
                </a:cubicBezTo>
                <a:cubicBezTo>
                  <a:pt x="2695" y="860"/>
                  <a:pt x="2677" y="866"/>
                  <a:pt x="2658" y="866"/>
                </a:cubicBezTo>
                <a:cubicBezTo>
                  <a:pt x="2632" y="866"/>
                  <a:pt x="2606" y="853"/>
                  <a:pt x="2577" y="840"/>
                </a:cubicBezTo>
                <a:cubicBezTo>
                  <a:pt x="2551" y="840"/>
                  <a:pt x="2525" y="866"/>
                  <a:pt x="2496" y="866"/>
                </a:cubicBezTo>
                <a:cubicBezTo>
                  <a:pt x="2483" y="866"/>
                  <a:pt x="2457" y="853"/>
                  <a:pt x="2431" y="853"/>
                </a:cubicBezTo>
                <a:cubicBezTo>
                  <a:pt x="2402" y="840"/>
                  <a:pt x="2376" y="798"/>
                  <a:pt x="2350" y="798"/>
                </a:cubicBezTo>
                <a:lnTo>
                  <a:pt x="2269" y="798"/>
                </a:lnTo>
                <a:cubicBezTo>
                  <a:pt x="2253" y="798"/>
                  <a:pt x="2240" y="827"/>
                  <a:pt x="2214" y="827"/>
                </a:cubicBezTo>
                <a:cubicBezTo>
                  <a:pt x="2240" y="811"/>
                  <a:pt x="2253" y="798"/>
                  <a:pt x="2253" y="785"/>
                </a:cubicBezTo>
                <a:cubicBezTo>
                  <a:pt x="2253" y="772"/>
                  <a:pt x="2227" y="759"/>
                  <a:pt x="2214" y="746"/>
                </a:cubicBezTo>
                <a:cubicBezTo>
                  <a:pt x="2240" y="746"/>
                  <a:pt x="2240" y="704"/>
                  <a:pt x="2269" y="704"/>
                </a:cubicBezTo>
                <a:cubicBezTo>
                  <a:pt x="2295" y="704"/>
                  <a:pt x="2321" y="730"/>
                  <a:pt x="2350" y="730"/>
                </a:cubicBezTo>
                <a:cubicBezTo>
                  <a:pt x="2376" y="717"/>
                  <a:pt x="2389" y="717"/>
                  <a:pt x="2415" y="704"/>
                </a:cubicBezTo>
                <a:lnTo>
                  <a:pt x="2496" y="704"/>
                </a:lnTo>
                <a:cubicBezTo>
                  <a:pt x="2525" y="704"/>
                  <a:pt x="2551" y="691"/>
                  <a:pt x="2564" y="678"/>
                </a:cubicBezTo>
                <a:cubicBezTo>
                  <a:pt x="2593" y="678"/>
                  <a:pt x="2619" y="665"/>
                  <a:pt x="2645" y="665"/>
                </a:cubicBezTo>
                <a:cubicBezTo>
                  <a:pt x="2650" y="662"/>
                  <a:pt x="2654" y="661"/>
                  <a:pt x="2659" y="661"/>
                </a:cubicBezTo>
                <a:cubicBezTo>
                  <a:pt x="2679" y="661"/>
                  <a:pt x="2697" y="681"/>
                  <a:pt x="2715" y="681"/>
                </a:cubicBezTo>
                <a:cubicBezTo>
                  <a:pt x="2719" y="681"/>
                  <a:pt x="2722" y="680"/>
                  <a:pt x="2726" y="678"/>
                </a:cubicBezTo>
                <a:cubicBezTo>
                  <a:pt x="2755" y="678"/>
                  <a:pt x="2768" y="610"/>
                  <a:pt x="2781" y="597"/>
                </a:cubicBezTo>
                <a:lnTo>
                  <a:pt x="2862" y="597"/>
                </a:lnTo>
                <a:cubicBezTo>
                  <a:pt x="2888" y="584"/>
                  <a:pt x="2901" y="555"/>
                  <a:pt x="2917" y="542"/>
                </a:cubicBezTo>
                <a:cubicBezTo>
                  <a:pt x="2943" y="529"/>
                  <a:pt x="2982" y="516"/>
                  <a:pt x="2982" y="487"/>
                </a:cubicBezTo>
                <a:cubicBezTo>
                  <a:pt x="2982" y="474"/>
                  <a:pt x="2930" y="474"/>
                  <a:pt x="2901" y="448"/>
                </a:cubicBezTo>
                <a:cubicBezTo>
                  <a:pt x="2888" y="448"/>
                  <a:pt x="2875" y="393"/>
                  <a:pt x="2849" y="380"/>
                </a:cubicBezTo>
                <a:cubicBezTo>
                  <a:pt x="2836" y="380"/>
                  <a:pt x="2807" y="367"/>
                  <a:pt x="2768" y="367"/>
                </a:cubicBezTo>
                <a:cubicBezTo>
                  <a:pt x="2765" y="364"/>
                  <a:pt x="2762" y="363"/>
                  <a:pt x="2757" y="363"/>
                </a:cubicBezTo>
                <a:cubicBezTo>
                  <a:pt x="2739" y="363"/>
                  <a:pt x="2708" y="380"/>
                  <a:pt x="2687" y="380"/>
                </a:cubicBezTo>
                <a:cubicBezTo>
                  <a:pt x="2658" y="367"/>
                  <a:pt x="2645" y="341"/>
                  <a:pt x="2619" y="325"/>
                </a:cubicBezTo>
                <a:cubicBezTo>
                  <a:pt x="2593" y="325"/>
                  <a:pt x="2564" y="341"/>
                  <a:pt x="2538" y="341"/>
                </a:cubicBezTo>
                <a:cubicBezTo>
                  <a:pt x="2529" y="336"/>
                  <a:pt x="2520" y="334"/>
                  <a:pt x="2511" y="334"/>
                </a:cubicBezTo>
                <a:cubicBezTo>
                  <a:pt x="2493" y="334"/>
                  <a:pt x="2474" y="341"/>
                  <a:pt x="2457" y="341"/>
                </a:cubicBezTo>
                <a:cubicBezTo>
                  <a:pt x="2448" y="336"/>
                  <a:pt x="2439" y="334"/>
                  <a:pt x="2430" y="334"/>
                </a:cubicBezTo>
                <a:cubicBezTo>
                  <a:pt x="2412" y="334"/>
                  <a:pt x="2393" y="341"/>
                  <a:pt x="2376" y="341"/>
                </a:cubicBezTo>
                <a:cubicBezTo>
                  <a:pt x="2350" y="325"/>
                  <a:pt x="2321" y="286"/>
                  <a:pt x="2295" y="286"/>
                </a:cubicBezTo>
                <a:cubicBezTo>
                  <a:pt x="2269" y="286"/>
                  <a:pt x="2240" y="312"/>
                  <a:pt x="2214" y="312"/>
                </a:cubicBezTo>
                <a:cubicBezTo>
                  <a:pt x="2188" y="312"/>
                  <a:pt x="2133" y="286"/>
                  <a:pt x="2107" y="286"/>
                </a:cubicBezTo>
                <a:cubicBezTo>
                  <a:pt x="2159" y="260"/>
                  <a:pt x="2201" y="244"/>
                  <a:pt x="2201" y="218"/>
                </a:cubicBezTo>
                <a:cubicBezTo>
                  <a:pt x="2201" y="192"/>
                  <a:pt x="2188" y="179"/>
                  <a:pt x="2159" y="163"/>
                </a:cubicBezTo>
                <a:cubicBezTo>
                  <a:pt x="2146" y="156"/>
                  <a:pt x="2133" y="156"/>
                  <a:pt x="2119" y="156"/>
                </a:cubicBezTo>
                <a:cubicBezTo>
                  <a:pt x="2106" y="156"/>
                  <a:pt x="2092" y="156"/>
                  <a:pt x="2078" y="150"/>
                </a:cubicBezTo>
                <a:cubicBezTo>
                  <a:pt x="2065" y="137"/>
                  <a:pt x="2039" y="111"/>
                  <a:pt x="2010" y="98"/>
                </a:cubicBezTo>
                <a:cubicBezTo>
                  <a:pt x="1997" y="98"/>
                  <a:pt x="1971" y="69"/>
                  <a:pt x="1945" y="69"/>
                </a:cubicBezTo>
                <a:cubicBezTo>
                  <a:pt x="1939" y="66"/>
                  <a:pt x="1933" y="65"/>
                  <a:pt x="1928" y="65"/>
                </a:cubicBezTo>
                <a:cubicBezTo>
                  <a:pt x="1905" y="65"/>
                  <a:pt x="1885" y="82"/>
                  <a:pt x="1864" y="82"/>
                </a:cubicBezTo>
                <a:cubicBezTo>
                  <a:pt x="1835" y="82"/>
                  <a:pt x="1809" y="69"/>
                  <a:pt x="1783" y="69"/>
                </a:cubicBezTo>
                <a:cubicBezTo>
                  <a:pt x="1754" y="69"/>
                  <a:pt x="1741" y="30"/>
                  <a:pt x="1715" y="17"/>
                </a:cubicBezTo>
                <a:lnTo>
                  <a:pt x="1634" y="17"/>
                </a:lnTo>
                <a:cubicBezTo>
                  <a:pt x="1609" y="17"/>
                  <a:pt x="1586" y="46"/>
                  <a:pt x="1564" y="46"/>
                </a:cubicBezTo>
                <a:cubicBezTo>
                  <a:pt x="1560" y="46"/>
                  <a:pt x="1557" y="45"/>
                  <a:pt x="1553" y="43"/>
                </a:cubicBezTo>
                <a:cubicBezTo>
                  <a:pt x="1524" y="43"/>
                  <a:pt x="1498" y="17"/>
                  <a:pt x="1485" y="17"/>
                </a:cubicBezTo>
                <a:cubicBezTo>
                  <a:pt x="1459" y="17"/>
                  <a:pt x="1430" y="1"/>
                  <a:pt x="1404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6" name="Google Shape;336;p11"/>
          <p:cNvSpPr/>
          <p:nvPr/>
        </p:nvSpPr>
        <p:spPr>
          <a:xfrm>
            <a:off x="4324701" y="4885223"/>
            <a:ext cx="20283" cy="8040"/>
          </a:xfrm>
          <a:custGeom>
            <a:avLst/>
            <a:gdLst/>
            <a:ahLst/>
            <a:cxnLst/>
            <a:rect l="l" t="t" r="r" b="b"/>
            <a:pathLst>
              <a:path w="82" h="43" extrusionOk="0">
                <a:moveTo>
                  <a:pt x="40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14" y="43"/>
                  <a:pt x="40" y="43"/>
                </a:cubicBezTo>
                <a:cubicBezTo>
                  <a:pt x="69" y="43"/>
                  <a:pt x="82" y="30"/>
                  <a:pt x="82" y="30"/>
                </a:cubicBezTo>
                <a:cubicBezTo>
                  <a:pt x="82" y="14"/>
                  <a:pt x="69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7" name="Google Shape;337;p11"/>
          <p:cNvSpPr/>
          <p:nvPr/>
        </p:nvSpPr>
        <p:spPr>
          <a:xfrm>
            <a:off x="4241344" y="4875687"/>
            <a:ext cx="23499" cy="4861"/>
          </a:xfrm>
          <a:custGeom>
            <a:avLst/>
            <a:gdLst/>
            <a:ahLst/>
            <a:cxnLst/>
            <a:rect l="l" t="t" r="r" b="b"/>
            <a:pathLst>
              <a:path w="95" h="26" extrusionOk="0">
                <a:moveTo>
                  <a:pt x="53" y="0"/>
                </a:moveTo>
                <a:cubicBezTo>
                  <a:pt x="27" y="0"/>
                  <a:pt x="1" y="0"/>
                  <a:pt x="1" y="13"/>
                </a:cubicBezTo>
                <a:cubicBezTo>
                  <a:pt x="1" y="26"/>
                  <a:pt x="27" y="26"/>
                  <a:pt x="40" y="26"/>
                </a:cubicBezTo>
                <a:cubicBezTo>
                  <a:pt x="69" y="26"/>
                  <a:pt x="95" y="26"/>
                  <a:pt x="95" y="13"/>
                </a:cubicBezTo>
                <a:cubicBezTo>
                  <a:pt x="95" y="13"/>
                  <a:pt x="69" y="0"/>
                  <a:pt x="5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8" name="Google Shape;338;p11"/>
          <p:cNvSpPr/>
          <p:nvPr/>
        </p:nvSpPr>
        <p:spPr>
          <a:xfrm>
            <a:off x="4287845" y="4867647"/>
            <a:ext cx="23499" cy="822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43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14" y="43"/>
                  <a:pt x="43" y="43"/>
                </a:cubicBezTo>
                <a:cubicBezTo>
                  <a:pt x="69" y="43"/>
                  <a:pt x="95" y="43"/>
                  <a:pt x="95" y="27"/>
                </a:cubicBezTo>
                <a:cubicBezTo>
                  <a:pt x="95" y="14"/>
                  <a:pt x="69" y="14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9" name="Google Shape;339;p11"/>
          <p:cNvSpPr/>
          <p:nvPr/>
        </p:nvSpPr>
        <p:spPr>
          <a:xfrm>
            <a:off x="4194099" y="4887654"/>
            <a:ext cx="20283" cy="5609"/>
          </a:xfrm>
          <a:custGeom>
            <a:avLst/>
            <a:gdLst/>
            <a:ahLst/>
            <a:cxnLst/>
            <a:rect l="l" t="t" r="r" b="b"/>
            <a:pathLst>
              <a:path w="82" h="30" extrusionOk="0">
                <a:moveTo>
                  <a:pt x="43" y="1"/>
                </a:moveTo>
                <a:cubicBezTo>
                  <a:pt x="17" y="1"/>
                  <a:pt x="1" y="1"/>
                  <a:pt x="1" y="17"/>
                </a:cubicBezTo>
                <a:cubicBezTo>
                  <a:pt x="1" y="17"/>
                  <a:pt x="17" y="30"/>
                  <a:pt x="43" y="30"/>
                </a:cubicBezTo>
                <a:cubicBezTo>
                  <a:pt x="69" y="30"/>
                  <a:pt x="82" y="30"/>
                  <a:pt x="82" y="17"/>
                </a:cubicBezTo>
                <a:cubicBezTo>
                  <a:pt x="82" y="17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0" name="Google Shape;340;p11"/>
          <p:cNvSpPr/>
          <p:nvPr/>
        </p:nvSpPr>
        <p:spPr>
          <a:xfrm>
            <a:off x="4367989" y="4872509"/>
            <a:ext cx="23499" cy="5609"/>
          </a:xfrm>
          <a:custGeom>
            <a:avLst/>
            <a:gdLst/>
            <a:ahLst/>
            <a:cxnLst/>
            <a:rect l="l" t="t" r="r" b="b"/>
            <a:pathLst>
              <a:path w="95" h="30" extrusionOk="0">
                <a:moveTo>
                  <a:pt x="43" y="1"/>
                </a:moveTo>
                <a:cubicBezTo>
                  <a:pt x="27" y="1"/>
                  <a:pt x="1" y="1"/>
                  <a:pt x="1" y="17"/>
                </a:cubicBezTo>
                <a:cubicBezTo>
                  <a:pt x="1" y="17"/>
                  <a:pt x="14" y="30"/>
                  <a:pt x="43" y="30"/>
                </a:cubicBezTo>
                <a:cubicBezTo>
                  <a:pt x="69" y="30"/>
                  <a:pt x="95" y="30"/>
                  <a:pt x="95" y="17"/>
                </a:cubicBezTo>
                <a:cubicBezTo>
                  <a:pt x="95" y="1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1" name="Google Shape;341;p11"/>
          <p:cNvSpPr/>
          <p:nvPr/>
        </p:nvSpPr>
        <p:spPr>
          <a:xfrm>
            <a:off x="4351168" y="4904483"/>
            <a:ext cx="23499" cy="6357"/>
          </a:xfrm>
          <a:custGeom>
            <a:avLst/>
            <a:gdLst/>
            <a:ahLst/>
            <a:cxnLst/>
            <a:rect l="l" t="t" r="r" b="b"/>
            <a:pathLst>
              <a:path w="95" h="34" extrusionOk="0">
                <a:moveTo>
                  <a:pt x="19" y="1"/>
                </a:moveTo>
                <a:cubicBezTo>
                  <a:pt x="6" y="1"/>
                  <a:pt x="1" y="8"/>
                  <a:pt x="1" y="8"/>
                </a:cubicBezTo>
                <a:cubicBezTo>
                  <a:pt x="1" y="21"/>
                  <a:pt x="14" y="34"/>
                  <a:pt x="43" y="34"/>
                </a:cubicBezTo>
                <a:cubicBezTo>
                  <a:pt x="69" y="34"/>
                  <a:pt x="82" y="34"/>
                  <a:pt x="82" y="21"/>
                </a:cubicBezTo>
                <a:cubicBezTo>
                  <a:pt x="95" y="8"/>
                  <a:pt x="69" y="8"/>
                  <a:pt x="43" y="8"/>
                </a:cubicBezTo>
                <a:cubicBezTo>
                  <a:pt x="33" y="3"/>
                  <a:pt x="25" y="1"/>
                  <a:pt x="1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2" name="Google Shape;342;p11"/>
          <p:cNvSpPr/>
          <p:nvPr/>
        </p:nvSpPr>
        <p:spPr>
          <a:xfrm>
            <a:off x="4204488" y="4859233"/>
            <a:ext cx="23499" cy="6171"/>
          </a:xfrm>
          <a:custGeom>
            <a:avLst/>
            <a:gdLst/>
            <a:ahLst/>
            <a:cxnLst/>
            <a:rect l="l" t="t" r="r" b="b"/>
            <a:pathLst>
              <a:path w="95" h="33" extrusionOk="0">
                <a:moveTo>
                  <a:pt x="26" y="0"/>
                </a:moveTo>
                <a:cubicBezTo>
                  <a:pt x="14" y="0"/>
                  <a:pt x="1" y="11"/>
                  <a:pt x="1" y="20"/>
                </a:cubicBezTo>
                <a:cubicBezTo>
                  <a:pt x="1" y="20"/>
                  <a:pt x="14" y="33"/>
                  <a:pt x="40" y="33"/>
                </a:cubicBezTo>
                <a:cubicBezTo>
                  <a:pt x="69" y="33"/>
                  <a:pt x="82" y="33"/>
                  <a:pt x="95" y="20"/>
                </a:cubicBezTo>
                <a:cubicBezTo>
                  <a:pt x="95" y="7"/>
                  <a:pt x="69" y="7"/>
                  <a:pt x="40" y="7"/>
                </a:cubicBezTo>
                <a:cubicBezTo>
                  <a:pt x="36" y="2"/>
                  <a:pt x="31" y="0"/>
                  <a:pt x="26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3" name="Google Shape;343;p11"/>
          <p:cNvSpPr/>
          <p:nvPr/>
        </p:nvSpPr>
        <p:spPr>
          <a:xfrm>
            <a:off x="4318271" y="4850071"/>
            <a:ext cx="23499" cy="7479"/>
          </a:xfrm>
          <a:custGeom>
            <a:avLst/>
            <a:gdLst/>
            <a:ahLst/>
            <a:cxnLst/>
            <a:rect l="l" t="t" r="r" b="b"/>
            <a:pathLst>
              <a:path w="95" h="40" extrusionOk="0">
                <a:moveTo>
                  <a:pt x="40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14" y="27"/>
                  <a:pt x="40" y="40"/>
                </a:cubicBezTo>
                <a:cubicBezTo>
                  <a:pt x="66" y="40"/>
                  <a:pt x="95" y="27"/>
                  <a:pt x="95" y="27"/>
                </a:cubicBezTo>
                <a:cubicBezTo>
                  <a:pt x="95" y="14"/>
                  <a:pt x="66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4" name="Google Shape;344;p11"/>
          <p:cNvSpPr/>
          <p:nvPr/>
        </p:nvSpPr>
        <p:spPr>
          <a:xfrm>
            <a:off x="4414492" y="4887653"/>
            <a:ext cx="24241" cy="8040"/>
          </a:xfrm>
          <a:custGeom>
            <a:avLst/>
            <a:gdLst/>
            <a:ahLst/>
            <a:cxnLst/>
            <a:rect l="l" t="t" r="r" b="b"/>
            <a:pathLst>
              <a:path w="98" h="43" extrusionOk="0">
                <a:moveTo>
                  <a:pt x="43" y="1"/>
                </a:moveTo>
                <a:cubicBezTo>
                  <a:pt x="30" y="1"/>
                  <a:pt x="1" y="1"/>
                  <a:pt x="1" y="17"/>
                </a:cubicBezTo>
                <a:cubicBezTo>
                  <a:pt x="1" y="30"/>
                  <a:pt x="17" y="30"/>
                  <a:pt x="43" y="43"/>
                </a:cubicBezTo>
                <a:cubicBezTo>
                  <a:pt x="69" y="43"/>
                  <a:pt x="98" y="30"/>
                  <a:pt x="98" y="30"/>
                </a:cubicBezTo>
                <a:cubicBezTo>
                  <a:pt x="98" y="17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5" name="Google Shape;345;p11"/>
          <p:cNvSpPr/>
          <p:nvPr/>
        </p:nvSpPr>
        <p:spPr>
          <a:xfrm>
            <a:off x="4133993" y="4875687"/>
            <a:ext cx="24241" cy="4861"/>
          </a:xfrm>
          <a:custGeom>
            <a:avLst/>
            <a:gdLst/>
            <a:ahLst/>
            <a:cxnLst/>
            <a:rect l="l" t="t" r="r" b="b"/>
            <a:pathLst>
              <a:path w="98" h="26" extrusionOk="0">
                <a:moveTo>
                  <a:pt x="56" y="0"/>
                </a:moveTo>
                <a:cubicBezTo>
                  <a:pt x="30" y="0"/>
                  <a:pt x="17" y="0"/>
                  <a:pt x="17" y="13"/>
                </a:cubicBezTo>
                <a:cubicBezTo>
                  <a:pt x="1" y="26"/>
                  <a:pt x="30" y="26"/>
                  <a:pt x="56" y="26"/>
                </a:cubicBezTo>
                <a:cubicBezTo>
                  <a:pt x="82" y="26"/>
                  <a:pt x="98" y="26"/>
                  <a:pt x="98" y="13"/>
                </a:cubicBezTo>
                <a:cubicBezTo>
                  <a:pt x="98" y="13"/>
                  <a:pt x="82" y="0"/>
                  <a:pt x="56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6" name="Google Shape;346;p11"/>
          <p:cNvSpPr/>
          <p:nvPr/>
        </p:nvSpPr>
        <p:spPr>
          <a:xfrm>
            <a:off x="4247775" y="4913083"/>
            <a:ext cx="23499" cy="822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56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27" y="27"/>
                  <a:pt x="56" y="43"/>
                </a:cubicBezTo>
                <a:cubicBezTo>
                  <a:pt x="69" y="43"/>
                  <a:pt x="95" y="27"/>
                  <a:pt x="95" y="27"/>
                </a:cubicBezTo>
                <a:cubicBezTo>
                  <a:pt x="95" y="14"/>
                  <a:pt x="82" y="1"/>
                  <a:pt x="5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7" name="Google Shape;347;p11"/>
          <p:cNvSpPr/>
          <p:nvPr/>
        </p:nvSpPr>
        <p:spPr>
          <a:xfrm>
            <a:off x="4284631" y="4897937"/>
            <a:ext cx="23499" cy="5048"/>
          </a:xfrm>
          <a:custGeom>
            <a:avLst/>
            <a:gdLst/>
            <a:ahLst/>
            <a:cxnLst/>
            <a:rect l="l" t="t" r="r" b="b"/>
            <a:pathLst>
              <a:path w="95" h="27" extrusionOk="0">
                <a:moveTo>
                  <a:pt x="56" y="1"/>
                </a:moveTo>
                <a:cubicBezTo>
                  <a:pt x="27" y="1"/>
                  <a:pt x="1" y="1"/>
                  <a:pt x="1" y="14"/>
                </a:cubicBezTo>
                <a:cubicBezTo>
                  <a:pt x="1" y="14"/>
                  <a:pt x="27" y="27"/>
                  <a:pt x="40" y="27"/>
                </a:cubicBezTo>
                <a:cubicBezTo>
                  <a:pt x="69" y="27"/>
                  <a:pt x="95" y="27"/>
                  <a:pt x="95" y="14"/>
                </a:cubicBezTo>
                <a:cubicBezTo>
                  <a:pt x="95" y="14"/>
                  <a:pt x="69" y="1"/>
                  <a:pt x="5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8" name="Google Shape;348;p11"/>
          <p:cNvSpPr/>
          <p:nvPr/>
        </p:nvSpPr>
        <p:spPr>
          <a:xfrm>
            <a:off x="644567" y="4698618"/>
            <a:ext cx="23499" cy="7479"/>
          </a:xfrm>
          <a:custGeom>
            <a:avLst/>
            <a:gdLst/>
            <a:ahLst/>
            <a:cxnLst/>
            <a:rect l="l" t="t" r="r" b="b"/>
            <a:pathLst>
              <a:path w="95" h="40" extrusionOk="0">
                <a:moveTo>
                  <a:pt x="56" y="1"/>
                </a:moveTo>
                <a:cubicBezTo>
                  <a:pt x="30" y="1"/>
                  <a:pt x="14" y="1"/>
                  <a:pt x="1" y="14"/>
                </a:cubicBezTo>
                <a:cubicBezTo>
                  <a:pt x="1" y="27"/>
                  <a:pt x="30" y="27"/>
                  <a:pt x="56" y="40"/>
                </a:cubicBezTo>
                <a:cubicBezTo>
                  <a:pt x="69" y="40"/>
                  <a:pt x="95" y="27"/>
                  <a:pt x="95" y="27"/>
                </a:cubicBezTo>
                <a:cubicBezTo>
                  <a:pt x="95" y="14"/>
                  <a:pt x="82" y="1"/>
                  <a:pt x="5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9" name="Google Shape;349;p11"/>
          <p:cNvSpPr/>
          <p:nvPr/>
        </p:nvSpPr>
        <p:spPr>
          <a:xfrm>
            <a:off x="564423" y="4688335"/>
            <a:ext cx="23499" cy="5796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43" y="1"/>
                </a:moveTo>
                <a:cubicBezTo>
                  <a:pt x="30" y="1"/>
                  <a:pt x="1" y="1"/>
                  <a:pt x="1" y="14"/>
                </a:cubicBezTo>
                <a:cubicBezTo>
                  <a:pt x="1" y="14"/>
                  <a:pt x="14" y="30"/>
                  <a:pt x="43" y="30"/>
                </a:cubicBezTo>
                <a:cubicBezTo>
                  <a:pt x="69" y="30"/>
                  <a:pt x="95" y="30"/>
                  <a:pt x="95" y="14"/>
                </a:cubicBezTo>
                <a:cubicBezTo>
                  <a:pt x="95" y="14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0" name="Google Shape;350;p11"/>
          <p:cNvSpPr/>
          <p:nvPr/>
        </p:nvSpPr>
        <p:spPr>
          <a:xfrm>
            <a:off x="611668" y="4681230"/>
            <a:ext cx="20283" cy="7292"/>
          </a:xfrm>
          <a:custGeom>
            <a:avLst/>
            <a:gdLst/>
            <a:ahLst/>
            <a:cxnLst/>
            <a:rect l="l" t="t" r="r" b="b"/>
            <a:pathLst>
              <a:path w="82" h="39" extrusionOk="0">
                <a:moveTo>
                  <a:pt x="40" y="0"/>
                </a:moveTo>
                <a:cubicBezTo>
                  <a:pt x="14" y="0"/>
                  <a:pt x="1" y="13"/>
                  <a:pt x="1" y="13"/>
                </a:cubicBezTo>
                <a:cubicBezTo>
                  <a:pt x="1" y="26"/>
                  <a:pt x="14" y="39"/>
                  <a:pt x="40" y="39"/>
                </a:cubicBezTo>
                <a:cubicBezTo>
                  <a:pt x="66" y="39"/>
                  <a:pt x="82" y="26"/>
                  <a:pt x="82" y="26"/>
                </a:cubicBezTo>
                <a:cubicBezTo>
                  <a:pt x="82" y="13"/>
                  <a:pt x="66" y="0"/>
                  <a:pt x="40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1" name="Google Shape;351;p11"/>
          <p:cNvSpPr/>
          <p:nvPr/>
        </p:nvSpPr>
        <p:spPr>
          <a:xfrm>
            <a:off x="514705" y="4701048"/>
            <a:ext cx="23499" cy="5048"/>
          </a:xfrm>
          <a:custGeom>
            <a:avLst/>
            <a:gdLst/>
            <a:ahLst/>
            <a:cxnLst/>
            <a:rect l="l" t="t" r="r" b="b"/>
            <a:pathLst>
              <a:path w="95" h="27" extrusionOk="0">
                <a:moveTo>
                  <a:pt x="53" y="1"/>
                </a:moveTo>
                <a:cubicBezTo>
                  <a:pt x="27" y="1"/>
                  <a:pt x="14" y="1"/>
                  <a:pt x="1" y="14"/>
                </a:cubicBezTo>
                <a:cubicBezTo>
                  <a:pt x="1" y="14"/>
                  <a:pt x="27" y="27"/>
                  <a:pt x="53" y="27"/>
                </a:cubicBezTo>
                <a:cubicBezTo>
                  <a:pt x="69" y="27"/>
                  <a:pt x="95" y="27"/>
                  <a:pt x="95" y="14"/>
                </a:cubicBezTo>
                <a:cubicBezTo>
                  <a:pt x="95" y="14"/>
                  <a:pt x="82" y="1"/>
                  <a:pt x="5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2" name="Google Shape;352;p11"/>
          <p:cNvSpPr/>
          <p:nvPr/>
        </p:nvSpPr>
        <p:spPr>
          <a:xfrm>
            <a:off x="691811" y="4684968"/>
            <a:ext cx="23499" cy="5984"/>
          </a:xfrm>
          <a:custGeom>
            <a:avLst/>
            <a:gdLst/>
            <a:ahLst/>
            <a:cxnLst/>
            <a:rect l="l" t="t" r="r" b="b"/>
            <a:pathLst>
              <a:path w="95" h="32" extrusionOk="0">
                <a:moveTo>
                  <a:pt x="18" y="0"/>
                </a:moveTo>
                <a:cubicBezTo>
                  <a:pt x="7" y="0"/>
                  <a:pt x="1" y="6"/>
                  <a:pt x="1" y="6"/>
                </a:cubicBezTo>
                <a:cubicBezTo>
                  <a:pt x="1" y="19"/>
                  <a:pt x="14" y="32"/>
                  <a:pt x="40" y="32"/>
                </a:cubicBezTo>
                <a:cubicBezTo>
                  <a:pt x="66" y="32"/>
                  <a:pt x="82" y="32"/>
                  <a:pt x="82" y="19"/>
                </a:cubicBezTo>
                <a:cubicBezTo>
                  <a:pt x="95" y="6"/>
                  <a:pt x="66" y="6"/>
                  <a:pt x="40" y="6"/>
                </a:cubicBezTo>
                <a:cubicBezTo>
                  <a:pt x="31" y="2"/>
                  <a:pt x="24" y="0"/>
                  <a:pt x="18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3" name="Google Shape;353;p11"/>
          <p:cNvSpPr/>
          <p:nvPr/>
        </p:nvSpPr>
        <p:spPr>
          <a:xfrm>
            <a:off x="674991" y="4716193"/>
            <a:ext cx="20283" cy="8227"/>
          </a:xfrm>
          <a:custGeom>
            <a:avLst/>
            <a:gdLst/>
            <a:ahLst/>
            <a:cxnLst/>
            <a:rect l="l" t="t" r="r" b="b"/>
            <a:pathLst>
              <a:path w="82" h="44" extrusionOk="0">
                <a:moveTo>
                  <a:pt x="40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27"/>
                  <a:pt x="14" y="43"/>
                  <a:pt x="40" y="43"/>
                </a:cubicBezTo>
                <a:cubicBezTo>
                  <a:pt x="69" y="43"/>
                  <a:pt x="82" y="43"/>
                  <a:pt x="82" y="27"/>
                </a:cubicBezTo>
                <a:cubicBezTo>
                  <a:pt x="82" y="14"/>
                  <a:pt x="69" y="14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4" name="Google Shape;354;p11"/>
          <p:cNvSpPr/>
          <p:nvPr/>
        </p:nvSpPr>
        <p:spPr>
          <a:xfrm>
            <a:off x="527568" y="4672253"/>
            <a:ext cx="20283" cy="6731"/>
          </a:xfrm>
          <a:custGeom>
            <a:avLst/>
            <a:gdLst/>
            <a:ahLst/>
            <a:cxnLst/>
            <a:rect l="l" t="t" r="r" b="b"/>
            <a:pathLst>
              <a:path w="82" h="36" extrusionOk="0">
                <a:moveTo>
                  <a:pt x="20" y="0"/>
                </a:moveTo>
                <a:cubicBezTo>
                  <a:pt x="8" y="0"/>
                  <a:pt x="1" y="6"/>
                  <a:pt x="1" y="6"/>
                </a:cubicBezTo>
                <a:cubicBezTo>
                  <a:pt x="1" y="19"/>
                  <a:pt x="17" y="35"/>
                  <a:pt x="43" y="35"/>
                </a:cubicBezTo>
                <a:cubicBezTo>
                  <a:pt x="69" y="35"/>
                  <a:pt x="82" y="35"/>
                  <a:pt x="82" y="19"/>
                </a:cubicBezTo>
                <a:cubicBezTo>
                  <a:pt x="82" y="6"/>
                  <a:pt x="69" y="6"/>
                  <a:pt x="43" y="6"/>
                </a:cubicBezTo>
                <a:cubicBezTo>
                  <a:pt x="34" y="2"/>
                  <a:pt x="27" y="0"/>
                  <a:pt x="20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5" name="Google Shape;355;p11"/>
          <p:cNvSpPr/>
          <p:nvPr/>
        </p:nvSpPr>
        <p:spPr>
          <a:xfrm>
            <a:off x="641351" y="4663654"/>
            <a:ext cx="20283" cy="7292"/>
          </a:xfrm>
          <a:custGeom>
            <a:avLst/>
            <a:gdLst/>
            <a:ahLst/>
            <a:cxnLst/>
            <a:rect l="l" t="t" r="r" b="b"/>
            <a:pathLst>
              <a:path w="82" h="39" extrusionOk="0">
                <a:moveTo>
                  <a:pt x="43" y="0"/>
                </a:moveTo>
                <a:cubicBezTo>
                  <a:pt x="14" y="0"/>
                  <a:pt x="1" y="0"/>
                  <a:pt x="1" y="13"/>
                </a:cubicBezTo>
                <a:cubicBezTo>
                  <a:pt x="1" y="26"/>
                  <a:pt x="14" y="26"/>
                  <a:pt x="43" y="39"/>
                </a:cubicBezTo>
                <a:cubicBezTo>
                  <a:pt x="69" y="39"/>
                  <a:pt x="82" y="26"/>
                  <a:pt x="82" y="26"/>
                </a:cubicBezTo>
                <a:cubicBezTo>
                  <a:pt x="82" y="13"/>
                  <a:pt x="69" y="0"/>
                  <a:pt x="4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6" name="Google Shape;356;p11"/>
          <p:cNvSpPr/>
          <p:nvPr/>
        </p:nvSpPr>
        <p:spPr>
          <a:xfrm>
            <a:off x="738313" y="4701048"/>
            <a:ext cx="23499" cy="6544"/>
          </a:xfrm>
          <a:custGeom>
            <a:avLst/>
            <a:gdLst/>
            <a:ahLst/>
            <a:cxnLst/>
            <a:rect l="l" t="t" r="r" b="b"/>
            <a:pathLst>
              <a:path w="95" h="35" extrusionOk="0">
                <a:moveTo>
                  <a:pt x="40" y="1"/>
                </a:moveTo>
                <a:cubicBezTo>
                  <a:pt x="14" y="1"/>
                  <a:pt x="1" y="1"/>
                  <a:pt x="1" y="14"/>
                </a:cubicBezTo>
                <a:cubicBezTo>
                  <a:pt x="1" y="27"/>
                  <a:pt x="14" y="27"/>
                  <a:pt x="40" y="27"/>
                </a:cubicBezTo>
                <a:cubicBezTo>
                  <a:pt x="49" y="32"/>
                  <a:pt x="57" y="34"/>
                  <a:pt x="64" y="34"/>
                </a:cubicBezTo>
                <a:cubicBezTo>
                  <a:pt x="76" y="34"/>
                  <a:pt x="82" y="27"/>
                  <a:pt x="82" y="27"/>
                </a:cubicBezTo>
                <a:cubicBezTo>
                  <a:pt x="95" y="14"/>
                  <a:pt x="69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7" name="Google Shape;357;p11"/>
          <p:cNvSpPr/>
          <p:nvPr/>
        </p:nvSpPr>
        <p:spPr>
          <a:xfrm>
            <a:off x="457813" y="4688335"/>
            <a:ext cx="23499" cy="5796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56" y="1"/>
                </a:moveTo>
                <a:cubicBezTo>
                  <a:pt x="27" y="1"/>
                  <a:pt x="1" y="1"/>
                  <a:pt x="1" y="14"/>
                </a:cubicBezTo>
                <a:cubicBezTo>
                  <a:pt x="1" y="14"/>
                  <a:pt x="27" y="30"/>
                  <a:pt x="56" y="30"/>
                </a:cubicBezTo>
                <a:cubicBezTo>
                  <a:pt x="69" y="30"/>
                  <a:pt x="95" y="30"/>
                  <a:pt x="95" y="14"/>
                </a:cubicBezTo>
                <a:cubicBezTo>
                  <a:pt x="95" y="14"/>
                  <a:pt x="82" y="1"/>
                  <a:pt x="5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8" name="Google Shape;358;p11"/>
          <p:cNvSpPr/>
          <p:nvPr/>
        </p:nvSpPr>
        <p:spPr>
          <a:xfrm>
            <a:off x="571596" y="4726666"/>
            <a:ext cx="23499" cy="7292"/>
          </a:xfrm>
          <a:custGeom>
            <a:avLst/>
            <a:gdLst/>
            <a:ahLst/>
            <a:cxnLst/>
            <a:rect l="l" t="t" r="r" b="b"/>
            <a:pathLst>
              <a:path w="95" h="39" extrusionOk="0">
                <a:moveTo>
                  <a:pt x="53" y="0"/>
                </a:moveTo>
                <a:cubicBezTo>
                  <a:pt x="27" y="0"/>
                  <a:pt x="1" y="0"/>
                  <a:pt x="1" y="13"/>
                </a:cubicBezTo>
                <a:cubicBezTo>
                  <a:pt x="1" y="26"/>
                  <a:pt x="27" y="26"/>
                  <a:pt x="40" y="39"/>
                </a:cubicBezTo>
                <a:cubicBezTo>
                  <a:pt x="66" y="39"/>
                  <a:pt x="95" y="26"/>
                  <a:pt x="95" y="26"/>
                </a:cubicBezTo>
                <a:cubicBezTo>
                  <a:pt x="95" y="13"/>
                  <a:pt x="66" y="0"/>
                  <a:pt x="5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9" name="Google Shape;359;p11"/>
          <p:cNvSpPr/>
          <p:nvPr/>
        </p:nvSpPr>
        <p:spPr>
          <a:xfrm>
            <a:off x="607712" y="4711520"/>
            <a:ext cx="24241" cy="4861"/>
          </a:xfrm>
          <a:custGeom>
            <a:avLst/>
            <a:gdLst/>
            <a:ahLst/>
            <a:cxnLst/>
            <a:rect l="l" t="t" r="r" b="b"/>
            <a:pathLst>
              <a:path w="98" h="26" extrusionOk="0">
                <a:moveTo>
                  <a:pt x="43" y="0"/>
                </a:moveTo>
                <a:cubicBezTo>
                  <a:pt x="30" y="0"/>
                  <a:pt x="1" y="0"/>
                  <a:pt x="1" y="13"/>
                </a:cubicBezTo>
                <a:cubicBezTo>
                  <a:pt x="1" y="13"/>
                  <a:pt x="17" y="26"/>
                  <a:pt x="43" y="26"/>
                </a:cubicBezTo>
                <a:cubicBezTo>
                  <a:pt x="69" y="26"/>
                  <a:pt x="82" y="26"/>
                  <a:pt x="98" y="13"/>
                </a:cubicBezTo>
                <a:cubicBezTo>
                  <a:pt x="98" y="0"/>
                  <a:pt x="69" y="0"/>
                  <a:pt x="4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0" name="Google Shape;360;p11"/>
          <p:cNvSpPr/>
          <p:nvPr/>
        </p:nvSpPr>
        <p:spPr>
          <a:xfrm>
            <a:off x="2407707" y="4851567"/>
            <a:ext cx="23499" cy="5984"/>
          </a:xfrm>
          <a:custGeom>
            <a:avLst/>
            <a:gdLst/>
            <a:ahLst/>
            <a:cxnLst/>
            <a:rect l="l" t="t" r="r" b="b"/>
            <a:pathLst>
              <a:path w="95" h="32" extrusionOk="0">
                <a:moveTo>
                  <a:pt x="68" y="0"/>
                </a:moveTo>
                <a:cubicBezTo>
                  <a:pt x="60" y="0"/>
                  <a:pt x="52" y="2"/>
                  <a:pt x="43" y="6"/>
                </a:cubicBezTo>
                <a:cubicBezTo>
                  <a:pt x="30" y="6"/>
                  <a:pt x="1" y="6"/>
                  <a:pt x="1" y="19"/>
                </a:cubicBezTo>
                <a:cubicBezTo>
                  <a:pt x="1" y="32"/>
                  <a:pt x="30" y="32"/>
                  <a:pt x="56" y="32"/>
                </a:cubicBezTo>
                <a:cubicBezTo>
                  <a:pt x="69" y="32"/>
                  <a:pt x="95" y="19"/>
                  <a:pt x="95" y="6"/>
                </a:cubicBezTo>
                <a:cubicBezTo>
                  <a:pt x="95" y="6"/>
                  <a:pt x="83" y="0"/>
                  <a:pt x="68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1" name="Google Shape;361;p11"/>
          <p:cNvSpPr/>
          <p:nvPr/>
        </p:nvSpPr>
        <p:spPr>
          <a:xfrm>
            <a:off x="2491065" y="4839787"/>
            <a:ext cx="20283" cy="8040"/>
          </a:xfrm>
          <a:custGeom>
            <a:avLst/>
            <a:gdLst/>
            <a:ahLst/>
            <a:cxnLst/>
            <a:rect l="l" t="t" r="r" b="b"/>
            <a:pathLst>
              <a:path w="82" h="43" extrusionOk="0">
                <a:moveTo>
                  <a:pt x="43" y="1"/>
                </a:moveTo>
                <a:cubicBezTo>
                  <a:pt x="17" y="1"/>
                  <a:pt x="1" y="14"/>
                  <a:pt x="1" y="30"/>
                </a:cubicBezTo>
                <a:cubicBezTo>
                  <a:pt x="1" y="30"/>
                  <a:pt x="17" y="43"/>
                  <a:pt x="43" y="43"/>
                </a:cubicBezTo>
                <a:cubicBezTo>
                  <a:pt x="69" y="30"/>
                  <a:pt x="82" y="30"/>
                  <a:pt x="82" y="14"/>
                </a:cubicBezTo>
                <a:cubicBezTo>
                  <a:pt x="82" y="14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2" name="Google Shape;362;p11"/>
          <p:cNvSpPr/>
          <p:nvPr/>
        </p:nvSpPr>
        <p:spPr>
          <a:xfrm>
            <a:off x="2444563" y="4834925"/>
            <a:ext cx="23499" cy="5048"/>
          </a:xfrm>
          <a:custGeom>
            <a:avLst/>
            <a:gdLst/>
            <a:ahLst/>
            <a:cxnLst/>
            <a:rect l="l" t="t" r="r" b="b"/>
            <a:pathLst>
              <a:path w="95" h="27" extrusionOk="0">
                <a:moveTo>
                  <a:pt x="43" y="1"/>
                </a:moveTo>
                <a:cubicBezTo>
                  <a:pt x="14" y="1"/>
                  <a:pt x="1" y="1"/>
                  <a:pt x="1" y="14"/>
                </a:cubicBezTo>
                <a:cubicBezTo>
                  <a:pt x="1" y="27"/>
                  <a:pt x="14" y="27"/>
                  <a:pt x="43" y="27"/>
                </a:cubicBezTo>
                <a:cubicBezTo>
                  <a:pt x="69" y="27"/>
                  <a:pt x="95" y="14"/>
                  <a:pt x="82" y="14"/>
                </a:cubicBezTo>
                <a:cubicBezTo>
                  <a:pt x="82" y="1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3" name="Google Shape;363;p11"/>
          <p:cNvSpPr/>
          <p:nvPr/>
        </p:nvSpPr>
        <p:spPr>
          <a:xfrm>
            <a:off x="2538309" y="4852501"/>
            <a:ext cx="23499" cy="822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40" y="1"/>
                </a:moveTo>
                <a:cubicBezTo>
                  <a:pt x="27" y="1"/>
                  <a:pt x="1" y="14"/>
                  <a:pt x="1" y="27"/>
                </a:cubicBezTo>
                <a:cubicBezTo>
                  <a:pt x="1" y="27"/>
                  <a:pt x="27" y="43"/>
                  <a:pt x="53" y="43"/>
                </a:cubicBezTo>
                <a:cubicBezTo>
                  <a:pt x="69" y="27"/>
                  <a:pt x="95" y="27"/>
                  <a:pt x="95" y="14"/>
                </a:cubicBezTo>
                <a:cubicBezTo>
                  <a:pt x="95" y="1"/>
                  <a:pt x="69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4" name="Google Shape;364;p11"/>
          <p:cNvSpPr/>
          <p:nvPr/>
        </p:nvSpPr>
        <p:spPr>
          <a:xfrm>
            <a:off x="2364420" y="4837356"/>
            <a:ext cx="20283" cy="5048"/>
          </a:xfrm>
          <a:custGeom>
            <a:avLst/>
            <a:gdLst/>
            <a:ahLst/>
            <a:cxnLst/>
            <a:rect l="l" t="t" r="r" b="b"/>
            <a:pathLst>
              <a:path w="82" h="27" extrusionOk="0">
                <a:moveTo>
                  <a:pt x="43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27"/>
                  <a:pt x="14" y="27"/>
                  <a:pt x="43" y="27"/>
                </a:cubicBezTo>
                <a:cubicBezTo>
                  <a:pt x="69" y="27"/>
                  <a:pt x="82" y="27"/>
                  <a:pt x="82" y="14"/>
                </a:cubicBezTo>
                <a:cubicBezTo>
                  <a:pt x="82" y="1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5" name="Google Shape;365;p11"/>
          <p:cNvSpPr/>
          <p:nvPr/>
        </p:nvSpPr>
        <p:spPr>
          <a:xfrm>
            <a:off x="2381240" y="4870078"/>
            <a:ext cx="23499" cy="5796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40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27" y="30"/>
                  <a:pt x="40" y="30"/>
                </a:cubicBezTo>
                <a:cubicBezTo>
                  <a:pt x="69" y="30"/>
                  <a:pt x="95" y="14"/>
                  <a:pt x="95" y="14"/>
                </a:cubicBezTo>
                <a:cubicBezTo>
                  <a:pt x="95" y="1"/>
                  <a:pt x="69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6" name="Google Shape;366;p11"/>
          <p:cNvSpPr/>
          <p:nvPr/>
        </p:nvSpPr>
        <p:spPr>
          <a:xfrm>
            <a:off x="2527921" y="4824642"/>
            <a:ext cx="23499" cy="5796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43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30" y="30"/>
                  <a:pt x="43" y="30"/>
                </a:cubicBezTo>
                <a:cubicBezTo>
                  <a:pt x="69" y="30"/>
                  <a:pt x="95" y="30"/>
                  <a:pt x="95" y="14"/>
                </a:cubicBezTo>
                <a:cubicBezTo>
                  <a:pt x="95" y="1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7" name="Google Shape;367;p11"/>
          <p:cNvSpPr/>
          <p:nvPr/>
        </p:nvSpPr>
        <p:spPr>
          <a:xfrm>
            <a:off x="2414880" y="4816415"/>
            <a:ext cx="23499" cy="5984"/>
          </a:xfrm>
          <a:custGeom>
            <a:avLst/>
            <a:gdLst/>
            <a:ahLst/>
            <a:cxnLst/>
            <a:rect l="l" t="t" r="r" b="b"/>
            <a:pathLst>
              <a:path w="95" h="32" extrusionOk="0">
                <a:moveTo>
                  <a:pt x="62" y="0"/>
                </a:moveTo>
                <a:cubicBezTo>
                  <a:pt x="56" y="0"/>
                  <a:pt x="48" y="2"/>
                  <a:pt x="40" y="6"/>
                </a:cubicBezTo>
                <a:cubicBezTo>
                  <a:pt x="14" y="6"/>
                  <a:pt x="1" y="6"/>
                  <a:pt x="1" y="19"/>
                </a:cubicBezTo>
                <a:cubicBezTo>
                  <a:pt x="1" y="32"/>
                  <a:pt x="14" y="32"/>
                  <a:pt x="40" y="32"/>
                </a:cubicBezTo>
                <a:cubicBezTo>
                  <a:pt x="66" y="32"/>
                  <a:pt x="95" y="19"/>
                  <a:pt x="82" y="6"/>
                </a:cubicBezTo>
                <a:cubicBezTo>
                  <a:pt x="82" y="6"/>
                  <a:pt x="75" y="0"/>
                  <a:pt x="62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8" name="Google Shape;368;p11"/>
          <p:cNvSpPr/>
          <p:nvPr/>
        </p:nvSpPr>
        <p:spPr>
          <a:xfrm>
            <a:off x="2317917" y="4852501"/>
            <a:ext cx="20283" cy="8227"/>
          </a:xfrm>
          <a:custGeom>
            <a:avLst/>
            <a:gdLst/>
            <a:ahLst/>
            <a:cxnLst/>
            <a:rect l="l" t="t" r="r" b="b"/>
            <a:pathLst>
              <a:path w="82" h="44" extrusionOk="0">
                <a:moveTo>
                  <a:pt x="40" y="1"/>
                </a:moveTo>
                <a:cubicBezTo>
                  <a:pt x="14" y="14"/>
                  <a:pt x="1" y="14"/>
                  <a:pt x="1" y="27"/>
                </a:cubicBezTo>
                <a:cubicBezTo>
                  <a:pt x="1" y="43"/>
                  <a:pt x="14" y="43"/>
                  <a:pt x="40" y="43"/>
                </a:cubicBezTo>
                <a:cubicBezTo>
                  <a:pt x="69" y="43"/>
                  <a:pt x="82" y="27"/>
                  <a:pt x="82" y="14"/>
                </a:cubicBezTo>
                <a:cubicBezTo>
                  <a:pt x="82" y="14"/>
                  <a:pt x="69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9" name="Google Shape;369;p11"/>
          <p:cNvSpPr/>
          <p:nvPr/>
        </p:nvSpPr>
        <p:spPr>
          <a:xfrm>
            <a:off x="2595201" y="4839787"/>
            <a:ext cx="23499" cy="8040"/>
          </a:xfrm>
          <a:custGeom>
            <a:avLst/>
            <a:gdLst/>
            <a:ahLst/>
            <a:cxnLst/>
            <a:rect l="l" t="t" r="r" b="b"/>
            <a:pathLst>
              <a:path w="95" h="43" extrusionOk="0">
                <a:moveTo>
                  <a:pt x="53" y="1"/>
                </a:moveTo>
                <a:cubicBezTo>
                  <a:pt x="27" y="1"/>
                  <a:pt x="1" y="14"/>
                  <a:pt x="1" y="30"/>
                </a:cubicBezTo>
                <a:cubicBezTo>
                  <a:pt x="1" y="30"/>
                  <a:pt x="27" y="43"/>
                  <a:pt x="53" y="43"/>
                </a:cubicBezTo>
                <a:cubicBezTo>
                  <a:pt x="82" y="30"/>
                  <a:pt x="95" y="30"/>
                  <a:pt x="95" y="14"/>
                </a:cubicBezTo>
                <a:cubicBezTo>
                  <a:pt x="95" y="1"/>
                  <a:pt x="66" y="1"/>
                  <a:pt x="5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0" name="Google Shape;370;p11"/>
          <p:cNvSpPr/>
          <p:nvPr/>
        </p:nvSpPr>
        <p:spPr>
          <a:xfrm>
            <a:off x="2481419" y="4878118"/>
            <a:ext cx="23499" cy="7292"/>
          </a:xfrm>
          <a:custGeom>
            <a:avLst/>
            <a:gdLst/>
            <a:ahLst/>
            <a:cxnLst/>
            <a:rect l="l" t="t" r="r" b="b"/>
            <a:pathLst>
              <a:path w="95" h="39" extrusionOk="0">
                <a:moveTo>
                  <a:pt x="56" y="0"/>
                </a:moveTo>
                <a:cubicBezTo>
                  <a:pt x="27" y="13"/>
                  <a:pt x="1" y="13"/>
                  <a:pt x="14" y="26"/>
                </a:cubicBezTo>
                <a:cubicBezTo>
                  <a:pt x="14" y="39"/>
                  <a:pt x="27" y="39"/>
                  <a:pt x="56" y="39"/>
                </a:cubicBezTo>
                <a:cubicBezTo>
                  <a:pt x="82" y="39"/>
                  <a:pt x="95" y="26"/>
                  <a:pt x="95" y="13"/>
                </a:cubicBezTo>
                <a:cubicBezTo>
                  <a:pt x="95" y="13"/>
                  <a:pt x="82" y="0"/>
                  <a:pt x="56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1" name="Google Shape;371;p11"/>
          <p:cNvSpPr/>
          <p:nvPr/>
        </p:nvSpPr>
        <p:spPr>
          <a:xfrm>
            <a:off x="2447779" y="4862972"/>
            <a:ext cx="20283" cy="5984"/>
          </a:xfrm>
          <a:custGeom>
            <a:avLst/>
            <a:gdLst/>
            <a:ahLst/>
            <a:cxnLst/>
            <a:rect l="l" t="t" r="r" b="b"/>
            <a:pathLst>
              <a:path w="82" h="32" extrusionOk="0">
                <a:moveTo>
                  <a:pt x="43" y="0"/>
                </a:moveTo>
                <a:cubicBezTo>
                  <a:pt x="14" y="0"/>
                  <a:pt x="1" y="13"/>
                  <a:pt x="1" y="26"/>
                </a:cubicBezTo>
                <a:cubicBezTo>
                  <a:pt x="1" y="26"/>
                  <a:pt x="7" y="32"/>
                  <a:pt x="19" y="32"/>
                </a:cubicBezTo>
                <a:cubicBezTo>
                  <a:pt x="25" y="32"/>
                  <a:pt x="33" y="30"/>
                  <a:pt x="43" y="26"/>
                </a:cubicBezTo>
                <a:cubicBezTo>
                  <a:pt x="69" y="26"/>
                  <a:pt x="82" y="26"/>
                  <a:pt x="82" y="13"/>
                </a:cubicBezTo>
                <a:cubicBezTo>
                  <a:pt x="82" y="0"/>
                  <a:pt x="69" y="0"/>
                  <a:pt x="4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2" name="Google Shape;372;p11"/>
          <p:cNvSpPr/>
          <p:nvPr/>
        </p:nvSpPr>
        <p:spPr>
          <a:xfrm>
            <a:off x="9135255" y="4810335"/>
            <a:ext cx="815288" cy="630684"/>
          </a:xfrm>
          <a:custGeom>
            <a:avLst/>
            <a:gdLst/>
            <a:ahLst/>
            <a:cxnLst/>
            <a:rect l="l" t="t" r="r" b="b"/>
            <a:pathLst>
              <a:path w="3296" h="3373" extrusionOk="0">
                <a:moveTo>
                  <a:pt x="1932" y="0"/>
                </a:moveTo>
                <a:lnTo>
                  <a:pt x="1757" y="457"/>
                </a:lnTo>
                <a:lnTo>
                  <a:pt x="1689" y="392"/>
                </a:lnTo>
                <a:lnTo>
                  <a:pt x="1595" y="214"/>
                </a:lnTo>
                <a:lnTo>
                  <a:pt x="1498" y="94"/>
                </a:lnTo>
                <a:lnTo>
                  <a:pt x="1404" y="243"/>
                </a:lnTo>
                <a:lnTo>
                  <a:pt x="1297" y="149"/>
                </a:lnTo>
                <a:lnTo>
                  <a:pt x="1203" y="188"/>
                </a:lnTo>
                <a:lnTo>
                  <a:pt x="1174" y="418"/>
                </a:lnTo>
                <a:lnTo>
                  <a:pt x="1067" y="405"/>
                </a:lnTo>
                <a:lnTo>
                  <a:pt x="837" y="120"/>
                </a:lnTo>
                <a:lnTo>
                  <a:pt x="973" y="606"/>
                </a:lnTo>
                <a:lnTo>
                  <a:pt x="973" y="606"/>
                </a:lnTo>
                <a:lnTo>
                  <a:pt x="717" y="350"/>
                </a:lnTo>
                <a:lnTo>
                  <a:pt x="607" y="376"/>
                </a:lnTo>
                <a:lnTo>
                  <a:pt x="649" y="593"/>
                </a:lnTo>
                <a:lnTo>
                  <a:pt x="649" y="593"/>
                </a:lnTo>
                <a:lnTo>
                  <a:pt x="445" y="525"/>
                </a:lnTo>
                <a:lnTo>
                  <a:pt x="338" y="567"/>
                </a:lnTo>
                <a:lnTo>
                  <a:pt x="487" y="823"/>
                </a:lnTo>
                <a:lnTo>
                  <a:pt x="594" y="998"/>
                </a:lnTo>
                <a:lnTo>
                  <a:pt x="150" y="836"/>
                </a:lnTo>
                <a:lnTo>
                  <a:pt x="150" y="836"/>
                </a:lnTo>
                <a:lnTo>
                  <a:pt x="202" y="985"/>
                </a:lnTo>
                <a:lnTo>
                  <a:pt x="406" y="1186"/>
                </a:lnTo>
                <a:lnTo>
                  <a:pt x="14" y="1134"/>
                </a:lnTo>
                <a:lnTo>
                  <a:pt x="218" y="1309"/>
                </a:lnTo>
                <a:lnTo>
                  <a:pt x="244" y="1403"/>
                </a:lnTo>
                <a:lnTo>
                  <a:pt x="14" y="1471"/>
                </a:lnTo>
                <a:lnTo>
                  <a:pt x="364" y="1591"/>
                </a:lnTo>
                <a:lnTo>
                  <a:pt x="202" y="1672"/>
                </a:lnTo>
                <a:lnTo>
                  <a:pt x="1" y="1782"/>
                </a:lnTo>
                <a:lnTo>
                  <a:pt x="95" y="1876"/>
                </a:lnTo>
                <a:lnTo>
                  <a:pt x="150" y="1957"/>
                </a:lnTo>
                <a:lnTo>
                  <a:pt x="393" y="1996"/>
                </a:lnTo>
                <a:lnTo>
                  <a:pt x="189" y="2145"/>
                </a:lnTo>
                <a:lnTo>
                  <a:pt x="312" y="2213"/>
                </a:lnTo>
                <a:lnTo>
                  <a:pt x="121" y="2401"/>
                </a:lnTo>
                <a:lnTo>
                  <a:pt x="121" y="2401"/>
                </a:lnTo>
                <a:lnTo>
                  <a:pt x="461" y="2336"/>
                </a:lnTo>
                <a:lnTo>
                  <a:pt x="380" y="2482"/>
                </a:lnTo>
                <a:lnTo>
                  <a:pt x="312" y="2660"/>
                </a:lnTo>
                <a:lnTo>
                  <a:pt x="312" y="2660"/>
                </a:lnTo>
                <a:lnTo>
                  <a:pt x="636" y="2524"/>
                </a:lnTo>
                <a:lnTo>
                  <a:pt x="688" y="2579"/>
                </a:lnTo>
                <a:lnTo>
                  <a:pt x="769" y="2618"/>
                </a:lnTo>
                <a:lnTo>
                  <a:pt x="850" y="2644"/>
                </a:lnTo>
                <a:lnTo>
                  <a:pt x="743" y="2942"/>
                </a:lnTo>
                <a:lnTo>
                  <a:pt x="931" y="2822"/>
                </a:lnTo>
                <a:lnTo>
                  <a:pt x="879" y="3146"/>
                </a:lnTo>
                <a:lnTo>
                  <a:pt x="1122" y="2835"/>
                </a:lnTo>
                <a:lnTo>
                  <a:pt x="1109" y="3130"/>
                </a:lnTo>
                <a:lnTo>
                  <a:pt x="1203" y="3146"/>
                </a:lnTo>
                <a:lnTo>
                  <a:pt x="1297" y="3211"/>
                </a:lnTo>
                <a:lnTo>
                  <a:pt x="1391" y="3240"/>
                </a:lnTo>
                <a:lnTo>
                  <a:pt x="1514" y="3049"/>
                </a:lnTo>
                <a:lnTo>
                  <a:pt x="1595" y="3373"/>
                </a:lnTo>
                <a:lnTo>
                  <a:pt x="1702" y="3159"/>
                </a:lnTo>
                <a:lnTo>
                  <a:pt x="1809" y="3292"/>
                </a:lnTo>
                <a:lnTo>
                  <a:pt x="1838" y="2874"/>
                </a:lnTo>
                <a:lnTo>
                  <a:pt x="1945" y="2955"/>
                </a:lnTo>
                <a:lnTo>
                  <a:pt x="2052" y="3023"/>
                </a:lnTo>
                <a:lnTo>
                  <a:pt x="2094" y="2874"/>
                </a:lnTo>
                <a:lnTo>
                  <a:pt x="2256" y="3023"/>
                </a:lnTo>
                <a:lnTo>
                  <a:pt x="2324" y="2929"/>
                </a:lnTo>
                <a:lnTo>
                  <a:pt x="2499" y="3010"/>
                </a:lnTo>
                <a:lnTo>
                  <a:pt x="2499" y="3010"/>
                </a:lnTo>
                <a:lnTo>
                  <a:pt x="2457" y="2793"/>
                </a:lnTo>
                <a:lnTo>
                  <a:pt x="2606" y="2822"/>
                </a:lnTo>
                <a:lnTo>
                  <a:pt x="2632" y="2712"/>
                </a:lnTo>
                <a:lnTo>
                  <a:pt x="2674" y="2618"/>
                </a:lnTo>
                <a:lnTo>
                  <a:pt x="2781" y="2592"/>
                </a:lnTo>
                <a:lnTo>
                  <a:pt x="2972" y="2592"/>
                </a:lnTo>
                <a:lnTo>
                  <a:pt x="2768" y="2349"/>
                </a:lnTo>
                <a:lnTo>
                  <a:pt x="2956" y="2349"/>
                </a:lnTo>
                <a:lnTo>
                  <a:pt x="2781" y="2158"/>
                </a:lnTo>
                <a:lnTo>
                  <a:pt x="2917" y="2119"/>
                </a:lnTo>
                <a:lnTo>
                  <a:pt x="2810" y="1996"/>
                </a:lnTo>
                <a:lnTo>
                  <a:pt x="3024" y="1957"/>
                </a:lnTo>
                <a:lnTo>
                  <a:pt x="2930" y="1850"/>
                </a:lnTo>
                <a:lnTo>
                  <a:pt x="2810" y="1753"/>
                </a:lnTo>
                <a:lnTo>
                  <a:pt x="3118" y="1672"/>
                </a:lnTo>
                <a:lnTo>
                  <a:pt x="2956" y="1578"/>
                </a:lnTo>
                <a:lnTo>
                  <a:pt x="3296" y="1458"/>
                </a:lnTo>
                <a:lnTo>
                  <a:pt x="2917" y="1416"/>
                </a:lnTo>
                <a:lnTo>
                  <a:pt x="3118" y="1267"/>
                </a:lnTo>
                <a:lnTo>
                  <a:pt x="2875" y="1241"/>
                </a:lnTo>
                <a:lnTo>
                  <a:pt x="2998" y="1092"/>
                </a:lnTo>
                <a:lnTo>
                  <a:pt x="2943" y="1011"/>
                </a:lnTo>
                <a:lnTo>
                  <a:pt x="2943" y="904"/>
                </a:lnTo>
                <a:lnTo>
                  <a:pt x="3011" y="729"/>
                </a:lnTo>
                <a:lnTo>
                  <a:pt x="2687" y="836"/>
                </a:lnTo>
                <a:lnTo>
                  <a:pt x="2619" y="768"/>
                </a:lnTo>
                <a:lnTo>
                  <a:pt x="2755" y="525"/>
                </a:lnTo>
                <a:lnTo>
                  <a:pt x="2431" y="729"/>
                </a:lnTo>
                <a:lnTo>
                  <a:pt x="2470" y="538"/>
                </a:lnTo>
                <a:lnTo>
                  <a:pt x="2499" y="337"/>
                </a:lnTo>
                <a:lnTo>
                  <a:pt x="2444" y="201"/>
                </a:lnTo>
                <a:lnTo>
                  <a:pt x="2243" y="363"/>
                </a:lnTo>
                <a:lnTo>
                  <a:pt x="2175" y="295"/>
                </a:lnTo>
                <a:lnTo>
                  <a:pt x="2052" y="350"/>
                </a:lnTo>
                <a:lnTo>
                  <a:pt x="1958" y="337"/>
                </a:lnTo>
                <a:lnTo>
                  <a:pt x="1932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3" name="Google Shape;373;p11"/>
          <p:cNvSpPr/>
          <p:nvPr/>
        </p:nvSpPr>
        <p:spPr>
          <a:xfrm>
            <a:off x="8708075" y="5016760"/>
            <a:ext cx="584504" cy="452117"/>
          </a:xfrm>
          <a:custGeom>
            <a:avLst/>
            <a:gdLst/>
            <a:ahLst/>
            <a:cxnLst/>
            <a:rect l="l" t="t" r="r" b="b"/>
            <a:pathLst>
              <a:path w="2363" h="2418" extrusionOk="0">
                <a:moveTo>
                  <a:pt x="973" y="1"/>
                </a:moveTo>
                <a:lnTo>
                  <a:pt x="957" y="244"/>
                </a:lnTo>
                <a:lnTo>
                  <a:pt x="892" y="244"/>
                </a:lnTo>
                <a:lnTo>
                  <a:pt x="811" y="218"/>
                </a:lnTo>
                <a:lnTo>
                  <a:pt x="756" y="273"/>
                </a:lnTo>
                <a:lnTo>
                  <a:pt x="607" y="150"/>
                </a:lnTo>
                <a:lnTo>
                  <a:pt x="581" y="244"/>
                </a:lnTo>
                <a:lnTo>
                  <a:pt x="594" y="393"/>
                </a:lnTo>
                <a:lnTo>
                  <a:pt x="620" y="516"/>
                </a:lnTo>
                <a:lnTo>
                  <a:pt x="620" y="516"/>
                </a:lnTo>
                <a:lnTo>
                  <a:pt x="390" y="380"/>
                </a:lnTo>
                <a:lnTo>
                  <a:pt x="487" y="555"/>
                </a:lnTo>
                <a:lnTo>
                  <a:pt x="432" y="597"/>
                </a:lnTo>
                <a:lnTo>
                  <a:pt x="202" y="529"/>
                </a:lnTo>
                <a:lnTo>
                  <a:pt x="202" y="529"/>
                </a:lnTo>
                <a:lnTo>
                  <a:pt x="257" y="649"/>
                </a:lnTo>
                <a:lnTo>
                  <a:pt x="244" y="730"/>
                </a:lnTo>
                <a:lnTo>
                  <a:pt x="215" y="785"/>
                </a:lnTo>
                <a:lnTo>
                  <a:pt x="296" y="892"/>
                </a:lnTo>
                <a:lnTo>
                  <a:pt x="121" y="908"/>
                </a:lnTo>
                <a:lnTo>
                  <a:pt x="270" y="1015"/>
                </a:lnTo>
                <a:lnTo>
                  <a:pt x="1" y="1041"/>
                </a:lnTo>
                <a:lnTo>
                  <a:pt x="244" y="1135"/>
                </a:lnTo>
                <a:lnTo>
                  <a:pt x="121" y="1203"/>
                </a:lnTo>
                <a:lnTo>
                  <a:pt x="351" y="1258"/>
                </a:lnTo>
                <a:lnTo>
                  <a:pt x="270" y="1326"/>
                </a:lnTo>
                <a:lnTo>
                  <a:pt x="189" y="1407"/>
                </a:lnTo>
                <a:lnTo>
                  <a:pt x="351" y="1433"/>
                </a:lnTo>
                <a:lnTo>
                  <a:pt x="270" y="1527"/>
                </a:lnTo>
                <a:lnTo>
                  <a:pt x="364" y="1556"/>
                </a:lnTo>
                <a:lnTo>
                  <a:pt x="244" y="1689"/>
                </a:lnTo>
                <a:lnTo>
                  <a:pt x="377" y="1689"/>
                </a:lnTo>
                <a:lnTo>
                  <a:pt x="228" y="1864"/>
                </a:lnTo>
                <a:lnTo>
                  <a:pt x="364" y="1851"/>
                </a:lnTo>
                <a:lnTo>
                  <a:pt x="445" y="1880"/>
                </a:lnTo>
                <a:lnTo>
                  <a:pt x="471" y="1945"/>
                </a:lnTo>
                <a:lnTo>
                  <a:pt x="500" y="2026"/>
                </a:lnTo>
                <a:lnTo>
                  <a:pt x="607" y="2000"/>
                </a:lnTo>
                <a:lnTo>
                  <a:pt x="581" y="2162"/>
                </a:lnTo>
                <a:lnTo>
                  <a:pt x="581" y="2162"/>
                </a:lnTo>
                <a:lnTo>
                  <a:pt x="701" y="2094"/>
                </a:lnTo>
                <a:lnTo>
                  <a:pt x="743" y="2162"/>
                </a:lnTo>
                <a:lnTo>
                  <a:pt x="863" y="2068"/>
                </a:lnTo>
                <a:lnTo>
                  <a:pt x="892" y="2175"/>
                </a:lnTo>
                <a:lnTo>
                  <a:pt x="973" y="2123"/>
                </a:lnTo>
                <a:lnTo>
                  <a:pt x="1038" y="2068"/>
                </a:lnTo>
                <a:lnTo>
                  <a:pt x="1067" y="2366"/>
                </a:lnTo>
                <a:lnTo>
                  <a:pt x="1148" y="2269"/>
                </a:lnTo>
                <a:lnTo>
                  <a:pt x="1216" y="2418"/>
                </a:lnTo>
                <a:lnTo>
                  <a:pt x="1281" y="2188"/>
                </a:lnTo>
                <a:lnTo>
                  <a:pt x="1362" y="2324"/>
                </a:lnTo>
                <a:lnTo>
                  <a:pt x="1430" y="2298"/>
                </a:lnTo>
                <a:lnTo>
                  <a:pt x="1498" y="2256"/>
                </a:lnTo>
                <a:lnTo>
                  <a:pt x="1566" y="2243"/>
                </a:lnTo>
                <a:lnTo>
                  <a:pt x="1566" y="2042"/>
                </a:lnTo>
                <a:lnTo>
                  <a:pt x="1741" y="2256"/>
                </a:lnTo>
                <a:lnTo>
                  <a:pt x="1686" y="2026"/>
                </a:lnTo>
                <a:lnTo>
                  <a:pt x="1822" y="2123"/>
                </a:lnTo>
                <a:lnTo>
                  <a:pt x="1822" y="2123"/>
                </a:lnTo>
                <a:lnTo>
                  <a:pt x="1754" y="1906"/>
                </a:lnTo>
                <a:lnTo>
                  <a:pt x="1809" y="1880"/>
                </a:lnTo>
                <a:lnTo>
                  <a:pt x="1864" y="1851"/>
                </a:lnTo>
                <a:lnTo>
                  <a:pt x="1916" y="1812"/>
                </a:lnTo>
                <a:lnTo>
                  <a:pt x="2146" y="1919"/>
                </a:lnTo>
                <a:lnTo>
                  <a:pt x="2091" y="1783"/>
                </a:lnTo>
                <a:lnTo>
                  <a:pt x="2026" y="1676"/>
                </a:lnTo>
                <a:lnTo>
                  <a:pt x="2026" y="1676"/>
                </a:lnTo>
                <a:lnTo>
                  <a:pt x="2282" y="1731"/>
                </a:lnTo>
                <a:lnTo>
                  <a:pt x="2146" y="1582"/>
                </a:lnTo>
                <a:lnTo>
                  <a:pt x="2227" y="1540"/>
                </a:lnTo>
                <a:lnTo>
                  <a:pt x="2078" y="1433"/>
                </a:lnTo>
                <a:lnTo>
                  <a:pt x="2253" y="1407"/>
                </a:lnTo>
                <a:lnTo>
                  <a:pt x="2295" y="1339"/>
                </a:lnTo>
                <a:lnTo>
                  <a:pt x="2363" y="1284"/>
                </a:lnTo>
                <a:lnTo>
                  <a:pt x="2227" y="1203"/>
                </a:lnTo>
                <a:lnTo>
                  <a:pt x="2107" y="1151"/>
                </a:lnTo>
                <a:lnTo>
                  <a:pt x="2350" y="1054"/>
                </a:lnTo>
                <a:lnTo>
                  <a:pt x="2188" y="1015"/>
                </a:lnTo>
                <a:lnTo>
                  <a:pt x="2214" y="934"/>
                </a:lnTo>
                <a:lnTo>
                  <a:pt x="2350" y="811"/>
                </a:lnTo>
                <a:lnTo>
                  <a:pt x="2065" y="853"/>
                </a:lnTo>
                <a:lnTo>
                  <a:pt x="2214" y="704"/>
                </a:lnTo>
                <a:lnTo>
                  <a:pt x="2253" y="597"/>
                </a:lnTo>
                <a:lnTo>
                  <a:pt x="2253" y="597"/>
                </a:lnTo>
                <a:lnTo>
                  <a:pt x="1929" y="717"/>
                </a:lnTo>
                <a:lnTo>
                  <a:pt x="1929" y="717"/>
                </a:lnTo>
                <a:lnTo>
                  <a:pt x="2010" y="597"/>
                </a:lnTo>
                <a:lnTo>
                  <a:pt x="2120" y="406"/>
                </a:lnTo>
                <a:lnTo>
                  <a:pt x="2039" y="380"/>
                </a:lnTo>
                <a:lnTo>
                  <a:pt x="1890" y="435"/>
                </a:lnTo>
                <a:lnTo>
                  <a:pt x="1929" y="273"/>
                </a:lnTo>
                <a:lnTo>
                  <a:pt x="1848" y="260"/>
                </a:lnTo>
                <a:lnTo>
                  <a:pt x="1660" y="435"/>
                </a:lnTo>
                <a:lnTo>
                  <a:pt x="1767" y="98"/>
                </a:lnTo>
                <a:lnTo>
                  <a:pt x="1592" y="299"/>
                </a:lnTo>
                <a:lnTo>
                  <a:pt x="1524" y="299"/>
                </a:lnTo>
                <a:lnTo>
                  <a:pt x="1498" y="137"/>
                </a:lnTo>
                <a:lnTo>
                  <a:pt x="1430" y="111"/>
                </a:lnTo>
                <a:lnTo>
                  <a:pt x="1349" y="179"/>
                </a:lnTo>
                <a:lnTo>
                  <a:pt x="1297" y="69"/>
                </a:lnTo>
                <a:lnTo>
                  <a:pt x="1216" y="150"/>
                </a:lnTo>
                <a:lnTo>
                  <a:pt x="1161" y="286"/>
                </a:lnTo>
                <a:lnTo>
                  <a:pt x="1106" y="341"/>
                </a:lnTo>
                <a:lnTo>
                  <a:pt x="973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4" name="Google Shape;374;p11"/>
          <p:cNvSpPr/>
          <p:nvPr/>
        </p:nvSpPr>
        <p:spPr>
          <a:xfrm>
            <a:off x="1792023" y="5159629"/>
            <a:ext cx="10542341" cy="2003491"/>
          </a:xfrm>
          <a:custGeom>
            <a:avLst/>
            <a:gdLst/>
            <a:ahLst/>
            <a:cxnLst/>
            <a:rect l="l" t="t" r="r" b="b"/>
            <a:pathLst>
              <a:path w="42620" h="10715" extrusionOk="0">
                <a:moveTo>
                  <a:pt x="42620" y="0"/>
                </a:moveTo>
                <a:cubicBezTo>
                  <a:pt x="40783" y="94"/>
                  <a:pt x="38907" y="214"/>
                  <a:pt x="37005" y="350"/>
                </a:cubicBezTo>
                <a:cubicBezTo>
                  <a:pt x="16415" y="1847"/>
                  <a:pt x="1" y="5236"/>
                  <a:pt x="325" y="7896"/>
                </a:cubicBezTo>
                <a:cubicBezTo>
                  <a:pt x="553" y="9699"/>
                  <a:pt x="8423" y="10715"/>
                  <a:pt x="19883" y="10715"/>
                </a:cubicBezTo>
                <a:cubicBezTo>
                  <a:pt x="25329" y="10715"/>
                  <a:pt x="31587" y="10485"/>
                  <a:pt x="38220" y="10002"/>
                </a:cubicBezTo>
                <a:cubicBezTo>
                  <a:pt x="39717" y="9895"/>
                  <a:pt x="41175" y="9772"/>
                  <a:pt x="42620" y="9652"/>
                </a:cubicBezTo>
                <a:lnTo>
                  <a:pt x="4262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5" name="Google Shape;375;p11"/>
          <p:cNvSpPr/>
          <p:nvPr/>
        </p:nvSpPr>
        <p:spPr>
          <a:xfrm>
            <a:off x="43496" y="4986379"/>
            <a:ext cx="772000" cy="601328"/>
          </a:xfrm>
          <a:custGeom>
            <a:avLst/>
            <a:gdLst/>
            <a:ahLst/>
            <a:cxnLst/>
            <a:rect l="l" t="t" r="r" b="b"/>
            <a:pathLst>
              <a:path w="3121" h="3216" extrusionOk="0">
                <a:moveTo>
                  <a:pt x="1825" y="1"/>
                </a:moveTo>
                <a:lnTo>
                  <a:pt x="1663" y="445"/>
                </a:lnTo>
                <a:lnTo>
                  <a:pt x="1595" y="380"/>
                </a:lnTo>
                <a:lnTo>
                  <a:pt x="1514" y="218"/>
                </a:lnTo>
                <a:lnTo>
                  <a:pt x="1420" y="95"/>
                </a:lnTo>
                <a:lnTo>
                  <a:pt x="1339" y="244"/>
                </a:lnTo>
                <a:lnTo>
                  <a:pt x="1229" y="150"/>
                </a:lnTo>
                <a:lnTo>
                  <a:pt x="1135" y="189"/>
                </a:lnTo>
                <a:lnTo>
                  <a:pt x="1109" y="406"/>
                </a:lnTo>
                <a:lnTo>
                  <a:pt x="1015" y="393"/>
                </a:lnTo>
                <a:lnTo>
                  <a:pt x="785" y="137"/>
                </a:lnTo>
                <a:lnTo>
                  <a:pt x="921" y="581"/>
                </a:lnTo>
                <a:lnTo>
                  <a:pt x="921" y="581"/>
                </a:lnTo>
                <a:lnTo>
                  <a:pt x="678" y="338"/>
                </a:lnTo>
                <a:lnTo>
                  <a:pt x="568" y="380"/>
                </a:lnTo>
                <a:lnTo>
                  <a:pt x="623" y="581"/>
                </a:lnTo>
                <a:lnTo>
                  <a:pt x="435" y="513"/>
                </a:lnTo>
                <a:lnTo>
                  <a:pt x="325" y="555"/>
                </a:lnTo>
                <a:lnTo>
                  <a:pt x="461" y="785"/>
                </a:lnTo>
                <a:lnTo>
                  <a:pt x="568" y="960"/>
                </a:lnTo>
                <a:lnTo>
                  <a:pt x="568" y="960"/>
                </a:lnTo>
                <a:lnTo>
                  <a:pt x="137" y="798"/>
                </a:lnTo>
                <a:lnTo>
                  <a:pt x="137" y="798"/>
                </a:lnTo>
                <a:lnTo>
                  <a:pt x="192" y="947"/>
                </a:lnTo>
                <a:lnTo>
                  <a:pt x="380" y="1135"/>
                </a:lnTo>
                <a:lnTo>
                  <a:pt x="14" y="1080"/>
                </a:lnTo>
                <a:lnTo>
                  <a:pt x="205" y="1242"/>
                </a:lnTo>
                <a:lnTo>
                  <a:pt x="231" y="1336"/>
                </a:lnTo>
                <a:lnTo>
                  <a:pt x="14" y="1404"/>
                </a:lnTo>
                <a:lnTo>
                  <a:pt x="338" y="1527"/>
                </a:lnTo>
                <a:lnTo>
                  <a:pt x="192" y="1595"/>
                </a:lnTo>
                <a:lnTo>
                  <a:pt x="1" y="1702"/>
                </a:lnTo>
                <a:lnTo>
                  <a:pt x="95" y="1783"/>
                </a:lnTo>
                <a:lnTo>
                  <a:pt x="150" y="1864"/>
                </a:lnTo>
                <a:lnTo>
                  <a:pt x="367" y="1903"/>
                </a:lnTo>
                <a:lnTo>
                  <a:pt x="192" y="2052"/>
                </a:lnTo>
                <a:lnTo>
                  <a:pt x="299" y="2107"/>
                </a:lnTo>
                <a:lnTo>
                  <a:pt x="111" y="2282"/>
                </a:lnTo>
                <a:lnTo>
                  <a:pt x="435" y="2214"/>
                </a:lnTo>
                <a:lnTo>
                  <a:pt x="367" y="2363"/>
                </a:lnTo>
                <a:lnTo>
                  <a:pt x="299" y="2538"/>
                </a:lnTo>
                <a:lnTo>
                  <a:pt x="299" y="2538"/>
                </a:lnTo>
                <a:lnTo>
                  <a:pt x="597" y="2405"/>
                </a:lnTo>
                <a:lnTo>
                  <a:pt x="649" y="2457"/>
                </a:lnTo>
                <a:lnTo>
                  <a:pt x="730" y="2486"/>
                </a:lnTo>
                <a:lnTo>
                  <a:pt x="811" y="2512"/>
                </a:lnTo>
                <a:lnTo>
                  <a:pt x="704" y="2810"/>
                </a:lnTo>
                <a:lnTo>
                  <a:pt x="879" y="2687"/>
                </a:lnTo>
                <a:lnTo>
                  <a:pt x="824" y="2985"/>
                </a:lnTo>
                <a:lnTo>
                  <a:pt x="1054" y="2700"/>
                </a:lnTo>
                <a:lnTo>
                  <a:pt x="1041" y="2972"/>
                </a:lnTo>
                <a:lnTo>
                  <a:pt x="1135" y="2985"/>
                </a:lnTo>
                <a:lnTo>
                  <a:pt x="1216" y="3053"/>
                </a:lnTo>
                <a:lnTo>
                  <a:pt x="1310" y="3079"/>
                </a:lnTo>
                <a:lnTo>
                  <a:pt x="1433" y="2891"/>
                </a:lnTo>
                <a:lnTo>
                  <a:pt x="1514" y="3215"/>
                </a:lnTo>
                <a:lnTo>
                  <a:pt x="1608" y="2998"/>
                </a:lnTo>
                <a:lnTo>
                  <a:pt x="1715" y="3134"/>
                </a:lnTo>
                <a:lnTo>
                  <a:pt x="1744" y="2742"/>
                </a:lnTo>
                <a:lnTo>
                  <a:pt x="1838" y="2810"/>
                </a:lnTo>
                <a:lnTo>
                  <a:pt x="1945" y="2875"/>
                </a:lnTo>
                <a:lnTo>
                  <a:pt x="1987" y="2742"/>
                </a:lnTo>
                <a:lnTo>
                  <a:pt x="2136" y="2862"/>
                </a:lnTo>
                <a:lnTo>
                  <a:pt x="2188" y="2781"/>
                </a:lnTo>
                <a:lnTo>
                  <a:pt x="2363" y="2862"/>
                </a:lnTo>
                <a:lnTo>
                  <a:pt x="2324" y="2661"/>
                </a:lnTo>
                <a:lnTo>
                  <a:pt x="2473" y="2687"/>
                </a:lnTo>
                <a:lnTo>
                  <a:pt x="2499" y="2580"/>
                </a:lnTo>
                <a:lnTo>
                  <a:pt x="2525" y="2486"/>
                </a:lnTo>
                <a:lnTo>
                  <a:pt x="2635" y="2457"/>
                </a:lnTo>
                <a:lnTo>
                  <a:pt x="2810" y="2470"/>
                </a:lnTo>
                <a:lnTo>
                  <a:pt x="2622" y="2227"/>
                </a:lnTo>
                <a:lnTo>
                  <a:pt x="2797" y="2227"/>
                </a:lnTo>
                <a:lnTo>
                  <a:pt x="2635" y="2065"/>
                </a:lnTo>
                <a:lnTo>
                  <a:pt x="2755" y="2026"/>
                </a:lnTo>
                <a:lnTo>
                  <a:pt x="2661" y="1903"/>
                </a:lnTo>
                <a:lnTo>
                  <a:pt x="2865" y="1864"/>
                </a:lnTo>
                <a:lnTo>
                  <a:pt x="2768" y="1770"/>
                </a:lnTo>
                <a:lnTo>
                  <a:pt x="2661" y="1676"/>
                </a:lnTo>
                <a:lnTo>
                  <a:pt x="2959" y="1595"/>
                </a:lnTo>
                <a:lnTo>
                  <a:pt x="2797" y="1514"/>
                </a:lnTo>
                <a:lnTo>
                  <a:pt x="3121" y="1391"/>
                </a:lnTo>
                <a:lnTo>
                  <a:pt x="2755" y="1352"/>
                </a:lnTo>
                <a:lnTo>
                  <a:pt x="2946" y="1216"/>
                </a:lnTo>
                <a:lnTo>
                  <a:pt x="2729" y="1190"/>
                </a:lnTo>
                <a:lnTo>
                  <a:pt x="2836" y="1054"/>
                </a:lnTo>
                <a:lnTo>
                  <a:pt x="2797" y="973"/>
                </a:lnTo>
                <a:lnTo>
                  <a:pt x="2784" y="866"/>
                </a:lnTo>
                <a:lnTo>
                  <a:pt x="2849" y="704"/>
                </a:lnTo>
                <a:lnTo>
                  <a:pt x="2554" y="798"/>
                </a:lnTo>
                <a:lnTo>
                  <a:pt x="2486" y="743"/>
                </a:lnTo>
                <a:lnTo>
                  <a:pt x="2606" y="500"/>
                </a:lnTo>
                <a:lnTo>
                  <a:pt x="2298" y="704"/>
                </a:lnTo>
                <a:lnTo>
                  <a:pt x="2337" y="526"/>
                </a:lnTo>
                <a:lnTo>
                  <a:pt x="2363" y="325"/>
                </a:lnTo>
                <a:lnTo>
                  <a:pt x="2311" y="202"/>
                </a:lnTo>
                <a:lnTo>
                  <a:pt x="2120" y="364"/>
                </a:lnTo>
                <a:lnTo>
                  <a:pt x="2055" y="299"/>
                </a:lnTo>
                <a:lnTo>
                  <a:pt x="1932" y="338"/>
                </a:lnTo>
                <a:lnTo>
                  <a:pt x="1851" y="338"/>
                </a:lnTo>
                <a:lnTo>
                  <a:pt x="1825" y="1"/>
                </a:ln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6" name="Google Shape;376;p11"/>
          <p:cNvSpPr/>
          <p:nvPr/>
        </p:nvSpPr>
        <p:spPr>
          <a:xfrm>
            <a:off x="-77718" y="5421775"/>
            <a:ext cx="6708033" cy="2011157"/>
          </a:xfrm>
          <a:custGeom>
            <a:avLst/>
            <a:gdLst/>
            <a:ahLst/>
            <a:cxnLst/>
            <a:rect l="l" t="t" r="r" b="b"/>
            <a:pathLst>
              <a:path w="27026" h="10756" extrusionOk="0">
                <a:moveTo>
                  <a:pt x="1" y="1"/>
                </a:moveTo>
                <a:lnTo>
                  <a:pt x="1" y="9261"/>
                </a:lnTo>
                <a:cubicBezTo>
                  <a:pt x="1660" y="9572"/>
                  <a:pt x="3390" y="9828"/>
                  <a:pt x="5185" y="10058"/>
                </a:cubicBezTo>
                <a:cubicBezTo>
                  <a:pt x="8967" y="10531"/>
                  <a:pt x="12535" y="10756"/>
                  <a:pt x="15642" y="10756"/>
                </a:cubicBezTo>
                <a:cubicBezTo>
                  <a:pt x="22197" y="10756"/>
                  <a:pt x="26701" y="9756"/>
                  <a:pt x="26838" y="7978"/>
                </a:cubicBezTo>
                <a:cubicBezTo>
                  <a:pt x="27026" y="5360"/>
                  <a:pt x="17646" y="2039"/>
                  <a:pt x="5872" y="555"/>
                </a:cubicBezTo>
                <a:cubicBezTo>
                  <a:pt x="3847" y="299"/>
                  <a:pt x="1877" y="121"/>
                  <a:pt x="1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7" name="Google Shape;377;p11"/>
          <p:cNvSpPr/>
          <p:nvPr/>
        </p:nvSpPr>
        <p:spPr>
          <a:xfrm>
            <a:off x="-77733" y="6026231"/>
            <a:ext cx="12435025" cy="1220559"/>
          </a:xfrm>
          <a:custGeom>
            <a:avLst/>
            <a:gdLst/>
            <a:ahLst/>
            <a:cxnLst/>
            <a:rect l="l" t="t" r="r" b="b"/>
            <a:pathLst>
              <a:path w="50179" h="7521" extrusionOk="0">
                <a:moveTo>
                  <a:pt x="23964" y="1"/>
                </a:moveTo>
                <a:cubicBezTo>
                  <a:pt x="14458" y="1"/>
                  <a:pt x="5927" y="529"/>
                  <a:pt x="1" y="1378"/>
                </a:cubicBezTo>
                <a:lnTo>
                  <a:pt x="1" y="7009"/>
                </a:lnTo>
                <a:cubicBezTo>
                  <a:pt x="1323" y="7197"/>
                  <a:pt x="2794" y="7372"/>
                  <a:pt x="4362" y="7521"/>
                </a:cubicBezTo>
                <a:lnTo>
                  <a:pt x="43566" y="7521"/>
                </a:lnTo>
                <a:cubicBezTo>
                  <a:pt x="46090" y="7278"/>
                  <a:pt x="48316" y="6983"/>
                  <a:pt x="50179" y="6643"/>
                </a:cubicBezTo>
                <a:lnTo>
                  <a:pt x="50179" y="1731"/>
                </a:lnTo>
                <a:cubicBezTo>
                  <a:pt x="44308" y="691"/>
                  <a:pt x="34750" y="1"/>
                  <a:pt x="23964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8" name="Google Shape;378;p11"/>
          <p:cNvSpPr/>
          <p:nvPr/>
        </p:nvSpPr>
        <p:spPr>
          <a:xfrm>
            <a:off x="7156538" y="6212605"/>
            <a:ext cx="4267892" cy="662096"/>
          </a:xfrm>
          <a:custGeom>
            <a:avLst/>
            <a:gdLst/>
            <a:ahLst/>
            <a:cxnLst/>
            <a:rect l="l" t="t" r="r" b="b"/>
            <a:pathLst>
              <a:path w="17254" h="3541" extrusionOk="0">
                <a:moveTo>
                  <a:pt x="7184" y="1"/>
                </a:moveTo>
                <a:cubicBezTo>
                  <a:pt x="7103" y="1"/>
                  <a:pt x="7009" y="124"/>
                  <a:pt x="6915" y="124"/>
                </a:cubicBezTo>
                <a:cubicBezTo>
                  <a:pt x="6834" y="124"/>
                  <a:pt x="6740" y="30"/>
                  <a:pt x="6643" y="30"/>
                </a:cubicBezTo>
                <a:cubicBezTo>
                  <a:pt x="6549" y="43"/>
                  <a:pt x="6468" y="150"/>
                  <a:pt x="6374" y="150"/>
                </a:cubicBezTo>
                <a:cubicBezTo>
                  <a:pt x="6297" y="150"/>
                  <a:pt x="6197" y="42"/>
                  <a:pt x="6106" y="42"/>
                </a:cubicBezTo>
                <a:cubicBezTo>
                  <a:pt x="6102" y="42"/>
                  <a:pt x="6097" y="42"/>
                  <a:pt x="6092" y="43"/>
                </a:cubicBezTo>
                <a:cubicBezTo>
                  <a:pt x="6011" y="43"/>
                  <a:pt x="5914" y="124"/>
                  <a:pt x="5833" y="124"/>
                </a:cubicBezTo>
                <a:cubicBezTo>
                  <a:pt x="5739" y="137"/>
                  <a:pt x="5658" y="179"/>
                  <a:pt x="5564" y="179"/>
                </a:cubicBezTo>
                <a:cubicBezTo>
                  <a:pt x="5554" y="180"/>
                  <a:pt x="5544" y="181"/>
                  <a:pt x="5534" y="181"/>
                </a:cubicBezTo>
                <a:cubicBezTo>
                  <a:pt x="5460" y="181"/>
                  <a:pt x="5387" y="148"/>
                  <a:pt x="5321" y="148"/>
                </a:cubicBezTo>
                <a:cubicBezTo>
                  <a:pt x="5312" y="148"/>
                  <a:pt x="5303" y="148"/>
                  <a:pt x="5295" y="150"/>
                </a:cubicBezTo>
                <a:cubicBezTo>
                  <a:pt x="5201" y="163"/>
                  <a:pt x="5104" y="163"/>
                  <a:pt x="5023" y="179"/>
                </a:cubicBezTo>
                <a:cubicBezTo>
                  <a:pt x="4941" y="179"/>
                  <a:pt x="4850" y="147"/>
                  <a:pt x="4774" y="147"/>
                </a:cubicBezTo>
                <a:cubicBezTo>
                  <a:pt x="4763" y="147"/>
                  <a:pt x="4752" y="148"/>
                  <a:pt x="4741" y="150"/>
                </a:cubicBezTo>
                <a:cubicBezTo>
                  <a:pt x="4647" y="150"/>
                  <a:pt x="4592" y="299"/>
                  <a:pt x="4498" y="312"/>
                </a:cubicBezTo>
                <a:cubicBezTo>
                  <a:pt x="4404" y="325"/>
                  <a:pt x="4323" y="341"/>
                  <a:pt x="4242" y="354"/>
                </a:cubicBezTo>
                <a:cubicBezTo>
                  <a:pt x="4235" y="355"/>
                  <a:pt x="4228" y="355"/>
                  <a:pt x="4220" y="355"/>
                </a:cubicBezTo>
                <a:cubicBezTo>
                  <a:pt x="4137" y="355"/>
                  <a:pt x="4036" y="298"/>
                  <a:pt x="3963" y="298"/>
                </a:cubicBezTo>
                <a:cubicBezTo>
                  <a:pt x="3956" y="298"/>
                  <a:pt x="3950" y="298"/>
                  <a:pt x="3944" y="299"/>
                </a:cubicBezTo>
                <a:cubicBezTo>
                  <a:pt x="3850" y="312"/>
                  <a:pt x="3756" y="341"/>
                  <a:pt x="3675" y="354"/>
                </a:cubicBezTo>
                <a:cubicBezTo>
                  <a:pt x="3581" y="380"/>
                  <a:pt x="3565" y="516"/>
                  <a:pt x="3484" y="542"/>
                </a:cubicBezTo>
                <a:cubicBezTo>
                  <a:pt x="3472" y="545"/>
                  <a:pt x="3459" y="547"/>
                  <a:pt x="3445" y="547"/>
                </a:cubicBezTo>
                <a:cubicBezTo>
                  <a:pt x="3366" y="547"/>
                  <a:pt x="3257" y="505"/>
                  <a:pt x="3190" y="505"/>
                </a:cubicBezTo>
                <a:cubicBezTo>
                  <a:pt x="3172" y="505"/>
                  <a:pt x="3157" y="508"/>
                  <a:pt x="3147" y="516"/>
                </a:cubicBezTo>
                <a:cubicBezTo>
                  <a:pt x="3053" y="568"/>
                  <a:pt x="3053" y="678"/>
                  <a:pt x="3053" y="730"/>
                </a:cubicBezTo>
                <a:cubicBezTo>
                  <a:pt x="3053" y="785"/>
                  <a:pt x="3108" y="840"/>
                  <a:pt x="3176" y="879"/>
                </a:cubicBezTo>
                <a:cubicBezTo>
                  <a:pt x="3228" y="921"/>
                  <a:pt x="3322" y="947"/>
                  <a:pt x="3403" y="973"/>
                </a:cubicBezTo>
                <a:cubicBezTo>
                  <a:pt x="3309" y="989"/>
                  <a:pt x="3189" y="1002"/>
                  <a:pt x="3108" y="1002"/>
                </a:cubicBezTo>
                <a:cubicBezTo>
                  <a:pt x="3100" y="1003"/>
                  <a:pt x="3091" y="1004"/>
                  <a:pt x="3083" y="1004"/>
                </a:cubicBezTo>
                <a:cubicBezTo>
                  <a:pt x="3005" y="1004"/>
                  <a:pt x="2925" y="958"/>
                  <a:pt x="2848" y="958"/>
                </a:cubicBezTo>
                <a:cubicBezTo>
                  <a:pt x="2839" y="958"/>
                  <a:pt x="2831" y="959"/>
                  <a:pt x="2823" y="960"/>
                </a:cubicBezTo>
                <a:cubicBezTo>
                  <a:pt x="2729" y="960"/>
                  <a:pt x="2661" y="1070"/>
                  <a:pt x="2567" y="1083"/>
                </a:cubicBezTo>
                <a:cubicBezTo>
                  <a:pt x="2486" y="1083"/>
                  <a:pt x="2379" y="989"/>
                  <a:pt x="2285" y="989"/>
                </a:cubicBezTo>
                <a:cubicBezTo>
                  <a:pt x="2204" y="1002"/>
                  <a:pt x="2107" y="1002"/>
                  <a:pt x="2013" y="1015"/>
                </a:cubicBezTo>
                <a:cubicBezTo>
                  <a:pt x="1932" y="1028"/>
                  <a:pt x="1851" y="1096"/>
                  <a:pt x="1770" y="1096"/>
                </a:cubicBezTo>
                <a:cubicBezTo>
                  <a:pt x="1756" y="1098"/>
                  <a:pt x="1742" y="1099"/>
                  <a:pt x="1728" y="1099"/>
                </a:cubicBezTo>
                <a:cubicBezTo>
                  <a:pt x="1659" y="1099"/>
                  <a:pt x="1587" y="1080"/>
                  <a:pt x="1525" y="1080"/>
                </a:cubicBezTo>
                <a:cubicBezTo>
                  <a:pt x="1512" y="1080"/>
                  <a:pt x="1500" y="1081"/>
                  <a:pt x="1488" y="1083"/>
                </a:cubicBezTo>
                <a:cubicBezTo>
                  <a:pt x="1394" y="1096"/>
                  <a:pt x="1313" y="1151"/>
                  <a:pt x="1232" y="1164"/>
                </a:cubicBezTo>
                <a:cubicBezTo>
                  <a:pt x="1183" y="1170"/>
                  <a:pt x="1135" y="1170"/>
                  <a:pt x="1090" y="1170"/>
                </a:cubicBezTo>
                <a:cubicBezTo>
                  <a:pt x="1044" y="1170"/>
                  <a:pt x="1000" y="1170"/>
                  <a:pt x="960" y="1177"/>
                </a:cubicBezTo>
                <a:cubicBezTo>
                  <a:pt x="866" y="1190"/>
                  <a:pt x="811" y="1284"/>
                  <a:pt x="730" y="1313"/>
                </a:cubicBezTo>
                <a:cubicBezTo>
                  <a:pt x="636" y="1326"/>
                  <a:pt x="568" y="1365"/>
                  <a:pt x="503" y="1394"/>
                </a:cubicBezTo>
                <a:cubicBezTo>
                  <a:pt x="474" y="1406"/>
                  <a:pt x="441" y="1409"/>
                  <a:pt x="407" y="1409"/>
                </a:cubicBezTo>
                <a:cubicBezTo>
                  <a:pt x="363" y="1409"/>
                  <a:pt x="317" y="1403"/>
                  <a:pt x="279" y="1403"/>
                </a:cubicBezTo>
                <a:cubicBezTo>
                  <a:pt x="248" y="1403"/>
                  <a:pt x="222" y="1407"/>
                  <a:pt x="205" y="1420"/>
                </a:cubicBezTo>
                <a:cubicBezTo>
                  <a:pt x="124" y="1475"/>
                  <a:pt x="1" y="1556"/>
                  <a:pt x="1" y="1608"/>
                </a:cubicBezTo>
                <a:cubicBezTo>
                  <a:pt x="1" y="1663"/>
                  <a:pt x="98" y="1770"/>
                  <a:pt x="192" y="1825"/>
                </a:cubicBezTo>
                <a:cubicBezTo>
                  <a:pt x="260" y="1851"/>
                  <a:pt x="380" y="1851"/>
                  <a:pt x="474" y="1893"/>
                </a:cubicBezTo>
                <a:cubicBezTo>
                  <a:pt x="490" y="1898"/>
                  <a:pt x="508" y="1900"/>
                  <a:pt x="527" y="1900"/>
                </a:cubicBezTo>
                <a:cubicBezTo>
                  <a:pt x="582" y="1900"/>
                  <a:pt x="646" y="1884"/>
                  <a:pt x="706" y="1884"/>
                </a:cubicBezTo>
                <a:cubicBezTo>
                  <a:pt x="729" y="1884"/>
                  <a:pt x="751" y="1887"/>
                  <a:pt x="772" y="1893"/>
                </a:cubicBezTo>
                <a:cubicBezTo>
                  <a:pt x="853" y="1919"/>
                  <a:pt x="921" y="1945"/>
                  <a:pt x="1015" y="1974"/>
                </a:cubicBezTo>
                <a:cubicBezTo>
                  <a:pt x="1109" y="1987"/>
                  <a:pt x="1164" y="2094"/>
                  <a:pt x="1258" y="2107"/>
                </a:cubicBezTo>
                <a:cubicBezTo>
                  <a:pt x="1270" y="2109"/>
                  <a:pt x="1282" y="2110"/>
                  <a:pt x="1295" y="2110"/>
                </a:cubicBezTo>
                <a:cubicBezTo>
                  <a:pt x="1369" y="2110"/>
                  <a:pt x="1449" y="2079"/>
                  <a:pt x="1524" y="2079"/>
                </a:cubicBezTo>
                <a:cubicBezTo>
                  <a:pt x="1535" y="2079"/>
                  <a:pt x="1545" y="2080"/>
                  <a:pt x="1556" y="2081"/>
                </a:cubicBezTo>
                <a:cubicBezTo>
                  <a:pt x="1637" y="2081"/>
                  <a:pt x="1718" y="2149"/>
                  <a:pt x="1812" y="2149"/>
                </a:cubicBezTo>
                <a:cubicBezTo>
                  <a:pt x="1825" y="2151"/>
                  <a:pt x="1839" y="2152"/>
                  <a:pt x="1852" y="2152"/>
                </a:cubicBezTo>
                <a:cubicBezTo>
                  <a:pt x="1933" y="2152"/>
                  <a:pt x="2013" y="2123"/>
                  <a:pt x="2094" y="2123"/>
                </a:cubicBezTo>
                <a:cubicBezTo>
                  <a:pt x="2188" y="2136"/>
                  <a:pt x="2269" y="2230"/>
                  <a:pt x="2366" y="2230"/>
                </a:cubicBezTo>
                <a:cubicBezTo>
                  <a:pt x="2447" y="2243"/>
                  <a:pt x="2541" y="2269"/>
                  <a:pt x="2635" y="2269"/>
                </a:cubicBezTo>
                <a:cubicBezTo>
                  <a:pt x="2645" y="2271"/>
                  <a:pt x="2655" y="2271"/>
                  <a:pt x="2665" y="2271"/>
                </a:cubicBezTo>
                <a:cubicBezTo>
                  <a:pt x="2749" y="2271"/>
                  <a:pt x="2833" y="2217"/>
                  <a:pt x="2917" y="2217"/>
                </a:cubicBezTo>
                <a:cubicBezTo>
                  <a:pt x="3014" y="2217"/>
                  <a:pt x="3160" y="2230"/>
                  <a:pt x="3257" y="2230"/>
                </a:cubicBezTo>
                <a:cubicBezTo>
                  <a:pt x="3176" y="2269"/>
                  <a:pt x="3027" y="2324"/>
                  <a:pt x="3027" y="2379"/>
                </a:cubicBezTo>
                <a:cubicBezTo>
                  <a:pt x="3027" y="2418"/>
                  <a:pt x="3014" y="2447"/>
                  <a:pt x="3095" y="2486"/>
                </a:cubicBezTo>
                <a:cubicBezTo>
                  <a:pt x="2998" y="2486"/>
                  <a:pt x="3014" y="2554"/>
                  <a:pt x="2917" y="2554"/>
                </a:cubicBezTo>
                <a:cubicBezTo>
                  <a:pt x="2829" y="2554"/>
                  <a:pt x="2741" y="2472"/>
                  <a:pt x="2653" y="2472"/>
                </a:cubicBezTo>
                <a:cubicBezTo>
                  <a:pt x="2647" y="2472"/>
                  <a:pt x="2641" y="2472"/>
                  <a:pt x="2635" y="2473"/>
                </a:cubicBezTo>
                <a:cubicBezTo>
                  <a:pt x="2541" y="2473"/>
                  <a:pt x="2460" y="2609"/>
                  <a:pt x="2379" y="2609"/>
                </a:cubicBezTo>
                <a:cubicBezTo>
                  <a:pt x="2285" y="2609"/>
                  <a:pt x="2175" y="2554"/>
                  <a:pt x="2081" y="2554"/>
                </a:cubicBezTo>
                <a:cubicBezTo>
                  <a:pt x="2061" y="2557"/>
                  <a:pt x="2041" y="2558"/>
                  <a:pt x="2021" y="2558"/>
                </a:cubicBezTo>
                <a:cubicBezTo>
                  <a:pt x="1967" y="2558"/>
                  <a:pt x="1914" y="2550"/>
                  <a:pt x="1865" y="2550"/>
                </a:cubicBezTo>
                <a:cubicBezTo>
                  <a:pt x="1847" y="2550"/>
                  <a:pt x="1829" y="2551"/>
                  <a:pt x="1812" y="2554"/>
                </a:cubicBezTo>
                <a:cubicBezTo>
                  <a:pt x="1718" y="2554"/>
                  <a:pt x="1621" y="2609"/>
                  <a:pt x="1540" y="2609"/>
                </a:cubicBezTo>
                <a:cubicBezTo>
                  <a:pt x="1531" y="2610"/>
                  <a:pt x="1523" y="2611"/>
                  <a:pt x="1514" y="2611"/>
                </a:cubicBezTo>
                <a:cubicBezTo>
                  <a:pt x="1434" y="2611"/>
                  <a:pt x="1339" y="2565"/>
                  <a:pt x="1267" y="2565"/>
                </a:cubicBezTo>
                <a:cubicBezTo>
                  <a:pt x="1259" y="2565"/>
                  <a:pt x="1252" y="2566"/>
                  <a:pt x="1245" y="2567"/>
                </a:cubicBezTo>
                <a:cubicBezTo>
                  <a:pt x="1151" y="2580"/>
                  <a:pt x="1096" y="2729"/>
                  <a:pt x="1015" y="2742"/>
                </a:cubicBezTo>
                <a:cubicBezTo>
                  <a:pt x="981" y="2752"/>
                  <a:pt x="944" y="2755"/>
                  <a:pt x="908" y="2755"/>
                </a:cubicBezTo>
                <a:cubicBezTo>
                  <a:pt x="865" y="2755"/>
                  <a:pt x="822" y="2751"/>
                  <a:pt x="782" y="2751"/>
                </a:cubicBezTo>
                <a:cubicBezTo>
                  <a:pt x="764" y="2751"/>
                  <a:pt x="746" y="2752"/>
                  <a:pt x="730" y="2755"/>
                </a:cubicBezTo>
                <a:cubicBezTo>
                  <a:pt x="636" y="2784"/>
                  <a:pt x="597" y="2865"/>
                  <a:pt x="529" y="2891"/>
                </a:cubicBezTo>
                <a:cubicBezTo>
                  <a:pt x="422" y="2946"/>
                  <a:pt x="231" y="2933"/>
                  <a:pt x="231" y="2985"/>
                </a:cubicBezTo>
                <a:cubicBezTo>
                  <a:pt x="231" y="3040"/>
                  <a:pt x="354" y="3108"/>
                  <a:pt x="448" y="3147"/>
                </a:cubicBezTo>
                <a:cubicBezTo>
                  <a:pt x="516" y="3189"/>
                  <a:pt x="597" y="3215"/>
                  <a:pt x="691" y="3241"/>
                </a:cubicBezTo>
                <a:cubicBezTo>
                  <a:pt x="700" y="3243"/>
                  <a:pt x="709" y="3243"/>
                  <a:pt x="718" y="3243"/>
                </a:cubicBezTo>
                <a:cubicBezTo>
                  <a:pt x="790" y="3243"/>
                  <a:pt x="882" y="3200"/>
                  <a:pt x="963" y="3200"/>
                </a:cubicBezTo>
                <a:cubicBezTo>
                  <a:pt x="972" y="3200"/>
                  <a:pt x="980" y="3201"/>
                  <a:pt x="989" y="3202"/>
                </a:cubicBezTo>
                <a:cubicBezTo>
                  <a:pt x="1054" y="3215"/>
                  <a:pt x="1109" y="3322"/>
                  <a:pt x="1203" y="3338"/>
                </a:cubicBezTo>
                <a:cubicBezTo>
                  <a:pt x="1284" y="3351"/>
                  <a:pt x="1365" y="3377"/>
                  <a:pt x="1459" y="3390"/>
                </a:cubicBezTo>
                <a:cubicBezTo>
                  <a:pt x="1475" y="3392"/>
                  <a:pt x="1492" y="3393"/>
                  <a:pt x="1509" y="3393"/>
                </a:cubicBezTo>
                <a:cubicBezTo>
                  <a:pt x="1578" y="3393"/>
                  <a:pt x="1656" y="3377"/>
                  <a:pt x="1731" y="3377"/>
                </a:cubicBezTo>
                <a:cubicBezTo>
                  <a:pt x="1812" y="3390"/>
                  <a:pt x="1893" y="3471"/>
                  <a:pt x="1987" y="3484"/>
                </a:cubicBezTo>
                <a:cubicBezTo>
                  <a:pt x="2068" y="3484"/>
                  <a:pt x="2162" y="3432"/>
                  <a:pt x="2256" y="3432"/>
                </a:cubicBezTo>
                <a:cubicBezTo>
                  <a:pt x="2337" y="3432"/>
                  <a:pt x="2431" y="3419"/>
                  <a:pt x="2512" y="3419"/>
                </a:cubicBezTo>
                <a:cubicBezTo>
                  <a:pt x="2609" y="3432"/>
                  <a:pt x="2690" y="3526"/>
                  <a:pt x="2771" y="3526"/>
                </a:cubicBezTo>
                <a:cubicBezTo>
                  <a:pt x="2865" y="3526"/>
                  <a:pt x="2946" y="3513"/>
                  <a:pt x="3040" y="3513"/>
                </a:cubicBezTo>
                <a:cubicBezTo>
                  <a:pt x="3121" y="3513"/>
                  <a:pt x="3215" y="3539"/>
                  <a:pt x="3309" y="3539"/>
                </a:cubicBezTo>
                <a:cubicBezTo>
                  <a:pt x="3390" y="3539"/>
                  <a:pt x="3484" y="3500"/>
                  <a:pt x="3565" y="3500"/>
                </a:cubicBezTo>
                <a:lnTo>
                  <a:pt x="3837" y="3500"/>
                </a:lnTo>
                <a:cubicBezTo>
                  <a:pt x="3931" y="3500"/>
                  <a:pt x="4012" y="3458"/>
                  <a:pt x="4093" y="3458"/>
                </a:cubicBezTo>
                <a:cubicBezTo>
                  <a:pt x="4181" y="3458"/>
                  <a:pt x="4269" y="3540"/>
                  <a:pt x="4346" y="3540"/>
                </a:cubicBezTo>
                <a:cubicBezTo>
                  <a:pt x="4351" y="3540"/>
                  <a:pt x="4356" y="3540"/>
                  <a:pt x="4362" y="3539"/>
                </a:cubicBezTo>
                <a:cubicBezTo>
                  <a:pt x="4456" y="3539"/>
                  <a:pt x="4537" y="3403"/>
                  <a:pt x="4618" y="3403"/>
                </a:cubicBezTo>
                <a:cubicBezTo>
                  <a:pt x="4626" y="3402"/>
                  <a:pt x="4635" y="3401"/>
                  <a:pt x="4643" y="3401"/>
                </a:cubicBezTo>
                <a:cubicBezTo>
                  <a:pt x="4731" y="3401"/>
                  <a:pt x="4816" y="3458"/>
                  <a:pt x="4890" y="3458"/>
                </a:cubicBezTo>
                <a:cubicBezTo>
                  <a:pt x="4984" y="3445"/>
                  <a:pt x="5052" y="3364"/>
                  <a:pt x="5146" y="3364"/>
                </a:cubicBezTo>
                <a:cubicBezTo>
                  <a:pt x="5150" y="3363"/>
                  <a:pt x="5155" y="3363"/>
                  <a:pt x="5160" y="3363"/>
                </a:cubicBezTo>
                <a:cubicBezTo>
                  <a:pt x="5239" y="3363"/>
                  <a:pt x="5339" y="3458"/>
                  <a:pt x="5428" y="3458"/>
                </a:cubicBezTo>
                <a:cubicBezTo>
                  <a:pt x="5509" y="3445"/>
                  <a:pt x="5577" y="3309"/>
                  <a:pt x="5658" y="3296"/>
                </a:cubicBezTo>
                <a:cubicBezTo>
                  <a:pt x="5733" y="3296"/>
                  <a:pt x="5810" y="3312"/>
                  <a:pt x="5879" y="3312"/>
                </a:cubicBezTo>
                <a:cubicBezTo>
                  <a:pt x="5897" y="3312"/>
                  <a:pt x="5914" y="3311"/>
                  <a:pt x="5930" y="3309"/>
                </a:cubicBezTo>
                <a:cubicBezTo>
                  <a:pt x="5938" y="3308"/>
                  <a:pt x="5946" y="3307"/>
                  <a:pt x="5955" y="3307"/>
                </a:cubicBezTo>
                <a:cubicBezTo>
                  <a:pt x="6034" y="3307"/>
                  <a:pt x="6120" y="3353"/>
                  <a:pt x="6190" y="3353"/>
                </a:cubicBezTo>
                <a:cubicBezTo>
                  <a:pt x="6197" y="3353"/>
                  <a:pt x="6205" y="3352"/>
                  <a:pt x="6212" y="3351"/>
                </a:cubicBezTo>
                <a:cubicBezTo>
                  <a:pt x="6306" y="3338"/>
                  <a:pt x="6335" y="3189"/>
                  <a:pt x="6400" y="3160"/>
                </a:cubicBezTo>
                <a:cubicBezTo>
                  <a:pt x="6510" y="3134"/>
                  <a:pt x="6578" y="3121"/>
                  <a:pt x="6643" y="3095"/>
                </a:cubicBezTo>
                <a:cubicBezTo>
                  <a:pt x="6740" y="3053"/>
                  <a:pt x="6847" y="3040"/>
                  <a:pt x="6847" y="2985"/>
                </a:cubicBezTo>
                <a:cubicBezTo>
                  <a:pt x="6847" y="2946"/>
                  <a:pt x="6847" y="2917"/>
                  <a:pt x="6766" y="2865"/>
                </a:cubicBezTo>
                <a:cubicBezTo>
                  <a:pt x="6860" y="2865"/>
                  <a:pt x="6886" y="2836"/>
                  <a:pt x="6983" y="2836"/>
                </a:cubicBezTo>
                <a:cubicBezTo>
                  <a:pt x="7077" y="2836"/>
                  <a:pt x="7171" y="2852"/>
                  <a:pt x="7265" y="2852"/>
                </a:cubicBezTo>
                <a:cubicBezTo>
                  <a:pt x="7359" y="2836"/>
                  <a:pt x="7440" y="2771"/>
                  <a:pt x="7534" y="2771"/>
                </a:cubicBezTo>
                <a:cubicBezTo>
                  <a:pt x="7631" y="2771"/>
                  <a:pt x="7725" y="2836"/>
                  <a:pt x="7819" y="2836"/>
                </a:cubicBezTo>
                <a:cubicBezTo>
                  <a:pt x="7836" y="2833"/>
                  <a:pt x="7853" y="2833"/>
                  <a:pt x="7870" y="2833"/>
                </a:cubicBezTo>
                <a:cubicBezTo>
                  <a:pt x="7947" y="2833"/>
                  <a:pt x="8024" y="2852"/>
                  <a:pt x="8101" y="2852"/>
                </a:cubicBezTo>
                <a:cubicBezTo>
                  <a:pt x="8198" y="2836"/>
                  <a:pt x="8263" y="2742"/>
                  <a:pt x="8360" y="2729"/>
                </a:cubicBezTo>
                <a:cubicBezTo>
                  <a:pt x="8380" y="2726"/>
                  <a:pt x="8400" y="2725"/>
                  <a:pt x="8419" y="2725"/>
                </a:cubicBezTo>
                <a:cubicBezTo>
                  <a:pt x="8474" y="2725"/>
                  <a:pt x="8528" y="2733"/>
                  <a:pt x="8582" y="2733"/>
                </a:cubicBezTo>
                <a:cubicBezTo>
                  <a:pt x="8602" y="2733"/>
                  <a:pt x="8622" y="2732"/>
                  <a:pt x="8642" y="2729"/>
                </a:cubicBezTo>
                <a:cubicBezTo>
                  <a:pt x="8736" y="2716"/>
                  <a:pt x="8830" y="2703"/>
                  <a:pt x="8911" y="2690"/>
                </a:cubicBezTo>
                <a:cubicBezTo>
                  <a:pt x="9008" y="2674"/>
                  <a:pt x="9060" y="2567"/>
                  <a:pt x="9141" y="2554"/>
                </a:cubicBezTo>
                <a:cubicBezTo>
                  <a:pt x="9235" y="2528"/>
                  <a:pt x="9303" y="2486"/>
                  <a:pt x="9358" y="2460"/>
                </a:cubicBezTo>
                <a:cubicBezTo>
                  <a:pt x="9465" y="2405"/>
                  <a:pt x="9559" y="2431"/>
                  <a:pt x="9559" y="2379"/>
                </a:cubicBezTo>
                <a:cubicBezTo>
                  <a:pt x="9559" y="2371"/>
                  <a:pt x="9562" y="2368"/>
                  <a:pt x="9566" y="2368"/>
                </a:cubicBezTo>
                <a:cubicBezTo>
                  <a:pt x="9575" y="2368"/>
                  <a:pt x="9590" y="2382"/>
                  <a:pt x="9590" y="2382"/>
                </a:cubicBezTo>
                <a:cubicBezTo>
                  <a:pt x="9590" y="2382"/>
                  <a:pt x="9590" y="2381"/>
                  <a:pt x="9588" y="2379"/>
                </a:cubicBezTo>
                <a:cubicBezTo>
                  <a:pt x="9669" y="2379"/>
                  <a:pt x="9750" y="2366"/>
                  <a:pt x="9844" y="2366"/>
                </a:cubicBezTo>
                <a:cubicBezTo>
                  <a:pt x="9848" y="2367"/>
                  <a:pt x="9853" y="2367"/>
                  <a:pt x="9858" y="2367"/>
                </a:cubicBezTo>
                <a:cubicBezTo>
                  <a:pt x="9931" y="2367"/>
                  <a:pt x="10022" y="2283"/>
                  <a:pt x="10106" y="2283"/>
                </a:cubicBezTo>
                <a:cubicBezTo>
                  <a:pt x="10113" y="2283"/>
                  <a:pt x="10119" y="2284"/>
                  <a:pt x="10126" y="2285"/>
                </a:cubicBezTo>
                <a:cubicBezTo>
                  <a:pt x="10207" y="2285"/>
                  <a:pt x="10288" y="2431"/>
                  <a:pt x="10385" y="2431"/>
                </a:cubicBezTo>
                <a:cubicBezTo>
                  <a:pt x="10479" y="2431"/>
                  <a:pt x="10612" y="2311"/>
                  <a:pt x="10693" y="2311"/>
                </a:cubicBezTo>
                <a:cubicBezTo>
                  <a:pt x="10680" y="2324"/>
                  <a:pt x="10748" y="2405"/>
                  <a:pt x="10748" y="2418"/>
                </a:cubicBezTo>
                <a:cubicBezTo>
                  <a:pt x="10748" y="2473"/>
                  <a:pt x="10693" y="2528"/>
                  <a:pt x="10790" y="2580"/>
                </a:cubicBezTo>
                <a:cubicBezTo>
                  <a:pt x="10855" y="2609"/>
                  <a:pt x="10923" y="2661"/>
                  <a:pt x="11017" y="2690"/>
                </a:cubicBezTo>
                <a:cubicBezTo>
                  <a:pt x="11098" y="2703"/>
                  <a:pt x="11166" y="2755"/>
                  <a:pt x="11260" y="2771"/>
                </a:cubicBezTo>
                <a:cubicBezTo>
                  <a:pt x="11264" y="2772"/>
                  <a:pt x="11269" y="2772"/>
                  <a:pt x="11274" y="2772"/>
                </a:cubicBezTo>
                <a:cubicBezTo>
                  <a:pt x="11348" y="2772"/>
                  <a:pt x="11453" y="2688"/>
                  <a:pt x="11538" y="2688"/>
                </a:cubicBezTo>
                <a:cubicBezTo>
                  <a:pt x="11545" y="2688"/>
                  <a:pt x="11551" y="2689"/>
                  <a:pt x="11558" y="2690"/>
                </a:cubicBezTo>
                <a:cubicBezTo>
                  <a:pt x="11639" y="2703"/>
                  <a:pt x="11707" y="2810"/>
                  <a:pt x="11788" y="2823"/>
                </a:cubicBezTo>
                <a:cubicBezTo>
                  <a:pt x="11795" y="2824"/>
                  <a:pt x="11802" y="2824"/>
                  <a:pt x="11809" y="2824"/>
                </a:cubicBezTo>
                <a:cubicBezTo>
                  <a:pt x="11887" y="2824"/>
                  <a:pt x="11966" y="2769"/>
                  <a:pt x="12044" y="2769"/>
                </a:cubicBezTo>
                <a:cubicBezTo>
                  <a:pt x="12052" y="2769"/>
                  <a:pt x="12061" y="2770"/>
                  <a:pt x="12070" y="2771"/>
                </a:cubicBezTo>
                <a:cubicBezTo>
                  <a:pt x="12151" y="2784"/>
                  <a:pt x="12232" y="2865"/>
                  <a:pt x="12313" y="2878"/>
                </a:cubicBezTo>
                <a:cubicBezTo>
                  <a:pt x="12410" y="2878"/>
                  <a:pt x="12491" y="2946"/>
                  <a:pt x="12572" y="2946"/>
                </a:cubicBezTo>
                <a:cubicBezTo>
                  <a:pt x="12576" y="2947"/>
                  <a:pt x="12580" y="2947"/>
                  <a:pt x="12585" y="2947"/>
                </a:cubicBezTo>
                <a:cubicBezTo>
                  <a:pt x="12674" y="2947"/>
                  <a:pt x="12764" y="2823"/>
                  <a:pt x="12854" y="2823"/>
                </a:cubicBezTo>
                <a:cubicBezTo>
                  <a:pt x="12935" y="2836"/>
                  <a:pt x="13016" y="2904"/>
                  <a:pt x="13110" y="2917"/>
                </a:cubicBezTo>
                <a:cubicBezTo>
                  <a:pt x="13191" y="2917"/>
                  <a:pt x="13285" y="2959"/>
                  <a:pt x="13366" y="2959"/>
                </a:cubicBezTo>
                <a:cubicBezTo>
                  <a:pt x="13454" y="2959"/>
                  <a:pt x="13530" y="2902"/>
                  <a:pt x="13614" y="2902"/>
                </a:cubicBezTo>
                <a:cubicBezTo>
                  <a:pt x="13622" y="2902"/>
                  <a:pt x="13630" y="2903"/>
                  <a:pt x="13638" y="2904"/>
                </a:cubicBezTo>
                <a:cubicBezTo>
                  <a:pt x="13719" y="2904"/>
                  <a:pt x="13813" y="2946"/>
                  <a:pt x="13907" y="2946"/>
                </a:cubicBezTo>
                <a:cubicBezTo>
                  <a:pt x="13988" y="2946"/>
                  <a:pt x="14082" y="2985"/>
                  <a:pt x="14163" y="2985"/>
                </a:cubicBezTo>
                <a:cubicBezTo>
                  <a:pt x="14257" y="2985"/>
                  <a:pt x="14338" y="2852"/>
                  <a:pt x="14419" y="2836"/>
                </a:cubicBezTo>
                <a:cubicBezTo>
                  <a:pt x="14506" y="2836"/>
                  <a:pt x="14590" y="2880"/>
                  <a:pt x="14665" y="2880"/>
                </a:cubicBezTo>
                <a:cubicBezTo>
                  <a:pt x="14674" y="2880"/>
                  <a:pt x="14682" y="2879"/>
                  <a:pt x="14691" y="2878"/>
                </a:cubicBezTo>
                <a:cubicBezTo>
                  <a:pt x="14785" y="2878"/>
                  <a:pt x="14879" y="2917"/>
                  <a:pt x="14960" y="2917"/>
                </a:cubicBezTo>
                <a:cubicBezTo>
                  <a:pt x="15054" y="2904"/>
                  <a:pt x="15122" y="2823"/>
                  <a:pt x="15216" y="2823"/>
                </a:cubicBezTo>
                <a:cubicBezTo>
                  <a:pt x="15297" y="2810"/>
                  <a:pt x="15391" y="2810"/>
                  <a:pt x="15472" y="2810"/>
                </a:cubicBezTo>
                <a:cubicBezTo>
                  <a:pt x="15491" y="2807"/>
                  <a:pt x="15510" y="2806"/>
                  <a:pt x="15530" y="2806"/>
                </a:cubicBezTo>
                <a:cubicBezTo>
                  <a:pt x="15606" y="2806"/>
                  <a:pt x="15679" y="2823"/>
                  <a:pt x="15744" y="2823"/>
                </a:cubicBezTo>
                <a:cubicBezTo>
                  <a:pt x="15754" y="2822"/>
                  <a:pt x="15764" y="2821"/>
                  <a:pt x="15773" y="2821"/>
                </a:cubicBezTo>
                <a:cubicBezTo>
                  <a:pt x="15857" y="2821"/>
                  <a:pt x="15940" y="2865"/>
                  <a:pt x="16013" y="2865"/>
                </a:cubicBezTo>
                <a:cubicBezTo>
                  <a:pt x="16107" y="2852"/>
                  <a:pt x="16175" y="2755"/>
                  <a:pt x="16256" y="2742"/>
                </a:cubicBezTo>
                <a:cubicBezTo>
                  <a:pt x="16350" y="2729"/>
                  <a:pt x="16418" y="2674"/>
                  <a:pt x="16499" y="2661"/>
                </a:cubicBezTo>
                <a:cubicBezTo>
                  <a:pt x="16525" y="2654"/>
                  <a:pt x="16551" y="2651"/>
                  <a:pt x="16576" y="2651"/>
                </a:cubicBezTo>
                <a:cubicBezTo>
                  <a:pt x="16618" y="2651"/>
                  <a:pt x="16659" y="2657"/>
                  <a:pt x="16698" y="2657"/>
                </a:cubicBezTo>
                <a:cubicBezTo>
                  <a:pt x="16722" y="2657"/>
                  <a:pt x="16745" y="2655"/>
                  <a:pt x="16768" y="2648"/>
                </a:cubicBezTo>
                <a:cubicBezTo>
                  <a:pt x="16816" y="2635"/>
                  <a:pt x="16871" y="2635"/>
                  <a:pt x="16920" y="2635"/>
                </a:cubicBezTo>
                <a:cubicBezTo>
                  <a:pt x="16969" y="2635"/>
                  <a:pt x="17012" y="2635"/>
                  <a:pt x="17040" y="2622"/>
                </a:cubicBezTo>
                <a:cubicBezTo>
                  <a:pt x="17147" y="2567"/>
                  <a:pt x="17254" y="2473"/>
                  <a:pt x="17254" y="2418"/>
                </a:cubicBezTo>
                <a:cubicBezTo>
                  <a:pt x="17254" y="2379"/>
                  <a:pt x="17147" y="2285"/>
                  <a:pt x="17053" y="2243"/>
                </a:cubicBezTo>
                <a:cubicBezTo>
                  <a:pt x="16985" y="2217"/>
                  <a:pt x="16904" y="2175"/>
                  <a:pt x="16810" y="2149"/>
                </a:cubicBezTo>
                <a:cubicBezTo>
                  <a:pt x="16796" y="2144"/>
                  <a:pt x="16780" y="2142"/>
                  <a:pt x="16762" y="2142"/>
                </a:cubicBezTo>
                <a:cubicBezTo>
                  <a:pt x="16704" y="2142"/>
                  <a:pt x="16630" y="2164"/>
                  <a:pt x="16570" y="2164"/>
                </a:cubicBezTo>
                <a:cubicBezTo>
                  <a:pt x="16560" y="2164"/>
                  <a:pt x="16550" y="2163"/>
                  <a:pt x="16541" y="2162"/>
                </a:cubicBezTo>
                <a:cubicBezTo>
                  <a:pt x="16460" y="2149"/>
                  <a:pt x="16379" y="2136"/>
                  <a:pt x="16298" y="2123"/>
                </a:cubicBezTo>
                <a:cubicBezTo>
                  <a:pt x="16217" y="2107"/>
                  <a:pt x="16136" y="2068"/>
                  <a:pt x="16055" y="2055"/>
                </a:cubicBezTo>
                <a:cubicBezTo>
                  <a:pt x="16046" y="2054"/>
                  <a:pt x="16036" y="2053"/>
                  <a:pt x="16027" y="2053"/>
                </a:cubicBezTo>
                <a:cubicBezTo>
                  <a:pt x="15962" y="2053"/>
                  <a:pt x="15888" y="2083"/>
                  <a:pt x="15815" y="2083"/>
                </a:cubicBezTo>
                <a:cubicBezTo>
                  <a:pt x="15804" y="2083"/>
                  <a:pt x="15793" y="2082"/>
                  <a:pt x="15783" y="2081"/>
                </a:cubicBezTo>
                <a:cubicBezTo>
                  <a:pt x="15702" y="2081"/>
                  <a:pt x="15634" y="1987"/>
                  <a:pt x="15553" y="1974"/>
                </a:cubicBezTo>
                <a:lnTo>
                  <a:pt x="15216" y="1974"/>
                </a:lnTo>
                <a:cubicBezTo>
                  <a:pt x="15310" y="1932"/>
                  <a:pt x="15459" y="1906"/>
                  <a:pt x="15514" y="1864"/>
                </a:cubicBezTo>
                <a:cubicBezTo>
                  <a:pt x="15608" y="1812"/>
                  <a:pt x="15731" y="1770"/>
                  <a:pt x="15731" y="1718"/>
                </a:cubicBezTo>
                <a:cubicBezTo>
                  <a:pt x="15731" y="1663"/>
                  <a:pt x="15553" y="1663"/>
                  <a:pt x="15472" y="1608"/>
                </a:cubicBezTo>
                <a:cubicBezTo>
                  <a:pt x="15407" y="1569"/>
                  <a:pt x="15378" y="1501"/>
                  <a:pt x="15284" y="1475"/>
                </a:cubicBezTo>
                <a:cubicBezTo>
                  <a:pt x="15216" y="1446"/>
                  <a:pt x="15177" y="1326"/>
                  <a:pt x="15083" y="1297"/>
                </a:cubicBezTo>
                <a:cubicBezTo>
                  <a:pt x="15074" y="1295"/>
                  <a:pt x="15063" y="1294"/>
                  <a:pt x="15052" y="1294"/>
                </a:cubicBezTo>
                <a:cubicBezTo>
                  <a:pt x="14993" y="1294"/>
                  <a:pt x="14911" y="1316"/>
                  <a:pt x="14838" y="1316"/>
                </a:cubicBezTo>
                <a:cubicBezTo>
                  <a:pt x="14824" y="1316"/>
                  <a:pt x="14811" y="1315"/>
                  <a:pt x="14798" y="1313"/>
                </a:cubicBezTo>
                <a:cubicBezTo>
                  <a:pt x="14717" y="1297"/>
                  <a:pt x="14623" y="1284"/>
                  <a:pt x="14529" y="1271"/>
                </a:cubicBezTo>
                <a:cubicBezTo>
                  <a:pt x="14448" y="1258"/>
                  <a:pt x="14380" y="1177"/>
                  <a:pt x="14286" y="1164"/>
                </a:cubicBezTo>
                <a:cubicBezTo>
                  <a:pt x="14280" y="1163"/>
                  <a:pt x="14274" y="1163"/>
                  <a:pt x="14267" y="1163"/>
                </a:cubicBezTo>
                <a:cubicBezTo>
                  <a:pt x="14195" y="1163"/>
                  <a:pt x="14097" y="1218"/>
                  <a:pt x="14024" y="1218"/>
                </a:cubicBezTo>
                <a:cubicBezTo>
                  <a:pt x="14016" y="1218"/>
                  <a:pt x="14008" y="1217"/>
                  <a:pt x="14001" y="1216"/>
                </a:cubicBezTo>
                <a:cubicBezTo>
                  <a:pt x="13907" y="1203"/>
                  <a:pt x="13839" y="1096"/>
                  <a:pt x="13745" y="1096"/>
                </a:cubicBezTo>
                <a:cubicBezTo>
                  <a:pt x="13736" y="1094"/>
                  <a:pt x="13726" y="1094"/>
                  <a:pt x="13716" y="1094"/>
                </a:cubicBezTo>
                <a:cubicBezTo>
                  <a:pt x="13650" y="1094"/>
                  <a:pt x="13570" y="1124"/>
                  <a:pt x="13495" y="1124"/>
                </a:cubicBezTo>
                <a:cubicBezTo>
                  <a:pt x="13484" y="1124"/>
                  <a:pt x="13473" y="1123"/>
                  <a:pt x="13463" y="1122"/>
                </a:cubicBezTo>
                <a:cubicBezTo>
                  <a:pt x="13382" y="1122"/>
                  <a:pt x="13301" y="1054"/>
                  <a:pt x="13204" y="1041"/>
                </a:cubicBezTo>
                <a:cubicBezTo>
                  <a:pt x="13114" y="1041"/>
                  <a:pt x="13024" y="1165"/>
                  <a:pt x="12935" y="1165"/>
                </a:cubicBezTo>
                <a:cubicBezTo>
                  <a:pt x="12930" y="1165"/>
                  <a:pt x="12926" y="1165"/>
                  <a:pt x="12922" y="1164"/>
                </a:cubicBezTo>
                <a:cubicBezTo>
                  <a:pt x="12828" y="1164"/>
                  <a:pt x="12747" y="1096"/>
                  <a:pt x="12653" y="1096"/>
                </a:cubicBezTo>
                <a:cubicBezTo>
                  <a:pt x="12572" y="1096"/>
                  <a:pt x="12475" y="1054"/>
                  <a:pt x="12381" y="1054"/>
                </a:cubicBezTo>
                <a:cubicBezTo>
                  <a:pt x="12300" y="1054"/>
                  <a:pt x="12206" y="1041"/>
                  <a:pt x="12112" y="1041"/>
                </a:cubicBezTo>
                <a:cubicBezTo>
                  <a:pt x="12031" y="1041"/>
                  <a:pt x="11937" y="1135"/>
                  <a:pt x="11843" y="1135"/>
                </a:cubicBezTo>
                <a:cubicBezTo>
                  <a:pt x="11746" y="1122"/>
                  <a:pt x="11665" y="1122"/>
                  <a:pt x="11571" y="1122"/>
                </a:cubicBezTo>
                <a:cubicBezTo>
                  <a:pt x="11477" y="1122"/>
                  <a:pt x="11409" y="1054"/>
                  <a:pt x="11328" y="1054"/>
                </a:cubicBezTo>
                <a:cubicBezTo>
                  <a:pt x="11358" y="1044"/>
                  <a:pt x="11389" y="1042"/>
                  <a:pt x="11420" y="1042"/>
                </a:cubicBezTo>
                <a:cubicBezTo>
                  <a:pt x="11454" y="1042"/>
                  <a:pt x="11487" y="1045"/>
                  <a:pt x="11515" y="1045"/>
                </a:cubicBezTo>
                <a:cubicBezTo>
                  <a:pt x="11531" y="1045"/>
                  <a:pt x="11545" y="1044"/>
                  <a:pt x="11558" y="1041"/>
                </a:cubicBezTo>
                <a:cubicBezTo>
                  <a:pt x="11652" y="1002"/>
                  <a:pt x="11733" y="960"/>
                  <a:pt x="11788" y="934"/>
                </a:cubicBezTo>
                <a:cubicBezTo>
                  <a:pt x="11869" y="879"/>
                  <a:pt x="11788" y="785"/>
                  <a:pt x="11788" y="730"/>
                </a:cubicBezTo>
                <a:cubicBezTo>
                  <a:pt x="11788" y="678"/>
                  <a:pt x="11746" y="678"/>
                  <a:pt x="11652" y="623"/>
                </a:cubicBezTo>
                <a:cubicBezTo>
                  <a:pt x="11600" y="597"/>
                  <a:pt x="11571" y="516"/>
                  <a:pt x="11477" y="474"/>
                </a:cubicBezTo>
                <a:cubicBezTo>
                  <a:pt x="11456" y="467"/>
                  <a:pt x="11433" y="465"/>
                  <a:pt x="11409" y="465"/>
                </a:cubicBezTo>
                <a:cubicBezTo>
                  <a:pt x="11355" y="465"/>
                  <a:pt x="11295" y="477"/>
                  <a:pt x="11238" y="477"/>
                </a:cubicBezTo>
                <a:cubicBezTo>
                  <a:pt x="11223" y="477"/>
                  <a:pt x="11209" y="476"/>
                  <a:pt x="11195" y="474"/>
                </a:cubicBezTo>
                <a:cubicBezTo>
                  <a:pt x="11114" y="448"/>
                  <a:pt x="11059" y="354"/>
                  <a:pt x="10978" y="341"/>
                </a:cubicBezTo>
                <a:cubicBezTo>
                  <a:pt x="10943" y="330"/>
                  <a:pt x="10907" y="327"/>
                  <a:pt x="10872" y="327"/>
                </a:cubicBezTo>
                <a:cubicBezTo>
                  <a:pt x="10837" y="327"/>
                  <a:pt x="10801" y="330"/>
                  <a:pt x="10765" y="330"/>
                </a:cubicBezTo>
                <a:cubicBezTo>
                  <a:pt x="10741" y="330"/>
                  <a:pt x="10717" y="329"/>
                  <a:pt x="10693" y="325"/>
                </a:cubicBezTo>
                <a:cubicBezTo>
                  <a:pt x="10652" y="318"/>
                  <a:pt x="10608" y="318"/>
                  <a:pt x="10563" y="318"/>
                </a:cubicBezTo>
                <a:cubicBezTo>
                  <a:pt x="10518" y="318"/>
                  <a:pt x="10471" y="318"/>
                  <a:pt x="10424" y="312"/>
                </a:cubicBezTo>
                <a:cubicBezTo>
                  <a:pt x="10343" y="299"/>
                  <a:pt x="10262" y="260"/>
                  <a:pt x="10168" y="244"/>
                </a:cubicBezTo>
                <a:cubicBezTo>
                  <a:pt x="10074" y="231"/>
                  <a:pt x="9993" y="218"/>
                  <a:pt x="9899" y="205"/>
                </a:cubicBezTo>
                <a:cubicBezTo>
                  <a:pt x="9818" y="192"/>
                  <a:pt x="9737" y="98"/>
                  <a:pt x="9640" y="82"/>
                </a:cubicBezTo>
                <a:cubicBezTo>
                  <a:pt x="9573" y="82"/>
                  <a:pt x="9498" y="101"/>
                  <a:pt x="9422" y="101"/>
                </a:cubicBezTo>
                <a:cubicBezTo>
                  <a:pt x="9405" y="101"/>
                  <a:pt x="9388" y="100"/>
                  <a:pt x="9371" y="98"/>
                </a:cubicBezTo>
                <a:cubicBezTo>
                  <a:pt x="9277" y="98"/>
                  <a:pt x="9196" y="82"/>
                  <a:pt x="9102" y="69"/>
                </a:cubicBezTo>
                <a:cubicBezTo>
                  <a:pt x="9008" y="69"/>
                  <a:pt x="8911" y="137"/>
                  <a:pt x="8817" y="137"/>
                </a:cubicBezTo>
                <a:cubicBezTo>
                  <a:pt x="8723" y="137"/>
                  <a:pt x="8642" y="30"/>
                  <a:pt x="8561" y="30"/>
                </a:cubicBezTo>
                <a:cubicBezTo>
                  <a:pt x="8467" y="30"/>
                  <a:pt x="8373" y="124"/>
                  <a:pt x="8279" y="124"/>
                </a:cubicBezTo>
                <a:lnTo>
                  <a:pt x="8007" y="124"/>
                </a:lnTo>
                <a:cubicBezTo>
                  <a:pt x="7913" y="111"/>
                  <a:pt x="7832" y="69"/>
                  <a:pt x="7738" y="69"/>
                </a:cubicBezTo>
                <a:cubicBezTo>
                  <a:pt x="7644" y="69"/>
                  <a:pt x="7550" y="150"/>
                  <a:pt x="7469" y="150"/>
                </a:cubicBezTo>
                <a:cubicBezTo>
                  <a:pt x="7372" y="150"/>
                  <a:pt x="7278" y="1"/>
                  <a:pt x="7184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9" name="Google Shape;379;p11"/>
          <p:cNvSpPr/>
          <p:nvPr/>
        </p:nvSpPr>
        <p:spPr>
          <a:xfrm>
            <a:off x="7973186" y="5337991"/>
            <a:ext cx="2634596" cy="409112"/>
          </a:xfrm>
          <a:custGeom>
            <a:avLst/>
            <a:gdLst/>
            <a:ahLst/>
            <a:cxnLst/>
            <a:rect l="l" t="t" r="r" b="b"/>
            <a:pathLst>
              <a:path w="10651" h="2188" extrusionOk="0">
                <a:moveTo>
                  <a:pt x="7615" y="0"/>
                </a:moveTo>
                <a:cubicBezTo>
                  <a:pt x="7560" y="0"/>
                  <a:pt x="7492" y="39"/>
                  <a:pt x="7440" y="39"/>
                </a:cubicBezTo>
                <a:lnTo>
                  <a:pt x="7265" y="39"/>
                </a:lnTo>
                <a:cubicBezTo>
                  <a:pt x="7210" y="39"/>
                  <a:pt x="7155" y="65"/>
                  <a:pt x="7103" y="81"/>
                </a:cubicBezTo>
                <a:cubicBezTo>
                  <a:pt x="7048" y="81"/>
                  <a:pt x="6980" y="65"/>
                  <a:pt x="6925" y="65"/>
                </a:cubicBezTo>
                <a:cubicBezTo>
                  <a:pt x="6880" y="65"/>
                  <a:pt x="6833" y="36"/>
                  <a:pt x="6778" y="36"/>
                </a:cubicBezTo>
                <a:cubicBezTo>
                  <a:pt x="6769" y="36"/>
                  <a:pt x="6759" y="37"/>
                  <a:pt x="6750" y="39"/>
                </a:cubicBezTo>
                <a:cubicBezTo>
                  <a:pt x="6698" y="39"/>
                  <a:pt x="6643" y="107"/>
                  <a:pt x="6588" y="107"/>
                </a:cubicBezTo>
                <a:cubicBezTo>
                  <a:pt x="6582" y="108"/>
                  <a:pt x="6577" y="109"/>
                  <a:pt x="6571" y="109"/>
                </a:cubicBezTo>
                <a:cubicBezTo>
                  <a:pt x="6524" y="109"/>
                  <a:pt x="6474" y="65"/>
                  <a:pt x="6413" y="65"/>
                </a:cubicBezTo>
                <a:cubicBezTo>
                  <a:pt x="6358" y="65"/>
                  <a:pt x="6306" y="133"/>
                  <a:pt x="6251" y="133"/>
                </a:cubicBezTo>
                <a:cubicBezTo>
                  <a:pt x="6202" y="133"/>
                  <a:pt x="6145" y="92"/>
                  <a:pt x="6094" y="92"/>
                </a:cubicBezTo>
                <a:cubicBezTo>
                  <a:pt x="6088" y="92"/>
                  <a:pt x="6082" y="93"/>
                  <a:pt x="6076" y="94"/>
                </a:cubicBezTo>
                <a:cubicBezTo>
                  <a:pt x="6021" y="94"/>
                  <a:pt x="5969" y="175"/>
                  <a:pt x="5914" y="188"/>
                </a:cubicBezTo>
                <a:cubicBezTo>
                  <a:pt x="5868" y="188"/>
                  <a:pt x="5812" y="158"/>
                  <a:pt x="5765" y="158"/>
                </a:cubicBezTo>
                <a:cubicBezTo>
                  <a:pt x="5756" y="158"/>
                  <a:pt x="5747" y="159"/>
                  <a:pt x="5739" y="162"/>
                </a:cubicBezTo>
                <a:cubicBezTo>
                  <a:pt x="5684" y="162"/>
                  <a:pt x="5629" y="188"/>
                  <a:pt x="5577" y="201"/>
                </a:cubicBezTo>
                <a:cubicBezTo>
                  <a:pt x="5522" y="201"/>
                  <a:pt x="5467" y="214"/>
                  <a:pt x="5415" y="214"/>
                </a:cubicBezTo>
                <a:cubicBezTo>
                  <a:pt x="5405" y="216"/>
                  <a:pt x="5395" y="217"/>
                  <a:pt x="5386" y="217"/>
                </a:cubicBezTo>
                <a:cubicBezTo>
                  <a:pt x="5328" y="217"/>
                  <a:pt x="5271" y="188"/>
                  <a:pt x="5224" y="188"/>
                </a:cubicBezTo>
                <a:cubicBezTo>
                  <a:pt x="5172" y="201"/>
                  <a:pt x="5130" y="256"/>
                  <a:pt x="5078" y="269"/>
                </a:cubicBezTo>
                <a:cubicBezTo>
                  <a:pt x="5023" y="269"/>
                  <a:pt x="4955" y="243"/>
                  <a:pt x="4900" y="243"/>
                </a:cubicBezTo>
                <a:cubicBezTo>
                  <a:pt x="4835" y="256"/>
                  <a:pt x="4780" y="269"/>
                  <a:pt x="4725" y="282"/>
                </a:cubicBezTo>
                <a:lnTo>
                  <a:pt x="4563" y="282"/>
                </a:lnTo>
                <a:cubicBezTo>
                  <a:pt x="4495" y="295"/>
                  <a:pt x="4469" y="363"/>
                  <a:pt x="4414" y="376"/>
                </a:cubicBezTo>
                <a:cubicBezTo>
                  <a:pt x="4349" y="376"/>
                  <a:pt x="4294" y="389"/>
                  <a:pt x="4239" y="405"/>
                </a:cubicBezTo>
                <a:cubicBezTo>
                  <a:pt x="4187" y="418"/>
                  <a:pt x="4145" y="444"/>
                  <a:pt x="4090" y="457"/>
                </a:cubicBezTo>
                <a:cubicBezTo>
                  <a:pt x="4038" y="470"/>
                  <a:pt x="3970" y="470"/>
                  <a:pt x="3928" y="486"/>
                </a:cubicBezTo>
                <a:cubicBezTo>
                  <a:pt x="3863" y="499"/>
                  <a:pt x="3808" y="499"/>
                  <a:pt x="3753" y="512"/>
                </a:cubicBezTo>
                <a:cubicBezTo>
                  <a:pt x="3701" y="525"/>
                  <a:pt x="3672" y="580"/>
                  <a:pt x="3633" y="593"/>
                </a:cubicBezTo>
                <a:cubicBezTo>
                  <a:pt x="3599" y="606"/>
                  <a:pt x="3565" y="606"/>
                  <a:pt x="3534" y="606"/>
                </a:cubicBezTo>
                <a:cubicBezTo>
                  <a:pt x="3504" y="606"/>
                  <a:pt x="3477" y="606"/>
                  <a:pt x="3458" y="619"/>
                </a:cubicBezTo>
                <a:cubicBezTo>
                  <a:pt x="3390" y="648"/>
                  <a:pt x="3390" y="687"/>
                  <a:pt x="3348" y="713"/>
                </a:cubicBezTo>
                <a:cubicBezTo>
                  <a:pt x="3296" y="742"/>
                  <a:pt x="3267" y="742"/>
                  <a:pt x="3280" y="781"/>
                </a:cubicBezTo>
                <a:cubicBezTo>
                  <a:pt x="3280" y="810"/>
                  <a:pt x="3241" y="862"/>
                  <a:pt x="3296" y="875"/>
                </a:cubicBezTo>
                <a:cubicBezTo>
                  <a:pt x="3322" y="891"/>
                  <a:pt x="3390" y="917"/>
                  <a:pt x="3442" y="917"/>
                </a:cubicBezTo>
                <a:cubicBezTo>
                  <a:pt x="3451" y="920"/>
                  <a:pt x="3460" y="921"/>
                  <a:pt x="3470" y="921"/>
                </a:cubicBezTo>
                <a:cubicBezTo>
                  <a:pt x="3497" y="921"/>
                  <a:pt x="3527" y="913"/>
                  <a:pt x="3558" y="913"/>
                </a:cubicBezTo>
                <a:cubicBezTo>
                  <a:pt x="3569" y="913"/>
                  <a:pt x="3580" y="914"/>
                  <a:pt x="3591" y="917"/>
                </a:cubicBezTo>
                <a:cubicBezTo>
                  <a:pt x="3539" y="917"/>
                  <a:pt x="3497" y="956"/>
                  <a:pt x="3442" y="972"/>
                </a:cubicBezTo>
                <a:cubicBezTo>
                  <a:pt x="3377" y="972"/>
                  <a:pt x="3322" y="985"/>
                  <a:pt x="3267" y="985"/>
                </a:cubicBezTo>
                <a:cubicBezTo>
                  <a:pt x="3260" y="987"/>
                  <a:pt x="3253" y="987"/>
                  <a:pt x="3245" y="987"/>
                </a:cubicBezTo>
                <a:cubicBezTo>
                  <a:pt x="3197" y="987"/>
                  <a:pt x="3139" y="956"/>
                  <a:pt x="3092" y="956"/>
                </a:cubicBezTo>
                <a:cubicBezTo>
                  <a:pt x="3037" y="972"/>
                  <a:pt x="2985" y="972"/>
                  <a:pt x="2930" y="985"/>
                </a:cubicBezTo>
                <a:cubicBezTo>
                  <a:pt x="2875" y="998"/>
                  <a:pt x="2823" y="1011"/>
                  <a:pt x="2768" y="1024"/>
                </a:cubicBezTo>
                <a:cubicBezTo>
                  <a:pt x="2713" y="1037"/>
                  <a:pt x="2661" y="1079"/>
                  <a:pt x="2606" y="1079"/>
                </a:cubicBezTo>
                <a:cubicBezTo>
                  <a:pt x="2601" y="1080"/>
                  <a:pt x="2596" y="1081"/>
                  <a:pt x="2591" y="1081"/>
                </a:cubicBezTo>
                <a:cubicBezTo>
                  <a:pt x="2542" y="1081"/>
                  <a:pt x="2479" y="1035"/>
                  <a:pt x="2432" y="1035"/>
                </a:cubicBezTo>
                <a:cubicBezTo>
                  <a:pt x="2427" y="1035"/>
                  <a:pt x="2422" y="1036"/>
                  <a:pt x="2418" y="1037"/>
                </a:cubicBezTo>
                <a:cubicBezTo>
                  <a:pt x="2363" y="1037"/>
                  <a:pt x="2324" y="1079"/>
                  <a:pt x="2269" y="1092"/>
                </a:cubicBezTo>
                <a:cubicBezTo>
                  <a:pt x="2254" y="1095"/>
                  <a:pt x="2240" y="1096"/>
                  <a:pt x="2226" y="1096"/>
                </a:cubicBezTo>
                <a:cubicBezTo>
                  <a:pt x="2187" y="1096"/>
                  <a:pt x="2149" y="1088"/>
                  <a:pt x="2116" y="1088"/>
                </a:cubicBezTo>
                <a:cubicBezTo>
                  <a:pt x="2103" y="1088"/>
                  <a:pt x="2092" y="1089"/>
                  <a:pt x="2081" y="1092"/>
                </a:cubicBezTo>
                <a:cubicBezTo>
                  <a:pt x="2026" y="1105"/>
                  <a:pt x="2000" y="1160"/>
                  <a:pt x="1945" y="1173"/>
                </a:cubicBezTo>
                <a:cubicBezTo>
                  <a:pt x="1933" y="1176"/>
                  <a:pt x="1920" y="1177"/>
                  <a:pt x="1907" y="1177"/>
                </a:cubicBezTo>
                <a:cubicBezTo>
                  <a:pt x="1870" y="1177"/>
                  <a:pt x="1829" y="1169"/>
                  <a:pt x="1793" y="1169"/>
                </a:cubicBezTo>
                <a:cubicBezTo>
                  <a:pt x="1780" y="1169"/>
                  <a:pt x="1768" y="1170"/>
                  <a:pt x="1757" y="1173"/>
                </a:cubicBezTo>
                <a:cubicBezTo>
                  <a:pt x="1702" y="1186"/>
                  <a:pt x="1660" y="1228"/>
                  <a:pt x="1608" y="1241"/>
                </a:cubicBezTo>
                <a:cubicBezTo>
                  <a:pt x="1553" y="1254"/>
                  <a:pt x="1498" y="1267"/>
                  <a:pt x="1446" y="1280"/>
                </a:cubicBezTo>
                <a:cubicBezTo>
                  <a:pt x="1418" y="1288"/>
                  <a:pt x="1388" y="1288"/>
                  <a:pt x="1357" y="1288"/>
                </a:cubicBezTo>
                <a:cubicBezTo>
                  <a:pt x="1327" y="1288"/>
                  <a:pt x="1297" y="1288"/>
                  <a:pt x="1271" y="1296"/>
                </a:cubicBezTo>
                <a:cubicBezTo>
                  <a:pt x="1216" y="1309"/>
                  <a:pt x="1203" y="1377"/>
                  <a:pt x="1161" y="1403"/>
                </a:cubicBezTo>
                <a:cubicBezTo>
                  <a:pt x="1109" y="1416"/>
                  <a:pt x="1093" y="1458"/>
                  <a:pt x="1054" y="1484"/>
                </a:cubicBezTo>
                <a:cubicBezTo>
                  <a:pt x="999" y="1510"/>
                  <a:pt x="892" y="1523"/>
                  <a:pt x="905" y="1552"/>
                </a:cubicBezTo>
                <a:cubicBezTo>
                  <a:pt x="905" y="1591"/>
                  <a:pt x="986" y="1604"/>
                  <a:pt x="1054" y="1620"/>
                </a:cubicBezTo>
                <a:cubicBezTo>
                  <a:pt x="1093" y="1633"/>
                  <a:pt x="1174" y="1646"/>
                  <a:pt x="1242" y="1659"/>
                </a:cubicBezTo>
                <a:cubicBezTo>
                  <a:pt x="1190" y="1672"/>
                  <a:pt x="1080" y="1672"/>
                  <a:pt x="1041" y="1685"/>
                </a:cubicBezTo>
                <a:cubicBezTo>
                  <a:pt x="986" y="1701"/>
                  <a:pt x="947" y="1753"/>
                  <a:pt x="892" y="1753"/>
                </a:cubicBezTo>
                <a:cubicBezTo>
                  <a:pt x="873" y="1757"/>
                  <a:pt x="855" y="1759"/>
                  <a:pt x="838" y="1759"/>
                </a:cubicBezTo>
                <a:cubicBezTo>
                  <a:pt x="802" y="1759"/>
                  <a:pt x="767" y="1753"/>
                  <a:pt x="730" y="1753"/>
                </a:cubicBezTo>
                <a:cubicBezTo>
                  <a:pt x="675" y="1766"/>
                  <a:pt x="636" y="1795"/>
                  <a:pt x="581" y="1808"/>
                </a:cubicBezTo>
                <a:cubicBezTo>
                  <a:pt x="526" y="1821"/>
                  <a:pt x="487" y="1834"/>
                  <a:pt x="432" y="1847"/>
                </a:cubicBezTo>
                <a:cubicBezTo>
                  <a:pt x="406" y="1855"/>
                  <a:pt x="376" y="1855"/>
                  <a:pt x="345" y="1855"/>
                </a:cubicBezTo>
                <a:cubicBezTo>
                  <a:pt x="315" y="1855"/>
                  <a:pt x="284" y="1855"/>
                  <a:pt x="257" y="1863"/>
                </a:cubicBezTo>
                <a:cubicBezTo>
                  <a:pt x="202" y="1876"/>
                  <a:pt x="163" y="1902"/>
                  <a:pt x="121" y="1928"/>
                </a:cubicBezTo>
                <a:cubicBezTo>
                  <a:pt x="69" y="1957"/>
                  <a:pt x="1" y="2009"/>
                  <a:pt x="14" y="2038"/>
                </a:cubicBezTo>
                <a:cubicBezTo>
                  <a:pt x="14" y="2064"/>
                  <a:pt x="95" y="2106"/>
                  <a:pt x="150" y="2119"/>
                </a:cubicBezTo>
                <a:cubicBezTo>
                  <a:pt x="163" y="2123"/>
                  <a:pt x="180" y="2125"/>
                  <a:pt x="200" y="2125"/>
                </a:cubicBezTo>
                <a:cubicBezTo>
                  <a:pt x="240" y="2125"/>
                  <a:pt x="288" y="2119"/>
                  <a:pt x="325" y="2119"/>
                </a:cubicBezTo>
                <a:cubicBezTo>
                  <a:pt x="336" y="2122"/>
                  <a:pt x="347" y="2123"/>
                  <a:pt x="358" y="2123"/>
                </a:cubicBezTo>
                <a:cubicBezTo>
                  <a:pt x="401" y="2123"/>
                  <a:pt x="445" y="2106"/>
                  <a:pt x="500" y="2106"/>
                </a:cubicBezTo>
                <a:cubicBezTo>
                  <a:pt x="542" y="2119"/>
                  <a:pt x="594" y="2145"/>
                  <a:pt x="649" y="2145"/>
                </a:cubicBezTo>
                <a:cubicBezTo>
                  <a:pt x="704" y="2145"/>
                  <a:pt x="756" y="2187"/>
                  <a:pt x="811" y="2187"/>
                </a:cubicBezTo>
                <a:cubicBezTo>
                  <a:pt x="866" y="2187"/>
                  <a:pt x="918" y="2145"/>
                  <a:pt x="973" y="2145"/>
                </a:cubicBezTo>
                <a:cubicBezTo>
                  <a:pt x="1028" y="2145"/>
                  <a:pt x="1080" y="2132"/>
                  <a:pt x="1148" y="2132"/>
                </a:cubicBezTo>
                <a:cubicBezTo>
                  <a:pt x="1203" y="2119"/>
                  <a:pt x="1255" y="2119"/>
                  <a:pt x="1310" y="2119"/>
                </a:cubicBezTo>
                <a:cubicBezTo>
                  <a:pt x="1318" y="2117"/>
                  <a:pt x="1325" y="2116"/>
                  <a:pt x="1333" y="2116"/>
                </a:cubicBezTo>
                <a:cubicBezTo>
                  <a:pt x="1380" y="2116"/>
                  <a:pt x="1425" y="2145"/>
                  <a:pt x="1472" y="2145"/>
                </a:cubicBezTo>
                <a:cubicBezTo>
                  <a:pt x="1527" y="2145"/>
                  <a:pt x="1579" y="2119"/>
                  <a:pt x="1634" y="2119"/>
                </a:cubicBezTo>
                <a:cubicBezTo>
                  <a:pt x="1689" y="2106"/>
                  <a:pt x="1741" y="2077"/>
                  <a:pt x="1796" y="2077"/>
                </a:cubicBezTo>
                <a:cubicBezTo>
                  <a:pt x="1846" y="2077"/>
                  <a:pt x="1907" y="2134"/>
                  <a:pt x="1957" y="2134"/>
                </a:cubicBezTo>
                <a:cubicBezTo>
                  <a:pt x="1962" y="2134"/>
                  <a:pt x="1966" y="2133"/>
                  <a:pt x="1971" y="2132"/>
                </a:cubicBezTo>
                <a:cubicBezTo>
                  <a:pt x="2026" y="2132"/>
                  <a:pt x="2081" y="2106"/>
                  <a:pt x="2133" y="2090"/>
                </a:cubicBezTo>
                <a:cubicBezTo>
                  <a:pt x="2188" y="2090"/>
                  <a:pt x="2243" y="2064"/>
                  <a:pt x="2295" y="2051"/>
                </a:cubicBezTo>
                <a:cubicBezTo>
                  <a:pt x="2339" y="2051"/>
                  <a:pt x="2383" y="2068"/>
                  <a:pt x="2425" y="2068"/>
                </a:cubicBezTo>
                <a:cubicBezTo>
                  <a:pt x="2436" y="2068"/>
                  <a:pt x="2446" y="2067"/>
                  <a:pt x="2457" y="2064"/>
                </a:cubicBezTo>
                <a:cubicBezTo>
                  <a:pt x="2512" y="2064"/>
                  <a:pt x="2567" y="2038"/>
                  <a:pt x="2619" y="2025"/>
                </a:cubicBezTo>
                <a:cubicBezTo>
                  <a:pt x="2674" y="2025"/>
                  <a:pt x="2713" y="1970"/>
                  <a:pt x="2768" y="1970"/>
                </a:cubicBezTo>
                <a:cubicBezTo>
                  <a:pt x="2773" y="1969"/>
                  <a:pt x="2778" y="1968"/>
                  <a:pt x="2783" y="1968"/>
                </a:cubicBezTo>
                <a:cubicBezTo>
                  <a:pt x="2830" y="1968"/>
                  <a:pt x="2892" y="2011"/>
                  <a:pt x="2938" y="2011"/>
                </a:cubicBezTo>
                <a:cubicBezTo>
                  <a:pt x="2944" y="2011"/>
                  <a:pt x="2950" y="2011"/>
                  <a:pt x="2956" y="2009"/>
                </a:cubicBezTo>
                <a:cubicBezTo>
                  <a:pt x="3011" y="1996"/>
                  <a:pt x="3053" y="1970"/>
                  <a:pt x="3105" y="1957"/>
                </a:cubicBezTo>
                <a:cubicBezTo>
                  <a:pt x="3160" y="1944"/>
                  <a:pt x="3199" y="1889"/>
                  <a:pt x="3254" y="1889"/>
                </a:cubicBezTo>
                <a:cubicBezTo>
                  <a:pt x="3265" y="1886"/>
                  <a:pt x="3278" y="1885"/>
                  <a:pt x="3290" y="1885"/>
                </a:cubicBezTo>
                <a:cubicBezTo>
                  <a:pt x="3324" y="1885"/>
                  <a:pt x="3361" y="1893"/>
                  <a:pt x="3394" y="1893"/>
                </a:cubicBezTo>
                <a:cubicBezTo>
                  <a:pt x="3406" y="1893"/>
                  <a:pt x="3418" y="1892"/>
                  <a:pt x="3429" y="1889"/>
                </a:cubicBezTo>
                <a:cubicBezTo>
                  <a:pt x="3484" y="1889"/>
                  <a:pt x="3510" y="1821"/>
                  <a:pt x="3565" y="1808"/>
                </a:cubicBezTo>
                <a:cubicBezTo>
                  <a:pt x="3571" y="1806"/>
                  <a:pt x="3578" y="1806"/>
                  <a:pt x="3584" y="1806"/>
                </a:cubicBezTo>
                <a:cubicBezTo>
                  <a:pt x="3631" y="1806"/>
                  <a:pt x="3689" y="1836"/>
                  <a:pt x="3734" y="1836"/>
                </a:cubicBezTo>
                <a:cubicBezTo>
                  <a:pt x="3741" y="1836"/>
                  <a:pt x="3747" y="1835"/>
                  <a:pt x="3753" y="1834"/>
                </a:cubicBezTo>
                <a:cubicBezTo>
                  <a:pt x="3808" y="1821"/>
                  <a:pt x="3847" y="1782"/>
                  <a:pt x="3902" y="1766"/>
                </a:cubicBezTo>
                <a:cubicBezTo>
                  <a:pt x="3957" y="1753"/>
                  <a:pt x="3996" y="1714"/>
                  <a:pt x="4025" y="1701"/>
                </a:cubicBezTo>
                <a:cubicBezTo>
                  <a:pt x="4090" y="1672"/>
                  <a:pt x="4051" y="1646"/>
                  <a:pt x="4051" y="1620"/>
                </a:cubicBezTo>
                <a:cubicBezTo>
                  <a:pt x="4051" y="1604"/>
                  <a:pt x="4077" y="1552"/>
                  <a:pt x="4064" y="1552"/>
                </a:cubicBezTo>
                <a:cubicBezTo>
                  <a:pt x="4070" y="1551"/>
                  <a:pt x="4076" y="1550"/>
                  <a:pt x="4083" y="1550"/>
                </a:cubicBezTo>
                <a:cubicBezTo>
                  <a:pt x="4140" y="1550"/>
                  <a:pt x="4203" y="1593"/>
                  <a:pt x="4252" y="1593"/>
                </a:cubicBezTo>
                <a:cubicBezTo>
                  <a:pt x="4258" y="1593"/>
                  <a:pt x="4263" y="1592"/>
                  <a:pt x="4268" y="1591"/>
                </a:cubicBezTo>
                <a:cubicBezTo>
                  <a:pt x="4333" y="1591"/>
                  <a:pt x="4375" y="1497"/>
                  <a:pt x="4430" y="1497"/>
                </a:cubicBezTo>
                <a:cubicBezTo>
                  <a:pt x="4435" y="1496"/>
                  <a:pt x="4441" y="1495"/>
                  <a:pt x="4447" y="1495"/>
                </a:cubicBezTo>
                <a:cubicBezTo>
                  <a:pt x="4489" y="1495"/>
                  <a:pt x="4538" y="1526"/>
                  <a:pt x="4583" y="1526"/>
                </a:cubicBezTo>
                <a:cubicBezTo>
                  <a:pt x="4590" y="1526"/>
                  <a:pt x="4598" y="1525"/>
                  <a:pt x="4605" y="1523"/>
                </a:cubicBezTo>
                <a:cubicBezTo>
                  <a:pt x="4639" y="1516"/>
                  <a:pt x="4666" y="1516"/>
                  <a:pt x="4691" y="1516"/>
                </a:cubicBezTo>
                <a:cubicBezTo>
                  <a:pt x="4716" y="1516"/>
                  <a:pt x="4739" y="1516"/>
                  <a:pt x="4767" y="1510"/>
                </a:cubicBezTo>
                <a:cubicBezTo>
                  <a:pt x="4767" y="1513"/>
                  <a:pt x="4767" y="1514"/>
                  <a:pt x="4768" y="1514"/>
                </a:cubicBezTo>
                <a:cubicBezTo>
                  <a:pt x="4771" y="1514"/>
                  <a:pt x="4776" y="1506"/>
                  <a:pt x="4778" y="1506"/>
                </a:cubicBezTo>
                <a:cubicBezTo>
                  <a:pt x="4779" y="1506"/>
                  <a:pt x="4780" y="1507"/>
                  <a:pt x="4780" y="1510"/>
                </a:cubicBezTo>
                <a:cubicBezTo>
                  <a:pt x="4780" y="1539"/>
                  <a:pt x="4848" y="1523"/>
                  <a:pt x="4916" y="1539"/>
                </a:cubicBezTo>
                <a:cubicBezTo>
                  <a:pt x="4955" y="1552"/>
                  <a:pt x="4997" y="1565"/>
                  <a:pt x="5049" y="1578"/>
                </a:cubicBezTo>
                <a:cubicBezTo>
                  <a:pt x="5104" y="1578"/>
                  <a:pt x="5143" y="1633"/>
                  <a:pt x="5211" y="1633"/>
                </a:cubicBezTo>
                <a:cubicBezTo>
                  <a:pt x="5229" y="1637"/>
                  <a:pt x="5247" y="1639"/>
                  <a:pt x="5266" y="1639"/>
                </a:cubicBezTo>
                <a:cubicBezTo>
                  <a:pt x="5302" y="1639"/>
                  <a:pt x="5338" y="1633"/>
                  <a:pt x="5373" y="1633"/>
                </a:cubicBezTo>
                <a:cubicBezTo>
                  <a:pt x="5384" y="1636"/>
                  <a:pt x="5395" y="1637"/>
                  <a:pt x="5407" y="1637"/>
                </a:cubicBezTo>
                <a:cubicBezTo>
                  <a:pt x="5454" y="1637"/>
                  <a:pt x="5506" y="1620"/>
                  <a:pt x="5548" y="1620"/>
                </a:cubicBezTo>
                <a:cubicBezTo>
                  <a:pt x="5603" y="1620"/>
                  <a:pt x="5658" y="1672"/>
                  <a:pt x="5726" y="1672"/>
                </a:cubicBezTo>
                <a:cubicBezTo>
                  <a:pt x="5778" y="1672"/>
                  <a:pt x="5833" y="1646"/>
                  <a:pt x="5901" y="1646"/>
                </a:cubicBezTo>
                <a:cubicBezTo>
                  <a:pt x="5953" y="1646"/>
                  <a:pt x="6008" y="1591"/>
                  <a:pt x="6076" y="1591"/>
                </a:cubicBezTo>
                <a:cubicBezTo>
                  <a:pt x="6131" y="1591"/>
                  <a:pt x="6183" y="1620"/>
                  <a:pt x="6251" y="1620"/>
                </a:cubicBezTo>
                <a:cubicBezTo>
                  <a:pt x="6306" y="1604"/>
                  <a:pt x="6358" y="1591"/>
                  <a:pt x="6413" y="1591"/>
                </a:cubicBezTo>
                <a:cubicBezTo>
                  <a:pt x="6449" y="1591"/>
                  <a:pt x="6473" y="1597"/>
                  <a:pt x="6501" y="1597"/>
                </a:cubicBezTo>
                <a:cubicBezTo>
                  <a:pt x="6515" y="1597"/>
                  <a:pt x="6530" y="1595"/>
                  <a:pt x="6549" y="1591"/>
                </a:cubicBezTo>
                <a:lnTo>
                  <a:pt x="6549" y="1591"/>
                </a:lnTo>
                <a:cubicBezTo>
                  <a:pt x="6507" y="1620"/>
                  <a:pt x="6507" y="1646"/>
                  <a:pt x="6507" y="1659"/>
                </a:cubicBezTo>
                <a:cubicBezTo>
                  <a:pt x="6520" y="1685"/>
                  <a:pt x="6588" y="1685"/>
                  <a:pt x="6643" y="1714"/>
                </a:cubicBezTo>
                <a:cubicBezTo>
                  <a:pt x="6682" y="1727"/>
                  <a:pt x="6737" y="1727"/>
                  <a:pt x="6792" y="1727"/>
                </a:cubicBezTo>
                <a:cubicBezTo>
                  <a:pt x="6844" y="1740"/>
                  <a:pt x="6873" y="1808"/>
                  <a:pt x="6925" y="1821"/>
                </a:cubicBezTo>
                <a:cubicBezTo>
                  <a:pt x="6980" y="1821"/>
                  <a:pt x="7048" y="1782"/>
                  <a:pt x="7103" y="1782"/>
                </a:cubicBezTo>
                <a:cubicBezTo>
                  <a:pt x="7155" y="1782"/>
                  <a:pt x="7210" y="1753"/>
                  <a:pt x="7278" y="1753"/>
                </a:cubicBezTo>
                <a:cubicBezTo>
                  <a:pt x="7330" y="1753"/>
                  <a:pt x="7372" y="1821"/>
                  <a:pt x="7427" y="1821"/>
                </a:cubicBezTo>
                <a:cubicBezTo>
                  <a:pt x="7479" y="1821"/>
                  <a:pt x="7547" y="1753"/>
                  <a:pt x="7602" y="1753"/>
                </a:cubicBezTo>
                <a:cubicBezTo>
                  <a:pt x="7654" y="1753"/>
                  <a:pt x="7709" y="1782"/>
                  <a:pt x="7764" y="1782"/>
                </a:cubicBezTo>
                <a:cubicBezTo>
                  <a:pt x="7816" y="1782"/>
                  <a:pt x="7871" y="1740"/>
                  <a:pt x="7926" y="1740"/>
                </a:cubicBezTo>
                <a:cubicBezTo>
                  <a:pt x="7973" y="1740"/>
                  <a:pt x="8023" y="1797"/>
                  <a:pt x="8073" y="1797"/>
                </a:cubicBezTo>
                <a:cubicBezTo>
                  <a:pt x="8078" y="1797"/>
                  <a:pt x="8083" y="1796"/>
                  <a:pt x="8088" y="1795"/>
                </a:cubicBezTo>
                <a:cubicBezTo>
                  <a:pt x="8140" y="1795"/>
                  <a:pt x="8195" y="1740"/>
                  <a:pt x="8250" y="1740"/>
                </a:cubicBezTo>
                <a:lnTo>
                  <a:pt x="8425" y="1740"/>
                </a:lnTo>
                <a:cubicBezTo>
                  <a:pt x="8480" y="1740"/>
                  <a:pt x="8532" y="1727"/>
                  <a:pt x="8587" y="1727"/>
                </a:cubicBezTo>
                <a:cubicBezTo>
                  <a:pt x="8605" y="1723"/>
                  <a:pt x="8623" y="1721"/>
                  <a:pt x="8641" y="1721"/>
                </a:cubicBezTo>
                <a:cubicBezTo>
                  <a:pt x="8677" y="1721"/>
                  <a:pt x="8712" y="1727"/>
                  <a:pt x="8749" y="1727"/>
                </a:cubicBezTo>
                <a:cubicBezTo>
                  <a:pt x="8804" y="1727"/>
                  <a:pt x="8856" y="1701"/>
                  <a:pt x="8911" y="1701"/>
                </a:cubicBezTo>
                <a:cubicBezTo>
                  <a:pt x="8938" y="1693"/>
                  <a:pt x="8968" y="1693"/>
                  <a:pt x="8997" y="1693"/>
                </a:cubicBezTo>
                <a:cubicBezTo>
                  <a:pt x="9025" y="1693"/>
                  <a:pt x="9052" y="1693"/>
                  <a:pt x="9073" y="1685"/>
                </a:cubicBezTo>
                <a:cubicBezTo>
                  <a:pt x="9141" y="1672"/>
                  <a:pt x="9180" y="1620"/>
                  <a:pt x="9235" y="1620"/>
                </a:cubicBezTo>
                <a:cubicBezTo>
                  <a:pt x="9290" y="1604"/>
                  <a:pt x="9342" y="1604"/>
                  <a:pt x="9397" y="1604"/>
                </a:cubicBezTo>
                <a:cubicBezTo>
                  <a:pt x="9407" y="1601"/>
                  <a:pt x="9417" y="1601"/>
                  <a:pt x="9428" y="1601"/>
                </a:cubicBezTo>
                <a:cubicBezTo>
                  <a:pt x="9475" y="1601"/>
                  <a:pt x="9527" y="1620"/>
                  <a:pt x="9572" y="1620"/>
                </a:cubicBezTo>
                <a:cubicBezTo>
                  <a:pt x="9627" y="1604"/>
                  <a:pt x="9666" y="1552"/>
                  <a:pt x="9721" y="1539"/>
                </a:cubicBezTo>
                <a:cubicBezTo>
                  <a:pt x="9776" y="1539"/>
                  <a:pt x="9828" y="1539"/>
                  <a:pt x="9883" y="1523"/>
                </a:cubicBezTo>
                <a:cubicBezTo>
                  <a:pt x="9938" y="1523"/>
                  <a:pt x="9990" y="1497"/>
                  <a:pt x="10045" y="1484"/>
                </a:cubicBezTo>
                <a:cubicBezTo>
                  <a:pt x="10100" y="1471"/>
                  <a:pt x="10126" y="1416"/>
                  <a:pt x="10165" y="1403"/>
                </a:cubicBezTo>
                <a:cubicBezTo>
                  <a:pt x="10176" y="1400"/>
                  <a:pt x="10189" y="1399"/>
                  <a:pt x="10203" y="1399"/>
                </a:cubicBezTo>
                <a:cubicBezTo>
                  <a:pt x="10239" y="1399"/>
                  <a:pt x="10281" y="1407"/>
                  <a:pt x="10318" y="1407"/>
                </a:cubicBezTo>
                <a:cubicBezTo>
                  <a:pt x="10331" y="1407"/>
                  <a:pt x="10344" y="1406"/>
                  <a:pt x="10356" y="1403"/>
                </a:cubicBezTo>
                <a:cubicBezTo>
                  <a:pt x="10408" y="1377"/>
                  <a:pt x="10450" y="1361"/>
                  <a:pt x="10489" y="1335"/>
                </a:cubicBezTo>
                <a:cubicBezTo>
                  <a:pt x="10544" y="1309"/>
                  <a:pt x="10625" y="1267"/>
                  <a:pt x="10625" y="1241"/>
                </a:cubicBezTo>
                <a:cubicBezTo>
                  <a:pt x="10612" y="1215"/>
                  <a:pt x="10505" y="1228"/>
                  <a:pt x="10424" y="1199"/>
                </a:cubicBezTo>
                <a:cubicBezTo>
                  <a:pt x="10382" y="1186"/>
                  <a:pt x="10356" y="1160"/>
                  <a:pt x="10288" y="1147"/>
                </a:cubicBezTo>
                <a:cubicBezTo>
                  <a:pt x="10233" y="1147"/>
                  <a:pt x="10181" y="1160"/>
                  <a:pt x="10113" y="1160"/>
                </a:cubicBezTo>
                <a:cubicBezTo>
                  <a:pt x="10058" y="1160"/>
                  <a:pt x="10019" y="1079"/>
                  <a:pt x="9964" y="1079"/>
                </a:cubicBezTo>
                <a:cubicBezTo>
                  <a:pt x="9909" y="1079"/>
                  <a:pt x="9841" y="1118"/>
                  <a:pt x="9776" y="1118"/>
                </a:cubicBezTo>
                <a:cubicBezTo>
                  <a:pt x="9721" y="1118"/>
                  <a:pt x="9666" y="1105"/>
                  <a:pt x="9614" y="1105"/>
                </a:cubicBezTo>
                <a:cubicBezTo>
                  <a:pt x="9546" y="1105"/>
                  <a:pt x="9491" y="1118"/>
                  <a:pt x="9436" y="1118"/>
                </a:cubicBezTo>
                <a:cubicBezTo>
                  <a:pt x="9384" y="1118"/>
                  <a:pt x="9316" y="1173"/>
                  <a:pt x="9261" y="1173"/>
                </a:cubicBezTo>
                <a:cubicBezTo>
                  <a:pt x="9209" y="1173"/>
                  <a:pt x="9141" y="1105"/>
                  <a:pt x="9086" y="1105"/>
                </a:cubicBezTo>
                <a:cubicBezTo>
                  <a:pt x="9031" y="1118"/>
                  <a:pt x="8979" y="1173"/>
                  <a:pt x="8911" y="1173"/>
                </a:cubicBezTo>
                <a:cubicBezTo>
                  <a:pt x="8903" y="1175"/>
                  <a:pt x="8896" y="1176"/>
                  <a:pt x="8890" y="1176"/>
                </a:cubicBezTo>
                <a:cubicBezTo>
                  <a:pt x="8855" y="1176"/>
                  <a:pt x="8848" y="1147"/>
                  <a:pt x="8804" y="1147"/>
                </a:cubicBezTo>
                <a:cubicBezTo>
                  <a:pt x="8843" y="1118"/>
                  <a:pt x="8843" y="1105"/>
                  <a:pt x="8843" y="1092"/>
                </a:cubicBezTo>
                <a:cubicBezTo>
                  <a:pt x="8830" y="1066"/>
                  <a:pt x="8736" y="1037"/>
                  <a:pt x="8681" y="1024"/>
                </a:cubicBezTo>
                <a:cubicBezTo>
                  <a:pt x="8749" y="1011"/>
                  <a:pt x="8830" y="998"/>
                  <a:pt x="8898" y="998"/>
                </a:cubicBezTo>
                <a:cubicBezTo>
                  <a:pt x="8905" y="996"/>
                  <a:pt x="8913" y="995"/>
                  <a:pt x="8922" y="995"/>
                </a:cubicBezTo>
                <a:cubicBezTo>
                  <a:pt x="8961" y="995"/>
                  <a:pt x="9007" y="1014"/>
                  <a:pt x="9048" y="1014"/>
                </a:cubicBezTo>
                <a:cubicBezTo>
                  <a:pt x="9056" y="1014"/>
                  <a:pt x="9065" y="1013"/>
                  <a:pt x="9073" y="1011"/>
                </a:cubicBezTo>
                <a:cubicBezTo>
                  <a:pt x="9128" y="998"/>
                  <a:pt x="9180" y="985"/>
                  <a:pt x="9235" y="972"/>
                </a:cubicBezTo>
                <a:cubicBezTo>
                  <a:pt x="9303" y="956"/>
                  <a:pt x="9342" y="904"/>
                  <a:pt x="9397" y="891"/>
                </a:cubicBezTo>
                <a:cubicBezTo>
                  <a:pt x="9409" y="887"/>
                  <a:pt x="9423" y="886"/>
                  <a:pt x="9436" y="886"/>
                </a:cubicBezTo>
                <a:cubicBezTo>
                  <a:pt x="9470" y="886"/>
                  <a:pt x="9505" y="894"/>
                  <a:pt x="9539" y="894"/>
                </a:cubicBezTo>
                <a:cubicBezTo>
                  <a:pt x="9550" y="894"/>
                  <a:pt x="9561" y="894"/>
                  <a:pt x="9572" y="891"/>
                </a:cubicBezTo>
                <a:cubicBezTo>
                  <a:pt x="9627" y="875"/>
                  <a:pt x="9679" y="849"/>
                  <a:pt x="9734" y="836"/>
                </a:cubicBezTo>
                <a:cubicBezTo>
                  <a:pt x="9752" y="832"/>
                  <a:pt x="9772" y="830"/>
                  <a:pt x="9792" y="830"/>
                </a:cubicBezTo>
                <a:cubicBezTo>
                  <a:pt x="9832" y="830"/>
                  <a:pt x="9874" y="836"/>
                  <a:pt x="9909" y="836"/>
                </a:cubicBezTo>
                <a:cubicBezTo>
                  <a:pt x="9977" y="810"/>
                  <a:pt x="10003" y="755"/>
                  <a:pt x="10058" y="742"/>
                </a:cubicBezTo>
                <a:cubicBezTo>
                  <a:pt x="10113" y="729"/>
                  <a:pt x="10152" y="700"/>
                  <a:pt x="10207" y="687"/>
                </a:cubicBezTo>
                <a:cubicBezTo>
                  <a:pt x="10234" y="674"/>
                  <a:pt x="10268" y="674"/>
                  <a:pt x="10300" y="674"/>
                </a:cubicBezTo>
                <a:cubicBezTo>
                  <a:pt x="10332" y="674"/>
                  <a:pt x="10362" y="674"/>
                  <a:pt x="10382" y="661"/>
                </a:cubicBezTo>
                <a:cubicBezTo>
                  <a:pt x="10450" y="632"/>
                  <a:pt x="10518" y="632"/>
                  <a:pt x="10557" y="606"/>
                </a:cubicBezTo>
                <a:cubicBezTo>
                  <a:pt x="10612" y="580"/>
                  <a:pt x="10651" y="512"/>
                  <a:pt x="10651" y="486"/>
                </a:cubicBezTo>
                <a:cubicBezTo>
                  <a:pt x="10651" y="457"/>
                  <a:pt x="10570" y="418"/>
                  <a:pt x="10518" y="389"/>
                </a:cubicBezTo>
                <a:cubicBezTo>
                  <a:pt x="10510" y="386"/>
                  <a:pt x="10501" y="386"/>
                  <a:pt x="10491" y="386"/>
                </a:cubicBezTo>
                <a:cubicBezTo>
                  <a:pt x="10447" y="386"/>
                  <a:pt x="10382" y="405"/>
                  <a:pt x="10327" y="405"/>
                </a:cubicBezTo>
                <a:cubicBezTo>
                  <a:pt x="10288" y="389"/>
                  <a:pt x="10246" y="376"/>
                  <a:pt x="10181" y="363"/>
                </a:cubicBezTo>
                <a:cubicBezTo>
                  <a:pt x="10126" y="363"/>
                  <a:pt x="10084" y="308"/>
                  <a:pt x="10032" y="308"/>
                </a:cubicBezTo>
                <a:cubicBezTo>
                  <a:pt x="9977" y="308"/>
                  <a:pt x="9922" y="324"/>
                  <a:pt x="9857" y="324"/>
                </a:cubicBezTo>
                <a:cubicBezTo>
                  <a:pt x="9802" y="324"/>
                  <a:pt x="9760" y="295"/>
                  <a:pt x="9695" y="295"/>
                </a:cubicBezTo>
                <a:cubicBezTo>
                  <a:pt x="9640" y="295"/>
                  <a:pt x="9585" y="324"/>
                  <a:pt x="9533" y="324"/>
                </a:cubicBezTo>
                <a:cubicBezTo>
                  <a:pt x="9478" y="324"/>
                  <a:pt x="9423" y="295"/>
                  <a:pt x="9355" y="295"/>
                </a:cubicBezTo>
                <a:lnTo>
                  <a:pt x="9193" y="295"/>
                </a:lnTo>
                <a:cubicBezTo>
                  <a:pt x="9141" y="295"/>
                  <a:pt x="9073" y="363"/>
                  <a:pt x="9018" y="363"/>
                </a:cubicBezTo>
                <a:cubicBezTo>
                  <a:pt x="8966" y="363"/>
                  <a:pt x="8911" y="308"/>
                  <a:pt x="8856" y="308"/>
                </a:cubicBezTo>
                <a:cubicBezTo>
                  <a:pt x="8804" y="324"/>
                  <a:pt x="8749" y="350"/>
                  <a:pt x="8681" y="363"/>
                </a:cubicBezTo>
                <a:lnTo>
                  <a:pt x="8493" y="363"/>
                </a:lnTo>
                <a:cubicBezTo>
                  <a:pt x="8545" y="350"/>
                  <a:pt x="8600" y="324"/>
                  <a:pt x="8626" y="295"/>
                </a:cubicBezTo>
                <a:cubicBezTo>
                  <a:pt x="8668" y="269"/>
                  <a:pt x="8707" y="243"/>
                  <a:pt x="8707" y="214"/>
                </a:cubicBezTo>
                <a:cubicBezTo>
                  <a:pt x="8694" y="175"/>
                  <a:pt x="8681" y="120"/>
                  <a:pt x="8626" y="94"/>
                </a:cubicBezTo>
                <a:cubicBezTo>
                  <a:pt x="8622" y="93"/>
                  <a:pt x="8618" y="92"/>
                  <a:pt x="8613" y="92"/>
                </a:cubicBezTo>
                <a:cubicBezTo>
                  <a:pt x="8572" y="92"/>
                  <a:pt x="8492" y="135"/>
                  <a:pt x="8431" y="135"/>
                </a:cubicBezTo>
                <a:cubicBezTo>
                  <a:pt x="8425" y="135"/>
                  <a:pt x="8418" y="134"/>
                  <a:pt x="8412" y="133"/>
                </a:cubicBezTo>
                <a:cubicBezTo>
                  <a:pt x="8370" y="120"/>
                  <a:pt x="8344" y="52"/>
                  <a:pt x="8289" y="52"/>
                </a:cubicBezTo>
                <a:cubicBezTo>
                  <a:pt x="8237" y="39"/>
                  <a:pt x="8169" y="39"/>
                  <a:pt x="8114" y="39"/>
                </a:cubicBezTo>
                <a:cubicBezTo>
                  <a:pt x="8108" y="38"/>
                  <a:pt x="8102" y="37"/>
                  <a:pt x="8096" y="37"/>
                </a:cubicBezTo>
                <a:cubicBezTo>
                  <a:pt x="8045" y="37"/>
                  <a:pt x="7988" y="81"/>
                  <a:pt x="7939" y="81"/>
                </a:cubicBezTo>
                <a:lnTo>
                  <a:pt x="7764" y="81"/>
                </a:lnTo>
                <a:cubicBezTo>
                  <a:pt x="7709" y="81"/>
                  <a:pt x="7670" y="0"/>
                  <a:pt x="7615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0" name="Google Shape;380;p11"/>
          <p:cNvSpPr/>
          <p:nvPr/>
        </p:nvSpPr>
        <p:spPr>
          <a:xfrm>
            <a:off x="-2605834" y="565334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1" name="Google Shape;381;p11"/>
          <p:cNvSpPr/>
          <p:nvPr/>
        </p:nvSpPr>
        <p:spPr>
          <a:xfrm>
            <a:off x="10104193" y="-535248"/>
            <a:ext cx="4035276" cy="1851277"/>
          </a:xfrm>
          <a:custGeom>
            <a:avLst/>
            <a:gdLst/>
            <a:ahLst/>
            <a:cxnLst/>
            <a:rect l="l" t="t" r="r" b="b"/>
            <a:pathLst>
              <a:path w="13353" h="6126" extrusionOk="0">
                <a:moveTo>
                  <a:pt x="13095" y="1"/>
                </a:moveTo>
                <a:cubicBezTo>
                  <a:pt x="13024" y="1"/>
                  <a:pt x="12953" y="8"/>
                  <a:pt x="12880" y="21"/>
                </a:cubicBezTo>
                <a:cubicBezTo>
                  <a:pt x="12313" y="102"/>
                  <a:pt x="11921" y="588"/>
                  <a:pt x="11840" y="1139"/>
                </a:cubicBezTo>
                <a:cubicBezTo>
                  <a:pt x="11652" y="925"/>
                  <a:pt x="11302" y="750"/>
                  <a:pt x="11017" y="750"/>
                </a:cubicBezTo>
                <a:cubicBezTo>
                  <a:pt x="11003" y="749"/>
                  <a:pt x="10989" y="748"/>
                  <a:pt x="10975" y="748"/>
                </a:cubicBezTo>
                <a:cubicBezTo>
                  <a:pt x="10799" y="748"/>
                  <a:pt x="10615" y="841"/>
                  <a:pt x="10492" y="964"/>
                </a:cubicBezTo>
                <a:cubicBezTo>
                  <a:pt x="10343" y="1113"/>
                  <a:pt x="10275" y="1317"/>
                  <a:pt x="10288" y="1518"/>
                </a:cubicBezTo>
                <a:cubicBezTo>
                  <a:pt x="10211" y="1506"/>
                  <a:pt x="10129" y="1493"/>
                  <a:pt x="10048" y="1493"/>
                </a:cubicBezTo>
                <a:cubicBezTo>
                  <a:pt x="9957" y="1493"/>
                  <a:pt x="9868" y="1509"/>
                  <a:pt x="9789" y="1560"/>
                </a:cubicBezTo>
                <a:cubicBezTo>
                  <a:pt x="9666" y="1654"/>
                  <a:pt x="9614" y="1816"/>
                  <a:pt x="9666" y="1965"/>
                </a:cubicBezTo>
                <a:cubicBezTo>
                  <a:pt x="9465" y="1774"/>
                  <a:pt x="9180" y="1654"/>
                  <a:pt x="8911" y="1654"/>
                </a:cubicBezTo>
                <a:cubicBezTo>
                  <a:pt x="8629" y="1654"/>
                  <a:pt x="8344" y="1803"/>
                  <a:pt x="8195" y="2030"/>
                </a:cubicBezTo>
                <a:cubicBezTo>
                  <a:pt x="8114" y="2153"/>
                  <a:pt x="8075" y="2302"/>
                  <a:pt x="8033" y="2451"/>
                </a:cubicBezTo>
                <a:cubicBezTo>
                  <a:pt x="7981" y="2678"/>
                  <a:pt x="8020" y="2882"/>
                  <a:pt x="8007" y="3112"/>
                </a:cubicBezTo>
                <a:cubicBezTo>
                  <a:pt x="7888" y="3061"/>
                  <a:pt x="7763" y="3015"/>
                  <a:pt x="7636" y="3015"/>
                </a:cubicBezTo>
                <a:cubicBezTo>
                  <a:pt x="7562" y="3015"/>
                  <a:pt x="7488" y="3030"/>
                  <a:pt x="7414" y="3070"/>
                </a:cubicBezTo>
                <a:cubicBezTo>
                  <a:pt x="7210" y="3164"/>
                  <a:pt x="7090" y="3368"/>
                  <a:pt x="7074" y="3585"/>
                </a:cubicBezTo>
                <a:cubicBezTo>
                  <a:pt x="6891" y="3395"/>
                  <a:pt x="6691" y="3317"/>
                  <a:pt x="6491" y="3317"/>
                </a:cubicBezTo>
                <a:cubicBezTo>
                  <a:pt x="5877" y="3317"/>
                  <a:pt x="5255" y="4053"/>
                  <a:pt x="5091" y="4583"/>
                </a:cubicBezTo>
                <a:cubicBezTo>
                  <a:pt x="4916" y="4366"/>
                  <a:pt x="4699" y="4152"/>
                  <a:pt x="4417" y="4110"/>
                </a:cubicBezTo>
                <a:cubicBezTo>
                  <a:pt x="4396" y="4107"/>
                  <a:pt x="4374" y="4106"/>
                  <a:pt x="4352" y="4106"/>
                </a:cubicBezTo>
                <a:cubicBezTo>
                  <a:pt x="4085" y="4106"/>
                  <a:pt x="3813" y="4319"/>
                  <a:pt x="3876" y="4583"/>
                </a:cubicBezTo>
                <a:cubicBezTo>
                  <a:pt x="3687" y="4484"/>
                  <a:pt x="3490" y="4393"/>
                  <a:pt x="3289" y="4393"/>
                </a:cubicBezTo>
                <a:cubicBezTo>
                  <a:pt x="3273" y="4393"/>
                  <a:pt x="3257" y="4394"/>
                  <a:pt x="3241" y="4395"/>
                </a:cubicBezTo>
                <a:cubicBezTo>
                  <a:pt x="2972" y="4421"/>
                  <a:pt x="2849" y="4609"/>
                  <a:pt x="2755" y="4826"/>
                </a:cubicBezTo>
                <a:cubicBezTo>
                  <a:pt x="2679" y="4710"/>
                  <a:pt x="2540" y="4643"/>
                  <a:pt x="2403" y="4643"/>
                </a:cubicBezTo>
                <a:cubicBezTo>
                  <a:pt x="2348" y="4643"/>
                  <a:pt x="2293" y="4654"/>
                  <a:pt x="2243" y="4677"/>
                </a:cubicBezTo>
                <a:cubicBezTo>
                  <a:pt x="2052" y="4745"/>
                  <a:pt x="1932" y="4933"/>
                  <a:pt x="1919" y="5137"/>
                </a:cubicBezTo>
                <a:cubicBezTo>
                  <a:pt x="1878" y="5027"/>
                  <a:pt x="1766" y="4961"/>
                  <a:pt x="1650" y="4961"/>
                </a:cubicBezTo>
                <a:cubicBezTo>
                  <a:pt x="1608" y="4961"/>
                  <a:pt x="1566" y="4970"/>
                  <a:pt x="1527" y="4988"/>
                </a:cubicBezTo>
                <a:cubicBezTo>
                  <a:pt x="1378" y="5043"/>
                  <a:pt x="1297" y="5189"/>
                  <a:pt x="1271" y="5351"/>
                </a:cubicBezTo>
                <a:cubicBezTo>
                  <a:pt x="1189" y="5294"/>
                  <a:pt x="1103" y="5258"/>
                  <a:pt x="1015" y="5258"/>
                </a:cubicBezTo>
                <a:cubicBezTo>
                  <a:pt x="956" y="5258"/>
                  <a:pt x="897" y="5274"/>
                  <a:pt x="837" y="5312"/>
                </a:cubicBezTo>
                <a:cubicBezTo>
                  <a:pt x="798" y="5351"/>
                  <a:pt x="743" y="5406"/>
                  <a:pt x="691" y="5432"/>
                </a:cubicBezTo>
                <a:cubicBezTo>
                  <a:pt x="623" y="5461"/>
                  <a:pt x="542" y="5461"/>
                  <a:pt x="474" y="5461"/>
                </a:cubicBezTo>
                <a:lnTo>
                  <a:pt x="43" y="5461"/>
                </a:lnTo>
                <a:cubicBezTo>
                  <a:pt x="1" y="5513"/>
                  <a:pt x="69" y="5581"/>
                  <a:pt x="137" y="5610"/>
                </a:cubicBezTo>
                <a:cubicBezTo>
                  <a:pt x="284" y="5676"/>
                  <a:pt x="459" y="5710"/>
                  <a:pt x="636" y="5710"/>
                </a:cubicBezTo>
                <a:cubicBezTo>
                  <a:pt x="813" y="5710"/>
                  <a:pt x="992" y="5676"/>
                  <a:pt x="1148" y="5610"/>
                </a:cubicBezTo>
                <a:cubicBezTo>
                  <a:pt x="1221" y="5677"/>
                  <a:pt x="1320" y="5708"/>
                  <a:pt x="1422" y="5708"/>
                </a:cubicBezTo>
                <a:cubicBezTo>
                  <a:pt x="1588" y="5708"/>
                  <a:pt x="1762" y="5625"/>
                  <a:pt x="1838" y="5474"/>
                </a:cubicBezTo>
                <a:cubicBezTo>
                  <a:pt x="1917" y="5516"/>
                  <a:pt x="2010" y="5537"/>
                  <a:pt x="2104" y="5537"/>
                </a:cubicBezTo>
                <a:cubicBezTo>
                  <a:pt x="2219" y="5537"/>
                  <a:pt x="2335" y="5507"/>
                  <a:pt x="2431" y="5448"/>
                </a:cubicBezTo>
                <a:cubicBezTo>
                  <a:pt x="2623" y="5738"/>
                  <a:pt x="2969" y="5948"/>
                  <a:pt x="3307" y="5948"/>
                </a:cubicBezTo>
                <a:cubicBezTo>
                  <a:pt x="3517" y="5948"/>
                  <a:pt x="3724" y="5867"/>
                  <a:pt x="3889" y="5675"/>
                </a:cubicBezTo>
                <a:cubicBezTo>
                  <a:pt x="3955" y="5950"/>
                  <a:pt x="4250" y="6126"/>
                  <a:pt x="4540" y="6126"/>
                </a:cubicBezTo>
                <a:cubicBezTo>
                  <a:pt x="4608" y="6126"/>
                  <a:pt x="4676" y="6116"/>
                  <a:pt x="4741" y="6096"/>
                </a:cubicBezTo>
                <a:cubicBezTo>
                  <a:pt x="5078" y="5999"/>
                  <a:pt x="5308" y="5662"/>
                  <a:pt x="5373" y="5325"/>
                </a:cubicBezTo>
                <a:lnTo>
                  <a:pt x="5373" y="5325"/>
                </a:lnTo>
                <a:cubicBezTo>
                  <a:pt x="5334" y="5529"/>
                  <a:pt x="6037" y="5756"/>
                  <a:pt x="6157" y="5785"/>
                </a:cubicBezTo>
                <a:cubicBezTo>
                  <a:pt x="6211" y="5792"/>
                  <a:pt x="6262" y="5796"/>
                  <a:pt x="6313" y="5796"/>
                </a:cubicBezTo>
                <a:cubicBezTo>
                  <a:pt x="6617" y="5796"/>
                  <a:pt x="6866" y="5672"/>
                  <a:pt x="7155" y="5555"/>
                </a:cubicBezTo>
                <a:cubicBezTo>
                  <a:pt x="7171" y="5662"/>
                  <a:pt x="7252" y="5772"/>
                  <a:pt x="7359" y="5798"/>
                </a:cubicBezTo>
                <a:cubicBezTo>
                  <a:pt x="7381" y="5803"/>
                  <a:pt x="7403" y="5806"/>
                  <a:pt x="7426" y="5806"/>
                </a:cubicBezTo>
                <a:cubicBezTo>
                  <a:pt x="7514" y="5806"/>
                  <a:pt x="7603" y="5766"/>
                  <a:pt x="7657" y="5691"/>
                </a:cubicBezTo>
                <a:cubicBezTo>
                  <a:pt x="7777" y="5853"/>
                  <a:pt x="7981" y="5947"/>
                  <a:pt x="8182" y="5973"/>
                </a:cubicBezTo>
                <a:cubicBezTo>
                  <a:pt x="8219" y="5978"/>
                  <a:pt x="8255" y="5980"/>
                  <a:pt x="8293" y="5980"/>
                </a:cubicBezTo>
                <a:cubicBezTo>
                  <a:pt x="8462" y="5980"/>
                  <a:pt x="8634" y="5935"/>
                  <a:pt x="8791" y="5879"/>
                </a:cubicBezTo>
                <a:cubicBezTo>
                  <a:pt x="9128" y="5772"/>
                  <a:pt x="9504" y="5568"/>
                  <a:pt x="9763" y="5325"/>
                </a:cubicBezTo>
                <a:cubicBezTo>
                  <a:pt x="9883" y="5662"/>
                  <a:pt x="10233" y="5905"/>
                  <a:pt x="10599" y="5905"/>
                </a:cubicBezTo>
                <a:cubicBezTo>
                  <a:pt x="10608" y="5905"/>
                  <a:pt x="10617" y="5905"/>
                  <a:pt x="10627" y="5905"/>
                </a:cubicBezTo>
                <a:cubicBezTo>
                  <a:pt x="10980" y="5905"/>
                  <a:pt x="11331" y="5666"/>
                  <a:pt x="11464" y="5338"/>
                </a:cubicBezTo>
                <a:cubicBezTo>
                  <a:pt x="11477" y="5649"/>
                  <a:pt x="11720" y="5934"/>
                  <a:pt x="12015" y="5999"/>
                </a:cubicBezTo>
                <a:cubicBezTo>
                  <a:pt x="12055" y="6006"/>
                  <a:pt x="12097" y="6009"/>
                  <a:pt x="12138" y="6009"/>
                </a:cubicBezTo>
                <a:cubicBezTo>
                  <a:pt x="12411" y="6009"/>
                  <a:pt x="12681" y="5855"/>
                  <a:pt x="12799" y="5610"/>
                </a:cubicBezTo>
                <a:cubicBezTo>
                  <a:pt x="12922" y="5811"/>
                  <a:pt x="13123" y="5960"/>
                  <a:pt x="13353" y="6054"/>
                </a:cubicBezTo>
                <a:lnTo>
                  <a:pt x="13353" y="34"/>
                </a:lnTo>
                <a:cubicBezTo>
                  <a:pt x="13265" y="11"/>
                  <a:pt x="13180" y="1"/>
                  <a:pt x="13095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82" name="Google Shape;382;p11"/>
          <p:cNvGrpSpPr/>
          <p:nvPr/>
        </p:nvGrpSpPr>
        <p:grpSpPr>
          <a:xfrm>
            <a:off x="1088292" y="4192999"/>
            <a:ext cx="218584" cy="325603"/>
            <a:chOff x="-1716306" y="2279074"/>
            <a:chExt cx="163938" cy="244202"/>
          </a:xfrm>
        </p:grpSpPr>
        <p:sp>
          <p:nvSpPr>
            <p:cNvPr id="383" name="Google Shape;383;p11"/>
            <p:cNvSpPr/>
            <p:nvPr/>
          </p:nvSpPr>
          <p:spPr>
            <a:xfrm>
              <a:off x="-1692019" y="2487794"/>
              <a:ext cx="17077" cy="35482"/>
            </a:xfrm>
            <a:custGeom>
              <a:avLst/>
              <a:gdLst/>
              <a:ahLst/>
              <a:cxnLst/>
              <a:rect l="l" t="t" r="r" b="b"/>
              <a:pathLst>
                <a:path w="90" h="187" extrusionOk="0">
                  <a:moveTo>
                    <a:pt x="57" y="1"/>
                  </a:moveTo>
                  <a:cubicBezTo>
                    <a:pt x="32" y="1"/>
                    <a:pt x="1" y="22"/>
                    <a:pt x="9" y="38"/>
                  </a:cubicBezTo>
                  <a:cubicBezTo>
                    <a:pt x="51" y="80"/>
                    <a:pt x="35" y="187"/>
                    <a:pt x="35" y="187"/>
                  </a:cubicBezTo>
                  <a:lnTo>
                    <a:pt x="77" y="187"/>
                  </a:lnTo>
                  <a:cubicBezTo>
                    <a:pt x="64" y="80"/>
                    <a:pt x="90" y="38"/>
                    <a:pt x="90" y="38"/>
                  </a:cubicBezTo>
                  <a:cubicBezTo>
                    <a:pt x="90" y="11"/>
                    <a:pt x="75" y="1"/>
                    <a:pt x="57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4" name="Google Shape;384;p11"/>
            <p:cNvSpPr/>
            <p:nvPr/>
          </p:nvSpPr>
          <p:spPr>
            <a:xfrm>
              <a:off x="-1713270" y="2279454"/>
              <a:ext cx="63753" cy="228643"/>
            </a:xfrm>
            <a:custGeom>
              <a:avLst/>
              <a:gdLst/>
              <a:ahLst/>
              <a:cxnLst/>
              <a:rect l="l" t="t" r="r" b="b"/>
              <a:pathLst>
                <a:path w="336" h="1205" extrusionOk="0">
                  <a:moveTo>
                    <a:pt x="169" y="1"/>
                  </a:moveTo>
                  <a:cubicBezTo>
                    <a:pt x="152" y="1"/>
                    <a:pt x="135" y="37"/>
                    <a:pt x="121" y="125"/>
                  </a:cubicBezTo>
                  <a:cubicBezTo>
                    <a:pt x="121" y="125"/>
                    <a:pt x="1" y="1097"/>
                    <a:pt x="82" y="1165"/>
                  </a:cubicBezTo>
                  <a:cubicBezTo>
                    <a:pt x="105" y="1188"/>
                    <a:pt x="140" y="1205"/>
                    <a:pt x="177" y="1205"/>
                  </a:cubicBezTo>
                  <a:cubicBezTo>
                    <a:pt x="243" y="1205"/>
                    <a:pt x="314" y="1149"/>
                    <a:pt x="325" y="974"/>
                  </a:cubicBezTo>
                  <a:cubicBezTo>
                    <a:pt x="335" y="764"/>
                    <a:pt x="246" y="1"/>
                    <a:pt x="169" y="1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5" name="Google Shape;385;p11"/>
            <p:cNvSpPr/>
            <p:nvPr/>
          </p:nvSpPr>
          <p:spPr>
            <a:xfrm>
              <a:off x="-1716306" y="2279074"/>
              <a:ext cx="38897" cy="226366"/>
            </a:xfrm>
            <a:custGeom>
              <a:avLst/>
              <a:gdLst/>
              <a:ahLst/>
              <a:cxnLst/>
              <a:rect l="l" t="t" r="r" b="b"/>
              <a:pathLst>
                <a:path w="205" h="1193" extrusionOk="0">
                  <a:moveTo>
                    <a:pt x="183" y="0"/>
                  </a:moveTo>
                  <a:cubicBezTo>
                    <a:pt x="164" y="0"/>
                    <a:pt x="146" y="38"/>
                    <a:pt x="137" y="127"/>
                  </a:cubicBezTo>
                  <a:cubicBezTo>
                    <a:pt x="137" y="127"/>
                    <a:pt x="1" y="1031"/>
                    <a:pt x="98" y="1167"/>
                  </a:cubicBezTo>
                  <a:cubicBezTo>
                    <a:pt x="98" y="1180"/>
                    <a:pt x="111" y="1180"/>
                    <a:pt x="124" y="1193"/>
                  </a:cubicBezTo>
                  <a:cubicBezTo>
                    <a:pt x="69" y="989"/>
                    <a:pt x="150" y="114"/>
                    <a:pt x="150" y="114"/>
                  </a:cubicBezTo>
                  <a:cubicBezTo>
                    <a:pt x="163" y="4"/>
                    <a:pt x="192" y="33"/>
                    <a:pt x="205" y="17"/>
                  </a:cubicBezTo>
                  <a:cubicBezTo>
                    <a:pt x="198" y="6"/>
                    <a:pt x="190" y="0"/>
                    <a:pt x="183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6" name="Google Shape;386;p11"/>
            <p:cNvSpPr/>
            <p:nvPr/>
          </p:nvSpPr>
          <p:spPr>
            <a:xfrm>
              <a:off x="-1593543" y="2487794"/>
              <a:ext cx="18785" cy="35482"/>
            </a:xfrm>
            <a:custGeom>
              <a:avLst/>
              <a:gdLst/>
              <a:ahLst/>
              <a:cxnLst/>
              <a:rect l="l" t="t" r="r" b="b"/>
              <a:pathLst>
                <a:path w="99" h="187" extrusionOk="0">
                  <a:moveTo>
                    <a:pt x="55" y="1"/>
                  </a:moveTo>
                  <a:cubicBezTo>
                    <a:pt x="27" y="1"/>
                    <a:pt x="0" y="22"/>
                    <a:pt x="18" y="38"/>
                  </a:cubicBezTo>
                  <a:cubicBezTo>
                    <a:pt x="44" y="80"/>
                    <a:pt x="31" y="187"/>
                    <a:pt x="31" y="187"/>
                  </a:cubicBezTo>
                  <a:lnTo>
                    <a:pt x="70" y="187"/>
                  </a:lnTo>
                  <a:cubicBezTo>
                    <a:pt x="70" y="80"/>
                    <a:pt x="99" y="38"/>
                    <a:pt x="99" y="38"/>
                  </a:cubicBezTo>
                  <a:cubicBezTo>
                    <a:pt x="92" y="11"/>
                    <a:pt x="73" y="1"/>
                    <a:pt x="55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7" name="Google Shape;387;p11"/>
            <p:cNvSpPr/>
            <p:nvPr/>
          </p:nvSpPr>
          <p:spPr>
            <a:xfrm>
              <a:off x="-1616122" y="2279454"/>
              <a:ext cx="63753" cy="228643"/>
            </a:xfrm>
            <a:custGeom>
              <a:avLst/>
              <a:gdLst/>
              <a:ahLst/>
              <a:cxnLst/>
              <a:rect l="l" t="t" r="r" b="b"/>
              <a:pathLst>
                <a:path w="336" h="1205" extrusionOk="0">
                  <a:moveTo>
                    <a:pt x="174" y="1"/>
                  </a:moveTo>
                  <a:cubicBezTo>
                    <a:pt x="156" y="1"/>
                    <a:pt x="138" y="37"/>
                    <a:pt x="121" y="125"/>
                  </a:cubicBezTo>
                  <a:cubicBezTo>
                    <a:pt x="121" y="125"/>
                    <a:pt x="1" y="1097"/>
                    <a:pt x="82" y="1165"/>
                  </a:cubicBezTo>
                  <a:cubicBezTo>
                    <a:pt x="106" y="1188"/>
                    <a:pt x="142" y="1205"/>
                    <a:pt x="179" y="1205"/>
                  </a:cubicBezTo>
                  <a:cubicBezTo>
                    <a:pt x="246" y="1205"/>
                    <a:pt x="316" y="1149"/>
                    <a:pt x="325" y="974"/>
                  </a:cubicBezTo>
                  <a:cubicBezTo>
                    <a:pt x="335" y="764"/>
                    <a:pt x="257" y="1"/>
                    <a:pt x="174" y="1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8" name="Google Shape;388;p11"/>
            <p:cNvSpPr/>
            <p:nvPr/>
          </p:nvSpPr>
          <p:spPr>
            <a:xfrm>
              <a:off x="-1618589" y="2279074"/>
              <a:ext cx="38328" cy="226366"/>
            </a:xfrm>
            <a:custGeom>
              <a:avLst/>
              <a:gdLst/>
              <a:ahLst/>
              <a:cxnLst/>
              <a:rect l="l" t="t" r="r" b="b"/>
              <a:pathLst>
                <a:path w="202" h="1193" extrusionOk="0">
                  <a:moveTo>
                    <a:pt x="182" y="0"/>
                  </a:moveTo>
                  <a:cubicBezTo>
                    <a:pt x="167" y="0"/>
                    <a:pt x="155" y="38"/>
                    <a:pt x="134" y="127"/>
                  </a:cubicBezTo>
                  <a:cubicBezTo>
                    <a:pt x="134" y="127"/>
                    <a:pt x="1" y="1031"/>
                    <a:pt x="95" y="1167"/>
                  </a:cubicBezTo>
                  <a:cubicBezTo>
                    <a:pt x="108" y="1180"/>
                    <a:pt x="121" y="1180"/>
                    <a:pt x="134" y="1193"/>
                  </a:cubicBezTo>
                  <a:cubicBezTo>
                    <a:pt x="82" y="989"/>
                    <a:pt x="163" y="114"/>
                    <a:pt x="163" y="114"/>
                  </a:cubicBezTo>
                  <a:cubicBezTo>
                    <a:pt x="176" y="4"/>
                    <a:pt x="202" y="33"/>
                    <a:pt x="202" y="17"/>
                  </a:cubicBezTo>
                  <a:cubicBezTo>
                    <a:pt x="194" y="6"/>
                    <a:pt x="188" y="0"/>
                    <a:pt x="182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389" name="Google Shape;389;p11"/>
          <p:cNvGrpSpPr/>
          <p:nvPr/>
        </p:nvGrpSpPr>
        <p:grpSpPr>
          <a:xfrm>
            <a:off x="2202558" y="3841844"/>
            <a:ext cx="2333073" cy="1027912"/>
            <a:chOff x="-1936407" y="2490071"/>
            <a:chExt cx="1749805" cy="770934"/>
          </a:xfrm>
        </p:grpSpPr>
        <p:sp>
          <p:nvSpPr>
            <p:cNvPr id="390" name="Google Shape;390;p11"/>
            <p:cNvSpPr/>
            <p:nvPr/>
          </p:nvSpPr>
          <p:spPr>
            <a:xfrm>
              <a:off x="-1580450" y="2835407"/>
              <a:ext cx="651196" cy="254069"/>
            </a:xfrm>
            <a:custGeom>
              <a:avLst/>
              <a:gdLst/>
              <a:ahLst/>
              <a:cxnLst/>
              <a:rect l="l" t="t" r="r" b="b"/>
              <a:pathLst>
                <a:path w="3432" h="1339" extrusionOk="0">
                  <a:moveTo>
                    <a:pt x="1" y="1"/>
                  </a:moveTo>
                  <a:lnTo>
                    <a:pt x="1" y="1339"/>
                  </a:lnTo>
                  <a:lnTo>
                    <a:pt x="3432" y="1339"/>
                  </a:lnTo>
                  <a:lnTo>
                    <a:pt x="3432" y="1"/>
                  </a:ln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1" name="Google Shape;391;p11"/>
            <p:cNvSpPr/>
            <p:nvPr/>
          </p:nvSpPr>
          <p:spPr>
            <a:xfrm>
              <a:off x="-1170417" y="2853812"/>
              <a:ext cx="266398" cy="235663"/>
            </a:xfrm>
            <a:custGeom>
              <a:avLst/>
              <a:gdLst/>
              <a:ahLst/>
              <a:cxnLst/>
              <a:rect l="l" t="t" r="r" b="b"/>
              <a:pathLst>
                <a:path w="1404" h="1242" extrusionOk="0">
                  <a:moveTo>
                    <a:pt x="1" y="1"/>
                  </a:moveTo>
                  <a:lnTo>
                    <a:pt x="1" y="1242"/>
                  </a:lnTo>
                  <a:lnTo>
                    <a:pt x="1404" y="1242"/>
                  </a:lnTo>
                  <a:lnTo>
                    <a:pt x="1404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2" name="Google Shape;392;p11"/>
            <p:cNvSpPr/>
            <p:nvPr/>
          </p:nvSpPr>
          <p:spPr>
            <a:xfrm>
              <a:off x="-1375149" y="2490071"/>
              <a:ext cx="471131" cy="363931"/>
            </a:xfrm>
            <a:custGeom>
              <a:avLst/>
              <a:gdLst/>
              <a:ahLst/>
              <a:cxnLst/>
              <a:rect l="l" t="t" r="r" b="b"/>
              <a:pathLst>
                <a:path w="2483" h="1918" extrusionOk="0">
                  <a:moveTo>
                    <a:pt x="934" y="0"/>
                  </a:moveTo>
                  <a:cubicBezTo>
                    <a:pt x="486" y="0"/>
                    <a:pt x="1" y="55"/>
                    <a:pt x="1" y="55"/>
                  </a:cubicBezTo>
                  <a:lnTo>
                    <a:pt x="837" y="1918"/>
                  </a:lnTo>
                  <a:lnTo>
                    <a:pt x="2483" y="1918"/>
                  </a:lnTo>
                  <a:cubicBezTo>
                    <a:pt x="2483" y="1918"/>
                    <a:pt x="1929" y="175"/>
                    <a:pt x="1511" y="55"/>
                  </a:cubicBezTo>
                  <a:cubicBezTo>
                    <a:pt x="1371" y="14"/>
                    <a:pt x="1157" y="0"/>
                    <a:pt x="934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3" name="Google Shape;393;p11"/>
            <p:cNvSpPr/>
            <p:nvPr/>
          </p:nvSpPr>
          <p:spPr>
            <a:xfrm>
              <a:off x="-1603220" y="2499748"/>
              <a:ext cx="455761" cy="354254"/>
            </a:xfrm>
            <a:custGeom>
              <a:avLst/>
              <a:gdLst/>
              <a:ahLst/>
              <a:cxnLst/>
              <a:rect l="l" t="t" r="r" b="b"/>
              <a:pathLst>
                <a:path w="2402" h="1867" extrusionOk="0">
                  <a:moveTo>
                    <a:pt x="1211" y="1"/>
                  </a:moveTo>
                  <a:cubicBezTo>
                    <a:pt x="855" y="1"/>
                    <a:pt x="441" y="467"/>
                    <a:pt x="1" y="1867"/>
                  </a:cubicBezTo>
                  <a:lnTo>
                    <a:pt x="2402" y="1867"/>
                  </a:lnTo>
                  <a:cubicBezTo>
                    <a:pt x="2402" y="1867"/>
                    <a:pt x="1922" y="1"/>
                    <a:pt x="1211" y="1"/>
                  </a:cubicBez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4" name="Google Shape;394;p11"/>
            <p:cNvSpPr/>
            <p:nvPr/>
          </p:nvSpPr>
          <p:spPr>
            <a:xfrm>
              <a:off x="-1580450" y="2537317"/>
              <a:ext cx="410223" cy="332054"/>
            </a:xfrm>
            <a:custGeom>
              <a:avLst/>
              <a:gdLst/>
              <a:ahLst/>
              <a:cxnLst/>
              <a:rect l="l" t="t" r="r" b="b"/>
              <a:pathLst>
                <a:path w="2162" h="1750" extrusionOk="0">
                  <a:moveTo>
                    <a:pt x="1078" y="0"/>
                  </a:moveTo>
                  <a:cubicBezTo>
                    <a:pt x="758" y="0"/>
                    <a:pt x="388" y="417"/>
                    <a:pt x="1" y="1669"/>
                  </a:cubicBezTo>
                  <a:lnTo>
                    <a:pt x="1015" y="1750"/>
                  </a:lnTo>
                  <a:lnTo>
                    <a:pt x="2162" y="1669"/>
                  </a:lnTo>
                  <a:cubicBezTo>
                    <a:pt x="2162" y="1669"/>
                    <a:pt x="1718" y="0"/>
                    <a:pt x="1078" y="0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5" name="Google Shape;395;p11"/>
            <p:cNvSpPr/>
            <p:nvPr/>
          </p:nvSpPr>
          <p:spPr>
            <a:xfrm>
              <a:off x="-1493169" y="2907320"/>
              <a:ext cx="195055" cy="182155"/>
            </a:xfrm>
            <a:custGeom>
              <a:avLst/>
              <a:gdLst/>
              <a:ahLst/>
              <a:cxnLst/>
              <a:rect l="l" t="t" r="r" b="b"/>
              <a:pathLst>
                <a:path w="1028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028" y="960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6" name="Google Shape;396;p11"/>
            <p:cNvSpPr/>
            <p:nvPr/>
          </p:nvSpPr>
          <p:spPr>
            <a:xfrm>
              <a:off x="-1467364" y="2925156"/>
              <a:ext cx="145912" cy="164319"/>
            </a:xfrm>
            <a:custGeom>
              <a:avLst/>
              <a:gdLst/>
              <a:ahLst/>
              <a:cxnLst/>
              <a:rect l="l" t="t" r="r" b="b"/>
              <a:pathLst>
                <a:path w="769" h="866" extrusionOk="0">
                  <a:moveTo>
                    <a:pt x="1" y="1"/>
                  </a:moveTo>
                  <a:lnTo>
                    <a:pt x="1" y="866"/>
                  </a:lnTo>
                  <a:lnTo>
                    <a:pt x="769" y="866"/>
                  </a:lnTo>
                  <a:lnTo>
                    <a:pt x="769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7" name="Google Shape;397;p11"/>
            <p:cNvSpPr/>
            <p:nvPr/>
          </p:nvSpPr>
          <p:spPr>
            <a:xfrm>
              <a:off x="-1449528" y="2925156"/>
              <a:ext cx="128076" cy="164319"/>
            </a:xfrm>
            <a:custGeom>
              <a:avLst/>
              <a:gdLst/>
              <a:ahLst/>
              <a:cxnLst/>
              <a:rect l="l" t="t" r="r" b="b"/>
              <a:pathLst>
                <a:path w="675" h="866" extrusionOk="0">
                  <a:moveTo>
                    <a:pt x="1" y="1"/>
                  </a:moveTo>
                  <a:lnTo>
                    <a:pt x="1" y="866"/>
                  </a:lnTo>
                  <a:lnTo>
                    <a:pt x="675" y="866"/>
                  </a:lnTo>
                  <a:lnTo>
                    <a:pt x="675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8" name="Google Shape;398;p11"/>
            <p:cNvSpPr/>
            <p:nvPr/>
          </p:nvSpPr>
          <p:spPr>
            <a:xfrm>
              <a:off x="-1439662" y="2676780"/>
              <a:ext cx="107774" cy="89939"/>
            </a:xfrm>
            <a:custGeom>
              <a:avLst/>
              <a:gdLst/>
              <a:ahLst/>
              <a:cxnLst/>
              <a:rect l="l" t="t" r="r" b="b"/>
              <a:pathLst>
                <a:path w="568" h="474" extrusionOk="0">
                  <a:moveTo>
                    <a:pt x="1" y="1"/>
                  </a:moveTo>
                  <a:lnTo>
                    <a:pt x="1" y="474"/>
                  </a:lnTo>
                  <a:lnTo>
                    <a:pt x="568" y="474"/>
                  </a:lnTo>
                  <a:lnTo>
                    <a:pt x="568" y="1"/>
                  </a:ln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9" name="Google Shape;399;p11"/>
            <p:cNvSpPr/>
            <p:nvPr/>
          </p:nvSpPr>
          <p:spPr>
            <a:xfrm>
              <a:off x="-1424292" y="2684749"/>
              <a:ext cx="80071" cy="81970"/>
            </a:xfrm>
            <a:custGeom>
              <a:avLst/>
              <a:gdLst/>
              <a:ahLst/>
              <a:cxnLst/>
              <a:rect l="l" t="t" r="r" b="b"/>
              <a:pathLst>
                <a:path w="422" h="432" extrusionOk="0">
                  <a:moveTo>
                    <a:pt x="1" y="1"/>
                  </a:moveTo>
                  <a:lnTo>
                    <a:pt x="1" y="432"/>
                  </a:lnTo>
                  <a:lnTo>
                    <a:pt x="422" y="432"/>
                  </a:lnTo>
                  <a:lnTo>
                    <a:pt x="422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0" name="Google Shape;400;p11"/>
            <p:cNvSpPr/>
            <p:nvPr/>
          </p:nvSpPr>
          <p:spPr>
            <a:xfrm>
              <a:off x="-1413857" y="2684749"/>
              <a:ext cx="69635" cy="81970"/>
            </a:xfrm>
            <a:custGeom>
              <a:avLst/>
              <a:gdLst/>
              <a:ahLst/>
              <a:cxnLst/>
              <a:rect l="l" t="t" r="r" b="b"/>
              <a:pathLst>
                <a:path w="367" h="432" extrusionOk="0">
                  <a:moveTo>
                    <a:pt x="1" y="1"/>
                  </a:moveTo>
                  <a:lnTo>
                    <a:pt x="1" y="432"/>
                  </a:lnTo>
                  <a:lnTo>
                    <a:pt x="367" y="432"/>
                  </a:lnTo>
                  <a:lnTo>
                    <a:pt x="36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1" name="Google Shape;401;p11"/>
            <p:cNvSpPr/>
            <p:nvPr/>
          </p:nvSpPr>
          <p:spPr>
            <a:xfrm>
              <a:off x="-1730727" y="3021547"/>
              <a:ext cx="22579" cy="44590"/>
            </a:xfrm>
            <a:custGeom>
              <a:avLst/>
              <a:gdLst/>
              <a:ahLst/>
              <a:cxnLst/>
              <a:rect l="l" t="t" r="r" b="b"/>
              <a:pathLst>
                <a:path w="119" h="235" extrusionOk="0">
                  <a:moveTo>
                    <a:pt x="70" y="1"/>
                  </a:moveTo>
                  <a:cubicBezTo>
                    <a:pt x="36" y="1"/>
                    <a:pt x="0" y="24"/>
                    <a:pt x="25" y="47"/>
                  </a:cubicBezTo>
                  <a:cubicBezTo>
                    <a:pt x="64" y="102"/>
                    <a:pt x="51" y="235"/>
                    <a:pt x="51" y="235"/>
                  </a:cubicBezTo>
                  <a:lnTo>
                    <a:pt x="93" y="235"/>
                  </a:lnTo>
                  <a:cubicBezTo>
                    <a:pt x="93" y="102"/>
                    <a:pt x="119" y="47"/>
                    <a:pt x="119" y="47"/>
                  </a:cubicBezTo>
                  <a:cubicBezTo>
                    <a:pt x="119" y="13"/>
                    <a:pt x="95" y="1"/>
                    <a:pt x="70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2" name="Google Shape;402;p11"/>
            <p:cNvSpPr/>
            <p:nvPr/>
          </p:nvSpPr>
          <p:spPr>
            <a:xfrm>
              <a:off x="-1759378" y="2747175"/>
              <a:ext cx="83676" cy="300366"/>
            </a:xfrm>
            <a:custGeom>
              <a:avLst/>
              <a:gdLst/>
              <a:ahLst/>
              <a:cxnLst/>
              <a:rect l="l" t="t" r="r" b="b"/>
              <a:pathLst>
                <a:path w="441" h="1583" extrusionOk="0">
                  <a:moveTo>
                    <a:pt x="225" y="1"/>
                  </a:moveTo>
                  <a:cubicBezTo>
                    <a:pt x="203" y="1"/>
                    <a:pt x="182" y="48"/>
                    <a:pt x="163" y="158"/>
                  </a:cubicBezTo>
                  <a:cubicBezTo>
                    <a:pt x="163" y="158"/>
                    <a:pt x="1" y="1438"/>
                    <a:pt x="108" y="1535"/>
                  </a:cubicBezTo>
                  <a:cubicBezTo>
                    <a:pt x="140" y="1563"/>
                    <a:pt x="186" y="1583"/>
                    <a:pt x="233" y="1583"/>
                  </a:cubicBezTo>
                  <a:cubicBezTo>
                    <a:pt x="320" y="1583"/>
                    <a:pt x="410" y="1512"/>
                    <a:pt x="419" y="1292"/>
                  </a:cubicBezTo>
                  <a:cubicBezTo>
                    <a:pt x="440" y="1002"/>
                    <a:pt x="326" y="1"/>
                    <a:pt x="225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3" name="Google Shape;403;p11"/>
            <p:cNvSpPr/>
            <p:nvPr/>
          </p:nvSpPr>
          <p:spPr>
            <a:xfrm>
              <a:off x="-1762414" y="2747934"/>
              <a:ext cx="51800" cy="295433"/>
            </a:xfrm>
            <a:custGeom>
              <a:avLst/>
              <a:gdLst/>
              <a:ahLst/>
              <a:cxnLst/>
              <a:rect l="l" t="t" r="r" b="b"/>
              <a:pathLst>
                <a:path w="273" h="1557" extrusionOk="0">
                  <a:moveTo>
                    <a:pt x="242" y="0"/>
                  </a:moveTo>
                  <a:cubicBezTo>
                    <a:pt x="217" y="0"/>
                    <a:pt x="198" y="45"/>
                    <a:pt x="179" y="154"/>
                  </a:cubicBezTo>
                  <a:cubicBezTo>
                    <a:pt x="179" y="154"/>
                    <a:pt x="1" y="1353"/>
                    <a:pt x="124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98" y="1301"/>
                    <a:pt x="205" y="154"/>
                    <a:pt x="205" y="154"/>
                  </a:cubicBezTo>
                  <a:cubicBezTo>
                    <a:pt x="218" y="5"/>
                    <a:pt x="260" y="44"/>
                    <a:pt x="273" y="18"/>
                  </a:cubicBezTo>
                  <a:cubicBezTo>
                    <a:pt x="261" y="7"/>
                    <a:pt x="251" y="0"/>
                    <a:pt x="242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4" name="Google Shape;404;p11"/>
            <p:cNvSpPr/>
            <p:nvPr/>
          </p:nvSpPr>
          <p:spPr>
            <a:xfrm>
              <a:off x="-853357" y="3021547"/>
              <a:ext cx="23718" cy="44590"/>
            </a:xfrm>
            <a:custGeom>
              <a:avLst/>
              <a:gdLst/>
              <a:ahLst/>
              <a:cxnLst/>
              <a:rect l="l" t="t" r="r" b="b"/>
              <a:pathLst>
                <a:path w="125" h="235" extrusionOk="0">
                  <a:moveTo>
                    <a:pt x="75" y="1"/>
                  </a:moveTo>
                  <a:cubicBezTo>
                    <a:pt x="40" y="1"/>
                    <a:pt x="1" y="24"/>
                    <a:pt x="18" y="47"/>
                  </a:cubicBezTo>
                  <a:cubicBezTo>
                    <a:pt x="70" y="102"/>
                    <a:pt x="57" y="235"/>
                    <a:pt x="57" y="235"/>
                  </a:cubicBezTo>
                  <a:lnTo>
                    <a:pt x="99" y="235"/>
                  </a:lnTo>
                  <a:cubicBezTo>
                    <a:pt x="99" y="102"/>
                    <a:pt x="125" y="47"/>
                    <a:pt x="125" y="47"/>
                  </a:cubicBezTo>
                  <a:cubicBezTo>
                    <a:pt x="125" y="13"/>
                    <a:pt x="101" y="1"/>
                    <a:pt x="75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5" name="Google Shape;405;p11"/>
            <p:cNvSpPr/>
            <p:nvPr/>
          </p:nvSpPr>
          <p:spPr>
            <a:xfrm>
              <a:off x="-880870" y="2747175"/>
              <a:ext cx="83676" cy="300366"/>
            </a:xfrm>
            <a:custGeom>
              <a:avLst/>
              <a:gdLst/>
              <a:ahLst/>
              <a:cxnLst/>
              <a:rect l="l" t="t" r="r" b="b"/>
              <a:pathLst>
                <a:path w="441" h="1583" extrusionOk="0">
                  <a:moveTo>
                    <a:pt x="225" y="1"/>
                  </a:moveTo>
                  <a:cubicBezTo>
                    <a:pt x="203" y="1"/>
                    <a:pt x="182" y="48"/>
                    <a:pt x="163" y="158"/>
                  </a:cubicBezTo>
                  <a:cubicBezTo>
                    <a:pt x="163" y="158"/>
                    <a:pt x="1" y="1438"/>
                    <a:pt x="108" y="1535"/>
                  </a:cubicBezTo>
                  <a:cubicBezTo>
                    <a:pt x="140" y="1563"/>
                    <a:pt x="186" y="1583"/>
                    <a:pt x="233" y="1583"/>
                  </a:cubicBezTo>
                  <a:cubicBezTo>
                    <a:pt x="320" y="1583"/>
                    <a:pt x="410" y="1512"/>
                    <a:pt x="419" y="1292"/>
                  </a:cubicBezTo>
                  <a:cubicBezTo>
                    <a:pt x="440" y="1002"/>
                    <a:pt x="326" y="1"/>
                    <a:pt x="225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6" name="Google Shape;406;p11"/>
            <p:cNvSpPr/>
            <p:nvPr/>
          </p:nvSpPr>
          <p:spPr>
            <a:xfrm>
              <a:off x="-883337" y="2747934"/>
              <a:ext cx="48764" cy="295433"/>
            </a:xfrm>
            <a:custGeom>
              <a:avLst/>
              <a:gdLst/>
              <a:ahLst/>
              <a:cxnLst/>
              <a:rect l="l" t="t" r="r" b="b"/>
              <a:pathLst>
                <a:path w="257" h="1557" extrusionOk="0">
                  <a:moveTo>
                    <a:pt x="234" y="0"/>
                  </a:moveTo>
                  <a:cubicBezTo>
                    <a:pt x="214" y="0"/>
                    <a:pt x="195" y="45"/>
                    <a:pt x="176" y="154"/>
                  </a:cubicBezTo>
                  <a:cubicBezTo>
                    <a:pt x="176" y="154"/>
                    <a:pt x="1" y="1353"/>
                    <a:pt x="121" y="1531"/>
                  </a:cubicBezTo>
                  <a:cubicBezTo>
                    <a:pt x="134" y="1544"/>
                    <a:pt x="147" y="1544"/>
                    <a:pt x="163" y="1557"/>
                  </a:cubicBezTo>
                  <a:cubicBezTo>
                    <a:pt x="95" y="1301"/>
                    <a:pt x="202" y="154"/>
                    <a:pt x="202" y="154"/>
                  </a:cubicBezTo>
                  <a:cubicBezTo>
                    <a:pt x="215" y="5"/>
                    <a:pt x="257" y="44"/>
                    <a:pt x="257" y="18"/>
                  </a:cubicBezTo>
                  <a:cubicBezTo>
                    <a:pt x="249" y="7"/>
                    <a:pt x="241" y="0"/>
                    <a:pt x="234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7" name="Google Shape;407;p11"/>
            <p:cNvSpPr/>
            <p:nvPr/>
          </p:nvSpPr>
          <p:spPr>
            <a:xfrm>
              <a:off x="-1811367" y="3021547"/>
              <a:ext cx="23908" cy="44590"/>
            </a:xfrm>
            <a:custGeom>
              <a:avLst/>
              <a:gdLst/>
              <a:ahLst/>
              <a:cxnLst/>
              <a:rect l="l" t="t" r="r" b="b"/>
              <a:pathLst>
                <a:path w="126" h="235" extrusionOk="0">
                  <a:moveTo>
                    <a:pt x="71" y="1"/>
                  </a:moveTo>
                  <a:cubicBezTo>
                    <a:pt x="36" y="1"/>
                    <a:pt x="1" y="24"/>
                    <a:pt x="16" y="47"/>
                  </a:cubicBezTo>
                  <a:cubicBezTo>
                    <a:pt x="58" y="102"/>
                    <a:pt x="45" y="235"/>
                    <a:pt x="45" y="235"/>
                  </a:cubicBezTo>
                  <a:lnTo>
                    <a:pt x="97" y="235"/>
                  </a:lnTo>
                  <a:cubicBezTo>
                    <a:pt x="84" y="102"/>
                    <a:pt x="126" y="47"/>
                    <a:pt x="126" y="47"/>
                  </a:cubicBezTo>
                  <a:cubicBezTo>
                    <a:pt x="120" y="13"/>
                    <a:pt x="96" y="1"/>
                    <a:pt x="71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8" name="Google Shape;408;p11"/>
            <p:cNvSpPr/>
            <p:nvPr/>
          </p:nvSpPr>
          <p:spPr>
            <a:xfrm>
              <a:off x="-1839259" y="2747175"/>
              <a:ext cx="82159" cy="300366"/>
            </a:xfrm>
            <a:custGeom>
              <a:avLst/>
              <a:gdLst/>
              <a:ahLst/>
              <a:cxnLst/>
              <a:rect l="l" t="t" r="r" b="b"/>
              <a:pathLst>
                <a:path w="433" h="1583" extrusionOk="0">
                  <a:moveTo>
                    <a:pt x="218" y="1"/>
                  </a:moveTo>
                  <a:cubicBezTo>
                    <a:pt x="195" y="1"/>
                    <a:pt x="172" y="48"/>
                    <a:pt x="150" y="158"/>
                  </a:cubicBezTo>
                  <a:cubicBezTo>
                    <a:pt x="150" y="158"/>
                    <a:pt x="1" y="1438"/>
                    <a:pt x="111" y="1535"/>
                  </a:cubicBezTo>
                  <a:cubicBezTo>
                    <a:pt x="139" y="1563"/>
                    <a:pt x="183" y="1583"/>
                    <a:pt x="229" y="1583"/>
                  </a:cubicBezTo>
                  <a:cubicBezTo>
                    <a:pt x="316" y="1583"/>
                    <a:pt x="411" y="1512"/>
                    <a:pt x="422" y="1292"/>
                  </a:cubicBezTo>
                  <a:cubicBezTo>
                    <a:pt x="433" y="1002"/>
                    <a:pt x="325" y="1"/>
                    <a:pt x="218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9" name="Google Shape;409;p11"/>
            <p:cNvSpPr/>
            <p:nvPr/>
          </p:nvSpPr>
          <p:spPr>
            <a:xfrm>
              <a:off x="-1844193" y="2747934"/>
              <a:ext cx="51230" cy="295433"/>
            </a:xfrm>
            <a:custGeom>
              <a:avLst/>
              <a:gdLst/>
              <a:ahLst/>
              <a:cxnLst/>
              <a:rect l="l" t="t" r="r" b="b"/>
              <a:pathLst>
                <a:path w="270" h="1557" extrusionOk="0">
                  <a:moveTo>
                    <a:pt x="246" y="0"/>
                  </a:moveTo>
                  <a:cubicBezTo>
                    <a:pt x="223" y="0"/>
                    <a:pt x="197" y="45"/>
                    <a:pt x="176" y="154"/>
                  </a:cubicBezTo>
                  <a:cubicBezTo>
                    <a:pt x="176" y="154"/>
                    <a:pt x="1" y="1353"/>
                    <a:pt x="137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108" y="1301"/>
                    <a:pt x="205" y="154"/>
                    <a:pt x="205" y="154"/>
                  </a:cubicBezTo>
                  <a:cubicBezTo>
                    <a:pt x="218" y="5"/>
                    <a:pt x="257" y="44"/>
                    <a:pt x="270" y="18"/>
                  </a:cubicBezTo>
                  <a:cubicBezTo>
                    <a:pt x="263" y="7"/>
                    <a:pt x="255" y="0"/>
                    <a:pt x="246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0" name="Google Shape;410;p11"/>
            <p:cNvSpPr/>
            <p:nvPr/>
          </p:nvSpPr>
          <p:spPr>
            <a:xfrm>
              <a:off x="-1904910" y="3021547"/>
              <a:ext cx="25236" cy="44590"/>
            </a:xfrm>
            <a:custGeom>
              <a:avLst/>
              <a:gdLst/>
              <a:ahLst/>
              <a:cxnLst/>
              <a:rect l="l" t="t" r="r" b="b"/>
              <a:pathLst>
                <a:path w="133" h="235" extrusionOk="0">
                  <a:moveTo>
                    <a:pt x="74" y="1"/>
                  </a:moveTo>
                  <a:cubicBezTo>
                    <a:pt x="37" y="1"/>
                    <a:pt x="0" y="24"/>
                    <a:pt x="23" y="47"/>
                  </a:cubicBezTo>
                  <a:cubicBezTo>
                    <a:pt x="65" y="102"/>
                    <a:pt x="52" y="235"/>
                    <a:pt x="52" y="235"/>
                  </a:cubicBezTo>
                  <a:lnTo>
                    <a:pt x="104" y="235"/>
                  </a:lnTo>
                  <a:cubicBezTo>
                    <a:pt x="91" y="102"/>
                    <a:pt x="133" y="47"/>
                    <a:pt x="133" y="47"/>
                  </a:cubicBezTo>
                  <a:cubicBezTo>
                    <a:pt x="127" y="13"/>
                    <a:pt x="100" y="1"/>
                    <a:pt x="74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1" name="Google Shape;411;p11"/>
            <p:cNvSpPr/>
            <p:nvPr/>
          </p:nvSpPr>
          <p:spPr>
            <a:xfrm>
              <a:off x="-1933941" y="2747175"/>
              <a:ext cx="84625" cy="300366"/>
            </a:xfrm>
            <a:custGeom>
              <a:avLst/>
              <a:gdLst/>
              <a:ahLst/>
              <a:cxnLst/>
              <a:rect l="l" t="t" r="r" b="b"/>
              <a:pathLst>
                <a:path w="446" h="1583" extrusionOk="0">
                  <a:moveTo>
                    <a:pt x="231" y="1"/>
                  </a:moveTo>
                  <a:cubicBezTo>
                    <a:pt x="208" y="1"/>
                    <a:pt x="185" y="48"/>
                    <a:pt x="163" y="158"/>
                  </a:cubicBezTo>
                  <a:cubicBezTo>
                    <a:pt x="163" y="158"/>
                    <a:pt x="1" y="1438"/>
                    <a:pt x="111" y="1535"/>
                  </a:cubicBezTo>
                  <a:cubicBezTo>
                    <a:pt x="143" y="1563"/>
                    <a:pt x="189" y="1583"/>
                    <a:pt x="235" y="1583"/>
                  </a:cubicBezTo>
                  <a:cubicBezTo>
                    <a:pt x="323" y="1583"/>
                    <a:pt x="416" y="1512"/>
                    <a:pt x="435" y="1292"/>
                  </a:cubicBezTo>
                  <a:cubicBezTo>
                    <a:pt x="446" y="1002"/>
                    <a:pt x="338" y="1"/>
                    <a:pt x="23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2" name="Google Shape;412;p11"/>
            <p:cNvSpPr/>
            <p:nvPr/>
          </p:nvSpPr>
          <p:spPr>
            <a:xfrm>
              <a:off x="-1936407" y="2747934"/>
              <a:ext cx="51230" cy="295433"/>
            </a:xfrm>
            <a:custGeom>
              <a:avLst/>
              <a:gdLst/>
              <a:ahLst/>
              <a:cxnLst/>
              <a:rect l="l" t="t" r="r" b="b"/>
              <a:pathLst>
                <a:path w="270" h="1557" extrusionOk="0">
                  <a:moveTo>
                    <a:pt x="241" y="0"/>
                  </a:moveTo>
                  <a:cubicBezTo>
                    <a:pt x="217" y="0"/>
                    <a:pt x="197" y="45"/>
                    <a:pt x="176" y="154"/>
                  </a:cubicBezTo>
                  <a:cubicBezTo>
                    <a:pt x="176" y="154"/>
                    <a:pt x="1" y="1353"/>
                    <a:pt x="124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95" y="1301"/>
                    <a:pt x="205" y="154"/>
                    <a:pt x="205" y="154"/>
                  </a:cubicBezTo>
                  <a:cubicBezTo>
                    <a:pt x="218" y="5"/>
                    <a:pt x="257" y="44"/>
                    <a:pt x="270" y="18"/>
                  </a:cubicBezTo>
                  <a:cubicBezTo>
                    <a:pt x="259" y="7"/>
                    <a:pt x="250" y="0"/>
                    <a:pt x="241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3" name="Google Shape;413;p11"/>
            <p:cNvSpPr/>
            <p:nvPr/>
          </p:nvSpPr>
          <p:spPr>
            <a:xfrm>
              <a:off x="-1890300" y="3191938"/>
              <a:ext cx="333378" cy="7590"/>
            </a:xfrm>
            <a:custGeom>
              <a:avLst/>
              <a:gdLst/>
              <a:ahLst/>
              <a:cxnLst/>
              <a:rect l="l" t="t" r="r" b="b"/>
              <a:pathLst>
                <a:path w="1757" h="40" extrusionOk="0">
                  <a:moveTo>
                    <a:pt x="1" y="1"/>
                  </a:moveTo>
                  <a:lnTo>
                    <a:pt x="1" y="40"/>
                  </a:lnTo>
                  <a:lnTo>
                    <a:pt x="1757" y="4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4" name="Google Shape;414;p11"/>
            <p:cNvSpPr/>
            <p:nvPr/>
          </p:nvSpPr>
          <p:spPr>
            <a:xfrm>
              <a:off x="-1890300" y="3214707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5" name="Google Shape;415;p11"/>
            <p:cNvSpPr/>
            <p:nvPr/>
          </p:nvSpPr>
          <p:spPr>
            <a:xfrm>
              <a:off x="-1890300" y="3235010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6" name="Google Shape;416;p11"/>
            <p:cNvSpPr/>
            <p:nvPr/>
          </p:nvSpPr>
          <p:spPr>
            <a:xfrm>
              <a:off x="-1882331" y="3179035"/>
              <a:ext cx="12523" cy="81970"/>
            </a:xfrm>
            <a:custGeom>
              <a:avLst/>
              <a:gdLst/>
              <a:ahLst/>
              <a:cxnLst/>
              <a:rect l="l" t="t" r="r" b="b"/>
              <a:pathLst>
                <a:path w="6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6" y="432"/>
                  </a:lnTo>
                  <a:lnTo>
                    <a:pt x="6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7" name="Google Shape;417;p11"/>
            <p:cNvSpPr/>
            <p:nvPr/>
          </p:nvSpPr>
          <p:spPr>
            <a:xfrm>
              <a:off x="-1823890" y="3179035"/>
              <a:ext cx="10626" cy="81970"/>
            </a:xfrm>
            <a:custGeom>
              <a:avLst/>
              <a:gdLst/>
              <a:ahLst/>
              <a:cxnLst/>
              <a:rect l="l" t="t" r="r" b="b"/>
              <a:pathLst>
                <a:path w="5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56" y="432"/>
                  </a:lnTo>
                  <a:lnTo>
                    <a:pt x="5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8" name="Google Shape;418;p11"/>
            <p:cNvSpPr/>
            <p:nvPr/>
          </p:nvSpPr>
          <p:spPr>
            <a:xfrm>
              <a:off x="-1767347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9" name="Google Shape;419;p11"/>
            <p:cNvSpPr/>
            <p:nvPr/>
          </p:nvSpPr>
          <p:spPr>
            <a:xfrm>
              <a:off x="-170587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0" name="Google Shape;420;p11"/>
            <p:cNvSpPr/>
            <p:nvPr/>
          </p:nvSpPr>
          <p:spPr>
            <a:xfrm>
              <a:off x="-1644394" y="3176568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1" name="Google Shape;421;p11"/>
            <p:cNvSpPr/>
            <p:nvPr/>
          </p:nvSpPr>
          <p:spPr>
            <a:xfrm>
              <a:off x="-158045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2" name="Google Shape;422;p11"/>
            <p:cNvSpPr/>
            <p:nvPr/>
          </p:nvSpPr>
          <p:spPr>
            <a:xfrm>
              <a:off x="-519980" y="3040711"/>
              <a:ext cx="333378" cy="5123"/>
            </a:xfrm>
            <a:custGeom>
              <a:avLst/>
              <a:gdLst/>
              <a:ahLst/>
              <a:cxnLst/>
              <a:rect l="l" t="t" r="r" b="b"/>
              <a:pathLst>
                <a:path w="1757" h="27" extrusionOk="0">
                  <a:moveTo>
                    <a:pt x="1" y="1"/>
                  </a:moveTo>
                  <a:lnTo>
                    <a:pt x="1" y="27"/>
                  </a:lnTo>
                  <a:lnTo>
                    <a:pt x="1757" y="27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3" name="Google Shape;423;p11"/>
            <p:cNvSpPr/>
            <p:nvPr/>
          </p:nvSpPr>
          <p:spPr>
            <a:xfrm>
              <a:off x="-519980" y="3063480"/>
              <a:ext cx="333378" cy="5692"/>
            </a:xfrm>
            <a:custGeom>
              <a:avLst/>
              <a:gdLst/>
              <a:ahLst/>
              <a:cxnLst/>
              <a:rect l="l" t="t" r="r" b="b"/>
              <a:pathLst>
                <a:path w="1757" h="30" extrusionOk="0">
                  <a:moveTo>
                    <a:pt x="1" y="1"/>
                  </a:moveTo>
                  <a:lnTo>
                    <a:pt x="1" y="30"/>
                  </a:lnTo>
                  <a:lnTo>
                    <a:pt x="1757" y="3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4" name="Google Shape;424;p11"/>
            <p:cNvSpPr/>
            <p:nvPr/>
          </p:nvSpPr>
          <p:spPr>
            <a:xfrm>
              <a:off x="-519980" y="3084352"/>
              <a:ext cx="333378" cy="5123"/>
            </a:xfrm>
            <a:custGeom>
              <a:avLst/>
              <a:gdLst/>
              <a:ahLst/>
              <a:cxnLst/>
              <a:rect l="l" t="t" r="r" b="b"/>
              <a:pathLst>
                <a:path w="1757" h="27" extrusionOk="0">
                  <a:moveTo>
                    <a:pt x="1" y="1"/>
                  </a:moveTo>
                  <a:lnTo>
                    <a:pt x="1" y="27"/>
                  </a:lnTo>
                  <a:lnTo>
                    <a:pt x="1757" y="27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5" name="Google Shape;425;p11"/>
            <p:cNvSpPr/>
            <p:nvPr/>
          </p:nvSpPr>
          <p:spPr>
            <a:xfrm>
              <a:off x="-51201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6" name="Google Shape;426;p11"/>
            <p:cNvSpPr/>
            <p:nvPr/>
          </p:nvSpPr>
          <p:spPr>
            <a:xfrm>
              <a:off x="-453001" y="3025341"/>
              <a:ext cx="10056" cy="81970"/>
            </a:xfrm>
            <a:custGeom>
              <a:avLst/>
              <a:gdLst/>
              <a:ahLst/>
              <a:cxnLst/>
              <a:rect l="l" t="t" r="r" b="b"/>
              <a:pathLst>
                <a:path w="53" h="432" extrusionOk="0">
                  <a:moveTo>
                    <a:pt x="1" y="1"/>
                  </a:moveTo>
                  <a:lnTo>
                    <a:pt x="1" y="432"/>
                  </a:lnTo>
                  <a:lnTo>
                    <a:pt x="53" y="432"/>
                  </a:lnTo>
                  <a:lnTo>
                    <a:pt x="53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7" name="Google Shape;427;p11"/>
            <p:cNvSpPr/>
            <p:nvPr/>
          </p:nvSpPr>
          <p:spPr>
            <a:xfrm>
              <a:off x="-397026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8" name="Google Shape;428;p11"/>
            <p:cNvSpPr/>
            <p:nvPr/>
          </p:nvSpPr>
          <p:spPr>
            <a:xfrm>
              <a:off x="-33555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9" name="Google Shape;429;p11"/>
            <p:cNvSpPr/>
            <p:nvPr/>
          </p:nvSpPr>
          <p:spPr>
            <a:xfrm>
              <a:off x="-274073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0" name="Google Shape;430;p11"/>
            <p:cNvSpPr/>
            <p:nvPr/>
          </p:nvSpPr>
          <p:spPr>
            <a:xfrm>
              <a:off x="-21013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1" name="Google Shape;431;p11"/>
            <p:cNvSpPr/>
            <p:nvPr/>
          </p:nvSpPr>
          <p:spPr>
            <a:xfrm>
              <a:off x="-1488236" y="3191938"/>
              <a:ext cx="333378" cy="7590"/>
            </a:xfrm>
            <a:custGeom>
              <a:avLst/>
              <a:gdLst/>
              <a:ahLst/>
              <a:cxnLst/>
              <a:rect l="l" t="t" r="r" b="b"/>
              <a:pathLst>
                <a:path w="1757" h="40" extrusionOk="0">
                  <a:moveTo>
                    <a:pt x="1" y="1"/>
                  </a:moveTo>
                  <a:lnTo>
                    <a:pt x="1" y="40"/>
                  </a:lnTo>
                  <a:lnTo>
                    <a:pt x="1757" y="4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2" name="Google Shape;432;p11"/>
            <p:cNvSpPr/>
            <p:nvPr/>
          </p:nvSpPr>
          <p:spPr>
            <a:xfrm>
              <a:off x="-1488236" y="3214707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3" name="Google Shape;433;p11"/>
            <p:cNvSpPr/>
            <p:nvPr/>
          </p:nvSpPr>
          <p:spPr>
            <a:xfrm>
              <a:off x="-1488236" y="3235010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4" name="Google Shape;434;p11"/>
            <p:cNvSpPr/>
            <p:nvPr/>
          </p:nvSpPr>
          <p:spPr>
            <a:xfrm>
              <a:off x="-147780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5" name="Google Shape;435;p11"/>
            <p:cNvSpPr/>
            <p:nvPr/>
          </p:nvSpPr>
          <p:spPr>
            <a:xfrm>
              <a:off x="-1421256" y="3179035"/>
              <a:ext cx="12523" cy="81970"/>
            </a:xfrm>
            <a:custGeom>
              <a:avLst/>
              <a:gdLst/>
              <a:ahLst/>
              <a:cxnLst/>
              <a:rect l="l" t="t" r="r" b="b"/>
              <a:pathLst>
                <a:path w="6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6" y="432"/>
                  </a:lnTo>
                  <a:lnTo>
                    <a:pt x="6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6" name="Google Shape;436;p11"/>
            <p:cNvSpPr/>
            <p:nvPr/>
          </p:nvSpPr>
          <p:spPr>
            <a:xfrm>
              <a:off x="-136281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7" name="Google Shape;437;p11"/>
            <p:cNvSpPr/>
            <p:nvPr/>
          </p:nvSpPr>
          <p:spPr>
            <a:xfrm>
              <a:off x="-130380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8" name="Google Shape;438;p11"/>
            <p:cNvSpPr/>
            <p:nvPr/>
          </p:nvSpPr>
          <p:spPr>
            <a:xfrm>
              <a:off x="-1239863" y="3176568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9" name="Google Shape;439;p11"/>
            <p:cNvSpPr/>
            <p:nvPr/>
          </p:nvSpPr>
          <p:spPr>
            <a:xfrm>
              <a:off x="-117838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440" name="Google Shape;440;p11"/>
          <p:cNvSpPr txBox="1">
            <a:spLocks noGrp="1"/>
          </p:cNvSpPr>
          <p:nvPr>
            <p:ph type="title" hasCustomPrompt="1"/>
          </p:nvPr>
        </p:nvSpPr>
        <p:spPr>
          <a:xfrm>
            <a:off x="1792400" y="1024067"/>
            <a:ext cx="8607200" cy="211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12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41" name="Google Shape;441;p11"/>
          <p:cNvSpPr txBox="1">
            <a:spLocks noGrp="1"/>
          </p:cNvSpPr>
          <p:nvPr>
            <p:ph type="body" idx="1"/>
          </p:nvPr>
        </p:nvSpPr>
        <p:spPr>
          <a:xfrm>
            <a:off x="1792400" y="3029400"/>
            <a:ext cx="8607200" cy="51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1pPr>
            <a:lvl2pPr marL="1219170" lvl="1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2pPr>
            <a:lvl3pPr marL="1828754" lvl="2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3pPr>
            <a:lvl4pPr marL="2438339" lvl="3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4pPr>
            <a:lvl5pPr marL="3047924" lvl="4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5pPr>
            <a:lvl6pPr marL="3657509" lvl="5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6pPr>
            <a:lvl7pPr marL="4267093" lvl="6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7pPr>
            <a:lvl8pPr marL="4876678" lvl="7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8pPr>
            <a:lvl9pPr marL="5486263" lvl="8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512109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solidFill>
          <a:schemeClr val="lt1"/>
        </a:solidFill>
        <a:effectLst/>
      </p:bgPr>
    </p:bg>
    <p:spTree>
      <p:nvGrpSpPr>
        <p:cNvPr id="1" name="Shape 44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688141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able of contents"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Google Shape;444;p13"/>
          <p:cNvSpPr/>
          <p:nvPr/>
        </p:nvSpPr>
        <p:spPr>
          <a:xfrm>
            <a:off x="9159836" y="4280127"/>
            <a:ext cx="5411387" cy="2616965"/>
          </a:xfrm>
          <a:custGeom>
            <a:avLst/>
            <a:gdLst/>
            <a:ahLst/>
            <a:cxnLst/>
            <a:rect l="l" t="t" r="r" b="b"/>
            <a:pathLst>
              <a:path w="23491" h="11360" extrusionOk="0">
                <a:moveTo>
                  <a:pt x="23491" y="1"/>
                </a:moveTo>
                <a:cubicBezTo>
                  <a:pt x="23274" y="179"/>
                  <a:pt x="22924" y="435"/>
                  <a:pt x="22477" y="529"/>
                </a:cubicBezTo>
                <a:cubicBezTo>
                  <a:pt x="21748" y="691"/>
                  <a:pt x="21505" y="1096"/>
                  <a:pt x="20925" y="1339"/>
                </a:cubicBezTo>
                <a:cubicBezTo>
                  <a:pt x="20842" y="1374"/>
                  <a:pt x="20763" y="1389"/>
                  <a:pt x="20686" y="1389"/>
                </a:cubicBezTo>
                <a:cubicBezTo>
                  <a:pt x="20285" y="1389"/>
                  <a:pt x="19929" y="991"/>
                  <a:pt x="19368" y="991"/>
                </a:cubicBezTo>
                <a:cubicBezTo>
                  <a:pt x="19293" y="991"/>
                  <a:pt x="19213" y="999"/>
                  <a:pt x="19130" y="1015"/>
                </a:cubicBezTo>
                <a:cubicBezTo>
                  <a:pt x="18320" y="1177"/>
                  <a:pt x="18482" y="1663"/>
                  <a:pt x="17348" y="1744"/>
                </a:cubicBezTo>
                <a:cubicBezTo>
                  <a:pt x="16201" y="1838"/>
                  <a:pt x="16687" y="2405"/>
                  <a:pt x="15472" y="2729"/>
                </a:cubicBezTo>
                <a:cubicBezTo>
                  <a:pt x="14244" y="3053"/>
                  <a:pt x="14905" y="3296"/>
                  <a:pt x="14163" y="3539"/>
                </a:cubicBezTo>
                <a:cubicBezTo>
                  <a:pt x="13434" y="3782"/>
                  <a:pt x="13434" y="4038"/>
                  <a:pt x="13110" y="4362"/>
                </a:cubicBezTo>
                <a:cubicBezTo>
                  <a:pt x="13037" y="4435"/>
                  <a:pt x="12959" y="4463"/>
                  <a:pt x="12868" y="4463"/>
                </a:cubicBezTo>
                <a:cubicBezTo>
                  <a:pt x="12584" y="4463"/>
                  <a:pt x="12174" y="4192"/>
                  <a:pt x="11390" y="4192"/>
                </a:cubicBezTo>
                <a:cubicBezTo>
                  <a:pt x="11314" y="4192"/>
                  <a:pt x="11235" y="4194"/>
                  <a:pt x="11153" y="4200"/>
                </a:cubicBezTo>
                <a:cubicBezTo>
                  <a:pt x="9922" y="4281"/>
                  <a:pt x="9679" y="5010"/>
                  <a:pt x="9679" y="5010"/>
                </a:cubicBezTo>
                <a:lnTo>
                  <a:pt x="9112" y="4767"/>
                </a:lnTo>
                <a:cubicBezTo>
                  <a:pt x="8994" y="4748"/>
                  <a:pt x="8885" y="4739"/>
                  <a:pt x="8782" y="4739"/>
                </a:cubicBezTo>
                <a:cubicBezTo>
                  <a:pt x="8018" y="4739"/>
                  <a:pt x="7618" y="5230"/>
                  <a:pt x="7236" y="5658"/>
                </a:cubicBezTo>
                <a:cubicBezTo>
                  <a:pt x="3753" y="9559"/>
                  <a:pt x="1" y="10356"/>
                  <a:pt x="1" y="10356"/>
                </a:cubicBezTo>
                <a:cubicBezTo>
                  <a:pt x="1" y="10356"/>
                  <a:pt x="1249" y="11360"/>
                  <a:pt x="3772" y="11360"/>
                </a:cubicBezTo>
                <a:cubicBezTo>
                  <a:pt x="4651" y="11360"/>
                  <a:pt x="5684" y="11238"/>
                  <a:pt x="6873" y="10910"/>
                </a:cubicBezTo>
                <a:lnTo>
                  <a:pt x="23491" y="10910"/>
                </a:lnTo>
                <a:lnTo>
                  <a:pt x="23491" y="1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5" name="Google Shape;445;p13"/>
          <p:cNvSpPr/>
          <p:nvPr/>
        </p:nvSpPr>
        <p:spPr>
          <a:xfrm>
            <a:off x="34" y="6155536"/>
            <a:ext cx="12191948" cy="522709"/>
          </a:xfrm>
          <a:custGeom>
            <a:avLst/>
            <a:gdLst/>
            <a:ahLst/>
            <a:cxnLst/>
            <a:rect l="l" t="t" r="r" b="b"/>
            <a:pathLst>
              <a:path w="53351" h="10705" extrusionOk="0">
                <a:moveTo>
                  <a:pt x="1" y="0"/>
                </a:moveTo>
                <a:lnTo>
                  <a:pt x="1" y="10705"/>
                </a:lnTo>
                <a:lnTo>
                  <a:pt x="53351" y="6075"/>
                </a:lnTo>
                <a:lnTo>
                  <a:pt x="53351" y="431"/>
                </a:lnTo>
                <a:cubicBezTo>
                  <a:pt x="50211" y="280"/>
                  <a:pt x="46158" y="14"/>
                  <a:pt x="42519" y="14"/>
                </a:cubicBezTo>
                <a:cubicBezTo>
                  <a:pt x="40918" y="14"/>
                  <a:pt x="39398" y="65"/>
                  <a:pt x="38071" y="201"/>
                </a:cubicBezTo>
                <a:cubicBezTo>
                  <a:pt x="36591" y="351"/>
                  <a:pt x="33181" y="406"/>
                  <a:pt x="28961" y="406"/>
                </a:cubicBezTo>
                <a:cubicBezTo>
                  <a:pt x="18777" y="406"/>
                  <a:pt x="3875" y="85"/>
                  <a:pt x="1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6" name="Google Shape;446;p13"/>
          <p:cNvSpPr/>
          <p:nvPr/>
        </p:nvSpPr>
        <p:spPr>
          <a:xfrm>
            <a:off x="13734" y="6089065"/>
            <a:ext cx="4168037" cy="782587"/>
          </a:xfrm>
          <a:custGeom>
            <a:avLst/>
            <a:gdLst/>
            <a:ahLst/>
            <a:cxnLst/>
            <a:rect l="l" t="t" r="r" b="b"/>
            <a:pathLst>
              <a:path w="18239" h="8318" extrusionOk="0">
                <a:moveTo>
                  <a:pt x="1" y="1"/>
                </a:moveTo>
                <a:lnTo>
                  <a:pt x="1" y="8318"/>
                </a:lnTo>
                <a:lnTo>
                  <a:pt x="13690" y="5279"/>
                </a:lnTo>
                <a:lnTo>
                  <a:pt x="4469" y="2917"/>
                </a:lnTo>
                <a:cubicBezTo>
                  <a:pt x="4469" y="2917"/>
                  <a:pt x="9883" y="2823"/>
                  <a:pt x="13959" y="2823"/>
                </a:cubicBezTo>
                <a:cubicBezTo>
                  <a:pt x="15997" y="2823"/>
                  <a:pt x="17711" y="2849"/>
                  <a:pt x="18239" y="2917"/>
                </a:cubicBezTo>
                <a:cubicBezTo>
                  <a:pt x="17131" y="2243"/>
                  <a:pt x="14594" y="1582"/>
                  <a:pt x="11704" y="1015"/>
                </a:cubicBezTo>
                <a:cubicBezTo>
                  <a:pt x="6737" y="380"/>
                  <a:pt x="2175" y="11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7" name="Google Shape;447;p13"/>
          <p:cNvSpPr/>
          <p:nvPr/>
        </p:nvSpPr>
        <p:spPr>
          <a:xfrm>
            <a:off x="4398834" y="6221238"/>
            <a:ext cx="7793103" cy="636815"/>
          </a:xfrm>
          <a:custGeom>
            <a:avLst/>
            <a:gdLst/>
            <a:ahLst/>
            <a:cxnLst/>
            <a:rect l="l" t="t" r="r" b="b"/>
            <a:pathLst>
              <a:path w="34102" h="12070" extrusionOk="0">
                <a:moveTo>
                  <a:pt x="34102" y="0"/>
                </a:moveTo>
                <a:cubicBezTo>
                  <a:pt x="29744" y="107"/>
                  <a:pt x="22224" y="862"/>
                  <a:pt x="15216" y="1889"/>
                </a:cubicBezTo>
                <a:cubicBezTo>
                  <a:pt x="5104" y="3373"/>
                  <a:pt x="1" y="4063"/>
                  <a:pt x="1" y="4063"/>
                </a:cubicBezTo>
                <a:lnTo>
                  <a:pt x="27152" y="12069"/>
                </a:lnTo>
                <a:lnTo>
                  <a:pt x="34102" y="12069"/>
                </a:lnTo>
                <a:lnTo>
                  <a:pt x="3410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8" name="Google Shape;448;p13"/>
          <p:cNvSpPr/>
          <p:nvPr/>
        </p:nvSpPr>
        <p:spPr>
          <a:xfrm>
            <a:off x="8795401" y="6335337"/>
            <a:ext cx="3396543" cy="522713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9" name="Google Shape;449;p13"/>
          <p:cNvSpPr/>
          <p:nvPr/>
        </p:nvSpPr>
        <p:spPr>
          <a:xfrm>
            <a:off x="34" y="6272037"/>
            <a:ext cx="12191948" cy="585987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0" name="Google Shape;450;p13"/>
          <p:cNvSpPr txBox="1">
            <a:spLocks noGrp="1"/>
          </p:cNvSpPr>
          <p:nvPr>
            <p:ph type="title"/>
          </p:nvPr>
        </p:nvSpPr>
        <p:spPr>
          <a:xfrm>
            <a:off x="2598800" y="549200"/>
            <a:ext cx="6994400" cy="65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451" name="Google Shape;451;p13"/>
          <p:cNvSpPr txBox="1">
            <a:spLocks noGrp="1"/>
          </p:cNvSpPr>
          <p:nvPr>
            <p:ph type="subTitle" idx="1"/>
          </p:nvPr>
        </p:nvSpPr>
        <p:spPr>
          <a:xfrm>
            <a:off x="2227100" y="2888416"/>
            <a:ext cx="3569200" cy="74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52" name="Google Shape;452;p13"/>
          <p:cNvSpPr txBox="1">
            <a:spLocks noGrp="1"/>
          </p:cNvSpPr>
          <p:nvPr>
            <p:ph type="title" idx="2"/>
          </p:nvPr>
        </p:nvSpPr>
        <p:spPr>
          <a:xfrm>
            <a:off x="2227275" y="2281187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53" name="Google Shape;453;p13"/>
          <p:cNvSpPr txBox="1">
            <a:spLocks noGrp="1"/>
          </p:cNvSpPr>
          <p:nvPr>
            <p:ph type="title" idx="3" hasCustomPrompt="1"/>
          </p:nvPr>
        </p:nvSpPr>
        <p:spPr>
          <a:xfrm>
            <a:off x="2227159" y="1513567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54" name="Google Shape;454;p13"/>
          <p:cNvSpPr txBox="1">
            <a:spLocks noGrp="1"/>
          </p:cNvSpPr>
          <p:nvPr>
            <p:ph type="subTitle" idx="4"/>
          </p:nvPr>
        </p:nvSpPr>
        <p:spPr>
          <a:xfrm>
            <a:off x="6395501" y="2937395"/>
            <a:ext cx="3569200" cy="74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55" name="Google Shape;455;p13"/>
          <p:cNvSpPr txBox="1">
            <a:spLocks noGrp="1"/>
          </p:cNvSpPr>
          <p:nvPr>
            <p:ph type="title" idx="5"/>
          </p:nvPr>
        </p:nvSpPr>
        <p:spPr>
          <a:xfrm>
            <a:off x="6395685" y="2281200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56" name="Google Shape;456;p13"/>
          <p:cNvSpPr txBox="1">
            <a:spLocks noGrp="1"/>
          </p:cNvSpPr>
          <p:nvPr>
            <p:ph type="title" idx="6" hasCustomPrompt="1"/>
          </p:nvPr>
        </p:nvSpPr>
        <p:spPr>
          <a:xfrm>
            <a:off x="6395487" y="1513500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57" name="Google Shape;457;p13"/>
          <p:cNvSpPr txBox="1">
            <a:spLocks noGrp="1"/>
          </p:cNvSpPr>
          <p:nvPr>
            <p:ph type="subTitle" idx="7"/>
          </p:nvPr>
        </p:nvSpPr>
        <p:spPr>
          <a:xfrm>
            <a:off x="2227100" y="5218200"/>
            <a:ext cx="3569200" cy="74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58" name="Google Shape;458;p13"/>
          <p:cNvSpPr txBox="1">
            <a:spLocks noGrp="1"/>
          </p:cNvSpPr>
          <p:nvPr>
            <p:ph type="title" idx="8"/>
          </p:nvPr>
        </p:nvSpPr>
        <p:spPr>
          <a:xfrm>
            <a:off x="2227275" y="4617155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59" name="Google Shape;459;p13"/>
          <p:cNvSpPr txBox="1">
            <a:spLocks noGrp="1"/>
          </p:cNvSpPr>
          <p:nvPr>
            <p:ph type="title" idx="9" hasCustomPrompt="1"/>
          </p:nvPr>
        </p:nvSpPr>
        <p:spPr>
          <a:xfrm>
            <a:off x="2227120" y="3849473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60" name="Google Shape;460;p13"/>
          <p:cNvSpPr txBox="1">
            <a:spLocks noGrp="1"/>
          </p:cNvSpPr>
          <p:nvPr>
            <p:ph type="subTitle" idx="13"/>
          </p:nvPr>
        </p:nvSpPr>
        <p:spPr>
          <a:xfrm>
            <a:off x="6395467" y="5218201"/>
            <a:ext cx="3569200" cy="74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61" name="Google Shape;461;p13"/>
          <p:cNvSpPr txBox="1">
            <a:spLocks noGrp="1"/>
          </p:cNvSpPr>
          <p:nvPr>
            <p:ph type="title" idx="14"/>
          </p:nvPr>
        </p:nvSpPr>
        <p:spPr>
          <a:xfrm>
            <a:off x="6395647" y="4617159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62" name="Google Shape;462;p13"/>
          <p:cNvSpPr txBox="1">
            <a:spLocks noGrp="1"/>
          </p:cNvSpPr>
          <p:nvPr>
            <p:ph type="title" idx="15" hasCustomPrompt="1"/>
          </p:nvPr>
        </p:nvSpPr>
        <p:spPr>
          <a:xfrm>
            <a:off x="6395487" y="3849480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272371541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">
  <p:cSld name="Title and three columns ">
    <p:spTree>
      <p:nvGrpSpPr>
        <p:cNvPr id="1" name="Shape 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Google Shape;464;p14"/>
          <p:cNvSpPr/>
          <p:nvPr/>
        </p:nvSpPr>
        <p:spPr>
          <a:xfrm>
            <a:off x="-2275534" y="0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5" name="Google Shape;465;p14"/>
          <p:cNvSpPr/>
          <p:nvPr/>
        </p:nvSpPr>
        <p:spPr>
          <a:xfrm>
            <a:off x="10538759" y="249352"/>
            <a:ext cx="4035276" cy="1851277"/>
          </a:xfrm>
          <a:custGeom>
            <a:avLst/>
            <a:gdLst/>
            <a:ahLst/>
            <a:cxnLst/>
            <a:rect l="l" t="t" r="r" b="b"/>
            <a:pathLst>
              <a:path w="13353" h="6126" extrusionOk="0">
                <a:moveTo>
                  <a:pt x="13095" y="1"/>
                </a:moveTo>
                <a:cubicBezTo>
                  <a:pt x="13024" y="1"/>
                  <a:pt x="12953" y="8"/>
                  <a:pt x="12880" y="21"/>
                </a:cubicBezTo>
                <a:cubicBezTo>
                  <a:pt x="12313" y="102"/>
                  <a:pt x="11921" y="588"/>
                  <a:pt x="11840" y="1139"/>
                </a:cubicBezTo>
                <a:cubicBezTo>
                  <a:pt x="11652" y="925"/>
                  <a:pt x="11302" y="750"/>
                  <a:pt x="11017" y="750"/>
                </a:cubicBezTo>
                <a:cubicBezTo>
                  <a:pt x="11003" y="749"/>
                  <a:pt x="10989" y="748"/>
                  <a:pt x="10975" y="748"/>
                </a:cubicBezTo>
                <a:cubicBezTo>
                  <a:pt x="10799" y="748"/>
                  <a:pt x="10615" y="841"/>
                  <a:pt x="10492" y="964"/>
                </a:cubicBezTo>
                <a:cubicBezTo>
                  <a:pt x="10343" y="1113"/>
                  <a:pt x="10275" y="1317"/>
                  <a:pt x="10288" y="1518"/>
                </a:cubicBezTo>
                <a:cubicBezTo>
                  <a:pt x="10211" y="1506"/>
                  <a:pt x="10129" y="1493"/>
                  <a:pt x="10048" y="1493"/>
                </a:cubicBezTo>
                <a:cubicBezTo>
                  <a:pt x="9957" y="1493"/>
                  <a:pt x="9868" y="1509"/>
                  <a:pt x="9789" y="1560"/>
                </a:cubicBezTo>
                <a:cubicBezTo>
                  <a:pt x="9666" y="1654"/>
                  <a:pt x="9614" y="1816"/>
                  <a:pt x="9666" y="1965"/>
                </a:cubicBezTo>
                <a:cubicBezTo>
                  <a:pt x="9465" y="1774"/>
                  <a:pt x="9180" y="1654"/>
                  <a:pt x="8911" y="1654"/>
                </a:cubicBezTo>
                <a:cubicBezTo>
                  <a:pt x="8629" y="1654"/>
                  <a:pt x="8344" y="1803"/>
                  <a:pt x="8195" y="2030"/>
                </a:cubicBezTo>
                <a:cubicBezTo>
                  <a:pt x="8114" y="2153"/>
                  <a:pt x="8075" y="2302"/>
                  <a:pt x="8033" y="2451"/>
                </a:cubicBezTo>
                <a:cubicBezTo>
                  <a:pt x="7981" y="2678"/>
                  <a:pt x="8020" y="2882"/>
                  <a:pt x="8007" y="3112"/>
                </a:cubicBezTo>
                <a:cubicBezTo>
                  <a:pt x="7888" y="3061"/>
                  <a:pt x="7763" y="3015"/>
                  <a:pt x="7636" y="3015"/>
                </a:cubicBezTo>
                <a:cubicBezTo>
                  <a:pt x="7562" y="3015"/>
                  <a:pt x="7488" y="3030"/>
                  <a:pt x="7414" y="3070"/>
                </a:cubicBezTo>
                <a:cubicBezTo>
                  <a:pt x="7210" y="3164"/>
                  <a:pt x="7090" y="3368"/>
                  <a:pt x="7074" y="3585"/>
                </a:cubicBezTo>
                <a:cubicBezTo>
                  <a:pt x="6891" y="3395"/>
                  <a:pt x="6691" y="3317"/>
                  <a:pt x="6491" y="3317"/>
                </a:cubicBezTo>
                <a:cubicBezTo>
                  <a:pt x="5877" y="3317"/>
                  <a:pt x="5255" y="4053"/>
                  <a:pt x="5091" y="4583"/>
                </a:cubicBezTo>
                <a:cubicBezTo>
                  <a:pt x="4916" y="4366"/>
                  <a:pt x="4699" y="4152"/>
                  <a:pt x="4417" y="4110"/>
                </a:cubicBezTo>
                <a:cubicBezTo>
                  <a:pt x="4396" y="4107"/>
                  <a:pt x="4374" y="4106"/>
                  <a:pt x="4352" y="4106"/>
                </a:cubicBezTo>
                <a:cubicBezTo>
                  <a:pt x="4085" y="4106"/>
                  <a:pt x="3813" y="4319"/>
                  <a:pt x="3876" y="4583"/>
                </a:cubicBezTo>
                <a:cubicBezTo>
                  <a:pt x="3687" y="4484"/>
                  <a:pt x="3490" y="4393"/>
                  <a:pt x="3289" y="4393"/>
                </a:cubicBezTo>
                <a:cubicBezTo>
                  <a:pt x="3273" y="4393"/>
                  <a:pt x="3257" y="4394"/>
                  <a:pt x="3241" y="4395"/>
                </a:cubicBezTo>
                <a:cubicBezTo>
                  <a:pt x="2972" y="4421"/>
                  <a:pt x="2849" y="4609"/>
                  <a:pt x="2755" y="4826"/>
                </a:cubicBezTo>
                <a:cubicBezTo>
                  <a:pt x="2679" y="4710"/>
                  <a:pt x="2540" y="4643"/>
                  <a:pt x="2403" y="4643"/>
                </a:cubicBezTo>
                <a:cubicBezTo>
                  <a:pt x="2348" y="4643"/>
                  <a:pt x="2293" y="4654"/>
                  <a:pt x="2243" y="4677"/>
                </a:cubicBezTo>
                <a:cubicBezTo>
                  <a:pt x="2052" y="4745"/>
                  <a:pt x="1932" y="4933"/>
                  <a:pt x="1919" y="5137"/>
                </a:cubicBezTo>
                <a:cubicBezTo>
                  <a:pt x="1878" y="5027"/>
                  <a:pt x="1766" y="4961"/>
                  <a:pt x="1650" y="4961"/>
                </a:cubicBezTo>
                <a:cubicBezTo>
                  <a:pt x="1608" y="4961"/>
                  <a:pt x="1566" y="4970"/>
                  <a:pt x="1527" y="4988"/>
                </a:cubicBezTo>
                <a:cubicBezTo>
                  <a:pt x="1378" y="5043"/>
                  <a:pt x="1297" y="5189"/>
                  <a:pt x="1271" y="5351"/>
                </a:cubicBezTo>
                <a:cubicBezTo>
                  <a:pt x="1189" y="5294"/>
                  <a:pt x="1103" y="5258"/>
                  <a:pt x="1015" y="5258"/>
                </a:cubicBezTo>
                <a:cubicBezTo>
                  <a:pt x="956" y="5258"/>
                  <a:pt x="897" y="5274"/>
                  <a:pt x="837" y="5312"/>
                </a:cubicBezTo>
                <a:cubicBezTo>
                  <a:pt x="798" y="5351"/>
                  <a:pt x="743" y="5406"/>
                  <a:pt x="691" y="5432"/>
                </a:cubicBezTo>
                <a:cubicBezTo>
                  <a:pt x="623" y="5461"/>
                  <a:pt x="542" y="5461"/>
                  <a:pt x="474" y="5461"/>
                </a:cubicBezTo>
                <a:lnTo>
                  <a:pt x="43" y="5461"/>
                </a:lnTo>
                <a:cubicBezTo>
                  <a:pt x="1" y="5513"/>
                  <a:pt x="69" y="5581"/>
                  <a:pt x="137" y="5610"/>
                </a:cubicBezTo>
                <a:cubicBezTo>
                  <a:pt x="284" y="5676"/>
                  <a:pt x="459" y="5710"/>
                  <a:pt x="636" y="5710"/>
                </a:cubicBezTo>
                <a:cubicBezTo>
                  <a:pt x="813" y="5710"/>
                  <a:pt x="992" y="5676"/>
                  <a:pt x="1148" y="5610"/>
                </a:cubicBezTo>
                <a:cubicBezTo>
                  <a:pt x="1221" y="5677"/>
                  <a:pt x="1320" y="5708"/>
                  <a:pt x="1422" y="5708"/>
                </a:cubicBezTo>
                <a:cubicBezTo>
                  <a:pt x="1588" y="5708"/>
                  <a:pt x="1762" y="5625"/>
                  <a:pt x="1838" y="5474"/>
                </a:cubicBezTo>
                <a:cubicBezTo>
                  <a:pt x="1917" y="5516"/>
                  <a:pt x="2010" y="5537"/>
                  <a:pt x="2104" y="5537"/>
                </a:cubicBezTo>
                <a:cubicBezTo>
                  <a:pt x="2219" y="5537"/>
                  <a:pt x="2335" y="5507"/>
                  <a:pt x="2431" y="5448"/>
                </a:cubicBezTo>
                <a:cubicBezTo>
                  <a:pt x="2623" y="5738"/>
                  <a:pt x="2969" y="5948"/>
                  <a:pt x="3307" y="5948"/>
                </a:cubicBezTo>
                <a:cubicBezTo>
                  <a:pt x="3517" y="5948"/>
                  <a:pt x="3724" y="5867"/>
                  <a:pt x="3889" y="5675"/>
                </a:cubicBezTo>
                <a:cubicBezTo>
                  <a:pt x="3955" y="5950"/>
                  <a:pt x="4250" y="6126"/>
                  <a:pt x="4540" y="6126"/>
                </a:cubicBezTo>
                <a:cubicBezTo>
                  <a:pt x="4608" y="6126"/>
                  <a:pt x="4676" y="6116"/>
                  <a:pt x="4741" y="6096"/>
                </a:cubicBezTo>
                <a:cubicBezTo>
                  <a:pt x="5078" y="5999"/>
                  <a:pt x="5308" y="5662"/>
                  <a:pt x="5373" y="5325"/>
                </a:cubicBezTo>
                <a:lnTo>
                  <a:pt x="5373" y="5325"/>
                </a:lnTo>
                <a:cubicBezTo>
                  <a:pt x="5334" y="5529"/>
                  <a:pt x="6037" y="5756"/>
                  <a:pt x="6157" y="5785"/>
                </a:cubicBezTo>
                <a:cubicBezTo>
                  <a:pt x="6211" y="5792"/>
                  <a:pt x="6262" y="5796"/>
                  <a:pt x="6313" y="5796"/>
                </a:cubicBezTo>
                <a:cubicBezTo>
                  <a:pt x="6617" y="5796"/>
                  <a:pt x="6866" y="5672"/>
                  <a:pt x="7155" y="5555"/>
                </a:cubicBezTo>
                <a:cubicBezTo>
                  <a:pt x="7171" y="5662"/>
                  <a:pt x="7252" y="5772"/>
                  <a:pt x="7359" y="5798"/>
                </a:cubicBezTo>
                <a:cubicBezTo>
                  <a:pt x="7381" y="5803"/>
                  <a:pt x="7403" y="5806"/>
                  <a:pt x="7426" y="5806"/>
                </a:cubicBezTo>
                <a:cubicBezTo>
                  <a:pt x="7514" y="5806"/>
                  <a:pt x="7603" y="5766"/>
                  <a:pt x="7657" y="5691"/>
                </a:cubicBezTo>
                <a:cubicBezTo>
                  <a:pt x="7777" y="5853"/>
                  <a:pt x="7981" y="5947"/>
                  <a:pt x="8182" y="5973"/>
                </a:cubicBezTo>
                <a:cubicBezTo>
                  <a:pt x="8219" y="5978"/>
                  <a:pt x="8255" y="5980"/>
                  <a:pt x="8293" y="5980"/>
                </a:cubicBezTo>
                <a:cubicBezTo>
                  <a:pt x="8462" y="5980"/>
                  <a:pt x="8634" y="5935"/>
                  <a:pt x="8791" y="5879"/>
                </a:cubicBezTo>
                <a:cubicBezTo>
                  <a:pt x="9128" y="5772"/>
                  <a:pt x="9504" y="5568"/>
                  <a:pt x="9763" y="5325"/>
                </a:cubicBezTo>
                <a:cubicBezTo>
                  <a:pt x="9883" y="5662"/>
                  <a:pt x="10233" y="5905"/>
                  <a:pt x="10599" y="5905"/>
                </a:cubicBezTo>
                <a:cubicBezTo>
                  <a:pt x="10608" y="5905"/>
                  <a:pt x="10617" y="5905"/>
                  <a:pt x="10627" y="5905"/>
                </a:cubicBezTo>
                <a:cubicBezTo>
                  <a:pt x="10980" y="5905"/>
                  <a:pt x="11331" y="5666"/>
                  <a:pt x="11464" y="5338"/>
                </a:cubicBezTo>
                <a:cubicBezTo>
                  <a:pt x="11477" y="5649"/>
                  <a:pt x="11720" y="5934"/>
                  <a:pt x="12015" y="5999"/>
                </a:cubicBezTo>
                <a:cubicBezTo>
                  <a:pt x="12055" y="6006"/>
                  <a:pt x="12097" y="6009"/>
                  <a:pt x="12138" y="6009"/>
                </a:cubicBezTo>
                <a:cubicBezTo>
                  <a:pt x="12411" y="6009"/>
                  <a:pt x="12681" y="5855"/>
                  <a:pt x="12799" y="5610"/>
                </a:cubicBezTo>
                <a:cubicBezTo>
                  <a:pt x="12922" y="5811"/>
                  <a:pt x="13123" y="5960"/>
                  <a:pt x="13353" y="6054"/>
                </a:cubicBezTo>
                <a:lnTo>
                  <a:pt x="13353" y="34"/>
                </a:lnTo>
                <a:cubicBezTo>
                  <a:pt x="13265" y="11"/>
                  <a:pt x="13180" y="1"/>
                  <a:pt x="13095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6" name="Google Shape;466;p14"/>
          <p:cNvSpPr/>
          <p:nvPr/>
        </p:nvSpPr>
        <p:spPr>
          <a:xfrm>
            <a:off x="334" y="5350799"/>
            <a:ext cx="12223197" cy="1526228"/>
          </a:xfrm>
          <a:custGeom>
            <a:avLst/>
            <a:gdLst/>
            <a:ahLst/>
            <a:cxnLst/>
            <a:rect l="l" t="t" r="r" b="b"/>
            <a:pathLst>
              <a:path w="43860" h="10974" extrusionOk="0">
                <a:moveTo>
                  <a:pt x="0" y="0"/>
                </a:moveTo>
                <a:lnTo>
                  <a:pt x="0" y="10974"/>
                </a:lnTo>
                <a:lnTo>
                  <a:pt x="43860" y="10974"/>
                </a:lnTo>
                <a:lnTo>
                  <a:pt x="43860" y="0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7" name="Google Shape;467;p14"/>
          <p:cNvSpPr/>
          <p:nvPr/>
        </p:nvSpPr>
        <p:spPr>
          <a:xfrm>
            <a:off x="345" y="5291749"/>
            <a:ext cx="12223197" cy="431652"/>
          </a:xfrm>
          <a:custGeom>
            <a:avLst/>
            <a:gdLst/>
            <a:ahLst/>
            <a:cxnLst/>
            <a:rect l="l" t="t" r="r" b="b"/>
            <a:pathLst>
              <a:path w="43860" h="2495" extrusionOk="0">
                <a:moveTo>
                  <a:pt x="0" y="0"/>
                </a:moveTo>
                <a:lnTo>
                  <a:pt x="0" y="512"/>
                </a:lnTo>
                <a:cubicBezTo>
                  <a:pt x="18857" y="538"/>
                  <a:pt x="31655" y="810"/>
                  <a:pt x="43860" y="2495"/>
                </a:cubicBezTo>
                <a:lnTo>
                  <a:pt x="4386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8" name="Google Shape;468;p14"/>
          <p:cNvSpPr/>
          <p:nvPr/>
        </p:nvSpPr>
        <p:spPr>
          <a:xfrm>
            <a:off x="334" y="5715001"/>
            <a:ext cx="12223197" cy="1162047"/>
          </a:xfrm>
          <a:custGeom>
            <a:avLst/>
            <a:gdLst/>
            <a:ahLst/>
            <a:cxnLst/>
            <a:rect l="l" t="t" r="r" b="b"/>
            <a:pathLst>
              <a:path w="43860" h="8244" extrusionOk="0">
                <a:moveTo>
                  <a:pt x="19201" y="1"/>
                </a:moveTo>
                <a:cubicBezTo>
                  <a:pt x="9431" y="1"/>
                  <a:pt x="0" y="1061"/>
                  <a:pt x="0" y="1061"/>
                </a:cubicBezTo>
                <a:lnTo>
                  <a:pt x="0" y="8244"/>
                </a:lnTo>
                <a:lnTo>
                  <a:pt x="43860" y="8244"/>
                </a:lnTo>
                <a:lnTo>
                  <a:pt x="43860" y="3222"/>
                </a:lnTo>
                <a:cubicBezTo>
                  <a:pt x="43860" y="3222"/>
                  <a:pt x="38702" y="1171"/>
                  <a:pt x="26918" y="267"/>
                </a:cubicBezTo>
                <a:cubicBezTo>
                  <a:pt x="24436" y="76"/>
                  <a:pt x="21807" y="1"/>
                  <a:pt x="19201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9" name="Google Shape;469;p14"/>
          <p:cNvSpPr/>
          <p:nvPr/>
        </p:nvSpPr>
        <p:spPr>
          <a:xfrm>
            <a:off x="334" y="5350773"/>
            <a:ext cx="6501220" cy="1526241"/>
          </a:xfrm>
          <a:custGeom>
            <a:avLst/>
            <a:gdLst/>
            <a:ahLst/>
            <a:cxnLst/>
            <a:rect l="l" t="t" r="r" b="b"/>
            <a:pathLst>
              <a:path w="23328" h="5931" extrusionOk="0">
                <a:moveTo>
                  <a:pt x="1542" y="1"/>
                </a:moveTo>
                <a:cubicBezTo>
                  <a:pt x="517" y="1"/>
                  <a:pt x="0" y="73"/>
                  <a:pt x="0" y="73"/>
                </a:cubicBezTo>
                <a:lnTo>
                  <a:pt x="0" y="5931"/>
                </a:lnTo>
                <a:lnTo>
                  <a:pt x="23328" y="5931"/>
                </a:lnTo>
                <a:cubicBezTo>
                  <a:pt x="23328" y="5931"/>
                  <a:pt x="17143" y="2691"/>
                  <a:pt x="10313" y="1139"/>
                </a:cubicBezTo>
                <a:cubicBezTo>
                  <a:pt x="6113" y="185"/>
                  <a:pt x="3179" y="1"/>
                  <a:pt x="1542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0" name="Google Shape;470;p14"/>
          <p:cNvSpPr/>
          <p:nvPr/>
        </p:nvSpPr>
        <p:spPr>
          <a:xfrm>
            <a:off x="5984898" y="5496558"/>
            <a:ext cx="6238687" cy="1357879"/>
          </a:xfrm>
          <a:custGeom>
            <a:avLst/>
            <a:gdLst/>
            <a:ahLst/>
            <a:cxnLst/>
            <a:rect l="l" t="t" r="r" b="b"/>
            <a:pathLst>
              <a:path w="12002" h="4208" extrusionOk="0">
                <a:moveTo>
                  <a:pt x="11404" y="0"/>
                </a:moveTo>
                <a:cubicBezTo>
                  <a:pt x="11120" y="0"/>
                  <a:pt x="10830" y="82"/>
                  <a:pt x="10719" y="200"/>
                </a:cubicBezTo>
                <a:cubicBezTo>
                  <a:pt x="10518" y="414"/>
                  <a:pt x="10450" y="848"/>
                  <a:pt x="10557" y="1023"/>
                </a:cubicBezTo>
                <a:cubicBezTo>
                  <a:pt x="10557" y="1023"/>
                  <a:pt x="10371" y="827"/>
                  <a:pt x="10125" y="827"/>
                </a:cubicBezTo>
                <a:cubicBezTo>
                  <a:pt x="10060" y="827"/>
                  <a:pt x="9992" y="840"/>
                  <a:pt x="9922" y="874"/>
                </a:cubicBezTo>
                <a:cubicBezTo>
                  <a:pt x="9585" y="1036"/>
                  <a:pt x="9922" y="1373"/>
                  <a:pt x="9922" y="1373"/>
                </a:cubicBezTo>
                <a:cubicBezTo>
                  <a:pt x="9922" y="1373"/>
                  <a:pt x="9572" y="1441"/>
                  <a:pt x="9572" y="1671"/>
                </a:cubicBezTo>
                <a:cubicBezTo>
                  <a:pt x="9572" y="1901"/>
                  <a:pt x="9789" y="2089"/>
                  <a:pt x="9789" y="2089"/>
                </a:cubicBezTo>
                <a:cubicBezTo>
                  <a:pt x="9789" y="2089"/>
                  <a:pt x="9718" y="2065"/>
                  <a:pt x="9631" y="2065"/>
                </a:cubicBezTo>
                <a:cubicBezTo>
                  <a:pt x="9545" y="2065"/>
                  <a:pt x="9444" y="2089"/>
                  <a:pt x="9384" y="2183"/>
                </a:cubicBezTo>
                <a:cubicBezTo>
                  <a:pt x="9351" y="2239"/>
                  <a:pt x="9338" y="2291"/>
                  <a:pt x="9335" y="2337"/>
                </a:cubicBezTo>
                <a:lnTo>
                  <a:pt x="9335" y="2337"/>
                </a:lnTo>
                <a:cubicBezTo>
                  <a:pt x="9258" y="2167"/>
                  <a:pt x="9056" y="1933"/>
                  <a:pt x="8532" y="1901"/>
                </a:cubicBezTo>
                <a:cubicBezTo>
                  <a:pt x="8505" y="1900"/>
                  <a:pt x="8479" y="1899"/>
                  <a:pt x="8454" y="1899"/>
                </a:cubicBezTo>
                <a:cubicBezTo>
                  <a:pt x="7672" y="1899"/>
                  <a:pt x="7508" y="2507"/>
                  <a:pt x="7508" y="2507"/>
                </a:cubicBezTo>
                <a:cubicBezTo>
                  <a:pt x="7508" y="2507"/>
                  <a:pt x="7333" y="2234"/>
                  <a:pt x="6984" y="2234"/>
                </a:cubicBezTo>
                <a:cubicBezTo>
                  <a:pt x="6921" y="2234"/>
                  <a:pt x="6853" y="2243"/>
                  <a:pt x="6779" y="2264"/>
                </a:cubicBezTo>
                <a:cubicBezTo>
                  <a:pt x="6306" y="2400"/>
                  <a:pt x="6374" y="2711"/>
                  <a:pt x="6374" y="2711"/>
                </a:cubicBezTo>
                <a:cubicBezTo>
                  <a:pt x="6374" y="2711"/>
                  <a:pt x="6221" y="2606"/>
                  <a:pt x="6045" y="2606"/>
                </a:cubicBezTo>
                <a:cubicBezTo>
                  <a:pt x="5975" y="2606"/>
                  <a:pt x="5902" y="2623"/>
                  <a:pt x="5833" y="2669"/>
                </a:cubicBezTo>
                <a:cubicBezTo>
                  <a:pt x="5590" y="2831"/>
                  <a:pt x="5658" y="3019"/>
                  <a:pt x="5658" y="3019"/>
                </a:cubicBezTo>
                <a:cubicBezTo>
                  <a:pt x="5658" y="3019"/>
                  <a:pt x="5348" y="2774"/>
                  <a:pt x="4932" y="2774"/>
                </a:cubicBezTo>
                <a:cubicBezTo>
                  <a:pt x="4771" y="2774"/>
                  <a:pt x="4594" y="2811"/>
                  <a:pt x="4414" y="2912"/>
                </a:cubicBezTo>
                <a:cubicBezTo>
                  <a:pt x="3753" y="3262"/>
                  <a:pt x="3915" y="3696"/>
                  <a:pt x="3915" y="3696"/>
                </a:cubicBezTo>
                <a:cubicBezTo>
                  <a:pt x="3915" y="3696"/>
                  <a:pt x="3636" y="3417"/>
                  <a:pt x="3272" y="3417"/>
                </a:cubicBezTo>
                <a:cubicBezTo>
                  <a:pt x="3156" y="3417"/>
                  <a:pt x="3031" y="3446"/>
                  <a:pt x="2904" y="3521"/>
                </a:cubicBezTo>
                <a:lnTo>
                  <a:pt x="2849" y="3858"/>
                </a:lnTo>
                <a:cubicBezTo>
                  <a:pt x="2849" y="3858"/>
                  <a:pt x="2548" y="3567"/>
                  <a:pt x="2174" y="3567"/>
                </a:cubicBezTo>
                <a:cubicBezTo>
                  <a:pt x="2122" y="3567"/>
                  <a:pt x="2068" y="3573"/>
                  <a:pt x="2013" y="3586"/>
                </a:cubicBezTo>
                <a:cubicBezTo>
                  <a:pt x="1553" y="3696"/>
                  <a:pt x="1485" y="3858"/>
                  <a:pt x="1485" y="3858"/>
                </a:cubicBezTo>
                <a:cubicBezTo>
                  <a:pt x="1485" y="3858"/>
                  <a:pt x="1243" y="3754"/>
                  <a:pt x="930" y="3754"/>
                </a:cubicBezTo>
                <a:cubicBezTo>
                  <a:pt x="635" y="3754"/>
                  <a:pt x="277" y="3847"/>
                  <a:pt x="1" y="4208"/>
                </a:cubicBezTo>
                <a:lnTo>
                  <a:pt x="12002" y="4208"/>
                </a:lnTo>
                <a:lnTo>
                  <a:pt x="12002" y="200"/>
                </a:lnTo>
                <a:cubicBezTo>
                  <a:pt x="11879" y="58"/>
                  <a:pt x="11644" y="0"/>
                  <a:pt x="114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1" name="Google Shape;471;p14"/>
          <p:cNvSpPr/>
          <p:nvPr/>
        </p:nvSpPr>
        <p:spPr>
          <a:xfrm>
            <a:off x="8440466" y="6173566"/>
            <a:ext cx="3783133" cy="680876"/>
          </a:xfrm>
          <a:custGeom>
            <a:avLst/>
            <a:gdLst/>
            <a:ahLst/>
            <a:cxnLst/>
            <a:rect l="l" t="t" r="r" b="b"/>
            <a:pathLst>
              <a:path w="7278" h="2110" extrusionOk="0">
                <a:moveTo>
                  <a:pt x="7196" y="1"/>
                </a:moveTo>
                <a:cubicBezTo>
                  <a:pt x="7059" y="1"/>
                  <a:pt x="6916" y="28"/>
                  <a:pt x="6792" y="85"/>
                </a:cubicBezTo>
                <a:cubicBezTo>
                  <a:pt x="6562" y="192"/>
                  <a:pt x="6374" y="354"/>
                  <a:pt x="6225" y="545"/>
                </a:cubicBezTo>
                <a:cubicBezTo>
                  <a:pt x="6131" y="652"/>
                  <a:pt x="6063" y="775"/>
                  <a:pt x="6063" y="895"/>
                </a:cubicBezTo>
                <a:cubicBezTo>
                  <a:pt x="5966" y="827"/>
                  <a:pt x="5855" y="795"/>
                  <a:pt x="5750" y="795"/>
                </a:cubicBezTo>
                <a:cubicBezTo>
                  <a:pt x="5518" y="795"/>
                  <a:pt x="5315" y="953"/>
                  <a:pt x="5360" y="1232"/>
                </a:cubicBezTo>
                <a:cubicBezTo>
                  <a:pt x="5317" y="1168"/>
                  <a:pt x="5236" y="1138"/>
                  <a:pt x="5152" y="1138"/>
                </a:cubicBezTo>
                <a:cubicBezTo>
                  <a:pt x="5077" y="1138"/>
                  <a:pt x="5000" y="1162"/>
                  <a:pt x="4942" y="1206"/>
                </a:cubicBezTo>
                <a:cubicBezTo>
                  <a:pt x="4822" y="1313"/>
                  <a:pt x="4793" y="1462"/>
                  <a:pt x="4793" y="1611"/>
                </a:cubicBezTo>
                <a:cubicBezTo>
                  <a:pt x="4524" y="1436"/>
                  <a:pt x="4242" y="1245"/>
                  <a:pt x="3918" y="1232"/>
                </a:cubicBezTo>
                <a:cubicBezTo>
                  <a:pt x="3910" y="1232"/>
                  <a:pt x="3902" y="1231"/>
                  <a:pt x="3894" y="1231"/>
                </a:cubicBezTo>
                <a:cubicBezTo>
                  <a:pt x="3576" y="1231"/>
                  <a:pt x="3229" y="1482"/>
                  <a:pt x="3296" y="1773"/>
                </a:cubicBezTo>
                <a:cubicBezTo>
                  <a:pt x="3202" y="1637"/>
                  <a:pt x="3092" y="1504"/>
                  <a:pt x="2930" y="1449"/>
                </a:cubicBezTo>
                <a:cubicBezTo>
                  <a:pt x="2896" y="1437"/>
                  <a:pt x="2858" y="1432"/>
                  <a:pt x="2821" y="1432"/>
                </a:cubicBezTo>
                <a:cubicBezTo>
                  <a:pt x="2682" y="1432"/>
                  <a:pt x="2541" y="1509"/>
                  <a:pt x="2541" y="1637"/>
                </a:cubicBezTo>
                <a:cubicBezTo>
                  <a:pt x="2388" y="1511"/>
                  <a:pt x="2173" y="1406"/>
                  <a:pt x="1967" y="1406"/>
                </a:cubicBezTo>
                <a:cubicBezTo>
                  <a:pt x="1955" y="1406"/>
                  <a:pt x="1944" y="1406"/>
                  <a:pt x="1932" y="1407"/>
                </a:cubicBezTo>
                <a:cubicBezTo>
                  <a:pt x="1702" y="1436"/>
                  <a:pt x="1472" y="1611"/>
                  <a:pt x="1501" y="1828"/>
                </a:cubicBezTo>
                <a:cubicBezTo>
                  <a:pt x="1425" y="1700"/>
                  <a:pt x="1278" y="1610"/>
                  <a:pt x="1126" y="1610"/>
                </a:cubicBezTo>
                <a:cubicBezTo>
                  <a:pt x="1116" y="1610"/>
                  <a:pt x="1106" y="1610"/>
                  <a:pt x="1096" y="1611"/>
                </a:cubicBezTo>
                <a:cubicBezTo>
                  <a:pt x="934" y="1624"/>
                  <a:pt x="785" y="1786"/>
                  <a:pt x="811" y="1935"/>
                </a:cubicBezTo>
                <a:cubicBezTo>
                  <a:pt x="728" y="1813"/>
                  <a:pt x="571" y="1744"/>
                  <a:pt x="416" y="1744"/>
                </a:cubicBezTo>
                <a:cubicBezTo>
                  <a:pt x="347" y="1744"/>
                  <a:pt x="279" y="1757"/>
                  <a:pt x="218" y="1786"/>
                </a:cubicBezTo>
                <a:cubicBezTo>
                  <a:pt x="95" y="1854"/>
                  <a:pt x="30" y="1974"/>
                  <a:pt x="1" y="2110"/>
                </a:cubicBezTo>
                <a:lnTo>
                  <a:pt x="7278" y="2110"/>
                </a:lnTo>
                <a:lnTo>
                  <a:pt x="7278" y="4"/>
                </a:lnTo>
                <a:cubicBezTo>
                  <a:pt x="7251" y="2"/>
                  <a:pt x="7224" y="1"/>
                  <a:pt x="719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2" name="Google Shape;472;p14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73" name="Google Shape;473;p14"/>
          <p:cNvSpPr txBox="1">
            <a:spLocks noGrp="1"/>
          </p:cNvSpPr>
          <p:nvPr>
            <p:ph type="subTitle" idx="1"/>
          </p:nvPr>
        </p:nvSpPr>
        <p:spPr>
          <a:xfrm>
            <a:off x="950967" y="3670735"/>
            <a:ext cx="3456800" cy="106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74" name="Google Shape;474;p14"/>
          <p:cNvSpPr txBox="1">
            <a:spLocks noGrp="1"/>
          </p:cNvSpPr>
          <p:nvPr>
            <p:ph type="title" idx="2"/>
          </p:nvPr>
        </p:nvSpPr>
        <p:spPr>
          <a:xfrm>
            <a:off x="950967" y="3058367"/>
            <a:ext cx="34568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75" name="Google Shape;475;p14"/>
          <p:cNvSpPr txBox="1">
            <a:spLocks noGrp="1"/>
          </p:cNvSpPr>
          <p:nvPr>
            <p:ph type="subTitle" idx="3"/>
          </p:nvPr>
        </p:nvSpPr>
        <p:spPr>
          <a:xfrm>
            <a:off x="7775203" y="3670735"/>
            <a:ext cx="3456800" cy="106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76" name="Google Shape;476;p14"/>
          <p:cNvSpPr txBox="1">
            <a:spLocks noGrp="1"/>
          </p:cNvSpPr>
          <p:nvPr>
            <p:ph type="title" idx="4"/>
          </p:nvPr>
        </p:nvSpPr>
        <p:spPr>
          <a:xfrm>
            <a:off x="7775200" y="3058367"/>
            <a:ext cx="34568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77" name="Google Shape;477;p14"/>
          <p:cNvSpPr txBox="1">
            <a:spLocks noGrp="1"/>
          </p:cNvSpPr>
          <p:nvPr>
            <p:ph type="subTitle" idx="5"/>
          </p:nvPr>
        </p:nvSpPr>
        <p:spPr>
          <a:xfrm>
            <a:off x="4367435" y="3670735"/>
            <a:ext cx="3456800" cy="106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78" name="Google Shape;478;p14"/>
          <p:cNvSpPr txBox="1">
            <a:spLocks noGrp="1"/>
          </p:cNvSpPr>
          <p:nvPr>
            <p:ph type="title" idx="6"/>
          </p:nvPr>
        </p:nvSpPr>
        <p:spPr>
          <a:xfrm>
            <a:off x="4367433" y="3058367"/>
            <a:ext cx="34568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3801015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">
  <p:cSld name="Title and text ">
    <p:spTree>
      <p:nvGrpSpPr>
        <p:cNvPr id="1" name="Shape 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Google Shape;480;p15"/>
          <p:cNvSpPr txBox="1">
            <a:spLocks noGrp="1"/>
          </p:cNvSpPr>
          <p:nvPr>
            <p:ph type="title"/>
          </p:nvPr>
        </p:nvSpPr>
        <p:spPr>
          <a:xfrm>
            <a:off x="960145" y="720000"/>
            <a:ext cx="5136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481" name="Google Shape;481;p15"/>
          <p:cNvSpPr txBox="1">
            <a:spLocks noGrp="1"/>
          </p:cNvSpPr>
          <p:nvPr>
            <p:ph type="subTitle" idx="1"/>
          </p:nvPr>
        </p:nvSpPr>
        <p:spPr>
          <a:xfrm>
            <a:off x="960000" y="2795033"/>
            <a:ext cx="5136000" cy="325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6692289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Google Shape;483;p16"/>
          <p:cNvSpPr/>
          <p:nvPr/>
        </p:nvSpPr>
        <p:spPr>
          <a:xfrm>
            <a:off x="10707631" y="1475500"/>
            <a:ext cx="2189357" cy="2138397"/>
          </a:xfrm>
          <a:custGeom>
            <a:avLst/>
            <a:gdLst/>
            <a:ahLst/>
            <a:cxnLst/>
            <a:rect l="l" t="t" r="r" b="b"/>
            <a:pathLst>
              <a:path w="8723" h="8706" extrusionOk="0">
                <a:moveTo>
                  <a:pt x="4362" y="0"/>
                </a:moveTo>
                <a:cubicBezTo>
                  <a:pt x="1961" y="0"/>
                  <a:pt x="1" y="1944"/>
                  <a:pt x="1" y="4345"/>
                </a:cubicBezTo>
                <a:cubicBezTo>
                  <a:pt x="1" y="6749"/>
                  <a:pt x="1961" y="8706"/>
                  <a:pt x="4362" y="8706"/>
                </a:cubicBezTo>
                <a:cubicBezTo>
                  <a:pt x="6766" y="8706"/>
                  <a:pt x="8723" y="6749"/>
                  <a:pt x="8723" y="4345"/>
                </a:cubicBezTo>
                <a:cubicBezTo>
                  <a:pt x="8723" y="1944"/>
                  <a:pt x="6766" y="0"/>
                  <a:pt x="436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4" name="Google Shape;484;p16"/>
          <p:cNvSpPr/>
          <p:nvPr/>
        </p:nvSpPr>
        <p:spPr>
          <a:xfrm>
            <a:off x="7139291" y="2323764"/>
            <a:ext cx="5996052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5" name="Google Shape;485;p16"/>
          <p:cNvSpPr/>
          <p:nvPr/>
        </p:nvSpPr>
        <p:spPr>
          <a:xfrm>
            <a:off x="-101599" y="4405633"/>
            <a:ext cx="11430057" cy="1409399"/>
          </a:xfrm>
          <a:custGeom>
            <a:avLst/>
            <a:gdLst/>
            <a:ahLst/>
            <a:cxnLst/>
            <a:rect l="l" t="t" r="r" b="b"/>
            <a:pathLst>
              <a:path w="40501" h="7334" extrusionOk="0">
                <a:moveTo>
                  <a:pt x="24305" y="0"/>
                </a:moveTo>
                <a:cubicBezTo>
                  <a:pt x="24276" y="0"/>
                  <a:pt x="24248" y="1"/>
                  <a:pt x="24220" y="2"/>
                </a:cubicBezTo>
                <a:cubicBezTo>
                  <a:pt x="21521" y="112"/>
                  <a:pt x="16499" y="5296"/>
                  <a:pt x="15203" y="5672"/>
                </a:cubicBezTo>
                <a:cubicBezTo>
                  <a:pt x="15149" y="5687"/>
                  <a:pt x="15084" y="5695"/>
                  <a:pt x="15007" y="5695"/>
                </a:cubicBezTo>
                <a:cubicBezTo>
                  <a:pt x="14617" y="5695"/>
                  <a:pt x="13941" y="5504"/>
                  <a:pt x="13097" y="5199"/>
                </a:cubicBezTo>
                <a:cubicBezTo>
                  <a:pt x="11746" y="4687"/>
                  <a:pt x="9909" y="3903"/>
                  <a:pt x="8195" y="3190"/>
                </a:cubicBezTo>
                <a:cubicBezTo>
                  <a:pt x="6008" y="2244"/>
                  <a:pt x="4051" y="1392"/>
                  <a:pt x="3484" y="1366"/>
                </a:cubicBezTo>
                <a:lnTo>
                  <a:pt x="3429" y="1366"/>
                </a:lnTo>
                <a:cubicBezTo>
                  <a:pt x="2107" y="1379"/>
                  <a:pt x="1" y="4039"/>
                  <a:pt x="1" y="4039"/>
                </a:cubicBezTo>
                <a:lnTo>
                  <a:pt x="1" y="4619"/>
                </a:lnTo>
                <a:lnTo>
                  <a:pt x="1" y="4755"/>
                </a:lnTo>
                <a:lnTo>
                  <a:pt x="1" y="7292"/>
                </a:lnTo>
                <a:lnTo>
                  <a:pt x="529" y="7334"/>
                </a:lnTo>
                <a:lnTo>
                  <a:pt x="581" y="7292"/>
                </a:lnTo>
                <a:lnTo>
                  <a:pt x="40501" y="7292"/>
                </a:lnTo>
                <a:lnTo>
                  <a:pt x="40501" y="1029"/>
                </a:lnTo>
                <a:lnTo>
                  <a:pt x="40501" y="637"/>
                </a:lnTo>
                <a:lnTo>
                  <a:pt x="40501" y="355"/>
                </a:lnTo>
                <a:cubicBezTo>
                  <a:pt x="39069" y="650"/>
                  <a:pt x="39584" y="3971"/>
                  <a:pt x="36020" y="4405"/>
                </a:cubicBezTo>
                <a:cubicBezTo>
                  <a:pt x="35869" y="4423"/>
                  <a:pt x="35714" y="4432"/>
                  <a:pt x="35556" y="4432"/>
                </a:cubicBezTo>
                <a:cubicBezTo>
                  <a:pt x="34107" y="4432"/>
                  <a:pt x="32390" y="3688"/>
                  <a:pt x="30687" y="2811"/>
                </a:cubicBezTo>
                <a:cubicBezTo>
                  <a:pt x="29835" y="2338"/>
                  <a:pt x="28986" y="1865"/>
                  <a:pt x="28163" y="1447"/>
                </a:cubicBezTo>
                <a:cubicBezTo>
                  <a:pt x="26667" y="647"/>
                  <a:pt x="25297" y="0"/>
                  <a:pt x="24305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6" name="Google Shape;486;p16"/>
          <p:cNvSpPr/>
          <p:nvPr/>
        </p:nvSpPr>
        <p:spPr>
          <a:xfrm>
            <a:off x="5122925" y="5798355"/>
            <a:ext cx="70951" cy="3439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7" name="Google Shape;487;p16"/>
          <p:cNvSpPr/>
          <p:nvPr/>
        </p:nvSpPr>
        <p:spPr>
          <a:xfrm>
            <a:off x="9750361" y="5352300"/>
            <a:ext cx="597393" cy="22352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8" name="Google Shape;488;p16"/>
          <p:cNvSpPr/>
          <p:nvPr/>
        </p:nvSpPr>
        <p:spPr>
          <a:xfrm>
            <a:off x="-101599" y="4232267"/>
            <a:ext cx="12439612" cy="1409399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9" name="Google Shape;489;p16"/>
          <p:cNvSpPr/>
          <p:nvPr/>
        </p:nvSpPr>
        <p:spPr>
          <a:xfrm>
            <a:off x="-101599" y="4783366"/>
            <a:ext cx="12439612" cy="1639308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90" name="Google Shape;490;p16"/>
          <p:cNvSpPr/>
          <p:nvPr/>
        </p:nvSpPr>
        <p:spPr>
          <a:xfrm>
            <a:off x="4999801" y="4626133"/>
            <a:ext cx="7338209" cy="201984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91" name="Google Shape;491;p16"/>
          <p:cNvSpPr/>
          <p:nvPr/>
        </p:nvSpPr>
        <p:spPr>
          <a:xfrm>
            <a:off x="-101599" y="5448603"/>
            <a:ext cx="12439612" cy="1409387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92" name="Google Shape;492;p16"/>
          <p:cNvSpPr txBox="1">
            <a:spLocks noGrp="1"/>
          </p:cNvSpPr>
          <p:nvPr>
            <p:ph type="title"/>
          </p:nvPr>
        </p:nvSpPr>
        <p:spPr>
          <a:xfrm>
            <a:off x="960000" y="3160368"/>
            <a:ext cx="6455600" cy="69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467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493" name="Google Shape;493;p16"/>
          <p:cNvSpPr txBox="1">
            <a:spLocks noGrp="1"/>
          </p:cNvSpPr>
          <p:nvPr>
            <p:ph type="subTitle" idx="1"/>
          </p:nvPr>
        </p:nvSpPr>
        <p:spPr>
          <a:xfrm>
            <a:off x="960000" y="1067400"/>
            <a:ext cx="8831200" cy="2262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733"/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0214571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 ">
  <p:cSld name="Title and six columns ">
    <p:spTree>
      <p:nvGrpSpPr>
        <p:cNvPr id="1" name="Shape 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5" name="Google Shape;495;p17"/>
          <p:cNvGrpSpPr/>
          <p:nvPr/>
        </p:nvGrpSpPr>
        <p:grpSpPr>
          <a:xfrm>
            <a:off x="367" y="5717157"/>
            <a:ext cx="12223208" cy="1464784"/>
            <a:chOff x="271" y="2964551"/>
            <a:chExt cx="9167406" cy="2193229"/>
          </a:xfrm>
        </p:grpSpPr>
        <p:sp>
          <p:nvSpPr>
            <p:cNvPr id="496" name="Google Shape;496;p17"/>
            <p:cNvSpPr/>
            <p:nvPr/>
          </p:nvSpPr>
          <p:spPr>
            <a:xfrm>
              <a:off x="275" y="3538374"/>
              <a:ext cx="9167398" cy="1619406"/>
            </a:xfrm>
            <a:custGeom>
              <a:avLst/>
              <a:gdLst/>
              <a:ahLst/>
              <a:cxnLst/>
              <a:rect l="l" t="t" r="r" b="b"/>
              <a:pathLst>
                <a:path w="43860" h="10974" extrusionOk="0">
                  <a:moveTo>
                    <a:pt x="0" y="0"/>
                  </a:moveTo>
                  <a:lnTo>
                    <a:pt x="0" y="10974"/>
                  </a:lnTo>
                  <a:lnTo>
                    <a:pt x="43860" y="10974"/>
                  </a:lnTo>
                  <a:lnTo>
                    <a:pt x="43860" y="0"/>
                  </a:ln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7" name="Google Shape;497;p17"/>
            <p:cNvSpPr/>
            <p:nvPr/>
          </p:nvSpPr>
          <p:spPr>
            <a:xfrm>
              <a:off x="1413430" y="2964551"/>
              <a:ext cx="7754247" cy="680775"/>
            </a:xfrm>
            <a:custGeom>
              <a:avLst/>
              <a:gdLst/>
              <a:ahLst/>
              <a:cxnLst/>
              <a:rect l="l" t="t" r="r" b="b"/>
              <a:pathLst>
                <a:path w="37099" h="4687" extrusionOk="0">
                  <a:moveTo>
                    <a:pt x="29289" y="0"/>
                  </a:moveTo>
                  <a:cubicBezTo>
                    <a:pt x="28606" y="0"/>
                    <a:pt x="27911" y="10"/>
                    <a:pt x="27217" y="28"/>
                  </a:cubicBezTo>
                  <a:cubicBezTo>
                    <a:pt x="18981" y="245"/>
                    <a:pt x="8493" y="2688"/>
                    <a:pt x="1" y="4687"/>
                  </a:cubicBezTo>
                  <a:lnTo>
                    <a:pt x="37099" y="4687"/>
                  </a:lnTo>
                  <a:lnTo>
                    <a:pt x="37099" y="731"/>
                  </a:lnTo>
                  <a:cubicBezTo>
                    <a:pt x="35742" y="225"/>
                    <a:pt x="32651" y="0"/>
                    <a:pt x="2928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8" name="Google Shape;498;p17"/>
            <p:cNvSpPr/>
            <p:nvPr/>
          </p:nvSpPr>
          <p:spPr>
            <a:xfrm>
              <a:off x="271" y="3209866"/>
              <a:ext cx="4762825" cy="666541"/>
            </a:xfrm>
            <a:custGeom>
              <a:avLst/>
              <a:gdLst/>
              <a:ahLst/>
              <a:cxnLst/>
              <a:rect l="l" t="t" r="r" b="b"/>
              <a:pathLst>
                <a:path w="22787" h="4589" extrusionOk="0">
                  <a:moveTo>
                    <a:pt x="3161" y="1"/>
                  </a:moveTo>
                  <a:cubicBezTo>
                    <a:pt x="1090" y="1"/>
                    <a:pt x="0" y="199"/>
                    <a:pt x="0" y="199"/>
                  </a:cubicBezTo>
                  <a:lnTo>
                    <a:pt x="0" y="4589"/>
                  </a:lnTo>
                  <a:lnTo>
                    <a:pt x="22787" y="4589"/>
                  </a:lnTo>
                  <a:cubicBezTo>
                    <a:pt x="22787" y="4589"/>
                    <a:pt x="18128" y="2036"/>
                    <a:pt x="11029" y="766"/>
                  </a:cubicBezTo>
                  <a:cubicBezTo>
                    <a:pt x="7669" y="160"/>
                    <a:pt x="5020" y="1"/>
                    <a:pt x="316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9" name="Google Shape;499;p17"/>
            <p:cNvSpPr/>
            <p:nvPr/>
          </p:nvSpPr>
          <p:spPr>
            <a:xfrm>
              <a:off x="271" y="3612551"/>
              <a:ext cx="9167398" cy="362393"/>
            </a:xfrm>
            <a:custGeom>
              <a:avLst/>
              <a:gdLst/>
              <a:ahLst/>
              <a:cxnLst/>
              <a:rect l="l" t="t" r="r" b="b"/>
              <a:pathLst>
                <a:path w="43860" h="2495" extrusionOk="0">
                  <a:moveTo>
                    <a:pt x="0" y="0"/>
                  </a:moveTo>
                  <a:lnTo>
                    <a:pt x="0" y="512"/>
                  </a:lnTo>
                  <a:cubicBezTo>
                    <a:pt x="18857" y="538"/>
                    <a:pt x="31655" y="810"/>
                    <a:pt x="43860" y="2495"/>
                  </a:cubicBezTo>
                  <a:lnTo>
                    <a:pt x="4386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00" name="Google Shape;500;p17"/>
          <p:cNvSpPr/>
          <p:nvPr/>
        </p:nvSpPr>
        <p:spPr>
          <a:xfrm>
            <a:off x="8684265" y="-846866"/>
            <a:ext cx="4603027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1" name="Google Shape;501;p17"/>
          <p:cNvSpPr/>
          <p:nvPr/>
        </p:nvSpPr>
        <p:spPr>
          <a:xfrm>
            <a:off x="-503734" y="258867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02" name="Google Shape;502;p17"/>
          <p:cNvGrpSpPr/>
          <p:nvPr/>
        </p:nvGrpSpPr>
        <p:grpSpPr>
          <a:xfrm>
            <a:off x="240723" y="4640041"/>
            <a:ext cx="1756639" cy="1570331"/>
            <a:chOff x="3198025" y="2914625"/>
            <a:chExt cx="318925" cy="285100"/>
          </a:xfrm>
        </p:grpSpPr>
        <p:sp>
          <p:nvSpPr>
            <p:cNvPr id="503" name="Google Shape;503;p17"/>
            <p:cNvSpPr/>
            <p:nvPr/>
          </p:nvSpPr>
          <p:spPr>
            <a:xfrm>
              <a:off x="3294050" y="3126200"/>
              <a:ext cx="18050" cy="34000"/>
            </a:xfrm>
            <a:custGeom>
              <a:avLst/>
              <a:gdLst/>
              <a:ahLst/>
              <a:cxnLst/>
              <a:rect l="l" t="t" r="r" b="b"/>
              <a:pathLst>
                <a:path w="722" h="1360" extrusionOk="0">
                  <a:moveTo>
                    <a:pt x="407" y="0"/>
                  </a:moveTo>
                  <a:cubicBezTo>
                    <a:pt x="205" y="0"/>
                    <a:pt x="0" y="141"/>
                    <a:pt x="103" y="281"/>
                  </a:cubicBezTo>
                  <a:cubicBezTo>
                    <a:pt x="346" y="605"/>
                    <a:pt x="265" y="1360"/>
                    <a:pt x="265" y="1360"/>
                  </a:cubicBezTo>
                  <a:lnTo>
                    <a:pt x="573" y="1360"/>
                  </a:lnTo>
                  <a:cubicBezTo>
                    <a:pt x="508" y="563"/>
                    <a:pt x="722" y="281"/>
                    <a:pt x="722" y="281"/>
                  </a:cubicBezTo>
                  <a:cubicBezTo>
                    <a:pt x="700" y="76"/>
                    <a:pt x="554" y="0"/>
                    <a:pt x="407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4" name="Google Shape;504;p17"/>
            <p:cNvSpPr/>
            <p:nvPr/>
          </p:nvSpPr>
          <p:spPr>
            <a:xfrm>
              <a:off x="3272300" y="2915825"/>
              <a:ext cx="63625" cy="229725"/>
            </a:xfrm>
            <a:custGeom>
              <a:avLst/>
              <a:gdLst/>
              <a:ahLst/>
              <a:cxnLst/>
              <a:rect l="l" t="t" r="r" b="b"/>
              <a:pathLst>
                <a:path w="2545" h="9189" extrusionOk="0">
                  <a:moveTo>
                    <a:pt x="1285" y="1"/>
                  </a:moveTo>
                  <a:cubicBezTo>
                    <a:pt x="1151" y="1"/>
                    <a:pt x="1017" y="277"/>
                    <a:pt x="892" y="933"/>
                  </a:cubicBezTo>
                  <a:cubicBezTo>
                    <a:pt x="892" y="933"/>
                    <a:pt x="1" y="8359"/>
                    <a:pt x="620" y="8910"/>
                  </a:cubicBezTo>
                  <a:cubicBezTo>
                    <a:pt x="804" y="9070"/>
                    <a:pt x="1072" y="9188"/>
                    <a:pt x="1347" y="9188"/>
                  </a:cubicBezTo>
                  <a:cubicBezTo>
                    <a:pt x="1860" y="9188"/>
                    <a:pt x="2396" y="8780"/>
                    <a:pt x="2457" y="7481"/>
                  </a:cubicBezTo>
                  <a:cubicBezTo>
                    <a:pt x="2545" y="5839"/>
                    <a:pt x="1905" y="1"/>
                    <a:pt x="1285" y="1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5" name="Google Shape;505;p17"/>
            <p:cNvSpPr/>
            <p:nvPr/>
          </p:nvSpPr>
          <p:spPr>
            <a:xfrm>
              <a:off x="3269225" y="2914625"/>
              <a:ext cx="39150" cy="227675"/>
            </a:xfrm>
            <a:custGeom>
              <a:avLst/>
              <a:gdLst/>
              <a:ahLst/>
              <a:cxnLst/>
              <a:rect l="l" t="t" r="r" b="b"/>
              <a:pathLst>
                <a:path w="1566" h="9107" extrusionOk="0">
                  <a:moveTo>
                    <a:pt x="1387" y="1"/>
                  </a:moveTo>
                  <a:cubicBezTo>
                    <a:pt x="1238" y="1"/>
                    <a:pt x="1082" y="309"/>
                    <a:pt x="986" y="968"/>
                  </a:cubicBezTo>
                  <a:cubicBezTo>
                    <a:pt x="986" y="968"/>
                    <a:pt x="1" y="7934"/>
                    <a:pt x="743" y="8958"/>
                  </a:cubicBezTo>
                  <a:cubicBezTo>
                    <a:pt x="798" y="9026"/>
                    <a:pt x="892" y="9068"/>
                    <a:pt x="973" y="9107"/>
                  </a:cubicBezTo>
                  <a:cubicBezTo>
                    <a:pt x="594" y="7636"/>
                    <a:pt x="1216" y="955"/>
                    <a:pt x="1216" y="955"/>
                  </a:cubicBezTo>
                  <a:cubicBezTo>
                    <a:pt x="1283" y="257"/>
                    <a:pt x="1407" y="149"/>
                    <a:pt x="1508" y="149"/>
                  </a:cubicBezTo>
                  <a:cubicBezTo>
                    <a:pt x="1528" y="149"/>
                    <a:pt x="1548" y="153"/>
                    <a:pt x="1566" y="158"/>
                  </a:cubicBezTo>
                  <a:cubicBezTo>
                    <a:pt x="1510" y="54"/>
                    <a:pt x="1449" y="1"/>
                    <a:pt x="1387" y="1"/>
                  </a:cubicBezTo>
                  <a:close/>
                </a:path>
              </a:pathLst>
            </a:custGeom>
            <a:solidFill>
              <a:srgbClr val="96943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6" name="Google Shape;506;p17"/>
            <p:cNvSpPr/>
            <p:nvPr/>
          </p:nvSpPr>
          <p:spPr>
            <a:xfrm>
              <a:off x="3222800" y="3126200"/>
              <a:ext cx="18100" cy="34000"/>
            </a:xfrm>
            <a:custGeom>
              <a:avLst/>
              <a:gdLst/>
              <a:ahLst/>
              <a:cxnLst/>
              <a:rect l="l" t="t" r="r" b="b"/>
              <a:pathLst>
                <a:path w="724" h="1360" extrusionOk="0">
                  <a:moveTo>
                    <a:pt x="407" y="0"/>
                  </a:moveTo>
                  <a:cubicBezTo>
                    <a:pt x="205" y="0"/>
                    <a:pt x="1" y="141"/>
                    <a:pt x="102" y="281"/>
                  </a:cubicBezTo>
                  <a:cubicBezTo>
                    <a:pt x="345" y="605"/>
                    <a:pt x="280" y="1360"/>
                    <a:pt x="280" y="1360"/>
                  </a:cubicBezTo>
                  <a:lnTo>
                    <a:pt x="575" y="1360"/>
                  </a:lnTo>
                  <a:cubicBezTo>
                    <a:pt x="507" y="563"/>
                    <a:pt x="724" y="281"/>
                    <a:pt x="724" y="281"/>
                  </a:cubicBezTo>
                  <a:cubicBezTo>
                    <a:pt x="701" y="76"/>
                    <a:pt x="555" y="0"/>
                    <a:pt x="407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7" name="Google Shape;507;p17"/>
            <p:cNvSpPr/>
            <p:nvPr/>
          </p:nvSpPr>
          <p:spPr>
            <a:xfrm>
              <a:off x="3201025" y="2915825"/>
              <a:ext cx="63775" cy="229725"/>
            </a:xfrm>
            <a:custGeom>
              <a:avLst/>
              <a:gdLst/>
              <a:ahLst/>
              <a:cxnLst/>
              <a:rect l="l" t="t" r="r" b="b"/>
              <a:pathLst>
                <a:path w="2551" h="9189" extrusionOk="0">
                  <a:moveTo>
                    <a:pt x="1300" y="1"/>
                  </a:moveTo>
                  <a:cubicBezTo>
                    <a:pt x="1166" y="1"/>
                    <a:pt x="1033" y="277"/>
                    <a:pt x="908" y="933"/>
                  </a:cubicBezTo>
                  <a:cubicBezTo>
                    <a:pt x="908" y="933"/>
                    <a:pt x="1" y="8359"/>
                    <a:pt x="636" y="8910"/>
                  </a:cubicBezTo>
                  <a:cubicBezTo>
                    <a:pt x="816" y="9070"/>
                    <a:pt x="1081" y="9188"/>
                    <a:pt x="1355" y="9188"/>
                  </a:cubicBezTo>
                  <a:cubicBezTo>
                    <a:pt x="1864" y="9188"/>
                    <a:pt x="2403" y="8780"/>
                    <a:pt x="2473" y="7481"/>
                  </a:cubicBezTo>
                  <a:cubicBezTo>
                    <a:pt x="2550" y="5839"/>
                    <a:pt x="1917" y="1"/>
                    <a:pt x="1300" y="1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8" name="Google Shape;508;p17"/>
            <p:cNvSpPr/>
            <p:nvPr/>
          </p:nvSpPr>
          <p:spPr>
            <a:xfrm>
              <a:off x="3198025" y="2915125"/>
              <a:ext cx="39150" cy="227175"/>
            </a:xfrm>
            <a:custGeom>
              <a:avLst/>
              <a:gdLst/>
              <a:ahLst/>
              <a:cxnLst/>
              <a:rect l="l" t="t" r="r" b="b"/>
              <a:pathLst>
                <a:path w="1566" h="9087" extrusionOk="0">
                  <a:moveTo>
                    <a:pt x="1401" y="0"/>
                  </a:moveTo>
                  <a:cubicBezTo>
                    <a:pt x="1242" y="0"/>
                    <a:pt x="1064" y="326"/>
                    <a:pt x="986" y="974"/>
                  </a:cubicBezTo>
                  <a:cubicBezTo>
                    <a:pt x="986" y="974"/>
                    <a:pt x="1" y="7914"/>
                    <a:pt x="756" y="8938"/>
                  </a:cubicBezTo>
                  <a:cubicBezTo>
                    <a:pt x="811" y="9006"/>
                    <a:pt x="892" y="9048"/>
                    <a:pt x="986" y="9087"/>
                  </a:cubicBezTo>
                  <a:cubicBezTo>
                    <a:pt x="594" y="7616"/>
                    <a:pt x="1216" y="935"/>
                    <a:pt x="1216" y="935"/>
                  </a:cubicBezTo>
                  <a:cubicBezTo>
                    <a:pt x="1297" y="96"/>
                    <a:pt x="1485" y="164"/>
                    <a:pt x="1566" y="138"/>
                  </a:cubicBezTo>
                  <a:cubicBezTo>
                    <a:pt x="1518" y="46"/>
                    <a:pt x="1461" y="0"/>
                    <a:pt x="1401" y="0"/>
                  </a:cubicBezTo>
                  <a:close/>
                </a:path>
              </a:pathLst>
            </a:custGeom>
            <a:solidFill>
              <a:srgbClr val="96943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9" name="Google Shape;509;p17"/>
            <p:cNvSpPr/>
            <p:nvPr/>
          </p:nvSpPr>
          <p:spPr>
            <a:xfrm>
              <a:off x="3303325" y="3160175"/>
              <a:ext cx="213625" cy="37125"/>
            </a:xfrm>
            <a:custGeom>
              <a:avLst/>
              <a:gdLst/>
              <a:ahLst/>
              <a:cxnLst/>
              <a:rect l="l" t="t" r="r" b="b"/>
              <a:pathLst>
                <a:path w="8545" h="1485" extrusionOk="0">
                  <a:moveTo>
                    <a:pt x="1" y="1"/>
                  </a:moveTo>
                  <a:cubicBezTo>
                    <a:pt x="1054" y="973"/>
                    <a:pt x="5888" y="1485"/>
                    <a:pt x="7764" y="1485"/>
                  </a:cubicBezTo>
                  <a:cubicBezTo>
                    <a:pt x="8263" y="1485"/>
                    <a:pt x="8545" y="1446"/>
                    <a:pt x="8519" y="1378"/>
                  </a:cubicBezTo>
                  <a:cubicBezTo>
                    <a:pt x="8357" y="1041"/>
                    <a:pt x="299" y="1"/>
                    <a:pt x="299" y="1"/>
                  </a:cubicBezTo>
                  <a:close/>
                </a:path>
              </a:pathLst>
            </a:custGeom>
            <a:solidFill>
              <a:srgbClr val="3D7D40">
                <a:alpha val="5669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0" name="Google Shape;510;p17"/>
            <p:cNvSpPr/>
            <p:nvPr/>
          </p:nvSpPr>
          <p:spPr>
            <a:xfrm>
              <a:off x="3227350" y="3160175"/>
              <a:ext cx="169475" cy="39550"/>
            </a:xfrm>
            <a:custGeom>
              <a:avLst/>
              <a:gdLst/>
              <a:ahLst/>
              <a:cxnLst/>
              <a:rect l="l" t="t" r="r" b="b"/>
              <a:pathLst>
                <a:path w="6779" h="1582" extrusionOk="0">
                  <a:moveTo>
                    <a:pt x="1" y="1"/>
                  </a:moveTo>
                  <a:cubicBezTo>
                    <a:pt x="1083" y="999"/>
                    <a:pt x="4971" y="1582"/>
                    <a:pt x="6306" y="1582"/>
                  </a:cubicBezTo>
                  <a:cubicBezTo>
                    <a:pt x="6604" y="1582"/>
                    <a:pt x="6779" y="1553"/>
                    <a:pt x="6753" y="1485"/>
                  </a:cubicBezTo>
                  <a:cubicBezTo>
                    <a:pt x="6591" y="1148"/>
                    <a:pt x="312" y="1"/>
                    <a:pt x="312" y="1"/>
                  </a:cubicBezTo>
                  <a:close/>
                </a:path>
              </a:pathLst>
            </a:custGeom>
            <a:solidFill>
              <a:srgbClr val="3D7D40">
                <a:alpha val="5669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11" name="Google Shape;511;p17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512" name="Google Shape;512;p17"/>
          <p:cNvSpPr txBox="1">
            <a:spLocks noGrp="1"/>
          </p:cNvSpPr>
          <p:nvPr>
            <p:ph type="subTitle" idx="1"/>
          </p:nvPr>
        </p:nvSpPr>
        <p:spPr>
          <a:xfrm>
            <a:off x="965567" y="2595909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13" name="Google Shape;513;p17"/>
          <p:cNvSpPr txBox="1">
            <a:spLocks noGrp="1"/>
          </p:cNvSpPr>
          <p:nvPr>
            <p:ph type="title" idx="2"/>
          </p:nvPr>
        </p:nvSpPr>
        <p:spPr>
          <a:xfrm>
            <a:off x="965567" y="1973233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14" name="Google Shape;514;p17"/>
          <p:cNvSpPr txBox="1">
            <a:spLocks noGrp="1"/>
          </p:cNvSpPr>
          <p:nvPr>
            <p:ph type="subTitle" idx="3"/>
          </p:nvPr>
        </p:nvSpPr>
        <p:spPr>
          <a:xfrm>
            <a:off x="4473600" y="2595909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15" name="Google Shape;515;p17"/>
          <p:cNvSpPr txBox="1">
            <a:spLocks noGrp="1"/>
          </p:cNvSpPr>
          <p:nvPr>
            <p:ph type="title" idx="4"/>
          </p:nvPr>
        </p:nvSpPr>
        <p:spPr>
          <a:xfrm>
            <a:off x="4473605" y="1973233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16" name="Google Shape;516;p17"/>
          <p:cNvSpPr txBox="1">
            <a:spLocks noGrp="1"/>
          </p:cNvSpPr>
          <p:nvPr>
            <p:ph type="subTitle" idx="5"/>
          </p:nvPr>
        </p:nvSpPr>
        <p:spPr>
          <a:xfrm>
            <a:off x="7981633" y="2595909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17" name="Google Shape;517;p17"/>
          <p:cNvSpPr txBox="1">
            <a:spLocks noGrp="1"/>
          </p:cNvSpPr>
          <p:nvPr>
            <p:ph type="title" idx="6"/>
          </p:nvPr>
        </p:nvSpPr>
        <p:spPr>
          <a:xfrm>
            <a:off x="7981644" y="1973233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18" name="Google Shape;518;p17"/>
          <p:cNvSpPr txBox="1">
            <a:spLocks noGrp="1"/>
          </p:cNvSpPr>
          <p:nvPr>
            <p:ph type="subTitle" idx="7"/>
          </p:nvPr>
        </p:nvSpPr>
        <p:spPr>
          <a:xfrm>
            <a:off x="965567" y="4677693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19" name="Google Shape;519;p17"/>
          <p:cNvSpPr txBox="1">
            <a:spLocks noGrp="1"/>
          </p:cNvSpPr>
          <p:nvPr>
            <p:ph type="title" idx="8"/>
          </p:nvPr>
        </p:nvSpPr>
        <p:spPr>
          <a:xfrm>
            <a:off x="965567" y="4054985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20" name="Google Shape;520;p17"/>
          <p:cNvSpPr txBox="1">
            <a:spLocks noGrp="1"/>
          </p:cNvSpPr>
          <p:nvPr>
            <p:ph type="subTitle" idx="9"/>
          </p:nvPr>
        </p:nvSpPr>
        <p:spPr>
          <a:xfrm>
            <a:off x="4473600" y="4677693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21" name="Google Shape;521;p17"/>
          <p:cNvSpPr txBox="1">
            <a:spLocks noGrp="1"/>
          </p:cNvSpPr>
          <p:nvPr>
            <p:ph type="title" idx="13"/>
          </p:nvPr>
        </p:nvSpPr>
        <p:spPr>
          <a:xfrm>
            <a:off x="4473605" y="4054985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22" name="Google Shape;522;p17"/>
          <p:cNvSpPr txBox="1">
            <a:spLocks noGrp="1"/>
          </p:cNvSpPr>
          <p:nvPr>
            <p:ph type="subTitle" idx="14"/>
          </p:nvPr>
        </p:nvSpPr>
        <p:spPr>
          <a:xfrm>
            <a:off x="7981633" y="4677693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23" name="Google Shape;523;p17"/>
          <p:cNvSpPr txBox="1">
            <a:spLocks noGrp="1"/>
          </p:cNvSpPr>
          <p:nvPr>
            <p:ph type="title" idx="15"/>
          </p:nvPr>
        </p:nvSpPr>
        <p:spPr>
          <a:xfrm>
            <a:off x="7981644" y="4054985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33613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05EA5E77-038B-45EE-92C5-909A9BEE0F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F0BD69B8-46AD-4FEF-A683-1DD6BD2FB2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E932B06-D034-4C56-B9CB-90842ACC7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1B62D5A-3F8D-4BF8-AF3D-B1584F6BE4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FD7DEE3-E35D-46D1-B67F-C1C68A94DB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6380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Google Shape;525;p18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26" name="Google Shape;526;p18"/>
          <p:cNvSpPr/>
          <p:nvPr/>
        </p:nvSpPr>
        <p:spPr>
          <a:xfrm>
            <a:off x="4812697" y="6068285"/>
            <a:ext cx="7379247" cy="718689"/>
          </a:xfrm>
          <a:custGeom>
            <a:avLst/>
            <a:gdLst/>
            <a:ahLst/>
            <a:cxnLst/>
            <a:rect l="l" t="t" r="r" b="b"/>
            <a:pathLst>
              <a:path w="32291" h="10923" extrusionOk="0">
                <a:moveTo>
                  <a:pt x="32291" y="1"/>
                </a:moveTo>
                <a:cubicBezTo>
                  <a:pt x="31915" y="189"/>
                  <a:pt x="31293" y="432"/>
                  <a:pt x="30509" y="542"/>
                </a:cubicBezTo>
                <a:cubicBezTo>
                  <a:pt x="29229" y="704"/>
                  <a:pt x="28795" y="1109"/>
                  <a:pt x="27797" y="1352"/>
                </a:cubicBezTo>
                <a:cubicBezTo>
                  <a:pt x="27649" y="1387"/>
                  <a:pt x="27508" y="1402"/>
                  <a:pt x="27371" y="1402"/>
                </a:cubicBezTo>
                <a:cubicBezTo>
                  <a:pt x="26657" y="1402"/>
                  <a:pt x="26030" y="1004"/>
                  <a:pt x="25053" y="1004"/>
                </a:cubicBezTo>
                <a:cubicBezTo>
                  <a:pt x="24922" y="1004"/>
                  <a:pt x="24783" y="1012"/>
                  <a:pt x="24638" y="1028"/>
                </a:cubicBezTo>
                <a:cubicBezTo>
                  <a:pt x="23206" y="1190"/>
                  <a:pt x="23491" y="1676"/>
                  <a:pt x="21492" y="1757"/>
                </a:cubicBezTo>
                <a:cubicBezTo>
                  <a:pt x="19480" y="1838"/>
                  <a:pt x="20345" y="2405"/>
                  <a:pt x="18197" y="2742"/>
                </a:cubicBezTo>
                <a:cubicBezTo>
                  <a:pt x="16039" y="3066"/>
                  <a:pt x="17186" y="3309"/>
                  <a:pt x="15903" y="3552"/>
                </a:cubicBezTo>
                <a:cubicBezTo>
                  <a:pt x="14607" y="3795"/>
                  <a:pt x="14607" y="4038"/>
                  <a:pt x="14040" y="4362"/>
                </a:cubicBezTo>
                <a:cubicBezTo>
                  <a:pt x="13909" y="4435"/>
                  <a:pt x="13771" y="4463"/>
                  <a:pt x="13611" y="4463"/>
                </a:cubicBezTo>
                <a:cubicBezTo>
                  <a:pt x="13111" y="4463"/>
                  <a:pt x="12398" y="4192"/>
                  <a:pt x="11017" y="4192"/>
                </a:cubicBezTo>
                <a:cubicBezTo>
                  <a:pt x="10884" y="4192"/>
                  <a:pt x="10745" y="4194"/>
                  <a:pt x="10599" y="4200"/>
                </a:cubicBezTo>
                <a:cubicBezTo>
                  <a:pt x="8451" y="4281"/>
                  <a:pt x="8020" y="5023"/>
                  <a:pt x="8020" y="5023"/>
                </a:cubicBezTo>
                <a:lnTo>
                  <a:pt x="7019" y="4767"/>
                </a:lnTo>
                <a:cubicBezTo>
                  <a:pt x="6852" y="4751"/>
                  <a:pt x="6696" y="4744"/>
                  <a:pt x="6550" y="4744"/>
                </a:cubicBezTo>
                <a:cubicBezTo>
                  <a:pt x="5178" y="4744"/>
                  <a:pt x="4628" y="5378"/>
                  <a:pt x="3727" y="5671"/>
                </a:cubicBezTo>
                <a:cubicBezTo>
                  <a:pt x="2713" y="5995"/>
                  <a:pt x="1" y="5995"/>
                  <a:pt x="1" y="5995"/>
                </a:cubicBezTo>
                <a:cubicBezTo>
                  <a:pt x="1" y="5995"/>
                  <a:pt x="1851" y="9073"/>
                  <a:pt x="3092" y="10923"/>
                </a:cubicBezTo>
                <a:lnTo>
                  <a:pt x="32291" y="10923"/>
                </a:lnTo>
                <a:lnTo>
                  <a:pt x="32291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7" name="Google Shape;527;p18"/>
          <p:cNvSpPr/>
          <p:nvPr/>
        </p:nvSpPr>
        <p:spPr>
          <a:xfrm>
            <a:off x="17" y="6188361"/>
            <a:ext cx="4195460" cy="717571"/>
          </a:xfrm>
          <a:custGeom>
            <a:avLst/>
            <a:gdLst/>
            <a:ahLst/>
            <a:cxnLst/>
            <a:rect l="l" t="t" r="r" b="b"/>
            <a:pathLst>
              <a:path w="18359" h="10906" extrusionOk="0">
                <a:moveTo>
                  <a:pt x="1" y="0"/>
                </a:moveTo>
                <a:lnTo>
                  <a:pt x="1" y="10906"/>
                </a:lnTo>
                <a:lnTo>
                  <a:pt x="16606" y="10906"/>
                </a:lnTo>
                <a:cubicBezTo>
                  <a:pt x="17306" y="9072"/>
                  <a:pt x="18359" y="5994"/>
                  <a:pt x="18359" y="5994"/>
                </a:cubicBezTo>
                <a:cubicBezTo>
                  <a:pt x="18359" y="5994"/>
                  <a:pt x="16820" y="5994"/>
                  <a:pt x="16240" y="5670"/>
                </a:cubicBezTo>
                <a:cubicBezTo>
                  <a:pt x="15727" y="5377"/>
                  <a:pt x="15413" y="4740"/>
                  <a:pt x="14640" y="4740"/>
                </a:cubicBezTo>
                <a:cubicBezTo>
                  <a:pt x="14557" y="4740"/>
                  <a:pt x="14470" y="4747"/>
                  <a:pt x="14377" y="4763"/>
                </a:cubicBezTo>
                <a:lnTo>
                  <a:pt x="13797" y="5006"/>
                </a:lnTo>
                <a:cubicBezTo>
                  <a:pt x="13797" y="5006"/>
                  <a:pt x="13554" y="4277"/>
                  <a:pt x="12339" y="4196"/>
                </a:cubicBezTo>
                <a:cubicBezTo>
                  <a:pt x="12272" y="4192"/>
                  <a:pt x="12208" y="4191"/>
                  <a:pt x="12146" y="4191"/>
                </a:cubicBezTo>
                <a:cubicBezTo>
                  <a:pt x="11730" y="4191"/>
                  <a:pt x="11411" y="4261"/>
                  <a:pt x="11166" y="4332"/>
                </a:cubicBezTo>
                <a:cubicBezTo>
                  <a:pt x="10937" y="4396"/>
                  <a:pt x="10767" y="4462"/>
                  <a:pt x="10627" y="4462"/>
                </a:cubicBezTo>
                <a:cubicBezTo>
                  <a:pt x="10535" y="4462"/>
                  <a:pt x="10456" y="4434"/>
                  <a:pt x="10382" y="4358"/>
                </a:cubicBezTo>
                <a:cubicBezTo>
                  <a:pt x="10058" y="4034"/>
                  <a:pt x="10058" y="3791"/>
                  <a:pt x="9316" y="3548"/>
                </a:cubicBezTo>
                <a:cubicBezTo>
                  <a:pt x="8587" y="3305"/>
                  <a:pt x="9235" y="3062"/>
                  <a:pt x="8020" y="2725"/>
                </a:cubicBezTo>
                <a:cubicBezTo>
                  <a:pt x="6792" y="2401"/>
                  <a:pt x="7278" y="1834"/>
                  <a:pt x="6144" y="1753"/>
                </a:cubicBezTo>
                <a:cubicBezTo>
                  <a:pt x="4994" y="1672"/>
                  <a:pt x="5156" y="1186"/>
                  <a:pt x="4346" y="1024"/>
                </a:cubicBezTo>
                <a:cubicBezTo>
                  <a:pt x="4259" y="1006"/>
                  <a:pt x="4178" y="998"/>
                  <a:pt x="4100" y="998"/>
                </a:cubicBezTo>
                <a:cubicBezTo>
                  <a:pt x="3826" y="998"/>
                  <a:pt x="3599" y="1095"/>
                  <a:pt x="3390" y="1199"/>
                </a:cubicBezTo>
                <a:cubicBezTo>
                  <a:pt x="3183" y="1297"/>
                  <a:pt x="2992" y="1396"/>
                  <a:pt x="2789" y="1396"/>
                </a:cubicBezTo>
                <a:cubicBezTo>
                  <a:pt x="2712" y="1396"/>
                  <a:pt x="2633" y="1382"/>
                  <a:pt x="2551" y="1348"/>
                </a:cubicBezTo>
                <a:cubicBezTo>
                  <a:pt x="1984" y="1105"/>
                  <a:pt x="1741" y="687"/>
                  <a:pt x="999" y="525"/>
                </a:cubicBezTo>
                <a:cubicBezTo>
                  <a:pt x="568" y="431"/>
                  <a:pt x="202" y="188"/>
                  <a:pt x="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8" name="Google Shape;528;p18"/>
          <p:cNvSpPr/>
          <p:nvPr/>
        </p:nvSpPr>
        <p:spPr>
          <a:xfrm>
            <a:off x="17" y="6420221"/>
            <a:ext cx="12191948" cy="450191"/>
          </a:xfrm>
          <a:custGeom>
            <a:avLst/>
            <a:gdLst/>
            <a:ahLst/>
            <a:cxnLst/>
            <a:rect l="l" t="t" r="r" b="b"/>
            <a:pathLst>
              <a:path w="53351" h="10705" extrusionOk="0">
                <a:moveTo>
                  <a:pt x="1" y="0"/>
                </a:moveTo>
                <a:lnTo>
                  <a:pt x="1" y="10705"/>
                </a:lnTo>
                <a:lnTo>
                  <a:pt x="53351" y="6075"/>
                </a:lnTo>
                <a:lnTo>
                  <a:pt x="53351" y="431"/>
                </a:lnTo>
                <a:cubicBezTo>
                  <a:pt x="50211" y="280"/>
                  <a:pt x="46158" y="14"/>
                  <a:pt x="42519" y="14"/>
                </a:cubicBezTo>
                <a:cubicBezTo>
                  <a:pt x="40918" y="14"/>
                  <a:pt x="39398" y="65"/>
                  <a:pt x="38071" y="201"/>
                </a:cubicBezTo>
                <a:cubicBezTo>
                  <a:pt x="36591" y="351"/>
                  <a:pt x="33181" y="406"/>
                  <a:pt x="28961" y="406"/>
                </a:cubicBezTo>
                <a:cubicBezTo>
                  <a:pt x="18777" y="406"/>
                  <a:pt x="3875" y="85"/>
                  <a:pt x="1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9" name="Google Shape;529;p18"/>
          <p:cNvSpPr/>
          <p:nvPr/>
        </p:nvSpPr>
        <p:spPr>
          <a:xfrm>
            <a:off x="17" y="6415552"/>
            <a:ext cx="9464980" cy="429248"/>
          </a:xfrm>
          <a:custGeom>
            <a:avLst/>
            <a:gdLst/>
            <a:ahLst/>
            <a:cxnLst/>
            <a:rect l="l" t="t" r="r" b="b"/>
            <a:pathLst>
              <a:path w="41418" h="10207" extrusionOk="0">
                <a:moveTo>
                  <a:pt x="1" y="1"/>
                </a:moveTo>
                <a:lnTo>
                  <a:pt x="1" y="10207"/>
                </a:lnTo>
                <a:lnTo>
                  <a:pt x="22383" y="10207"/>
                </a:lnTo>
                <a:cubicBezTo>
                  <a:pt x="22383" y="10207"/>
                  <a:pt x="36882" y="5658"/>
                  <a:pt x="41418" y="2703"/>
                </a:cubicBezTo>
                <a:cubicBezTo>
                  <a:pt x="30227" y="691"/>
                  <a:pt x="7006" y="124"/>
                  <a:pt x="1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0" name="Google Shape;530;p18"/>
          <p:cNvSpPr/>
          <p:nvPr/>
        </p:nvSpPr>
        <p:spPr>
          <a:xfrm>
            <a:off x="16" y="6415553"/>
            <a:ext cx="4168037" cy="349807"/>
          </a:xfrm>
          <a:custGeom>
            <a:avLst/>
            <a:gdLst/>
            <a:ahLst/>
            <a:cxnLst/>
            <a:rect l="l" t="t" r="r" b="b"/>
            <a:pathLst>
              <a:path w="18239" h="8318" extrusionOk="0">
                <a:moveTo>
                  <a:pt x="1" y="1"/>
                </a:moveTo>
                <a:lnTo>
                  <a:pt x="1" y="8318"/>
                </a:lnTo>
                <a:lnTo>
                  <a:pt x="13690" y="5279"/>
                </a:lnTo>
                <a:lnTo>
                  <a:pt x="4469" y="2917"/>
                </a:lnTo>
                <a:cubicBezTo>
                  <a:pt x="4469" y="2917"/>
                  <a:pt x="9883" y="2823"/>
                  <a:pt x="13959" y="2823"/>
                </a:cubicBezTo>
                <a:cubicBezTo>
                  <a:pt x="15997" y="2823"/>
                  <a:pt x="17711" y="2849"/>
                  <a:pt x="18239" y="2917"/>
                </a:cubicBezTo>
                <a:cubicBezTo>
                  <a:pt x="17131" y="2243"/>
                  <a:pt x="14594" y="1582"/>
                  <a:pt x="11704" y="1015"/>
                </a:cubicBezTo>
                <a:cubicBezTo>
                  <a:pt x="6737" y="380"/>
                  <a:pt x="2175" y="11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1" name="Google Shape;531;p18"/>
          <p:cNvSpPr/>
          <p:nvPr/>
        </p:nvSpPr>
        <p:spPr>
          <a:xfrm>
            <a:off x="16" y="6496464"/>
            <a:ext cx="8835627" cy="348336"/>
          </a:xfrm>
          <a:custGeom>
            <a:avLst/>
            <a:gdLst/>
            <a:ahLst/>
            <a:cxnLst/>
            <a:rect l="l" t="t" r="r" b="b"/>
            <a:pathLst>
              <a:path w="38664" h="8283" extrusionOk="0">
                <a:moveTo>
                  <a:pt x="12036" y="1"/>
                </a:moveTo>
                <a:cubicBezTo>
                  <a:pt x="7298" y="1"/>
                  <a:pt x="3031" y="77"/>
                  <a:pt x="1" y="157"/>
                </a:cubicBezTo>
                <a:lnTo>
                  <a:pt x="1" y="8283"/>
                </a:lnTo>
                <a:lnTo>
                  <a:pt x="1715" y="8283"/>
                </a:lnTo>
                <a:cubicBezTo>
                  <a:pt x="11678" y="6177"/>
                  <a:pt x="26974" y="3141"/>
                  <a:pt x="36963" y="2208"/>
                </a:cubicBezTo>
                <a:cubicBezTo>
                  <a:pt x="37585" y="1897"/>
                  <a:pt x="38165" y="1589"/>
                  <a:pt x="38664" y="1291"/>
                </a:cubicBezTo>
                <a:cubicBezTo>
                  <a:pt x="31493" y="270"/>
                  <a:pt x="20933" y="1"/>
                  <a:pt x="1203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2" name="Google Shape;532;p18"/>
          <p:cNvSpPr/>
          <p:nvPr/>
        </p:nvSpPr>
        <p:spPr>
          <a:xfrm>
            <a:off x="4398846" y="6454284"/>
            <a:ext cx="7793103" cy="507595"/>
          </a:xfrm>
          <a:custGeom>
            <a:avLst/>
            <a:gdLst/>
            <a:ahLst/>
            <a:cxnLst/>
            <a:rect l="l" t="t" r="r" b="b"/>
            <a:pathLst>
              <a:path w="34102" h="12070" extrusionOk="0">
                <a:moveTo>
                  <a:pt x="34102" y="0"/>
                </a:moveTo>
                <a:cubicBezTo>
                  <a:pt x="29744" y="107"/>
                  <a:pt x="22224" y="862"/>
                  <a:pt x="15216" y="1889"/>
                </a:cubicBezTo>
                <a:cubicBezTo>
                  <a:pt x="5104" y="3373"/>
                  <a:pt x="1" y="4063"/>
                  <a:pt x="1" y="4063"/>
                </a:cubicBezTo>
                <a:lnTo>
                  <a:pt x="27152" y="12069"/>
                </a:lnTo>
                <a:lnTo>
                  <a:pt x="34102" y="12069"/>
                </a:lnTo>
                <a:lnTo>
                  <a:pt x="3410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3" name="Google Shape;533;p18"/>
          <p:cNvSpPr/>
          <p:nvPr/>
        </p:nvSpPr>
        <p:spPr>
          <a:xfrm>
            <a:off x="8795390" y="6596637"/>
            <a:ext cx="3396543" cy="36524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4" name="Google Shape;534;p18"/>
          <p:cNvSpPr/>
          <p:nvPr/>
        </p:nvSpPr>
        <p:spPr>
          <a:xfrm>
            <a:off x="-48033" y="6519501"/>
            <a:ext cx="12239964" cy="442359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5" name="Google Shape;535;p18"/>
          <p:cNvSpPr/>
          <p:nvPr/>
        </p:nvSpPr>
        <p:spPr>
          <a:xfrm>
            <a:off x="-902901" y="-168044"/>
            <a:ext cx="2945241" cy="1889959"/>
          </a:xfrm>
          <a:custGeom>
            <a:avLst/>
            <a:gdLst/>
            <a:ahLst/>
            <a:cxnLst/>
            <a:rect l="l" t="t" r="r" b="b"/>
            <a:pathLst>
              <a:path w="9746" h="6254" extrusionOk="0">
                <a:moveTo>
                  <a:pt x="0" y="1"/>
                </a:moveTo>
                <a:lnTo>
                  <a:pt x="0" y="6092"/>
                </a:lnTo>
                <a:cubicBezTo>
                  <a:pt x="39" y="6131"/>
                  <a:pt x="94" y="6157"/>
                  <a:pt x="162" y="6186"/>
                </a:cubicBezTo>
                <a:cubicBezTo>
                  <a:pt x="282" y="6238"/>
                  <a:pt x="405" y="6254"/>
                  <a:pt x="541" y="6254"/>
                </a:cubicBezTo>
                <a:cubicBezTo>
                  <a:pt x="849" y="6254"/>
                  <a:pt x="1160" y="6092"/>
                  <a:pt x="1335" y="5833"/>
                </a:cubicBezTo>
                <a:cubicBezTo>
                  <a:pt x="1371" y="6021"/>
                  <a:pt x="1570" y="6139"/>
                  <a:pt x="1763" y="6139"/>
                </a:cubicBezTo>
                <a:cubicBezTo>
                  <a:pt x="1792" y="6139"/>
                  <a:pt x="1822" y="6136"/>
                  <a:pt x="1850" y="6131"/>
                </a:cubicBezTo>
                <a:cubicBezTo>
                  <a:pt x="2064" y="6076"/>
                  <a:pt x="2242" y="5930"/>
                  <a:pt x="2388" y="5781"/>
                </a:cubicBezTo>
                <a:cubicBezTo>
                  <a:pt x="2709" y="6054"/>
                  <a:pt x="3132" y="6222"/>
                  <a:pt x="3560" y="6222"/>
                </a:cubicBezTo>
                <a:cubicBezTo>
                  <a:pt x="3619" y="6222"/>
                  <a:pt x="3679" y="6219"/>
                  <a:pt x="3739" y="6212"/>
                </a:cubicBezTo>
                <a:cubicBezTo>
                  <a:pt x="4225" y="6173"/>
                  <a:pt x="4685" y="5930"/>
                  <a:pt x="4980" y="5551"/>
                </a:cubicBezTo>
                <a:cubicBezTo>
                  <a:pt x="5085" y="5759"/>
                  <a:pt x="5328" y="5857"/>
                  <a:pt x="5556" y="5857"/>
                </a:cubicBezTo>
                <a:cubicBezTo>
                  <a:pt x="5595" y="5857"/>
                  <a:pt x="5633" y="5855"/>
                  <a:pt x="5670" y="5849"/>
                </a:cubicBezTo>
                <a:cubicBezTo>
                  <a:pt x="5939" y="5807"/>
                  <a:pt x="6169" y="5658"/>
                  <a:pt x="6399" y="5509"/>
                </a:cubicBezTo>
                <a:cubicBezTo>
                  <a:pt x="6464" y="5683"/>
                  <a:pt x="6653" y="5781"/>
                  <a:pt x="6838" y="5781"/>
                </a:cubicBezTo>
                <a:cubicBezTo>
                  <a:pt x="6955" y="5781"/>
                  <a:pt x="7071" y="5742"/>
                  <a:pt x="7154" y="5658"/>
                </a:cubicBezTo>
                <a:cubicBezTo>
                  <a:pt x="7291" y="5764"/>
                  <a:pt x="7465" y="5815"/>
                  <a:pt x="7640" y="5815"/>
                </a:cubicBezTo>
                <a:cubicBezTo>
                  <a:pt x="7844" y="5815"/>
                  <a:pt x="8049" y="5744"/>
                  <a:pt x="8194" y="5606"/>
                </a:cubicBezTo>
                <a:cubicBezTo>
                  <a:pt x="8274" y="5684"/>
                  <a:pt x="8385" y="5725"/>
                  <a:pt x="8496" y="5725"/>
                </a:cubicBezTo>
                <a:cubicBezTo>
                  <a:pt x="8591" y="5725"/>
                  <a:pt x="8686" y="5695"/>
                  <a:pt x="8761" y="5632"/>
                </a:cubicBezTo>
                <a:cubicBezTo>
                  <a:pt x="8798" y="5704"/>
                  <a:pt x="8883" y="5727"/>
                  <a:pt x="8971" y="5727"/>
                </a:cubicBezTo>
                <a:cubicBezTo>
                  <a:pt x="9014" y="5727"/>
                  <a:pt x="9058" y="5721"/>
                  <a:pt x="9098" y="5713"/>
                </a:cubicBezTo>
                <a:cubicBezTo>
                  <a:pt x="9260" y="5700"/>
                  <a:pt x="9435" y="5671"/>
                  <a:pt x="9597" y="5645"/>
                </a:cubicBezTo>
                <a:cubicBezTo>
                  <a:pt x="9626" y="5645"/>
                  <a:pt x="9652" y="5632"/>
                  <a:pt x="9678" y="5619"/>
                </a:cubicBezTo>
                <a:cubicBezTo>
                  <a:pt x="9746" y="5551"/>
                  <a:pt x="9626" y="5457"/>
                  <a:pt x="9532" y="5457"/>
                </a:cubicBezTo>
                <a:cubicBezTo>
                  <a:pt x="9435" y="5457"/>
                  <a:pt x="9328" y="5483"/>
                  <a:pt x="9247" y="5538"/>
                </a:cubicBezTo>
                <a:cubicBezTo>
                  <a:pt x="9227" y="5452"/>
                  <a:pt x="9148" y="5402"/>
                  <a:pt x="9070" y="5402"/>
                </a:cubicBezTo>
                <a:cubicBezTo>
                  <a:pt x="9047" y="5402"/>
                  <a:pt x="9025" y="5406"/>
                  <a:pt x="9004" y="5415"/>
                </a:cubicBezTo>
                <a:cubicBezTo>
                  <a:pt x="8978" y="5444"/>
                  <a:pt x="8949" y="5457"/>
                  <a:pt x="8923" y="5470"/>
                </a:cubicBezTo>
                <a:cubicBezTo>
                  <a:pt x="8916" y="5471"/>
                  <a:pt x="8910" y="5472"/>
                  <a:pt x="8903" y="5472"/>
                </a:cubicBezTo>
                <a:cubicBezTo>
                  <a:pt x="8833" y="5472"/>
                  <a:pt x="8783" y="5410"/>
                  <a:pt x="8735" y="5363"/>
                </a:cubicBezTo>
                <a:cubicBezTo>
                  <a:pt x="8599" y="5201"/>
                  <a:pt x="8437" y="5065"/>
                  <a:pt x="8236" y="5010"/>
                </a:cubicBezTo>
                <a:cubicBezTo>
                  <a:pt x="8180" y="4996"/>
                  <a:pt x="8123" y="4988"/>
                  <a:pt x="8066" y="4988"/>
                </a:cubicBezTo>
                <a:cubicBezTo>
                  <a:pt x="7913" y="4988"/>
                  <a:pt x="7761" y="5041"/>
                  <a:pt x="7653" y="5159"/>
                </a:cubicBezTo>
                <a:cubicBezTo>
                  <a:pt x="7721" y="5078"/>
                  <a:pt x="7303" y="4848"/>
                  <a:pt x="7248" y="4835"/>
                </a:cubicBezTo>
                <a:cubicBezTo>
                  <a:pt x="7178" y="4810"/>
                  <a:pt x="7108" y="4795"/>
                  <a:pt x="7040" y="4795"/>
                </a:cubicBezTo>
                <a:cubicBezTo>
                  <a:pt x="6927" y="4795"/>
                  <a:pt x="6821" y="4835"/>
                  <a:pt x="6736" y="4929"/>
                </a:cubicBezTo>
                <a:cubicBezTo>
                  <a:pt x="6655" y="4537"/>
                  <a:pt x="6344" y="4200"/>
                  <a:pt x="5952" y="4106"/>
                </a:cubicBezTo>
                <a:cubicBezTo>
                  <a:pt x="5874" y="4087"/>
                  <a:pt x="5794" y="4078"/>
                  <a:pt x="5714" y="4078"/>
                </a:cubicBezTo>
                <a:cubicBezTo>
                  <a:pt x="5392" y="4078"/>
                  <a:pt x="5067" y="4223"/>
                  <a:pt x="4873" y="4472"/>
                </a:cubicBezTo>
                <a:cubicBezTo>
                  <a:pt x="4873" y="4275"/>
                  <a:pt x="4674" y="4135"/>
                  <a:pt x="4483" y="4135"/>
                </a:cubicBezTo>
                <a:cubicBezTo>
                  <a:pt x="4410" y="4135"/>
                  <a:pt x="4339" y="4155"/>
                  <a:pt x="4280" y="4200"/>
                </a:cubicBezTo>
                <a:cubicBezTo>
                  <a:pt x="4307" y="3976"/>
                  <a:pt x="4076" y="3810"/>
                  <a:pt x="3865" y="3810"/>
                </a:cubicBezTo>
                <a:cubicBezTo>
                  <a:pt x="3771" y="3810"/>
                  <a:pt x="3681" y="3843"/>
                  <a:pt x="3619" y="3918"/>
                </a:cubicBezTo>
                <a:cubicBezTo>
                  <a:pt x="3765" y="3458"/>
                  <a:pt x="3551" y="2904"/>
                  <a:pt x="3133" y="2690"/>
                </a:cubicBezTo>
                <a:cubicBezTo>
                  <a:pt x="2993" y="2620"/>
                  <a:pt x="2838" y="2587"/>
                  <a:pt x="2683" y="2587"/>
                </a:cubicBezTo>
                <a:cubicBezTo>
                  <a:pt x="2358" y="2587"/>
                  <a:pt x="2032" y="2734"/>
                  <a:pt x="1850" y="2998"/>
                </a:cubicBezTo>
                <a:cubicBezTo>
                  <a:pt x="1837" y="2674"/>
                  <a:pt x="1837" y="2337"/>
                  <a:pt x="1675" y="2055"/>
                </a:cubicBezTo>
                <a:cubicBezTo>
                  <a:pt x="1540" y="1839"/>
                  <a:pt x="1299" y="1679"/>
                  <a:pt x="1060" y="1679"/>
                </a:cubicBezTo>
                <a:cubicBezTo>
                  <a:pt x="984" y="1679"/>
                  <a:pt x="908" y="1695"/>
                  <a:pt x="836" y="1731"/>
                </a:cubicBezTo>
                <a:cubicBezTo>
                  <a:pt x="983" y="1498"/>
                  <a:pt x="753" y="1153"/>
                  <a:pt x="486" y="1153"/>
                </a:cubicBezTo>
                <a:cubicBezTo>
                  <a:pt x="459" y="1153"/>
                  <a:pt x="432" y="1157"/>
                  <a:pt x="405" y="1164"/>
                </a:cubicBezTo>
                <a:cubicBezTo>
                  <a:pt x="593" y="1109"/>
                  <a:pt x="486" y="584"/>
                  <a:pt x="431" y="474"/>
                </a:cubicBezTo>
                <a:cubicBezTo>
                  <a:pt x="350" y="260"/>
                  <a:pt x="188" y="98"/>
                  <a:pt x="0" y="1"/>
                </a:cubicBezTo>
                <a:close/>
              </a:path>
            </a:pathLst>
          </a:custGeom>
          <a:solidFill>
            <a:srgbClr val="FFFFFF">
              <a:alpha val="5313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14882337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Google Shape;537;p19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38" name="Google Shape;538;p19"/>
          <p:cNvSpPr/>
          <p:nvPr/>
        </p:nvSpPr>
        <p:spPr>
          <a:xfrm flipH="1">
            <a:off x="7144180" y="6504156"/>
            <a:ext cx="70951" cy="1593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9" name="Google Shape;539;p19"/>
          <p:cNvSpPr/>
          <p:nvPr/>
        </p:nvSpPr>
        <p:spPr>
          <a:xfrm flipH="1">
            <a:off x="1990300" y="6297427"/>
            <a:ext cx="597393" cy="10359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0" name="Google Shape;540;p19"/>
          <p:cNvSpPr/>
          <p:nvPr/>
        </p:nvSpPr>
        <p:spPr>
          <a:xfrm flipH="1">
            <a:off x="-3" y="5838391"/>
            <a:ext cx="12192016" cy="593132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1" name="Google Shape;541;p19"/>
          <p:cNvSpPr/>
          <p:nvPr/>
        </p:nvSpPr>
        <p:spPr>
          <a:xfrm flipH="1">
            <a:off x="31" y="6087815"/>
            <a:ext cx="12192016" cy="593139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2" name="Google Shape;542;p19"/>
          <p:cNvSpPr/>
          <p:nvPr/>
        </p:nvSpPr>
        <p:spPr>
          <a:xfrm flipH="1">
            <a:off x="38" y="5967206"/>
            <a:ext cx="7338209" cy="1182777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3" name="Google Shape;543;p19"/>
          <p:cNvSpPr/>
          <p:nvPr/>
        </p:nvSpPr>
        <p:spPr>
          <a:xfrm flipH="1">
            <a:off x="242846" y="6391599"/>
            <a:ext cx="11949201" cy="542732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4" name="Google Shape;544;p19"/>
          <p:cNvSpPr/>
          <p:nvPr/>
        </p:nvSpPr>
        <p:spPr>
          <a:xfrm flipH="1">
            <a:off x="31" y="6607231"/>
            <a:ext cx="12192016" cy="542747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45" name="Google Shape;545;p19"/>
          <p:cNvGrpSpPr/>
          <p:nvPr/>
        </p:nvGrpSpPr>
        <p:grpSpPr>
          <a:xfrm>
            <a:off x="826849" y="5446301"/>
            <a:ext cx="1110233" cy="977881"/>
            <a:chOff x="620125" y="3581200"/>
            <a:chExt cx="832675" cy="1022175"/>
          </a:xfrm>
        </p:grpSpPr>
        <p:sp>
          <p:nvSpPr>
            <p:cNvPr id="546" name="Google Shape;546;p19"/>
            <p:cNvSpPr/>
            <p:nvPr/>
          </p:nvSpPr>
          <p:spPr>
            <a:xfrm>
              <a:off x="1277069" y="4458809"/>
              <a:ext cx="78159" cy="144566"/>
            </a:xfrm>
            <a:custGeom>
              <a:avLst/>
              <a:gdLst/>
              <a:ahLst/>
              <a:cxnLst/>
              <a:rect l="l" t="t" r="r" b="b"/>
              <a:pathLst>
                <a:path w="306" h="566" extrusionOk="0">
                  <a:moveTo>
                    <a:pt x="166" y="1"/>
                  </a:moveTo>
                  <a:cubicBezTo>
                    <a:pt x="82" y="1"/>
                    <a:pt x="0" y="58"/>
                    <a:pt x="47" y="119"/>
                  </a:cubicBezTo>
                  <a:cubicBezTo>
                    <a:pt x="144" y="242"/>
                    <a:pt x="115" y="566"/>
                    <a:pt x="115" y="566"/>
                  </a:cubicBezTo>
                  <a:lnTo>
                    <a:pt x="238" y="566"/>
                  </a:lnTo>
                  <a:cubicBezTo>
                    <a:pt x="209" y="226"/>
                    <a:pt x="306" y="119"/>
                    <a:pt x="306" y="119"/>
                  </a:cubicBezTo>
                  <a:cubicBezTo>
                    <a:pt x="293" y="33"/>
                    <a:pt x="229" y="1"/>
                    <a:pt x="166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7" name="Google Shape;547;p19"/>
            <p:cNvSpPr/>
            <p:nvPr/>
          </p:nvSpPr>
          <p:spPr>
            <a:xfrm>
              <a:off x="1189460" y="3581455"/>
              <a:ext cx="263341" cy="958326"/>
            </a:xfrm>
            <a:custGeom>
              <a:avLst/>
              <a:gdLst/>
              <a:ahLst/>
              <a:cxnLst/>
              <a:rect l="l" t="t" r="r" b="b"/>
              <a:pathLst>
                <a:path w="1031" h="3752" extrusionOk="0">
                  <a:moveTo>
                    <a:pt x="524" y="0"/>
                  </a:moveTo>
                  <a:cubicBezTo>
                    <a:pt x="469" y="0"/>
                    <a:pt x="415" y="113"/>
                    <a:pt x="364" y="382"/>
                  </a:cubicBezTo>
                  <a:cubicBezTo>
                    <a:pt x="364" y="382"/>
                    <a:pt x="1" y="3418"/>
                    <a:pt x="257" y="3635"/>
                  </a:cubicBezTo>
                  <a:cubicBezTo>
                    <a:pt x="328" y="3702"/>
                    <a:pt x="437" y="3751"/>
                    <a:pt x="549" y="3751"/>
                  </a:cubicBezTo>
                  <a:cubicBezTo>
                    <a:pt x="754" y="3751"/>
                    <a:pt x="972" y="3586"/>
                    <a:pt x="999" y="3055"/>
                  </a:cubicBezTo>
                  <a:cubicBezTo>
                    <a:pt x="1031" y="2379"/>
                    <a:pt x="774" y="0"/>
                    <a:pt x="524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8" name="Google Shape;548;p19"/>
            <p:cNvSpPr/>
            <p:nvPr/>
          </p:nvSpPr>
          <p:spPr>
            <a:xfrm>
              <a:off x="1175412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8" y="0"/>
                  </a:moveTo>
                  <a:cubicBezTo>
                    <a:pt x="525" y="0"/>
                    <a:pt x="468" y="116"/>
                    <a:pt x="419" y="383"/>
                  </a:cubicBezTo>
                  <a:cubicBezTo>
                    <a:pt x="419" y="383"/>
                    <a:pt x="1" y="3218"/>
                    <a:pt x="312" y="3636"/>
                  </a:cubicBezTo>
                  <a:cubicBezTo>
                    <a:pt x="325" y="3662"/>
                    <a:pt x="364" y="3691"/>
                    <a:pt x="393" y="3704"/>
                  </a:cubicBezTo>
                  <a:cubicBezTo>
                    <a:pt x="244" y="3095"/>
                    <a:pt x="500" y="370"/>
                    <a:pt x="500" y="370"/>
                  </a:cubicBezTo>
                  <a:cubicBezTo>
                    <a:pt x="526" y="33"/>
                    <a:pt x="607" y="114"/>
                    <a:pt x="636" y="46"/>
                  </a:cubicBezTo>
                  <a:cubicBezTo>
                    <a:pt x="617" y="16"/>
                    <a:pt x="598" y="0"/>
                    <a:pt x="578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9" name="Google Shape;549;p19"/>
            <p:cNvSpPr/>
            <p:nvPr/>
          </p:nvSpPr>
          <p:spPr>
            <a:xfrm>
              <a:off x="1018838" y="4458809"/>
              <a:ext cx="77393" cy="144566"/>
            </a:xfrm>
            <a:custGeom>
              <a:avLst/>
              <a:gdLst/>
              <a:ahLst/>
              <a:cxnLst/>
              <a:rect l="l" t="t" r="r" b="b"/>
              <a:pathLst>
                <a:path w="303" h="566" extrusionOk="0">
                  <a:moveTo>
                    <a:pt x="166" y="1"/>
                  </a:moveTo>
                  <a:cubicBezTo>
                    <a:pt x="82" y="1"/>
                    <a:pt x="1" y="58"/>
                    <a:pt x="47" y="119"/>
                  </a:cubicBezTo>
                  <a:cubicBezTo>
                    <a:pt x="141" y="242"/>
                    <a:pt x="115" y="566"/>
                    <a:pt x="115" y="566"/>
                  </a:cubicBezTo>
                  <a:lnTo>
                    <a:pt x="235" y="566"/>
                  </a:lnTo>
                  <a:cubicBezTo>
                    <a:pt x="209" y="226"/>
                    <a:pt x="303" y="119"/>
                    <a:pt x="303" y="119"/>
                  </a:cubicBezTo>
                  <a:cubicBezTo>
                    <a:pt x="292" y="33"/>
                    <a:pt x="228" y="1"/>
                    <a:pt x="166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0" name="Google Shape;550;p19"/>
            <p:cNvSpPr/>
            <p:nvPr/>
          </p:nvSpPr>
          <p:spPr>
            <a:xfrm>
              <a:off x="927142" y="3581455"/>
              <a:ext cx="267427" cy="958326"/>
            </a:xfrm>
            <a:custGeom>
              <a:avLst/>
              <a:gdLst/>
              <a:ahLst/>
              <a:cxnLst/>
              <a:rect l="l" t="t" r="r" b="b"/>
              <a:pathLst>
                <a:path w="1047" h="3752" extrusionOk="0">
                  <a:moveTo>
                    <a:pt x="530" y="0"/>
                  </a:moveTo>
                  <a:cubicBezTo>
                    <a:pt x="473" y="0"/>
                    <a:pt x="417" y="113"/>
                    <a:pt x="364" y="382"/>
                  </a:cubicBezTo>
                  <a:cubicBezTo>
                    <a:pt x="364" y="382"/>
                    <a:pt x="1" y="3418"/>
                    <a:pt x="257" y="3635"/>
                  </a:cubicBezTo>
                  <a:cubicBezTo>
                    <a:pt x="334" y="3702"/>
                    <a:pt x="446" y="3751"/>
                    <a:pt x="561" y="3751"/>
                  </a:cubicBezTo>
                  <a:cubicBezTo>
                    <a:pt x="770" y="3751"/>
                    <a:pt x="987" y="3586"/>
                    <a:pt x="1012" y="3055"/>
                  </a:cubicBezTo>
                  <a:cubicBezTo>
                    <a:pt x="1046" y="2379"/>
                    <a:pt x="788" y="0"/>
                    <a:pt x="530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1" name="Google Shape;551;p19"/>
            <p:cNvSpPr/>
            <p:nvPr/>
          </p:nvSpPr>
          <p:spPr>
            <a:xfrm>
              <a:off x="916414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2" y="0"/>
                  </a:moveTo>
                  <a:cubicBezTo>
                    <a:pt x="517" y="0"/>
                    <a:pt x="465" y="116"/>
                    <a:pt x="406" y="383"/>
                  </a:cubicBezTo>
                  <a:cubicBezTo>
                    <a:pt x="406" y="383"/>
                    <a:pt x="1" y="3218"/>
                    <a:pt x="299" y="3636"/>
                  </a:cubicBezTo>
                  <a:cubicBezTo>
                    <a:pt x="325" y="3662"/>
                    <a:pt x="367" y="3691"/>
                    <a:pt x="393" y="3704"/>
                  </a:cubicBezTo>
                  <a:cubicBezTo>
                    <a:pt x="244" y="3095"/>
                    <a:pt x="487" y="370"/>
                    <a:pt x="487" y="370"/>
                  </a:cubicBezTo>
                  <a:cubicBezTo>
                    <a:pt x="529" y="33"/>
                    <a:pt x="610" y="114"/>
                    <a:pt x="636" y="46"/>
                  </a:cubicBezTo>
                  <a:cubicBezTo>
                    <a:pt x="614" y="16"/>
                    <a:pt x="593" y="0"/>
                    <a:pt x="572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2" name="Google Shape;552;p19"/>
            <p:cNvSpPr/>
            <p:nvPr/>
          </p:nvSpPr>
          <p:spPr>
            <a:xfrm>
              <a:off x="722549" y="4458809"/>
              <a:ext cx="77393" cy="144566"/>
            </a:xfrm>
            <a:custGeom>
              <a:avLst/>
              <a:gdLst/>
              <a:ahLst/>
              <a:cxnLst/>
              <a:rect l="l" t="t" r="r" b="b"/>
              <a:pathLst>
                <a:path w="303" h="566" extrusionOk="0">
                  <a:moveTo>
                    <a:pt x="164" y="1"/>
                  </a:moveTo>
                  <a:cubicBezTo>
                    <a:pt x="81" y="1"/>
                    <a:pt x="1" y="58"/>
                    <a:pt x="47" y="119"/>
                  </a:cubicBezTo>
                  <a:cubicBezTo>
                    <a:pt x="141" y="242"/>
                    <a:pt x="112" y="566"/>
                    <a:pt x="112" y="566"/>
                  </a:cubicBezTo>
                  <a:lnTo>
                    <a:pt x="235" y="566"/>
                  </a:lnTo>
                  <a:cubicBezTo>
                    <a:pt x="209" y="226"/>
                    <a:pt x="303" y="119"/>
                    <a:pt x="303" y="119"/>
                  </a:cubicBezTo>
                  <a:cubicBezTo>
                    <a:pt x="290" y="33"/>
                    <a:pt x="227" y="1"/>
                    <a:pt x="164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3" name="Google Shape;553;p19"/>
            <p:cNvSpPr/>
            <p:nvPr/>
          </p:nvSpPr>
          <p:spPr>
            <a:xfrm>
              <a:off x="630853" y="3581455"/>
              <a:ext cx="267427" cy="958326"/>
            </a:xfrm>
            <a:custGeom>
              <a:avLst/>
              <a:gdLst/>
              <a:ahLst/>
              <a:cxnLst/>
              <a:rect l="l" t="t" r="r" b="b"/>
              <a:pathLst>
                <a:path w="1047" h="3752" extrusionOk="0">
                  <a:moveTo>
                    <a:pt x="537" y="0"/>
                  </a:moveTo>
                  <a:cubicBezTo>
                    <a:pt x="482" y="0"/>
                    <a:pt x="428" y="113"/>
                    <a:pt x="377" y="382"/>
                  </a:cubicBezTo>
                  <a:cubicBezTo>
                    <a:pt x="377" y="382"/>
                    <a:pt x="1" y="3418"/>
                    <a:pt x="257" y="3635"/>
                  </a:cubicBezTo>
                  <a:cubicBezTo>
                    <a:pt x="333" y="3702"/>
                    <a:pt x="445" y="3751"/>
                    <a:pt x="560" y="3751"/>
                  </a:cubicBezTo>
                  <a:cubicBezTo>
                    <a:pt x="769" y="3751"/>
                    <a:pt x="987" y="3586"/>
                    <a:pt x="1012" y="3055"/>
                  </a:cubicBezTo>
                  <a:cubicBezTo>
                    <a:pt x="1046" y="2379"/>
                    <a:pt x="788" y="0"/>
                    <a:pt x="537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4" name="Google Shape;554;p19"/>
            <p:cNvSpPr/>
            <p:nvPr/>
          </p:nvSpPr>
          <p:spPr>
            <a:xfrm>
              <a:off x="620125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3" y="0"/>
                  </a:moveTo>
                  <a:cubicBezTo>
                    <a:pt x="518" y="0"/>
                    <a:pt x="468" y="116"/>
                    <a:pt x="419" y="383"/>
                  </a:cubicBezTo>
                  <a:cubicBezTo>
                    <a:pt x="419" y="383"/>
                    <a:pt x="1" y="3218"/>
                    <a:pt x="299" y="3636"/>
                  </a:cubicBezTo>
                  <a:cubicBezTo>
                    <a:pt x="325" y="3662"/>
                    <a:pt x="367" y="3691"/>
                    <a:pt x="393" y="3704"/>
                  </a:cubicBezTo>
                  <a:cubicBezTo>
                    <a:pt x="244" y="3095"/>
                    <a:pt x="500" y="370"/>
                    <a:pt x="500" y="370"/>
                  </a:cubicBezTo>
                  <a:cubicBezTo>
                    <a:pt x="529" y="33"/>
                    <a:pt x="610" y="114"/>
                    <a:pt x="636" y="46"/>
                  </a:cubicBezTo>
                  <a:cubicBezTo>
                    <a:pt x="614" y="16"/>
                    <a:pt x="593" y="0"/>
                    <a:pt x="573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91340814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20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57" name="Google Shape;557;p20"/>
          <p:cNvSpPr/>
          <p:nvPr/>
        </p:nvSpPr>
        <p:spPr>
          <a:xfrm>
            <a:off x="4812697" y="5764676"/>
            <a:ext cx="7379247" cy="1006883"/>
          </a:xfrm>
          <a:custGeom>
            <a:avLst/>
            <a:gdLst/>
            <a:ahLst/>
            <a:cxnLst/>
            <a:rect l="l" t="t" r="r" b="b"/>
            <a:pathLst>
              <a:path w="32291" h="10923" extrusionOk="0">
                <a:moveTo>
                  <a:pt x="32291" y="1"/>
                </a:moveTo>
                <a:cubicBezTo>
                  <a:pt x="31915" y="189"/>
                  <a:pt x="31293" y="432"/>
                  <a:pt x="30509" y="542"/>
                </a:cubicBezTo>
                <a:cubicBezTo>
                  <a:pt x="29229" y="704"/>
                  <a:pt x="28795" y="1109"/>
                  <a:pt x="27797" y="1352"/>
                </a:cubicBezTo>
                <a:cubicBezTo>
                  <a:pt x="27649" y="1387"/>
                  <a:pt x="27508" y="1402"/>
                  <a:pt x="27371" y="1402"/>
                </a:cubicBezTo>
                <a:cubicBezTo>
                  <a:pt x="26657" y="1402"/>
                  <a:pt x="26030" y="1004"/>
                  <a:pt x="25053" y="1004"/>
                </a:cubicBezTo>
                <a:cubicBezTo>
                  <a:pt x="24922" y="1004"/>
                  <a:pt x="24783" y="1012"/>
                  <a:pt x="24638" y="1028"/>
                </a:cubicBezTo>
                <a:cubicBezTo>
                  <a:pt x="23206" y="1190"/>
                  <a:pt x="23491" y="1676"/>
                  <a:pt x="21492" y="1757"/>
                </a:cubicBezTo>
                <a:cubicBezTo>
                  <a:pt x="19480" y="1838"/>
                  <a:pt x="20345" y="2405"/>
                  <a:pt x="18197" y="2742"/>
                </a:cubicBezTo>
                <a:cubicBezTo>
                  <a:pt x="16039" y="3066"/>
                  <a:pt x="17186" y="3309"/>
                  <a:pt x="15903" y="3552"/>
                </a:cubicBezTo>
                <a:cubicBezTo>
                  <a:pt x="14607" y="3795"/>
                  <a:pt x="14607" y="4038"/>
                  <a:pt x="14040" y="4362"/>
                </a:cubicBezTo>
                <a:cubicBezTo>
                  <a:pt x="13909" y="4435"/>
                  <a:pt x="13771" y="4463"/>
                  <a:pt x="13611" y="4463"/>
                </a:cubicBezTo>
                <a:cubicBezTo>
                  <a:pt x="13111" y="4463"/>
                  <a:pt x="12398" y="4192"/>
                  <a:pt x="11017" y="4192"/>
                </a:cubicBezTo>
                <a:cubicBezTo>
                  <a:pt x="10884" y="4192"/>
                  <a:pt x="10745" y="4194"/>
                  <a:pt x="10599" y="4200"/>
                </a:cubicBezTo>
                <a:cubicBezTo>
                  <a:pt x="8451" y="4281"/>
                  <a:pt x="8020" y="5023"/>
                  <a:pt x="8020" y="5023"/>
                </a:cubicBezTo>
                <a:lnTo>
                  <a:pt x="7019" y="4767"/>
                </a:lnTo>
                <a:cubicBezTo>
                  <a:pt x="6852" y="4751"/>
                  <a:pt x="6696" y="4744"/>
                  <a:pt x="6550" y="4744"/>
                </a:cubicBezTo>
                <a:cubicBezTo>
                  <a:pt x="5178" y="4744"/>
                  <a:pt x="4628" y="5378"/>
                  <a:pt x="3727" y="5671"/>
                </a:cubicBezTo>
                <a:cubicBezTo>
                  <a:pt x="2713" y="5995"/>
                  <a:pt x="1" y="5995"/>
                  <a:pt x="1" y="5995"/>
                </a:cubicBezTo>
                <a:cubicBezTo>
                  <a:pt x="1" y="5995"/>
                  <a:pt x="1851" y="9073"/>
                  <a:pt x="3092" y="10923"/>
                </a:cubicBezTo>
                <a:lnTo>
                  <a:pt x="32291" y="10923"/>
                </a:lnTo>
                <a:lnTo>
                  <a:pt x="32291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8" name="Google Shape;558;p20"/>
          <p:cNvSpPr/>
          <p:nvPr/>
        </p:nvSpPr>
        <p:spPr>
          <a:xfrm>
            <a:off x="34" y="5628569"/>
            <a:ext cx="4195460" cy="1142076"/>
          </a:xfrm>
          <a:custGeom>
            <a:avLst/>
            <a:gdLst/>
            <a:ahLst/>
            <a:cxnLst/>
            <a:rect l="l" t="t" r="r" b="b"/>
            <a:pathLst>
              <a:path w="18359" h="10906" extrusionOk="0">
                <a:moveTo>
                  <a:pt x="1" y="0"/>
                </a:moveTo>
                <a:lnTo>
                  <a:pt x="1" y="10906"/>
                </a:lnTo>
                <a:lnTo>
                  <a:pt x="16606" y="10906"/>
                </a:lnTo>
                <a:cubicBezTo>
                  <a:pt x="17306" y="9072"/>
                  <a:pt x="18359" y="5994"/>
                  <a:pt x="18359" y="5994"/>
                </a:cubicBezTo>
                <a:cubicBezTo>
                  <a:pt x="18359" y="5994"/>
                  <a:pt x="16820" y="5994"/>
                  <a:pt x="16240" y="5670"/>
                </a:cubicBezTo>
                <a:cubicBezTo>
                  <a:pt x="15727" y="5377"/>
                  <a:pt x="15413" y="4740"/>
                  <a:pt x="14640" y="4740"/>
                </a:cubicBezTo>
                <a:cubicBezTo>
                  <a:pt x="14557" y="4740"/>
                  <a:pt x="14470" y="4747"/>
                  <a:pt x="14377" y="4763"/>
                </a:cubicBezTo>
                <a:lnTo>
                  <a:pt x="13797" y="5006"/>
                </a:lnTo>
                <a:cubicBezTo>
                  <a:pt x="13797" y="5006"/>
                  <a:pt x="13554" y="4277"/>
                  <a:pt x="12339" y="4196"/>
                </a:cubicBezTo>
                <a:cubicBezTo>
                  <a:pt x="12272" y="4192"/>
                  <a:pt x="12208" y="4191"/>
                  <a:pt x="12146" y="4191"/>
                </a:cubicBezTo>
                <a:cubicBezTo>
                  <a:pt x="11730" y="4191"/>
                  <a:pt x="11411" y="4261"/>
                  <a:pt x="11166" y="4332"/>
                </a:cubicBezTo>
                <a:cubicBezTo>
                  <a:pt x="10937" y="4396"/>
                  <a:pt x="10767" y="4462"/>
                  <a:pt x="10627" y="4462"/>
                </a:cubicBezTo>
                <a:cubicBezTo>
                  <a:pt x="10535" y="4462"/>
                  <a:pt x="10456" y="4434"/>
                  <a:pt x="10382" y="4358"/>
                </a:cubicBezTo>
                <a:cubicBezTo>
                  <a:pt x="10058" y="4034"/>
                  <a:pt x="10058" y="3791"/>
                  <a:pt x="9316" y="3548"/>
                </a:cubicBezTo>
                <a:cubicBezTo>
                  <a:pt x="8587" y="3305"/>
                  <a:pt x="9235" y="3062"/>
                  <a:pt x="8020" y="2725"/>
                </a:cubicBezTo>
                <a:cubicBezTo>
                  <a:pt x="6792" y="2401"/>
                  <a:pt x="7278" y="1834"/>
                  <a:pt x="6144" y="1753"/>
                </a:cubicBezTo>
                <a:cubicBezTo>
                  <a:pt x="4994" y="1672"/>
                  <a:pt x="5156" y="1186"/>
                  <a:pt x="4346" y="1024"/>
                </a:cubicBezTo>
                <a:cubicBezTo>
                  <a:pt x="4259" y="1006"/>
                  <a:pt x="4178" y="998"/>
                  <a:pt x="4100" y="998"/>
                </a:cubicBezTo>
                <a:cubicBezTo>
                  <a:pt x="3826" y="998"/>
                  <a:pt x="3599" y="1095"/>
                  <a:pt x="3390" y="1199"/>
                </a:cubicBezTo>
                <a:cubicBezTo>
                  <a:pt x="3183" y="1297"/>
                  <a:pt x="2992" y="1396"/>
                  <a:pt x="2789" y="1396"/>
                </a:cubicBezTo>
                <a:cubicBezTo>
                  <a:pt x="2712" y="1396"/>
                  <a:pt x="2633" y="1382"/>
                  <a:pt x="2551" y="1348"/>
                </a:cubicBezTo>
                <a:cubicBezTo>
                  <a:pt x="1984" y="1105"/>
                  <a:pt x="1741" y="687"/>
                  <a:pt x="999" y="525"/>
                </a:cubicBezTo>
                <a:cubicBezTo>
                  <a:pt x="568" y="431"/>
                  <a:pt x="202" y="188"/>
                  <a:pt x="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9" name="Google Shape;559;p20"/>
          <p:cNvSpPr/>
          <p:nvPr/>
        </p:nvSpPr>
        <p:spPr>
          <a:xfrm>
            <a:off x="34" y="6141236"/>
            <a:ext cx="12191948" cy="522709"/>
          </a:xfrm>
          <a:custGeom>
            <a:avLst/>
            <a:gdLst/>
            <a:ahLst/>
            <a:cxnLst/>
            <a:rect l="l" t="t" r="r" b="b"/>
            <a:pathLst>
              <a:path w="53351" h="10705" extrusionOk="0">
                <a:moveTo>
                  <a:pt x="1" y="0"/>
                </a:moveTo>
                <a:lnTo>
                  <a:pt x="1" y="10705"/>
                </a:lnTo>
                <a:lnTo>
                  <a:pt x="53351" y="6075"/>
                </a:lnTo>
                <a:lnTo>
                  <a:pt x="53351" y="431"/>
                </a:lnTo>
                <a:cubicBezTo>
                  <a:pt x="50211" y="280"/>
                  <a:pt x="46158" y="14"/>
                  <a:pt x="42519" y="14"/>
                </a:cubicBezTo>
                <a:cubicBezTo>
                  <a:pt x="40918" y="14"/>
                  <a:pt x="39398" y="65"/>
                  <a:pt x="38071" y="201"/>
                </a:cubicBezTo>
                <a:cubicBezTo>
                  <a:pt x="36591" y="351"/>
                  <a:pt x="33181" y="406"/>
                  <a:pt x="28961" y="406"/>
                </a:cubicBezTo>
                <a:cubicBezTo>
                  <a:pt x="18777" y="406"/>
                  <a:pt x="3875" y="85"/>
                  <a:pt x="1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0" name="Google Shape;560;p20"/>
          <p:cNvSpPr/>
          <p:nvPr/>
        </p:nvSpPr>
        <p:spPr>
          <a:xfrm>
            <a:off x="13734" y="6074765"/>
            <a:ext cx="4168037" cy="782587"/>
          </a:xfrm>
          <a:custGeom>
            <a:avLst/>
            <a:gdLst/>
            <a:ahLst/>
            <a:cxnLst/>
            <a:rect l="l" t="t" r="r" b="b"/>
            <a:pathLst>
              <a:path w="18239" h="8318" extrusionOk="0">
                <a:moveTo>
                  <a:pt x="1" y="1"/>
                </a:moveTo>
                <a:lnTo>
                  <a:pt x="1" y="8318"/>
                </a:lnTo>
                <a:lnTo>
                  <a:pt x="13690" y="5279"/>
                </a:lnTo>
                <a:lnTo>
                  <a:pt x="4469" y="2917"/>
                </a:lnTo>
                <a:cubicBezTo>
                  <a:pt x="4469" y="2917"/>
                  <a:pt x="9883" y="2823"/>
                  <a:pt x="13959" y="2823"/>
                </a:cubicBezTo>
                <a:cubicBezTo>
                  <a:pt x="15997" y="2823"/>
                  <a:pt x="17711" y="2849"/>
                  <a:pt x="18239" y="2917"/>
                </a:cubicBezTo>
                <a:cubicBezTo>
                  <a:pt x="17131" y="2243"/>
                  <a:pt x="14594" y="1582"/>
                  <a:pt x="11704" y="1015"/>
                </a:cubicBezTo>
                <a:cubicBezTo>
                  <a:pt x="6737" y="380"/>
                  <a:pt x="2175" y="11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1" name="Google Shape;561;p20"/>
          <p:cNvSpPr/>
          <p:nvPr/>
        </p:nvSpPr>
        <p:spPr>
          <a:xfrm>
            <a:off x="4398834" y="6206938"/>
            <a:ext cx="7793103" cy="636815"/>
          </a:xfrm>
          <a:custGeom>
            <a:avLst/>
            <a:gdLst/>
            <a:ahLst/>
            <a:cxnLst/>
            <a:rect l="l" t="t" r="r" b="b"/>
            <a:pathLst>
              <a:path w="34102" h="12070" extrusionOk="0">
                <a:moveTo>
                  <a:pt x="34102" y="0"/>
                </a:moveTo>
                <a:cubicBezTo>
                  <a:pt x="29744" y="107"/>
                  <a:pt x="22224" y="862"/>
                  <a:pt x="15216" y="1889"/>
                </a:cubicBezTo>
                <a:cubicBezTo>
                  <a:pt x="5104" y="3373"/>
                  <a:pt x="1" y="4063"/>
                  <a:pt x="1" y="4063"/>
                </a:cubicBezTo>
                <a:lnTo>
                  <a:pt x="27152" y="12069"/>
                </a:lnTo>
                <a:lnTo>
                  <a:pt x="34102" y="12069"/>
                </a:lnTo>
                <a:lnTo>
                  <a:pt x="3410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2" name="Google Shape;562;p20"/>
          <p:cNvSpPr/>
          <p:nvPr/>
        </p:nvSpPr>
        <p:spPr>
          <a:xfrm>
            <a:off x="8795401" y="6321037"/>
            <a:ext cx="3396543" cy="522713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3" name="Google Shape;563;p20"/>
          <p:cNvSpPr/>
          <p:nvPr/>
        </p:nvSpPr>
        <p:spPr>
          <a:xfrm>
            <a:off x="34" y="6257734"/>
            <a:ext cx="12191948" cy="636785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0541996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4">
  <p:cSld name="Title only 4">
    <p:spTree>
      <p:nvGrpSpPr>
        <p:cNvPr id="1" name="Shape 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Google Shape;565;p21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66" name="Google Shape;566;p21"/>
          <p:cNvSpPr/>
          <p:nvPr/>
        </p:nvSpPr>
        <p:spPr>
          <a:xfrm>
            <a:off x="5120488" y="6119211"/>
            <a:ext cx="69539" cy="2397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7" name="Google Shape;567;p21"/>
          <p:cNvSpPr/>
          <p:nvPr/>
        </p:nvSpPr>
        <p:spPr>
          <a:xfrm>
            <a:off x="9655834" y="5808216"/>
            <a:ext cx="585505" cy="15584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8" name="Google Shape;568;p21"/>
          <p:cNvSpPr/>
          <p:nvPr/>
        </p:nvSpPr>
        <p:spPr>
          <a:xfrm>
            <a:off x="-64" y="5411547"/>
            <a:ext cx="12192064" cy="1142952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9" name="Google Shape;569;p21"/>
          <p:cNvSpPr/>
          <p:nvPr/>
        </p:nvSpPr>
        <p:spPr>
          <a:xfrm>
            <a:off x="4999814" y="5301921"/>
            <a:ext cx="7192180" cy="1408257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0" name="Google Shape;570;p21"/>
          <p:cNvSpPr/>
          <p:nvPr/>
        </p:nvSpPr>
        <p:spPr>
          <a:xfrm>
            <a:off x="-64" y="5875359"/>
            <a:ext cx="12192064" cy="982648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07855300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3">
  <p:cSld name="Title and two columns 3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22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73" name="Google Shape;573;p22"/>
          <p:cNvSpPr txBox="1">
            <a:spLocks noGrp="1"/>
          </p:cNvSpPr>
          <p:nvPr>
            <p:ph type="subTitle" idx="1"/>
          </p:nvPr>
        </p:nvSpPr>
        <p:spPr>
          <a:xfrm>
            <a:off x="960000" y="2088500"/>
            <a:ext cx="5136000" cy="307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●"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●"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9pPr>
          </a:lstStyle>
          <a:p>
            <a:endParaRPr/>
          </a:p>
        </p:txBody>
      </p:sp>
      <p:sp>
        <p:nvSpPr>
          <p:cNvPr id="574" name="Google Shape;574;p22"/>
          <p:cNvSpPr txBox="1">
            <a:spLocks noGrp="1"/>
          </p:cNvSpPr>
          <p:nvPr>
            <p:ph type="subTitle" idx="2"/>
          </p:nvPr>
        </p:nvSpPr>
        <p:spPr>
          <a:xfrm>
            <a:off x="6096000" y="2088500"/>
            <a:ext cx="5136000" cy="307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●"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●"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9pPr>
          </a:lstStyle>
          <a:p>
            <a:endParaRPr/>
          </a:p>
        </p:txBody>
      </p:sp>
      <p:sp>
        <p:nvSpPr>
          <p:cNvPr id="575" name="Google Shape;575;p22"/>
          <p:cNvSpPr/>
          <p:nvPr/>
        </p:nvSpPr>
        <p:spPr>
          <a:xfrm>
            <a:off x="-2520834" y="268467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6" name="Google Shape;576;p22"/>
          <p:cNvSpPr/>
          <p:nvPr/>
        </p:nvSpPr>
        <p:spPr>
          <a:xfrm flipH="1">
            <a:off x="10321133" y="3913000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7" name="Google Shape;577;p22"/>
          <p:cNvSpPr/>
          <p:nvPr/>
        </p:nvSpPr>
        <p:spPr>
          <a:xfrm>
            <a:off x="4976902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8" name="Google Shape;578;p22"/>
          <p:cNvSpPr/>
          <p:nvPr/>
        </p:nvSpPr>
        <p:spPr>
          <a:xfrm>
            <a:off x="9604340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9" name="Google Shape;579;p22"/>
          <p:cNvSpPr/>
          <p:nvPr/>
        </p:nvSpPr>
        <p:spPr>
          <a:xfrm>
            <a:off x="17" y="5321402"/>
            <a:ext cx="12192016" cy="826665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0" name="Google Shape;580;p22"/>
          <p:cNvSpPr/>
          <p:nvPr/>
        </p:nvSpPr>
        <p:spPr>
          <a:xfrm>
            <a:off x="-16" y="5669032"/>
            <a:ext cx="12192016" cy="826673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1" name="Google Shape;581;p22"/>
          <p:cNvSpPr/>
          <p:nvPr/>
        </p:nvSpPr>
        <p:spPr>
          <a:xfrm>
            <a:off x="4853785" y="5500935"/>
            <a:ext cx="7338209" cy="164847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2" name="Google Shape;582;p22"/>
          <p:cNvSpPr/>
          <p:nvPr/>
        </p:nvSpPr>
        <p:spPr>
          <a:xfrm>
            <a:off x="-15" y="6092424"/>
            <a:ext cx="11949201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3" name="Google Shape;583;p22"/>
          <p:cNvSpPr/>
          <p:nvPr/>
        </p:nvSpPr>
        <p:spPr>
          <a:xfrm>
            <a:off x="-16" y="6392956"/>
            <a:ext cx="12192016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93433316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 and two columns 2">
    <p:spTree>
      <p:nvGrpSpPr>
        <p:cNvPr id="1" name="Shape 5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" name="Google Shape;585;p23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586" name="Google Shape;586;p23"/>
          <p:cNvGrpSpPr/>
          <p:nvPr/>
        </p:nvGrpSpPr>
        <p:grpSpPr>
          <a:xfrm>
            <a:off x="-64" y="5301920"/>
            <a:ext cx="12192064" cy="1556085"/>
            <a:chOff x="-10896600" y="-1984823"/>
            <a:chExt cx="9329709" cy="2175329"/>
          </a:xfrm>
        </p:grpSpPr>
        <p:sp>
          <p:nvSpPr>
            <p:cNvPr id="587" name="Google Shape;587;p23"/>
            <p:cNvSpPr/>
            <p:nvPr/>
          </p:nvSpPr>
          <p:spPr>
            <a:xfrm>
              <a:off x="-6978211" y="-842292"/>
              <a:ext cx="53213" cy="3352"/>
            </a:xfrm>
            <a:custGeom>
              <a:avLst/>
              <a:gdLst/>
              <a:ahLst/>
              <a:cxnLst/>
              <a:rect l="l" t="t" r="r" b="b"/>
              <a:pathLst>
                <a:path w="231" h="14" extrusionOk="0">
                  <a:moveTo>
                    <a:pt x="1" y="1"/>
                  </a:moveTo>
                  <a:cubicBezTo>
                    <a:pt x="69" y="14"/>
                    <a:pt x="150" y="14"/>
                    <a:pt x="231" y="14"/>
                  </a:cubicBezTo>
                  <a:cubicBezTo>
                    <a:pt x="150" y="14"/>
                    <a:pt x="69" y="1"/>
                    <a:pt x="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8" name="Google Shape;588;p23"/>
            <p:cNvSpPr/>
            <p:nvPr/>
          </p:nvSpPr>
          <p:spPr>
            <a:xfrm>
              <a:off x="-3507637" y="-1277048"/>
              <a:ext cx="448045" cy="21786"/>
            </a:xfrm>
            <a:custGeom>
              <a:avLst/>
              <a:gdLst/>
              <a:ahLst/>
              <a:cxnLst/>
              <a:rect l="l" t="t" r="r" b="b"/>
              <a:pathLst>
                <a:path w="1945" h="91" extrusionOk="0">
                  <a:moveTo>
                    <a:pt x="1107" y="0"/>
                  </a:moveTo>
                  <a:cubicBezTo>
                    <a:pt x="738" y="0"/>
                    <a:pt x="370" y="35"/>
                    <a:pt x="1" y="35"/>
                  </a:cubicBezTo>
                  <a:cubicBezTo>
                    <a:pt x="649" y="61"/>
                    <a:pt x="1297" y="90"/>
                    <a:pt x="1945" y="90"/>
                  </a:cubicBezTo>
                  <a:cubicBezTo>
                    <a:pt x="1666" y="20"/>
                    <a:pt x="1386" y="0"/>
                    <a:pt x="1107" y="0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9" name="Google Shape;589;p23"/>
            <p:cNvSpPr/>
            <p:nvPr/>
          </p:nvSpPr>
          <p:spPr>
            <a:xfrm>
              <a:off x="-10896600" y="-1831572"/>
              <a:ext cx="9329709" cy="1597789"/>
            </a:xfrm>
            <a:custGeom>
              <a:avLst/>
              <a:gdLst/>
              <a:ahLst/>
              <a:cxnLst/>
              <a:rect l="l" t="t" r="r" b="b"/>
              <a:pathLst>
                <a:path w="40501" h="5738" extrusionOk="0">
                  <a:moveTo>
                    <a:pt x="39908" y="0"/>
                  </a:moveTo>
                  <a:cubicBezTo>
                    <a:pt x="38816" y="0"/>
                    <a:pt x="37402" y="281"/>
                    <a:pt x="33535" y="1577"/>
                  </a:cubicBezTo>
                  <a:cubicBezTo>
                    <a:pt x="31107" y="2391"/>
                    <a:pt x="27774" y="2887"/>
                    <a:pt x="23712" y="2887"/>
                  </a:cubicBezTo>
                  <a:cubicBezTo>
                    <a:pt x="20091" y="2887"/>
                    <a:pt x="15891" y="2493"/>
                    <a:pt x="11234" y="1577"/>
                  </a:cubicBezTo>
                  <a:cubicBezTo>
                    <a:pt x="7940" y="929"/>
                    <a:pt x="5594" y="713"/>
                    <a:pt x="3930" y="713"/>
                  </a:cubicBezTo>
                  <a:cubicBezTo>
                    <a:pt x="601" y="713"/>
                    <a:pt x="1" y="1577"/>
                    <a:pt x="1" y="1577"/>
                  </a:cubicBezTo>
                  <a:lnTo>
                    <a:pt x="1" y="2131"/>
                  </a:lnTo>
                  <a:lnTo>
                    <a:pt x="1" y="2805"/>
                  </a:lnTo>
                  <a:lnTo>
                    <a:pt x="1" y="2821"/>
                  </a:lnTo>
                  <a:lnTo>
                    <a:pt x="1" y="5737"/>
                  </a:lnTo>
                  <a:lnTo>
                    <a:pt x="40501" y="5737"/>
                  </a:lnTo>
                  <a:lnTo>
                    <a:pt x="40501" y="4574"/>
                  </a:lnTo>
                  <a:lnTo>
                    <a:pt x="40501" y="579"/>
                  </a:lnTo>
                  <a:lnTo>
                    <a:pt x="40501" y="25"/>
                  </a:lnTo>
                  <a:cubicBezTo>
                    <a:pt x="40305" y="10"/>
                    <a:pt x="40112" y="0"/>
                    <a:pt x="3990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90" name="Google Shape;590;p23"/>
            <p:cNvSpPr/>
            <p:nvPr/>
          </p:nvSpPr>
          <p:spPr>
            <a:xfrm>
              <a:off x="-7070554" y="-1984823"/>
              <a:ext cx="5503657" cy="1968672"/>
            </a:xfrm>
            <a:custGeom>
              <a:avLst/>
              <a:gdLst/>
              <a:ahLst/>
              <a:cxnLst/>
              <a:rect l="l" t="t" r="r" b="b"/>
              <a:pathLst>
                <a:path w="14863" h="8685" extrusionOk="0">
                  <a:moveTo>
                    <a:pt x="14863" y="1"/>
                  </a:moveTo>
                  <a:cubicBezTo>
                    <a:pt x="11827" y="1041"/>
                    <a:pt x="6332" y="3095"/>
                    <a:pt x="1" y="6348"/>
                  </a:cubicBezTo>
                  <a:lnTo>
                    <a:pt x="7913" y="8684"/>
                  </a:lnTo>
                  <a:lnTo>
                    <a:pt x="14863" y="8684"/>
                  </a:lnTo>
                  <a:lnTo>
                    <a:pt x="14863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91" name="Google Shape;591;p23"/>
            <p:cNvSpPr/>
            <p:nvPr/>
          </p:nvSpPr>
          <p:spPr>
            <a:xfrm>
              <a:off x="-10896600" y="-1183186"/>
              <a:ext cx="9329709" cy="1373692"/>
            </a:xfrm>
            <a:custGeom>
              <a:avLst/>
              <a:gdLst/>
              <a:ahLst/>
              <a:cxnLst/>
              <a:rect l="l" t="t" r="r" b="b"/>
              <a:pathLst>
                <a:path w="40501" h="5738" extrusionOk="0">
                  <a:moveTo>
                    <a:pt x="39908" y="0"/>
                  </a:moveTo>
                  <a:cubicBezTo>
                    <a:pt x="38816" y="0"/>
                    <a:pt x="37402" y="281"/>
                    <a:pt x="33535" y="1577"/>
                  </a:cubicBezTo>
                  <a:cubicBezTo>
                    <a:pt x="31107" y="2391"/>
                    <a:pt x="27774" y="2887"/>
                    <a:pt x="23712" y="2887"/>
                  </a:cubicBezTo>
                  <a:cubicBezTo>
                    <a:pt x="20091" y="2887"/>
                    <a:pt x="15891" y="2493"/>
                    <a:pt x="11234" y="1577"/>
                  </a:cubicBezTo>
                  <a:cubicBezTo>
                    <a:pt x="7940" y="929"/>
                    <a:pt x="5594" y="713"/>
                    <a:pt x="3930" y="713"/>
                  </a:cubicBezTo>
                  <a:cubicBezTo>
                    <a:pt x="601" y="713"/>
                    <a:pt x="1" y="1577"/>
                    <a:pt x="1" y="1577"/>
                  </a:cubicBezTo>
                  <a:lnTo>
                    <a:pt x="1" y="2131"/>
                  </a:lnTo>
                  <a:lnTo>
                    <a:pt x="1" y="2805"/>
                  </a:lnTo>
                  <a:lnTo>
                    <a:pt x="1" y="2821"/>
                  </a:lnTo>
                  <a:lnTo>
                    <a:pt x="1" y="5737"/>
                  </a:lnTo>
                  <a:lnTo>
                    <a:pt x="40501" y="5737"/>
                  </a:lnTo>
                  <a:lnTo>
                    <a:pt x="40501" y="4574"/>
                  </a:lnTo>
                  <a:lnTo>
                    <a:pt x="40501" y="579"/>
                  </a:lnTo>
                  <a:lnTo>
                    <a:pt x="40501" y="25"/>
                  </a:lnTo>
                  <a:cubicBezTo>
                    <a:pt x="40305" y="10"/>
                    <a:pt x="40112" y="0"/>
                    <a:pt x="399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92" name="Google Shape;592;p23"/>
          <p:cNvSpPr txBox="1">
            <a:spLocks noGrp="1"/>
          </p:cNvSpPr>
          <p:nvPr>
            <p:ph type="subTitle" idx="1"/>
          </p:nvPr>
        </p:nvSpPr>
        <p:spPr>
          <a:xfrm>
            <a:off x="1708485" y="3546731"/>
            <a:ext cx="3581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93" name="Google Shape;593;p23"/>
          <p:cNvSpPr txBox="1">
            <a:spLocks noGrp="1"/>
          </p:cNvSpPr>
          <p:nvPr>
            <p:ph type="title" idx="2"/>
          </p:nvPr>
        </p:nvSpPr>
        <p:spPr>
          <a:xfrm>
            <a:off x="1708483" y="2830467"/>
            <a:ext cx="35816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94" name="Google Shape;594;p23"/>
          <p:cNvSpPr txBox="1">
            <a:spLocks noGrp="1"/>
          </p:cNvSpPr>
          <p:nvPr>
            <p:ph type="subTitle" idx="3"/>
          </p:nvPr>
        </p:nvSpPr>
        <p:spPr>
          <a:xfrm>
            <a:off x="6901921" y="3546731"/>
            <a:ext cx="3581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95" name="Google Shape;595;p23"/>
          <p:cNvSpPr txBox="1">
            <a:spLocks noGrp="1"/>
          </p:cNvSpPr>
          <p:nvPr>
            <p:ph type="title" idx="4"/>
          </p:nvPr>
        </p:nvSpPr>
        <p:spPr>
          <a:xfrm>
            <a:off x="6901916" y="2830467"/>
            <a:ext cx="35816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2318001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Title and three columns 2"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p24"/>
          <p:cNvSpPr/>
          <p:nvPr/>
        </p:nvSpPr>
        <p:spPr>
          <a:xfrm>
            <a:off x="-82664" y="5980133"/>
            <a:ext cx="10998007" cy="677560"/>
          </a:xfrm>
          <a:custGeom>
            <a:avLst/>
            <a:gdLst/>
            <a:ahLst/>
            <a:cxnLst/>
            <a:rect l="l" t="t" r="r" b="b"/>
            <a:pathLst>
              <a:path w="45536" h="8845" extrusionOk="0">
                <a:moveTo>
                  <a:pt x="10609" y="1"/>
                </a:moveTo>
                <a:cubicBezTo>
                  <a:pt x="2565" y="1"/>
                  <a:pt x="1" y="719"/>
                  <a:pt x="1" y="719"/>
                </a:cubicBezTo>
                <a:lnTo>
                  <a:pt x="1" y="8845"/>
                </a:lnTo>
                <a:lnTo>
                  <a:pt x="45536" y="8845"/>
                </a:lnTo>
                <a:lnTo>
                  <a:pt x="45536" y="3230"/>
                </a:lnTo>
                <a:cubicBezTo>
                  <a:pt x="44954" y="3336"/>
                  <a:pt x="44228" y="3384"/>
                  <a:pt x="43384" y="3384"/>
                </a:cubicBezTo>
                <a:cubicBezTo>
                  <a:pt x="36402" y="3384"/>
                  <a:pt x="21312" y="137"/>
                  <a:pt x="12676" y="16"/>
                </a:cubicBezTo>
                <a:cubicBezTo>
                  <a:pt x="11950" y="6"/>
                  <a:pt x="11262" y="1"/>
                  <a:pt x="106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98" name="Google Shape;598;p24"/>
          <p:cNvSpPr/>
          <p:nvPr/>
        </p:nvSpPr>
        <p:spPr>
          <a:xfrm>
            <a:off x="5564183" y="5990781"/>
            <a:ext cx="6710484" cy="275008"/>
          </a:xfrm>
          <a:custGeom>
            <a:avLst/>
            <a:gdLst/>
            <a:ahLst/>
            <a:cxnLst/>
            <a:rect l="l" t="t" r="r" b="b"/>
            <a:pathLst>
              <a:path w="27784" h="3590" extrusionOk="0">
                <a:moveTo>
                  <a:pt x="27784" y="0"/>
                </a:moveTo>
                <a:cubicBezTo>
                  <a:pt x="13745" y="201"/>
                  <a:pt x="1" y="3415"/>
                  <a:pt x="1" y="3415"/>
                </a:cubicBezTo>
                <a:lnTo>
                  <a:pt x="21061" y="3548"/>
                </a:lnTo>
                <a:lnTo>
                  <a:pt x="27784" y="3590"/>
                </a:lnTo>
                <a:lnTo>
                  <a:pt x="2778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99" name="Google Shape;599;p24"/>
          <p:cNvSpPr/>
          <p:nvPr/>
        </p:nvSpPr>
        <p:spPr>
          <a:xfrm>
            <a:off x="-82663" y="6242806"/>
            <a:ext cx="12357300" cy="716935"/>
          </a:xfrm>
          <a:custGeom>
            <a:avLst/>
            <a:gdLst/>
            <a:ahLst/>
            <a:cxnLst/>
            <a:rect l="l" t="t" r="r" b="b"/>
            <a:pathLst>
              <a:path w="51164" h="9359" extrusionOk="0">
                <a:moveTo>
                  <a:pt x="28954" y="0"/>
                </a:moveTo>
                <a:cubicBezTo>
                  <a:pt x="13795" y="0"/>
                  <a:pt x="1" y="193"/>
                  <a:pt x="1" y="193"/>
                </a:cubicBezTo>
                <a:lnTo>
                  <a:pt x="1" y="9359"/>
                </a:lnTo>
                <a:lnTo>
                  <a:pt x="51164" y="9359"/>
                </a:lnTo>
                <a:lnTo>
                  <a:pt x="51164" y="193"/>
                </a:lnTo>
                <a:cubicBezTo>
                  <a:pt x="44455" y="48"/>
                  <a:pt x="36534" y="0"/>
                  <a:pt x="2895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00" name="Google Shape;600;p24"/>
          <p:cNvSpPr/>
          <p:nvPr/>
        </p:nvSpPr>
        <p:spPr>
          <a:xfrm>
            <a:off x="-82663" y="6317341"/>
            <a:ext cx="12357300" cy="642399"/>
          </a:xfrm>
          <a:custGeom>
            <a:avLst/>
            <a:gdLst/>
            <a:ahLst/>
            <a:cxnLst/>
            <a:rect l="l" t="t" r="r" b="b"/>
            <a:pathLst>
              <a:path w="51164" h="8386" extrusionOk="0">
                <a:moveTo>
                  <a:pt x="51164" y="1"/>
                </a:moveTo>
                <a:cubicBezTo>
                  <a:pt x="51164" y="1"/>
                  <a:pt x="12488" y="1783"/>
                  <a:pt x="1" y="4579"/>
                </a:cubicBezTo>
                <a:lnTo>
                  <a:pt x="1" y="8386"/>
                </a:lnTo>
                <a:lnTo>
                  <a:pt x="51164" y="8386"/>
                </a:lnTo>
                <a:lnTo>
                  <a:pt x="51164" y="1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01" name="Google Shape;601;p24"/>
          <p:cNvSpPr/>
          <p:nvPr/>
        </p:nvSpPr>
        <p:spPr>
          <a:xfrm>
            <a:off x="-82663" y="6380998"/>
            <a:ext cx="12357300" cy="578741"/>
          </a:xfrm>
          <a:custGeom>
            <a:avLst/>
            <a:gdLst/>
            <a:ahLst/>
            <a:cxnLst/>
            <a:rect l="l" t="t" r="r" b="b"/>
            <a:pathLst>
              <a:path w="51164" h="7555" extrusionOk="0">
                <a:moveTo>
                  <a:pt x="7656" y="1"/>
                </a:moveTo>
                <a:cubicBezTo>
                  <a:pt x="2876" y="1"/>
                  <a:pt x="1" y="385"/>
                  <a:pt x="1" y="385"/>
                </a:cubicBezTo>
                <a:lnTo>
                  <a:pt x="1" y="7555"/>
                </a:lnTo>
                <a:lnTo>
                  <a:pt x="51164" y="7555"/>
                </a:lnTo>
                <a:lnTo>
                  <a:pt x="51164" y="3249"/>
                </a:lnTo>
                <a:cubicBezTo>
                  <a:pt x="49225" y="3578"/>
                  <a:pt x="47012" y="3826"/>
                  <a:pt x="44108" y="3826"/>
                </a:cubicBezTo>
                <a:cubicBezTo>
                  <a:pt x="39852" y="3826"/>
                  <a:pt x="34112" y="3292"/>
                  <a:pt x="25581" y="1694"/>
                </a:cubicBezTo>
                <a:cubicBezTo>
                  <a:pt x="18442" y="347"/>
                  <a:pt x="12191" y="1"/>
                  <a:pt x="7656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02" name="Google Shape;602;p24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p24"/>
          <p:cNvSpPr txBox="1">
            <a:spLocks noGrp="1"/>
          </p:cNvSpPr>
          <p:nvPr>
            <p:ph type="subTitle" idx="1"/>
          </p:nvPr>
        </p:nvSpPr>
        <p:spPr>
          <a:xfrm>
            <a:off x="3056900" y="2533436"/>
            <a:ext cx="62016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04" name="Google Shape;604;p24"/>
          <p:cNvSpPr txBox="1">
            <a:spLocks noGrp="1"/>
          </p:cNvSpPr>
          <p:nvPr>
            <p:ph type="title" idx="2"/>
          </p:nvPr>
        </p:nvSpPr>
        <p:spPr>
          <a:xfrm>
            <a:off x="3056900" y="1928533"/>
            <a:ext cx="65532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05" name="Google Shape;605;p24"/>
          <p:cNvSpPr txBox="1">
            <a:spLocks noGrp="1"/>
          </p:cNvSpPr>
          <p:nvPr>
            <p:ph type="subTitle" idx="3"/>
          </p:nvPr>
        </p:nvSpPr>
        <p:spPr>
          <a:xfrm>
            <a:off x="3056900" y="5209673"/>
            <a:ext cx="62016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06" name="Google Shape;606;p24"/>
          <p:cNvSpPr txBox="1">
            <a:spLocks noGrp="1"/>
          </p:cNvSpPr>
          <p:nvPr>
            <p:ph type="title" idx="4"/>
          </p:nvPr>
        </p:nvSpPr>
        <p:spPr>
          <a:xfrm>
            <a:off x="3056900" y="4604767"/>
            <a:ext cx="65532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07" name="Google Shape;607;p24"/>
          <p:cNvSpPr txBox="1">
            <a:spLocks noGrp="1"/>
          </p:cNvSpPr>
          <p:nvPr>
            <p:ph type="subTitle" idx="5"/>
          </p:nvPr>
        </p:nvSpPr>
        <p:spPr>
          <a:xfrm>
            <a:off x="2933500" y="3871555"/>
            <a:ext cx="62016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08" name="Google Shape;608;p24"/>
          <p:cNvSpPr txBox="1">
            <a:spLocks noGrp="1"/>
          </p:cNvSpPr>
          <p:nvPr>
            <p:ph type="title" idx="6"/>
          </p:nvPr>
        </p:nvSpPr>
        <p:spPr>
          <a:xfrm>
            <a:off x="2581900" y="3266667"/>
            <a:ext cx="65532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09" name="Google Shape;609;p24"/>
          <p:cNvSpPr txBox="1">
            <a:spLocks noGrp="1"/>
          </p:cNvSpPr>
          <p:nvPr>
            <p:ph type="title" idx="7" hasCustomPrompt="1"/>
          </p:nvPr>
        </p:nvSpPr>
        <p:spPr>
          <a:xfrm>
            <a:off x="1646100" y="1644967"/>
            <a:ext cx="1410800" cy="10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600"/>
              <a:buNone/>
              <a:defRPr sz="8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r>
              <a:t>xx%</a:t>
            </a:r>
          </a:p>
        </p:txBody>
      </p:sp>
      <p:sp>
        <p:nvSpPr>
          <p:cNvPr id="610" name="Google Shape;610;p24"/>
          <p:cNvSpPr txBox="1">
            <a:spLocks noGrp="1"/>
          </p:cNvSpPr>
          <p:nvPr>
            <p:ph type="title" idx="8" hasCustomPrompt="1"/>
          </p:nvPr>
        </p:nvSpPr>
        <p:spPr>
          <a:xfrm>
            <a:off x="9135100" y="2999069"/>
            <a:ext cx="1410800" cy="10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600"/>
              <a:buNone/>
              <a:defRPr sz="8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r>
              <a:t>xx%</a:t>
            </a:r>
          </a:p>
        </p:txBody>
      </p:sp>
      <p:sp>
        <p:nvSpPr>
          <p:cNvPr id="611" name="Google Shape;611;p24"/>
          <p:cNvSpPr txBox="1">
            <a:spLocks noGrp="1"/>
          </p:cNvSpPr>
          <p:nvPr>
            <p:ph type="title" idx="9" hasCustomPrompt="1"/>
          </p:nvPr>
        </p:nvSpPr>
        <p:spPr>
          <a:xfrm>
            <a:off x="1646100" y="4353172"/>
            <a:ext cx="1410800" cy="10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600"/>
              <a:buNone/>
              <a:defRPr sz="8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256878361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4">
  <p:cSld name="Title and text 4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Google Shape;613;p25"/>
          <p:cNvSpPr/>
          <p:nvPr/>
        </p:nvSpPr>
        <p:spPr>
          <a:xfrm>
            <a:off x="362" y="4279822"/>
            <a:ext cx="6350449" cy="888716"/>
          </a:xfrm>
          <a:custGeom>
            <a:avLst/>
            <a:gdLst/>
            <a:ahLst/>
            <a:cxnLst/>
            <a:rect l="l" t="t" r="r" b="b"/>
            <a:pathLst>
              <a:path w="22787" h="4589" extrusionOk="0">
                <a:moveTo>
                  <a:pt x="3161" y="1"/>
                </a:moveTo>
                <a:cubicBezTo>
                  <a:pt x="1090" y="1"/>
                  <a:pt x="0" y="199"/>
                  <a:pt x="0" y="199"/>
                </a:cubicBezTo>
                <a:lnTo>
                  <a:pt x="0" y="4589"/>
                </a:lnTo>
                <a:lnTo>
                  <a:pt x="22787" y="4589"/>
                </a:lnTo>
                <a:cubicBezTo>
                  <a:pt x="22787" y="4589"/>
                  <a:pt x="18128" y="2036"/>
                  <a:pt x="11029" y="766"/>
                </a:cubicBezTo>
                <a:cubicBezTo>
                  <a:pt x="7669" y="160"/>
                  <a:pt x="5020" y="1"/>
                  <a:pt x="316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4" name="Google Shape;614;p25"/>
          <p:cNvSpPr txBox="1">
            <a:spLocks noGrp="1"/>
          </p:cNvSpPr>
          <p:nvPr>
            <p:ph type="title"/>
          </p:nvPr>
        </p:nvSpPr>
        <p:spPr>
          <a:xfrm>
            <a:off x="6664533" y="2011903"/>
            <a:ext cx="4567600" cy="147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15" name="Google Shape;615;p25"/>
          <p:cNvSpPr/>
          <p:nvPr/>
        </p:nvSpPr>
        <p:spPr>
          <a:xfrm>
            <a:off x="367" y="4888968"/>
            <a:ext cx="12223197" cy="1988049"/>
          </a:xfrm>
          <a:custGeom>
            <a:avLst/>
            <a:gdLst/>
            <a:ahLst/>
            <a:cxnLst/>
            <a:rect l="l" t="t" r="r" b="b"/>
            <a:pathLst>
              <a:path w="43860" h="10974" extrusionOk="0">
                <a:moveTo>
                  <a:pt x="0" y="0"/>
                </a:moveTo>
                <a:lnTo>
                  <a:pt x="0" y="10974"/>
                </a:lnTo>
                <a:lnTo>
                  <a:pt x="43860" y="10974"/>
                </a:lnTo>
                <a:lnTo>
                  <a:pt x="4386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6" name="Google Shape;616;p25"/>
          <p:cNvSpPr/>
          <p:nvPr/>
        </p:nvSpPr>
        <p:spPr>
          <a:xfrm>
            <a:off x="362" y="4816735"/>
            <a:ext cx="12223229" cy="483187"/>
          </a:xfrm>
          <a:custGeom>
            <a:avLst/>
            <a:gdLst/>
            <a:ahLst/>
            <a:cxnLst/>
            <a:rect l="l" t="t" r="r" b="b"/>
            <a:pathLst>
              <a:path w="43860" h="2495" extrusionOk="0">
                <a:moveTo>
                  <a:pt x="0" y="0"/>
                </a:moveTo>
                <a:lnTo>
                  <a:pt x="0" y="512"/>
                </a:lnTo>
                <a:cubicBezTo>
                  <a:pt x="18857" y="538"/>
                  <a:pt x="31655" y="810"/>
                  <a:pt x="43860" y="2495"/>
                </a:cubicBezTo>
                <a:lnTo>
                  <a:pt x="4386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7" name="Google Shape;617;p25"/>
          <p:cNvSpPr/>
          <p:nvPr/>
        </p:nvSpPr>
        <p:spPr>
          <a:xfrm>
            <a:off x="362" y="5280482"/>
            <a:ext cx="12223229" cy="1596551"/>
          </a:xfrm>
          <a:custGeom>
            <a:avLst/>
            <a:gdLst/>
            <a:ahLst/>
            <a:cxnLst/>
            <a:rect l="l" t="t" r="r" b="b"/>
            <a:pathLst>
              <a:path w="43860" h="8244" extrusionOk="0">
                <a:moveTo>
                  <a:pt x="19201" y="1"/>
                </a:moveTo>
                <a:cubicBezTo>
                  <a:pt x="9431" y="1"/>
                  <a:pt x="0" y="1061"/>
                  <a:pt x="0" y="1061"/>
                </a:cubicBezTo>
                <a:lnTo>
                  <a:pt x="0" y="8244"/>
                </a:lnTo>
                <a:lnTo>
                  <a:pt x="43860" y="8244"/>
                </a:lnTo>
                <a:lnTo>
                  <a:pt x="43860" y="3222"/>
                </a:lnTo>
                <a:cubicBezTo>
                  <a:pt x="43860" y="3222"/>
                  <a:pt x="38702" y="1171"/>
                  <a:pt x="26918" y="267"/>
                </a:cubicBezTo>
                <a:cubicBezTo>
                  <a:pt x="24436" y="76"/>
                  <a:pt x="21807" y="1"/>
                  <a:pt x="1920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8" name="Google Shape;618;p25"/>
          <p:cNvSpPr/>
          <p:nvPr/>
        </p:nvSpPr>
        <p:spPr>
          <a:xfrm>
            <a:off x="350" y="5168549"/>
            <a:ext cx="6501220" cy="1708467"/>
          </a:xfrm>
          <a:custGeom>
            <a:avLst/>
            <a:gdLst/>
            <a:ahLst/>
            <a:cxnLst/>
            <a:rect l="l" t="t" r="r" b="b"/>
            <a:pathLst>
              <a:path w="23328" h="5931" extrusionOk="0">
                <a:moveTo>
                  <a:pt x="1542" y="1"/>
                </a:moveTo>
                <a:cubicBezTo>
                  <a:pt x="517" y="1"/>
                  <a:pt x="0" y="73"/>
                  <a:pt x="0" y="73"/>
                </a:cubicBezTo>
                <a:lnTo>
                  <a:pt x="0" y="5931"/>
                </a:lnTo>
                <a:lnTo>
                  <a:pt x="23328" y="5931"/>
                </a:lnTo>
                <a:cubicBezTo>
                  <a:pt x="23328" y="5931"/>
                  <a:pt x="17143" y="2691"/>
                  <a:pt x="10313" y="1139"/>
                </a:cubicBezTo>
                <a:cubicBezTo>
                  <a:pt x="6113" y="185"/>
                  <a:pt x="3179" y="1"/>
                  <a:pt x="1542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9" name="Google Shape;619;p25"/>
          <p:cNvSpPr/>
          <p:nvPr/>
        </p:nvSpPr>
        <p:spPr>
          <a:xfrm>
            <a:off x="5984900" y="5331734"/>
            <a:ext cx="6238720" cy="1545261"/>
          </a:xfrm>
          <a:custGeom>
            <a:avLst/>
            <a:gdLst/>
            <a:ahLst/>
            <a:cxnLst/>
            <a:rect l="l" t="t" r="r" b="b"/>
            <a:pathLst>
              <a:path w="12002" h="4208" extrusionOk="0">
                <a:moveTo>
                  <a:pt x="11404" y="0"/>
                </a:moveTo>
                <a:cubicBezTo>
                  <a:pt x="11120" y="0"/>
                  <a:pt x="10830" y="82"/>
                  <a:pt x="10719" y="200"/>
                </a:cubicBezTo>
                <a:cubicBezTo>
                  <a:pt x="10518" y="414"/>
                  <a:pt x="10450" y="848"/>
                  <a:pt x="10557" y="1023"/>
                </a:cubicBezTo>
                <a:cubicBezTo>
                  <a:pt x="10557" y="1023"/>
                  <a:pt x="10371" y="827"/>
                  <a:pt x="10125" y="827"/>
                </a:cubicBezTo>
                <a:cubicBezTo>
                  <a:pt x="10060" y="827"/>
                  <a:pt x="9992" y="840"/>
                  <a:pt x="9922" y="874"/>
                </a:cubicBezTo>
                <a:cubicBezTo>
                  <a:pt x="9585" y="1036"/>
                  <a:pt x="9922" y="1373"/>
                  <a:pt x="9922" y="1373"/>
                </a:cubicBezTo>
                <a:cubicBezTo>
                  <a:pt x="9922" y="1373"/>
                  <a:pt x="9572" y="1441"/>
                  <a:pt x="9572" y="1671"/>
                </a:cubicBezTo>
                <a:cubicBezTo>
                  <a:pt x="9572" y="1901"/>
                  <a:pt x="9789" y="2089"/>
                  <a:pt x="9789" y="2089"/>
                </a:cubicBezTo>
                <a:cubicBezTo>
                  <a:pt x="9789" y="2089"/>
                  <a:pt x="9718" y="2065"/>
                  <a:pt x="9631" y="2065"/>
                </a:cubicBezTo>
                <a:cubicBezTo>
                  <a:pt x="9545" y="2065"/>
                  <a:pt x="9444" y="2089"/>
                  <a:pt x="9384" y="2183"/>
                </a:cubicBezTo>
                <a:cubicBezTo>
                  <a:pt x="9351" y="2239"/>
                  <a:pt x="9338" y="2291"/>
                  <a:pt x="9335" y="2337"/>
                </a:cubicBezTo>
                <a:lnTo>
                  <a:pt x="9335" y="2337"/>
                </a:lnTo>
                <a:cubicBezTo>
                  <a:pt x="9258" y="2167"/>
                  <a:pt x="9056" y="1933"/>
                  <a:pt x="8532" y="1901"/>
                </a:cubicBezTo>
                <a:cubicBezTo>
                  <a:pt x="8505" y="1900"/>
                  <a:pt x="8479" y="1899"/>
                  <a:pt x="8454" y="1899"/>
                </a:cubicBezTo>
                <a:cubicBezTo>
                  <a:pt x="7672" y="1899"/>
                  <a:pt x="7508" y="2507"/>
                  <a:pt x="7508" y="2507"/>
                </a:cubicBezTo>
                <a:cubicBezTo>
                  <a:pt x="7508" y="2507"/>
                  <a:pt x="7333" y="2234"/>
                  <a:pt x="6984" y="2234"/>
                </a:cubicBezTo>
                <a:cubicBezTo>
                  <a:pt x="6921" y="2234"/>
                  <a:pt x="6853" y="2243"/>
                  <a:pt x="6779" y="2264"/>
                </a:cubicBezTo>
                <a:cubicBezTo>
                  <a:pt x="6306" y="2400"/>
                  <a:pt x="6374" y="2711"/>
                  <a:pt x="6374" y="2711"/>
                </a:cubicBezTo>
                <a:cubicBezTo>
                  <a:pt x="6374" y="2711"/>
                  <a:pt x="6221" y="2606"/>
                  <a:pt x="6045" y="2606"/>
                </a:cubicBezTo>
                <a:cubicBezTo>
                  <a:pt x="5975" y="2606"/>
                  <a:pt x="5902" y="2623"/>
                  <a:pt x="5833" y="2669"/>
                </a:cubicBezTo>
                <a:cubicBezTo>
                  <a:pt x="5590" y="2831"/>
                  <a:pt x="5658" y="3019"/>
                  <a:pt x="5658" y="3019"/>
                </a:cubicBezTo>
                <a:cubicBezTo>
                  <a:pt x="5658" y="3019"/>
                  <a:pt x="5348" y="2774"/>
                  <a:pt x="4932" y="2774"/>
                </a:cubicBezTo>
                <a:cubicBezTo>
                  <a:pt x="4771" y="2774"/>
                  <a:pt x="4594" y="2811"/>
                  <a:pt x="4414" y="2912"/>
                </a:cubicBezTo>
                <a:cubicBezTo>
                  <a:pt x="3753" y="3262"/>
                  <a:pt x="3915" y="3696"/>
                  <a:pt x="3915" y="3696"/>
                </a:cubicBezTo>
                <a:cubicBezTo>
                  <a:pt x="3915" y="3696"/>
                  <a:pt x="3636" y="3417"/>
                  <a:pt x="3272" y="3417"/>
                </a:cubicBezTo>
                <a:cubicBezTo>
                  <a:pt x="3156" y="3417"/>
                  <a:pt x="3031" y="3446"/>
                  <a:pt x="2904" y="3521"/>
                </a:cubicBezTo>
                <a:lnTo>
                  <a:pt x="2849" y="3858"/>
                </a:lnTo>
                <a:cubicBezTo>
                  <a:pt x="2849" y="3858"/>
                  <a:pt x="2548" y="3567"/>
                  <a:pt x="2174" y="3567"/>
                </a:cubicBezTo>
                <a:cubicBezTo>
                  <a:pt x="2122" y="3567"/>
                  <a:pt x="2068" y="3573"/>
                  <a:pt x="2013" y="3586"/>
                </a:cubicBezTo>
                <a:cubicBezTo>
                  <a:pt x="1553" y="3696"/>
                  <a:pt x="1485" y="3858"/>
                  <a:pt x="1485" y="3858"/>
                </a:cubicBezTo>
                <a:cubicBezTo>
                  <a:pt x="1485" y="3858"/>
                  <a:pt x="1243" y="3754"/>
                  <a:pt x="930" y="3754"/>
                </a:cubicBezTo>
                <a:cubicBezTo>
                  <a:pt x="635" y="3754"/>
                  <a:pt x="277" y="3847"/>
                  <a:pt x="1" y="4208"/>
                </a:cubicBezTo>
                <a:lnTo>
                  <a:pt x="12002" y="4208"/>
                </a:lnTo>
                <a:lnTo>
                  <a:pt x="12002" y="200"/>
                </a:lnTo>
                <a:cubicBezTo>
                  <a:pt x="11879" y="58"/>
                  <a:pt x="11644" y="0"/>
                  <a:pt x="114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0" name="Google Shape;620;p25"/>
          <p:cNvSpPr/>
          <p:nvPr/>
        </p:nvSpPr>
        <p:spPr>
          <a:xfrm>
            <a:off x="8440467" y="6089565"/>
            <a:ext cx="3783128" cy="787467"/>
          </a:xfrm>
          <a:custGeom>
            <a:avLst/>
            <a:gdLst/>
            <a:ahLst/>
            <a:cxnLst/>
            <a:rect l="l" t="t" r="r" b="b"/>
            <a:pathLst>
              <a:path w="7278" h="2110" extrusionOk="0">
                <a:moveTo>
                  <a:pt x="7196" y="1"/>
                </a:moveTo>
                <a:cubicBezTo>
                  <a:pt x="7059" y="1"/>
                  <a:pt x="6916" y="28"/>
                  <a:pt x="6792" y="85"/>
                </a:cubicBezTo>
                <a:cubicBezTo>
                  <a:pt x="6562" y="192"/>
                  <a:pt x="6374" y="354"/>
                  <a:pt x="6225" y="545"/>
                </a:cubicBezTo>
                <a:cubicBezTo>
                  <a:pt x="6131" y="652"/>
                  <a:pt x="6063" y="775"/>
                  <a:pt x="6063" y="895"/>
                </a:cubicBezTo>
                <a:cubicBezTo>
                  <a:pt x="5966" y="827"/>
                  <a:pt x="5855" y="795"/>
                  <a:pt x="5750" y="795"/>
                </a:cubicBezTo>
                <a:cubicBezTo>
                  <a:pt x="5518" y="795"/>
                  <a:pt x="5315" y="953"/>
                  <a:pt x="5360" y="1232"/>
                </a:cubicBezTo>
                <a:cubicBezTo>
                  <a:pt x="5317" y="1168"/>
                  <a:pt x="5236" y="1138"/>
                  <a:pt x="5152" y="1138"/>
                </a:cubicBezTo>
                <a:cubicBezTo>
                  <a:pt x="5077" y="1138"/>
                  <a:pt x="5000" y="1162"/>
                  <a:pt x="4942" y="1206"/>
                </a:cubicBezTo>
                <a:cubicBezTo>
                  <a:pt x="4822" y="1313"/>
                  <a:pt x="4793" y="1462"/>
                  <a:pt x="4793" y="1611"/>
                </a:cubicBezTo>
                <a:cubicBezTo>
                  <a:pt x="4524" y="1436"/>
                  <a:pt x="4242" y="1245"/>
                  <a:pt x="3918" y="1232"/>
                </a:cubicBezTo>
                <a:cubicBezTo>
                  <a:pt x="3910" y="1232"/>
                  <a:pt x="3902" y="1231"/>
                  <a:pt x="3894" y="1231"/>
                </a:cubicBezTo>
                <a:cubicBezTo>
                  <a:pt x="3576" y="1231"/>
                  <a:pt x="3229" y="1482"/>
                  <a:pt x="3296" y="1773"/>
                </a:cubicBezTo>
                <a:cubicBezTo>
                  <a:pt x="3202" y="1637"/>
                  <a:pt x="3092" y="1504"/>
                  <a:pt x="2930" y="1449"/>
                </a:cubicBezTo>
                <a:cubicBezTo>
                  <a:pt x="2896" y="1437"/>
                  <a:pt x="2858" y="1432"/>
                  <a:pt x="2821" y="1432"/>
                </a:cubicBezTo>
                <a:cubicBezTo>
                  <a:pt x="2682" y="1432"/>
                  <a:pt x="2541" y="1509"/>
                  <a:pt x="2541" y="1637"/>
                </a:cubicBezTo>
                <a:cubicBezTo>
                  <a:pt x="2388" y="1511"/>
                  <a:pt x="2173" y="1406"/>
                  <a:pt x="1967" y="1406"/>
                </a:cubicBezTo>
                <a:cubicBezTo>
                  <a:pt x="1955" y="1406"/>
                  <a:pt x="1944" y="1406"/>
                  <a:pt x="1932" y="1407"/>
                </a:cubicBezTo>
                <a:cubicBezTo>
                  <a:pt x="1702" y="1436"/>
                  <a:pt x="1472" y="1611"/>
                  <a:pt x="1501" y="1828"/>
                </a:cubicBezTo>
                <a:cubicBezTo>
                  <a:pt x="1425" y="1700"/>
                  <a:pt x="1278" y="1610"/>
                  <a:pt x="1126" y="1610"/>
                </a:cubicBezTo>
                <a:cubicBezTo>
                  <a:pt x="1116" y="1610"/>
                  <a:pt x="1106" y="1610"/>
                  <a:pt x="1096" y="1611"/>
                </a:cubicBezTo>
                <a:cubicBezTo>
                  <a:pt x="934" y="1624"/>
                  <a:pt x="785" y="1786"/>
                  <a:pt x="811" y="1935"/>
                </a:cubicBezTo>
                <a:cubicBezTo>
                  <a:pt x="728" y="1813"/>
                  <a:pt x="571" y="1744"/>
                  <a:pt x="416" y="1744"/>
                </a:cubicBezTo>
                <a:cubicBezTo>
                  <a:pt x="347" y="1744"/>
                  <a:pt x="279" y="1757"/>
                  <a:pt x="218" y="1786"/>
                </a:cubicBezTo>
                <a:cubicBezTo>
                  <a:pt x="95" y="1854"/>
                  <a:pt x="30" y="1974"/>
                  <a:pt x="1" y="2110"/>
                </a:cubicBezTo>
                <a:lnTo>
                  <a:pt x="7278" y="2110"/>
                </a:lnTo>
                <a:lnTo>
                  <a:pt x="7278" y="4"/>
                </a:lnTo>
                <a:cubicBezTo>
                  <a:pt x="7251" y="2"/>
                  <a:pt x="7224" y="1"/>
                  <a:pt x="719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1" name="Google Shape;621;p25"/>
          <p:cNvSpPr txBox="1">
            <a:spLocks noGrp="1"/>
          </p:cNvSpPr>
          <p:nvPr>
            <p:ph type="subTitle" idx="1"/>
          </p:nvPr>
        </p:nvSpPr>
        <p:spPr>
          <a:xfrm>
            <a:off x="6664567" y="3487103"/>
            <a:ext cx="4567600" cy="138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397561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1">
  <p:cSld name="Title and three columns 1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26"/>
          <p:cNvSpPr/>
          <p:nvPr/>
        </p:nvSpPr>
        <p:spPr>
          <a:xfrm>
            <a:off x="-118548" y="5749333"/>
            <a:ext cx="12412149" cy="1179552"/>
          </a:xfrm>
          <a:custGeom>
            <a:avLst/>
            <a:gdLst/>
            <a:ahLst/>
            <a:cxnLst/>
            <a:rect l="l" t="t" r="r" b="b"/>
            <a:pathLst>
              <a:path w="49599" h="10022" extrusionOk="0">
                <a:moveTo>
                  <a:pt x="3334" y="1"/>
                </a:moveTo>
                <a:cubicBezTo>
                  <a:pt x="2192" y="1"/>
                  <a:pt x="1080" y="8"/>
                  <a:pt x="1" y="22"/>
                </a:cubicBezTo>
                <a:lnTo>
                  <a:pt x="1" y="7811"/>
                </a:lnTo>
                <a:cubicBezTo>
                  <a:pt x="5833" y="8514"/>
                  <a:pt x="12624" y="9107"/>
                  <a:pt x="19914" y="9499"/>
                </a:cubicBezTo>
                <a:cubicBezTo>
                  <a:pt x="26275" y="9854"/>
                  <a:pt x="32318" y="10022"/>
                  <a:pt x="37716" y="10022"/>
                </a:cubicBezTo>
                <a:cubicBezTo>
                  <a:pt x="42180" y="10022"/>
                  <a:pt x="46202" y="9907"/>
                  <a:pt x="49599" y="9687"/>
                </a:cubicBezTo>
                <a:lnTo>
                  <a:pt x="49599" y="3382"/>
                </a:lnTo>
                <a:cubicBezTo>
                  <a:pt x="42445" y="2180"/>
                  <a:pt x="32495" y="1127"/>
                  <a:pt x="21411" y="521"/>
                </a:cubicBezTo>
                <a:cubicBezTo>
                  <a:pt x="14945" y="164"/>
                  <a:pt x="8802" y="1"/>
                  <a:pt x="3334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4" name="Google Shape;624;p26"/>
          <p:cNvSpPr/>
          <p:nvPr/>
        </p:nvSpPr>
        <p:spPr>
          <a:xfrm>
            <a:off x="4320728" y="6094744"/>
            <a:ext cx="1435659" cy="242761"/>
          </a:xfrm>
          <a:custGeom>
            <a:avLst/>
            <a:gdLst/>
            <a:ahLst/>
            <a:cxnLst/>
            <a:rect l="l" t="t" r="r" b="b"/>
            <a:pathLst>
              <a:path w="5804" h="1595" extrusionOk="0">
                <a:moveTo>
                  <a:pt x="3212" y="1135"/>
                </a:moveTo>
                <a:cubicBezTo>
                  <a:pt x="3215" y="1138"/>
                  <a:pt x="3217" y="1139"/>
                  <a:pt x="3218" y="1139"/>
                </a:cubicBezTo>
                <a:cubicBezTo>
                  <a:pt x="3219" y="1139"/>
                  <a:pt x="3219" y="1137"/>
                  <a:pt x="3218" y="1135"/>
                </a:cubicBezTo>
                <a:close/>
                <a:moveTo>
                  <a:pt x="2094" y="1"/>
                </a:moveTo>
                <a:cubicBezTo>
                  <a:pt x="2052" y="1"/>
                  <a:pt x="2026" y="43"/>
                  <a:pt x="1997" y="43"/>
                </a:cubicBezTo>
                <a:cubicBezTo>
                  <a:pt x="1971" y="43"/>
                  <a:pt x="1932" y="56"/>
                  <a:pt x="1903" y="56"/>
                </a:cubicBezTo>
                <a:cubicBezTo>
                  <a:pt x="1877" y="56"/>
                  <a:pt x="1851" y="43"/>
                  <a:pt x="1809" y="43"/>
                </a:cubicBezTo>
                <a:lnTo>
                  <a:pt x="1715" y="43"/>
                </a:lnTo>
                <a:cubicBezTo>
                  <a:pt x="1710" y="45"/>
                  <a:pt x="1705" y="46"/>
                  <a:pt x="1700" y="46"/>
                </a:cubicBezTo>
                <a:cubicBezTo>
                  <a:pt x="1678" y="46"/>
                  <a:pt x="1653" y="27"/>
                  <a:pt x="1621" y="27"/>
                </a:cubicBezTo>
                <a:cubicBezTo>
                  <a:pt x="1592" y="27"/>
                  <a:pt x="1566" y="95"/>
                  <a:pt x="1540" y="95"/>
                </a:cubicBezTo>
                <a:cubicBezTo>
                  <a:pt x="1511" y="108"/>
                  <a:pt x="1485" y="108"/>
                  <a:pt x="1459" y="124"/>
                </a:cubicBezTo>
                <a:cubicBezTo>
                  <a:pt x="1422" y="124"/>
                  <a:pt x="1388" y="92"/>
                  <a:pt x="1361" y="92"/>
                </a:cubicBezTo>
                <a:cubicBezTo>
                  <a:pt x="1357" y="92"/>
                  <a:pt x="1353" y="93"/>
                  <a:pt x="1349" y="95"/>
                </a:cubicBezTo>
                <a:cubicBezTo>
                  <a:pt x="1323" y="95"/>
                  <a:pt x="1297" y="108"/>
                  <a:pt x="1268" y="108"/>
                </a:cubicBezTo>
                <a:cubicBezTo>
                  <a:pt x="1229" y="124"/>
                  <a:pt x="1229" y="189"/>
                  <a:pt x="1203" y="189"/>
                </a:cubicBezTo>
                <a:cubicBezTo>
                  <a:pt x="1196" y="192"/>
                  <a:pt x="1189" y="193"/>
                  <a:pt x="1181" y="193"/>
                </a:cubicBezTo>
                <a:cubicBezTo>
                  <a:pt x="1150" y="193"/>
                  <a:pt x="1115" y="173"/>
                  <a:pt x="1092" y="173"/>
                </a:cubicBezTo>
                <a:cubicBezTo>
                  <a:pt x="1087" y="173"/>
                  <a:pt x="1083" y="174"/>
                  <a:pt x="1080" y="176"/>
                </a:cubicBezTo>
                <a:cubicBezTo>
                  <a:pt x="1054" y="205"/>
                  <a:pt x="1041" y="257"/>
                  <a:pt x="1041" y="270"/>
                </a:cubicBezTo>
                <a:cubicBezTo>
                  <a:pt x="1041" y="299"/>
                  <a:pt x="1067" y="325"/>
                  <a:pt x="1080" y="351"/>
                </a:cubicBezTo>
                <a:cubicBezTo>
                  <a:pt x="1093" y="367"/>
                  <a:pt x="1135" y="380"/>
                  <a:pt x="1161" y="393"/>
                </a:cubicBezTo>
                <a:cubicBezTo>
                  <a:pt x="1135" y="393"/>
                  <a:pt x="1080" y="406"/>
                  <a:pt x="1054" y="406"/>
                </a:cubicBezTo>
                <a:cubicBezTo>
                  <a:pt x="1025" y="406"/>
                  <a:pt x="999" y="380"/>
                  <a:pt x="960" y="380"/>
                </a:cubicBezTo>
                <a:cubicBezTo>
                  <a:pt x="931" y="380"/>
                  <a:pt x="905" y="432"/>
                  <a:pt x="879" y="432"/>
                </a:cubicBezTo>
                <a:cubicBezTo>
                  <a:pt x="853" y="432"/>
                  <a:pt x="819" y="391"/>
                  <a:pt x="792" y="391"/>
                </a:cubicBezTo>
                <a:cubicBezTo>
                  <a:pt x="788" y="391"/>
                  <a:pt x="785" y="392"/>
                  <a:pt x="782" y="393"/>
                </a:cubicBezTo>
                <a:lnTo>
                  <a:pt x="688" y="393"/>
                </a:lnTo>
                <a:cubicBezTo>
                  <a:pt x="662" y="393"/>
                  <a:pt x="636" y="419"/>
                  <a:pt x="607" y="432"/>
                </a:cubicBezTo>
                <a:cubicBezTo>
                  <a:pt x="576" y="432"/>
                  <a:pt x="551" y="415"/>
                  <a:pt x="529" y="415"/>
                </a:cubicBezTo>
                <a:cubicBezTo>
                  <a:pt x="523" y="415"/>
                  <a:pt x="518" y="416"/>
                  <a:pt x="513" y="419"/>
                </a:cubicBezTo>
                <a:cubicBezTo>
                  <a:pt x="474" y="419"/>
                  <a:pt x="445" y="448"/>
                  <a:pt x="419" y="448"/>
                </a:cubicBezTo>
                <a:cubicBezTo>
                  <a:pt x="410" y="452"/>
                  <a:pt x="400" y="454"/>
                  <a:pt x="389" y="454"/>
                </a:cubicBezTo>
                <a:cubicBezTo>
                  <a:pt x="367" y="454"/>
                  <a:pt x="342" y="448"/>
                  <a:pt x="325" y="448"/>
                </a:cubicBezTo>
                <a:cubicBezTo>
                  <a:pt x="296" y="461"/>
                  <a:pt x="283" y="500"/>
                  <a:pt x="257" y="513"/>
                </a:cubicBezTo>
                <a:cubicBezTo>
                  <a:pt x="215" y="513"/>
                  <a:pt x="189" y="542"/>
                  <a:pt x="176" y="542"/>
                </a:cubicBezTo>
                <a:cubicBezTo>
                  <a:pt x="155" y="548"/>
                  <a:pt x="135" y="548"/>
                  <a:pt x="116" y="548"/>
                </a:cubicBezTo>
                <a:cubicBezTo>
                  <a:pt x="98" y="548"/>
                  <a:pt x="82" y="548"/>
                  <a:pt x="69" y="555"/>
                </a:cubicBezTo>
                <a:cubicBezTo>
                  <a:pt x="40" y="581"/>
                  <a:pt x="1" y="610"/>
                  <a:pt x="1" y="636"/>
                </a:cubicBezTo>
                <a:cubicBezTo>
                  <a:pt x="1" y="662"/>
                  <a:pt x="27" y="717"/>
                  <a:pt x="53" y="743"/>
                </a:cubicBezTo>
                <a:cubicBezTo>
                  <a:pt x="82" y="756"/>
                  <a:pt x="121" y="756"/>
                  <a:pt x="150" y="772"/>
                </a:cubicBezTo>
                <a:cubicBezTo>
                  <a:pt x="163" y="779"/>
                  <a:pt x="179" y="779"/>
                  <a:pt x="196" y="779"/>
                </a:cubicBezTo>
                <a:cubicBezTo>
                  <a:pt x="212" y="779"/>
                  <a:pt x="229" y="779"/>
                  <a:pt x="244" y="785"/>
                </a:cubicBezTo>
                <a:cubicBezTo>
                  <a:pt x="270" y="798"/>
                  <a:pt x="296" y="811"/>
                  <a:pt x="338" y="824"/>
                </a:cubicBezTo>
                <a:cubicBezTo>
                  <a:pt x="364" y="824"/>
                  <a:pt x="377" y="879"/>
                  <a:pt x="406" y="892"/>
                </a:cubicBezTo>
                <a:cubicBezTo>
                  <a:pt x="437" y="892"/>
                  <a:pt x="470" y="875"/>
                  <a:pt x="495" y="875"/>
                </a:cubicBezTo>
                <a:cubicBezTo>
                  <a:pt x="502" y="875"/>
                  <a:pt x="508" y="876"/>
                  <a:pt x="513" y="879"/>
                </a:cubicBezTo>
                <a:cubicBezTo>
                  <a:pt x="539" y="879"/>
                  <a:pt x="568" y="905"/>
                  <a:pt x="594" y="918"/>
                </a:cubicBezTo>
                <a:cubicBezTo>
                  <a:pt x="620" y="918"/>
                  <a:pt x="662" y="905"/>
                  <a:pt x="688" y="905"/>
                </a:cubicBezTo>
                <a:cubicBezTo>
                  <a:pt x="730" y="918"/>
                  <a:pt x="756" y="960"/>
                  <a:pt x="782" y="960"/>
                </a:cubicBezTo>
                <a:cubicBezTo>
                  <a:pt x="811" y="973"/>
                  <a:pt x="837" y="986"/>
                  <a:pt x="879" y="986"/>
                </a:cubicBezTo>
                <a:cubicBezTo>
                  <a:pt x="905" y="986"/>
                  <a:pt x="944" y="960"/>
                  <a:pt x="973" y="960"/>
                </a:cubicBezTo>
                <a:cubicBezTo>
                  <a:pt x="999" y="973"/>
                  <a:pt x="1054" y="973"/>
                  <a:pt x="1080" y="973"/>
                </a:cubicBezTo>
                <a:cubicBezTo>
                  <a:pt x="1054" y="986"/>
                  <a:pt x="999" y="1015"/>
                  <a:pt x="999" y="1041"/>
                </a:cubicBezTo>
                <a:cubicBezTo>
                  <a:pt x="999" y="1054"/>
                  <a:pt x="999" y="1067"/>
                  <a:pt x="1025" y="1096"/>
                </a:cubicBezTo>
                <a:cubicBezTo>
                  <a:pt x="986" y="1096"/>
                  <a:pt x="999" y="1122"/>
                  <a:pt x="960" y="1122"/>
                </a:cubicBezTo>
                <a:cubicBezTo>
                  <a:pt x="931" y="1122"/>
                  <a:pt x="905" y="1080"/>
                  <a:pt x="863" y="1080"/>
                </a:cubicBezTo>
                <a:cubicBezTo>
                  <a:pt x="837" y="1080"/>
                  <a:pt x="811" y="1135"/>
                  <a:pt x="782" y="1135"/>
                </a:cubicBezTo>
                <a:cubicBezTo>
                  <a:pt x="743" y="1135"/>
                  <a:pt x="717" y="1109"/>
                  <a:pt x="688" y="1109"/>
                </a:cubicBezTo>
                <a:cubicBezTo>
                  <a:pt x="649" y="1109"/>
                  <a:pt x="620" y="1096"/>
                  <a:pt x="594" y="1096"/>
                </a:cubicBezTo>
                <a:cubicBezTo>
                  <a:pt x="555" y="1109"/>
                  <a:pt x="526" y="1122"/>
                  <a:pt x="500" y="1122"/>
                </a:cubicBezTo>
                <a:cubicBezTo>
                  <a:pt x="494" y="1124"/>
                  <a:pt x="488" y="1125"/>
                  <a:pt x="482" y="1125"/>
                </a:cubicBezTo>
                <a:cubicBezTo>
                  <a:pt x="455" y="1125"/>
                  <a:pt x="434" y="1106"/>
                  <a:pt x="409" y="1106"/>
                </a:cubicBezTo>
                <a:cubicBezTo>
                  <a:pt x="404" y="1106"/>
                  <a:pt x="399" y="1107"/>
                  <a:pt x="393" y="1109"/>
                </a:cubicBezTo>
                <a:cubicBezTo>
                  <a:pt x="364" y="1109"/>
                  <a:pt x="351" y="1177"/>
                  <a:pt x="312" y="1177"/>
                </a:cubicBezTo>
                <a:cubicBezTo>
                  <a:pt x="297" y="1184"/>
                  <a:pt x="280" y="1184"/>
                  <a:pt x="263" y="1184"/>
                </a:cubicBezTo>
                <a:cubicBezTo>
                  <a:pt x="246" y="1184"/>
                  <a:pt x="229" y="1184"/>
                  <a:pt x="215" y="1190"/>
                </a:cubicBezTo>
                <a:cubicBezTo>
                  <a:pt x="189" y="1190"/>
                  <a:pt x="176" y="1229"/>
                  <a:pt x="150" y="1242"/>
                </a:cubicBezTo>
                <a:cubicBezTo>
                  <a:pt x="108" y="1258"/>
                  <a:pt x="40" y="1258"/>
                  <a:pt x="40" y="1284"/>
                </a:cubicBezTo>
                <a:cubicBezTo>
                  <a:pt x="40" y="1310"/>
                  <a:pt x="82" y="1339"/>
                  <a:pt x="121" y="1365"/>
                </a:cubicBezTo>
                <a:cubicBezTo>
                  <a:pt x="134" y="1378"/>
                  <a:pt x="163" y="1391"/>
                  <a:pt x="202" y="1404"/>
                </a:cubicBezTo>
                <a:cubicBezTo>
                  <a:pt x="204" y="1407"/>
                  <a:pt x="207" y="1408"/>
                  <a:pt x="211" y="1408"/>
                </a:cubicBezTo>
                <a:cubicBezTo>
                  <a:pt x="229" y="1408"/>
                  <a:pt x="261" y="1388"/>
                  <a:pt x="284" y="1388"/>
                </a:cubicBezTo>
                <a:cubicBezTo>
                  <a:pt x="288" y="1388"/>
                  <a:pt x="292" y="1389"/>
                  <a:pt x="296" y="1391"/>
                </a:cubicBezTo>
                <a:cubicBezTo>
                  <a:pt x="325" y="1404"/>
                  <a:pt x="338" y="1446"/>
                  <a:pt x="364" y="1459"/>
                </a:cubicBezTo>
                <a:cubicBezTo>
                  <a:pt x="393" y="1459"/>
                  <a:pt x="419" y="1485"/>
                  <a:pt x="458" y="1485"/>
                </a:cubicBezTo>
                <a:lnTo>
                  <a:pt x="539" y="1485"/>
                </a:lnTo>
                <a:cubicBezTo>
                  <a:pt x="568" y="1485"/>
                  <a:pt x="594" y="1527"/>
                  <a:pt x="620" y="1540"/>
                </a:cubicBezTo>
                <a:cubicBezTo>
                  <a:pt x="662" y="1540"/>
                  <a:pt x="688" y="1514"/>
                  <a:pt x="717" y="1514"/>
                </a:cubicBezTo>
                <a:cubicBezTo>
                  <a:pt x="726" y="1518"/>
                  <a:pt x="736" y="1520"/>
                  <a:pt x="746" y="1520"/>
                </a:cubicBezTo>
                <a:cubicBezTo>
                  <a:pt x="768" y="1520"/>
                  <a:pt x="791" y="1514"/>
                  <a:pt x="811" y="1514"/>
                </a:cubicBezTo>
                <a:cubicBezTo>
                  <a:pt x="837" y="1527"/>
                  <a:pt x="863" y="1566"/>
                  <a:pt x="892" y="1566"/>
                </a:cubicBezTo>
                <a:lnTo>
                  <a:pt x="986" y="1566"/>
                </a:lnTo>
                <a:cubicBezTo>
                  <a:pt x="1012" y="1566"/>
                  <a:pt x="1041" y="1582"/>
                  <a:pt x="1080" y="1582"/>
                </a:cubicBezTo>
                <a:cubicBezTo>
                  <a:pt x="1106" y="1582"/>
                  <a:pt x="1135" y="1566"/>
                  <a:pt x="1161" y="1566"/>
                </a:cubicBezTo>
                <a:lnTo>
                  <a:pt x="1255" y="1566"/>
                </a:lnTo>
                <a:cubicBezTo>
                  <a:pt x="1284" y="1566"/>
                  <a:pt x="1310" y="1553"/>
                  <a:pt x="1336" y="1553"/>
                </a:cubicBezTo>
                <a:cubicBezTo>
                  <a:pt x="1378" y="1553"/>
                  <a:pt x="1404" y="1595"/>
                  <a:pt x="1430" y="1595"/>
                </a:cubicBezTo>
                <a:cubicBezTo>
                  <a:pt x="1459" y="1595"/>
                  <a:pt x="1485" y="1540"/>
                  <a:pt x="1527" y="1540"/>
                </a:cubicBezTo>
                <a:cubicBezTo>
                  <a:pt x="1553" y="1540"/>
                  <a:pt x="1579" y="1566"/>
                  <a:pt x="1608" y="1566"/>
                </a:cubicBezTo>
                <a:cubicBezTo>
                  <a:pt x="1647" y="1566"/>
                  <a:pt x="1673" y="1527"/>
                  <a:pt x="1702" y="1527"/>
                </a:cubicBezTo>
                <a:cubicBezTo>
                  <a:pt x="1728" y="1527"/>
                  <a:pt x="1770" y="1582"/>
                  <a:pt x="1796" y="1582"/>
                </a:cubicBezTo>
                <a:cubicBezTo>
                  <a:pt x="1822" y="1566"/>
                  <a:pt x="1851" y="1514"/>
                  <a:pt x="1877" y="1514"/>
                </a:cubicBezTo>
                <a:cubicBezTo>
                  <a:pt x="1882" y="1511"/>
                  <a:pt x="1888" y="1510"/>
                  <a:pt x="1894" y="1510"/>
                </a:cubicBezTo>
                <a:cubicBezTo>
                  <a:pt x="1909" y="1510"/>
                  <a:pt x="1925" y="1518"/>
                  <a:pt x="1941" y="1518"/>
                </a:cubicBezTo>
                <a:cubicBezTo>
                  <a:pt x="1947" y="1518"/>
                  <a:pt x="1952" y="1517"/>
                  <a:pt x="1958" y="1514"/>
                </a:cubicBezTo>
                <a:cubicBezTo>
                  <a:pt x="1997" y="1514"/>
                  <a:pt x="2039" y="1540"/>
                  <a:pt x="2065" y="1540"/>
                </a:cubicBezTo>
                <a:cubicBezTo>
                  <a:pt x="2094" y="1527"/>
                  <a:pt x="2107" y="1459"/>
                  <a:pt x="2133" y="1459"/>
                </a:cubicBezTo>
                <a:cubicBezTo>
                  <a:pt x="2159" y="1446"/>
                  <a:pt x="2188" y="1446"/>
                  <a:pt x="2214" y="1433"/>
                </a:cubicBezTo>
                <a:cubicBezTo>
                  <a:pt x="2240" y="1404"/>
                  <a:pt x="2282" y="1404"/>
                  <a:pt x="2282" y="1378"/>
                </a:cubicBezTo>
                <a:cubicBezTo>
                  <a:pt x="2282" y="1365"/>
                  <a:pt x="2282" y="1352"/>
                  <a:pt x="2256" y="1323"/>
                </a:cubicBezTo>
                <a:cubicBezTo>
                  <a:pt x="2282" y="1323"/>
                  <a:pt x="2295" y="1310"/>
                  <a:pt x="2337" y="1310"/>
                </a:cubicBezTo>
                <a:cubicBezTo>
                  <a:pt x="2363" y="1310"/>
                  <a:pt x="2389" y="1323"/>
                  <a:pt x="2431" y="1323"/>
                </a:cubicBezTo>
                <a:cubicBezTo>
                  <a:pt x="2457" y="1323"/>
                  <a:pt x="2483" y="1284"/>
                  <a:pt x="2512" y="1284"/>
                </a:cubicBezTo>
                <a:cubicBezTo>
                  <a:pt x="2551" y="1284"/>
                  <a:pt x="2580" y="1323"/>
                  <a:pt x="2606" y="1323"/>
                </a:cubicBezTo>
                <a:cubicBezTo>
                  <a:pt x="2645" y="1323"/>
                  <a:pt x="2674" y="1339"/>
                  <a:pt x="2713" y="1339"/>
                </a:cubicBezTo>
                <a:cubicBezTo>
                  <a:pt x="2742" y="1323"/>
                  <a:pt x="2768" y="1284"/>
                  <a:pt x="2794" y="1284"/>
                </a:cubicBezTo>
                <a:lnTo>
                  <a:pt x="2888" y="1284"/>
                </a:lnTo>
                <a:cubicBezTo>
                  <a:pt x="2930" y="1284"/>
                  <a:pt x="2956" y="1284"/>
                  <a:pt x="2985" y="1271"/>
                </a:cubicBezTo>
                <a:cubicBezTo>
                  <a:pt x="3024" y="1271"/>
                  <a:pt x="3037" y="1216"/>
                  <a:pt x="3066" y="1203"/>
                </a:cubicBezTo>
                <a:cubicBezTo>
                  <a:pt x="3105" y="1203"/>
                  <a:pt x="3118" y="1190"/>
                  <a:pt x="3147" y="1177"/>
                </a:cubicBezTo>
                <a:cubicBezTo>
                  <a:pt x="3173" y="1148"/>
                  <a:pt x="3212" y="1161"/>
                  <a:pt x="3212" y="1135"/>
                </a:cubicBezTo>
                <a:cubicBezTo>
                  <a:pt x="3212" y="1132"/>
                  <a:pt x="3212" y="1131"/>
                  <a:pt x="3213" y="1131"/>
                </a:cubicBezTo>
                <a:cubicBezTo>
                  <a:pt x="3215" y="1131"/>
                  <a:pt x="3217" y="1133"/>
                  <a:pt x="3218" y="1135"/>
                </a:cubicBezTo>
                <a:lnTo>
                  <a:pt x="3309" y="1135"/>
                </a:lnTo>
                <a:cubicBezTo>
                  <a:pt x="3335" y="1135"/>
                  <a:pt x="3374" y="1096"/>
                  <a:pt x="3403" y="1096"/>
                </a:cubicBezTo>
                <a:cubicBezTo>
                  <a:pt x="3429" y="1109"/>
                  <a:pt x="3455" y="1177"/>
                  <a:pt x="3484" y="1177"/>
                </a:cubicBezTo>
                <a:cubicBezTo>
                  <a:pt x="3523" y="1177"/>
                  <a:pt x="3565" y="1122"/>
                  <a:pt x="3591" y="1122"/>
                </a:cubicBezTo>
                <a:cubicBezTo>
                  <a:pt x="3591" y="1135"/>
                  <a:pt x="3604" y="1161"/>
                  <a:pt x="3604" y="1177"/>
                </a:cubicBezTo>
                <a:cubicBezTo>
                  <a:pt x="3604" y="1203"/>
                  <a:pt x="3591" y="1229"/>
                  <a:pt x="3617" y="1242"/>
                </a:cubicBezTo>
                <a:cubicBezTo>
                  <a:pt x="3646" y="1258"/>
                  <a:pt x="3659" y="1284"/>
                  <a:pt x="3698" y="1297"/>
                </a:cubicBezTo>
                <a:cubicBezTo>
                  <a:pt x="3727" y="1310"/>
                  <a:pt x="3753" y="1339"/>
                  <a:pt x="3779" y="1352"/>
                </a:cubicBezTo>
                <a:cubicBezTo>
                  <a:pt x="3808" y="1352"/>
                  <a:pt x="3847" y="1310"/>
                  <a:pt x="3876" y="1310"/>
                </a:cubicBezTo>
                <a:cubicBezTo>
                  <a:pt x="3902" y="1323"/>
                  <a:pt x="3928" y="1365"/>
                  <a:pt x="3957" y="1378"/>
                </a:cubicBezTo>
                <a:cubicBezTo>
                  <a:pt x="3983" y="1378"/>
                  <a:pt x="4022" y="1352"/>
                  <a:pt x="4051" y="1352"/>
                </a:cubicBezTo>
                <a:cubicBezTo>
                  <a:pt x="4077" y="1365"/>
                  <a:pt x="4103" y="1404"/>
                  <a:pt x="4132" y="1404"/>
                </a:cubicBezTo>
                <a:cubicBezTo>
                  <a:pt x="4158" y="1420"/>
                  <a:pt x="4184" y="1446"/>
                  <a:pt x="4213" y="1446"/>
                </a:cubicBezTo>
                <a:cubicBezTo>
                  <a:pt x="4239" y="1446"/>
                  <a:pt x="4281" y="1391"/>
                  <a:pt x="4307" y="1391"/>
                </a:cubicBezTo>
                <a:cubicBezTo>
                  <a:pt x="4346" y="1391"/>
                  <a:pt x="4375" y="1433"/>
                  <a:pt x="4401" y="1433"/>
                </a:cubicBezTo>
                <a:cubicBezTo>
                  <a:pt x="4427" y="1446"/>
                  <a:pt x="4456" y="1459"/>
                  <a:pt x="4482" y="1459"/>
                </a:cubicBezTo>
                <a:cubicBezTo>
                  <a:pt x="4503" y="1459"/>
                  <a:pt x="4534" y="1442"/>
                  <a:pt x="4558" y="1442"/>
                </a:cubicBezTo>
                <a:cubicBezTo>
                  <a:pt x="4565" y="1442"/>
                  <a:pt x="4571" y="1443"/>
                  <a:pt x="4576" y="1446"/>
                </a:cubicBezTo>
                <a:cubicBezTo>
                  <a:pt x="4605" y="1446"/>
                  <a:pt x="4631" y="1459"/>
                  <a:pt x="4670" y="1459"/>
                </a:cubicBezTo>
                <a:cubicBezTo>
                  <a:pt x="4699" y="1472"/>
                  <a:pt x="4725" y="1485"/>
                  <a:pt x="4751" y="1485"/>
                </a:cubicBezTo>
                <a:cubicBezTo>
                  <a:pt x="4780" y="1485"/>
                  <a:pt x="4819" y="1420"/>
                  <a:pt x="4848" y="1420"/>
                </a:cubicBezTo>
                <a:cubicBezTo>
                  <a:pt x="4874" y="1433"/>
                  <a:pt x="4900" y="1446"/>
                  <a:pt x="4929" y="1446"/>
                </a:cubicBezTo>
                <a:cubicBezTo>
                  <a:pt x="4968" y="1446"/>
                  <a:pt x="4994" y="1472"/>
                  <a:pt x="5023" y="1472"/>
                </a:cubicBezTo>
                <a:cubicBezTo>
                  <a:pt x="5049" y="1459"/>
                  <a:pt x="5075" y="1433"/>
                  <a:pt x="5117" y="1433"/>
                </a:cubicBezTo>
                <a:cubicBezTo>
                  <a:pt x="5125" y="1429"/>
                  <a:pt x="5134" y="1427"/>
                  <a:pt x="5144" y="1427"/>
                </a:cubicBezTo>
                <a:cubicBezTo>
                  <a:pt x="5162" y="1427"/>
                  <a:pt x="5181" y="1433"/>
                  <a:pt x="5198" y="1433"/>
                </a:cubicBezTo>
                <a:cubicBezTo>
                  <a:pt x="5206" y="1429"/>
                  <a:pt x="5217" y="1427"/>
                  <a:pt x="5228" y="1427"/>
                </a:cubicBezTo>
                <a:cubicBezTo>
                  <a:pt x="5250" y="1427"/>
                  <a:pt x="5274" y="1433"/>
                  <a:pt x="5292" y="1433"/>
                </a:cubicBezTo>
                <a:cubicBezTo>
                  <a:pt x="5318" y="1433"/>
                  <a:pt x="5360" y="1459"/>
                  <a:pt x="5386" y="1459"/>
                </a:cubicBezTo>
                <a:cubicBezTo>
                  <a:pt x="5415" y="1459"/>
                  <a:pt x="5441" y="1420"/>
                  <a:pt x="5467" y="1404"/>
                </a:cubicBezTo>
                <a:cubicBezTo>
                  <a:pt x="5496" y="1404"/>
                  <a:pt x="5522" y="1378"/>
                  <a:pt x="5548" y="1365"/>
                </a:cubicBezTo>
                <a:cubicBezTo>
                  <a:pt x="5567" y="1365"/>
                  <a:pt x="5591" y="1371"/>
                  <a:pt x="5612" y="1371"/>
                </a:cubicBezTo>
                <a:cubicBezTo>
                  <a:pt x="5623" y="1371"/>
                  <a:pt x="5633" y="1369"/>
                  <a:pt x="5642" y="1365"/>
                </a:cubicBezTo>
                <a:cubicBezTo>
                  <a:pt x="5661" y="1365"/>
                  <a:pt x="5685" y="1371"/>
                  <a:pt x="5707" y="1371"/>
                </a:cubicBezTo>
                <a:cubicBezTo>
                  <a:pt x="5718" y="1371"/>
                  <a:pt x="5729" y="1369"/>
                  <a:pt x="5739" y="1365"/>
                </a:cubicBezTo>
                <a:cubicBezTo>
                  <a:pt x="5765" y="1339"/>
                  <a:pt x="5804" y="1297"/>
                  <a:pt x="5804" y="1271"/>
                </a:cubicBezTo>
                <a:cubicBezTo>
                  <a:pt x="5804" y="1258"/>
                  <a:pt x="5778" y="1203"/>
                  <a:pt x="5739" y="1190"/>
                </a:cubicBezTo>
                <a:cubicBezTo>
                  <a:pt x="5723" y="1177"/>
                  <a:pt x="5697" y="1148"/>
                  <a:pt x="5671" y="1135"/>
                </a:cubicBezTo>
                <a:cubicBezTo>
                  <a:pt x="5665" y="1132"/>
                  <a:pt x="5658" y="1131"/>
                  <a:pt x="5651" y="1131"/>
                </a:cubicBezTo>
                <a:cubicBezTo>
                  <a:pt x="5633" y="1131"/>
                  <a:pt x="5612" y="1139"/>
                  <a:pt x="5595" y="1139"/>
                </a:cubicBezTo>
                <a:cubicBezTo>
                  <a:pt x="5588" y="1139"/>
                  <a:pt x="5582" y="1138"/>
                  <a:pt x="5577" y="1135"/>
                </a:cubicBezTo>
                <a:cubicBezTo>
                  <a:pt x="5548" y="1135"/>
                  <a:pt x="5522" y="1122"/>
                  <a:pt x="5496" y="1122"/>
                </a:cubicBezTo>
                <a:cubicBezTo>
                  <a:pt x="5467" y="1109"/>
                  <a:pt x="5441" y="1096"/>
                  <a:pt x="5415" y="1080"/>
                </a:cubicBezTo>
                <a:cubicBezTo>
                  <a:pt x="5386" y="1080"/>
                  <a:pt x="5347" y="1096"/>
                  <a:pt x="5318" y="1096"/>
                </a:cubicBezTo>
                <a:cubicBezTo>
                  <a:pt x="5292" y="1096"/>
                  <a:pt x="5266" y="1041"/>
                  <a:pt x="5237" y="1041"/>
                </a:cubicBezTo>
                <a:cubicBezTo>
                  <a:pt x="5211" y="1041"/>
                  <a:pt x="5156" y="1041"/>
                  <a:pt x="5130" y="1028"/>
                </a:cubicBezTo>
                <a:cubicBezTo>
                  <a:pt x="5156" y="1015"/>
                  <a:pt x="5211" y="999"/>
                  <a:pt x="5237" y="986"/>
                </a:cubicBezTo>
                <a:cubicBezTo>
                  <a:pt x="5266" y="960"/>
                  <a:pt x="5305" y="947"/>
                  <a:pt x="5305" y="918"/>
                </a:cubicBezTo>
                <a:cubicBezTo>
                  <a:pt x="5305" y="892"/>
                  <a:pt x="5253" y="892"/>
                  <a:pt x="5224" y="866"/>
                </a:cubicBezTo>
                <a:cubicBezTo>
                  <a:pt x="5198" y="853"/>
                  <a:pt x="5198" y="824"/>
                  <a:pt x="5172" y="798"/>
                </a:cubicBezTo>
                <a:cubicBezTo>
                  <a:pt x="5143" y="785"/>
                  <a:pt x="5130" y="730"/>
                  <a:pt x="5104" y="717"/>
                </a:cubicBezTo>
                <a:cubicBezTo>
                  <a:pt x="5098" y="714"/>
                  <a:pt x="5091" y="713"/>
                  <a:pt x="5084" y="713"/>
                </a:cubicBezTo>
                <a:cubicBezTo>
                  <a:pt x="5065" y="713"/>
                  <a:pt x="5043" y="721"/>
                  <a:pt x="5020" y="721"/>
                </a:cubicBezTo>
                <a:cubicBezTo>
                  <a:pt x="5011" y="721"/>
                  <a:pt x="5003" y="720"/>
                  <a:pt x="4994" y="717"/>
                </a:cubicBezTo>
                <a:cubicBezTo>
                  <a:pt x="4968" y="717"/>
                  <a:pt x="4942" y="704"/>
                  <a:pt x="4913" y="704"/>
                </a:cubicBezTo>
                <a:cubicBezTo>
                  <a:pt x="4887" y="691"/>
                  <a:pt x="4861" y="649"/>
                  <a:pt x="4832" y="649"/>
                </a:cubicBezTo>
                <a:cubicBezTo>
                  <a:pt x="4827" y="646"/>
                  <a:pt x="4821" y="645"/>
                  <a:pt x="4815" y="645"/>
                </a:cubicBezTo>
                <a:cubicBezTo>
                  <a:pt x="4791" y="645"/>
                  <a:pt x="4761" y="662"/>
                  <a:pt x="4738" y="662"/>
                </a:cubicBezTo>
                <a:cubicBezTo>
                  <a:pt x="4699" y="662"/>
                  <a:pt x="4686" y="610"/>
                  <a:pt x="4657" y="594"/>
                </a:cubicBezTo>
                <a:cubicBezTo>
                  <a:pt x="4625" y="594"/>
                  <a:pt x="4600" y="613"/>
                  <a:pt x="4570" y="613"/>
                </a:cubicBezTo>
                <a:cubicBezTo>
                  <a:pt x="4564" y="613"/>
                  <a:pt x="4557" y="612"/>
                  <a:pt x="4550" y="610"/>
                </a:cubicBezTo>
                <a:cubicBezTo>
                  <a:pt x="4524" y="610"/>
                  <a:pt x="4495" y="581"/>
                  <a:pt x="4469" y="568"/>
                </a:cubicBezTo>
                <a:cubicBezTo>
                  <a:pt x="4445" y="568"/>
                  <a:pt x="4408" y="625"/>
                  <a:pt x="4382" y="625"/>
                </a:cubicBezTo>
                <a:cubicBezTo>
                  <a:pt x="4379" y="625"/>
                  <a:pt x="4377" y="624"/>
                  <a:pt x="4375" y="623"/>
                </a:cubicBezTo>
                <a:cubicBezTo>
                  <a:pt x="4333" y="623"/>
                  <a:pt x="4307" y="594"/>
                  <a:pt x="4281" y="594"/>
                </a:cubicBezTo>
                <a:cubicBezTo>
                  <a:pt x="4252" y="581"/>
                  <a:pt x="4226" y="568"/>
                  <a:pt x="4200" y="568"/>
                </a:cubicBezTo>
                <a:cubicBezTo>
                  <a:pt x="4158" y="555"/>
                  <a:pt x="4132" y="555"/>
                  <a:pt x="4103" y="555"/>
                </a:cubicBezTo>
                <a:cubicBezTo>
                  <a:pt x="4077" y="555"/>
                  <a:pt x="4038" y="594"/>
                  <a:pt x="4009" y="594"/>
                </a:cubicBezTo>
                <a:cubicBezTo>
                  <a:pt x="3983" y="594"/>
                  <a:pt x="3941" y="581"/>
                  <a:pt x="3915" y="581"/>
                </a:cubicBezTo>
                <a:cubicBezTo>
                  <a:pt x="3889" y="581"/>
                  <a:pt x="3860" y="555"/>
                  <a:pt x="3834" y="542"/>
                </a:cubicBezTo>
                <a:cubicBezTo>
                  <a:pt x="3851" y="542"/>
                  <a:pt x="3870" y="548"/>
                  <a:pt x="3888" y="548"/>
                </a:cubicBezTo>
                <a:cubicBezTo>
                  <a:pt x="3897" y="548"/>
                  <a:pt x="3906" y="546"/>
                  <a:pt x="3915" y="542"/>
                </a:cubicBezTo>
                <a:cubicBezTo>
                  <a:pt x="3941" y="529"/>
                  <a:pt x="3970" y="513"/>
                  <a:pt x="3996" y="500"/>
                </a:cubicBezTo>
                <a:cubicBezTo>
                  <a:pt x="4022" y="474"/>
                  <a:pt x="3996" y="432"/>
                  <a:pt x="3996" y="406"/>
                </a:cubicBezTo>
                <a:cubicBezTo>
                  <a:pt x="3996" y="380"/>
                  <a:pt x="3983" y="380"/>
                  <a:pt x="3957" y="351"/>
                </a:cubicBezTo>
                <a:cubicBezTo>
                  <a:pt x="3928" y="338"/>
                  <a:pt x="3928" y="299"/>
                  <a:pt x="3902" y="286"/>
                </a:cubicBezTo>
                <a:cubicBezTo>
                  <a:pt x="3889" y="278"/>
                  <a:pt x="3872" y="278"/>
                  <a:pt x="3855" y="278"/>
                </a:cubicBezTo>
                <a:cubicBezTo>
                  <a:pt x="3838" y="278"/>
                  <a:pt x="3821" y="278"/>
                  <a:pt x="3808" y="270"/>
                </a:cubicBezTo>
                <a:cubicBezTo>
                  <a:pt x="3779" y="270"/>
                  <a:pt x="3753" y="218"/>
                  <a:pt x="3727" y="205"/>
                </a:cubicBezTo>
                <a:lnTo>
                  <a:pt x="3633" y="205"/>
                </a:lnTo>
                <a:cubicBezTo>
                  <a:pt x="3618" y="197"/>
                  <a:pt x="3605" y="197"/>
                  <a:pt x="3589" y="197"/>
                </a:cubicBezTo>
                <a:cubicBezTo>
                  <a:pt x="3574" y="197"/>
                  <a:pt x="3557" y="197"/>
                  <a:pt x="3536" y="189"/>
                </a:cubicBezTo>
                <a:cubicBezTo>
                  <a:pt x="3510" y="189"/>
                  <a:pt x="3484" y="163"/>
                  <a:pt x="3455" y="150"/>
                </a:cubicBezTo>
                <a:cubicBezTo>
                  <a:pt x="3429" y="150"/>
                  <a:pt x="3403" y="137"/>
                  <a:pt x="3374" y="137"/>
                </a:cubicBezTo>
                <a:cubicBezTo>
                  <a:pt x="3335" y="124"/>
                  <a:pt x="3322" y="82"/>
                  <a:pt x="3280" y="69"/>
                </a:cubicBezTo>
                <a:cubicBezTo>
                  <a:pt x="3254" y="69"/>
                  <a:pt x="3228" y="82"/>
                  <a:pt x="3186" y="82"/>
                </a:cubicBezTo>
                <a:cubicBezTo>
                  <a:pt x="3160" y="69"/>
                  <a:pt x="3131" y="69"/>
                  <a:pt x="3105" y="56"/>
                </a:cubicBezTo>
                <a:cubicBezTo>
                  <a:pt x="3071" y="56"/>
                  <a:pt x="3045" y="85"/>
                  <a:pt x="3022" y="85"/>
                </a:cubicBezTo>
                <a:cubicBezTo>
                  <a:pt x="3018" y="85"/>
                  <a:pt x="3015" y="84"/>
                  <a:pt x="3011" y="82"/>
                </a:cubicBezTo>
                <a:cubicBezTo>
                  <a:pt x="2969" y="82"/>
                  <a:pt x="2943" y="43"/>
                  <a:pt x="2917" y="27"/>
                </a:cubicBezTo>
                <a:cubicBezTo>
                  <a:pt x="2888" y="27"/>
                  <a:pt x="2849" y="69"/>
                  <a:pt x="2823" y="69"/>
                </a:cubicBezTo>
                <a:lnTo>
                  <a:pt x="2726" y="69"/>
                </a:lnTo>
                <a:cubicBezTo>
                  <a:pt x="2700" y="69"/>
                  <a:pt x="2674" y="43"/>
                  <a:pt x="2645" y="43"/>
                </a:cubicBezTo>
                <a:cubicBezTo>
                  <a:pt x="2606" y="43"/>
                  <a:pt x="2580" y="69"/>
                  <a:pt x="2551" y="69"/>
                </a:cubicBezTo>
                <a:cubicBezTo>
                  <a:pt x="2512" y="69"/>
                  <a:pt x="2483" y="1"/>
                  <a:pt x="2457" y="1"/>
                </a:cubicBezTo>
                <a:cubicBezTo>
                  <a:pt x="2431" y="1"/>
                  <a:pt x="2389" y="56"/>
                  <a:pt x="2363" y="56"/>
                </a:cubicBezTo>
                <a:cubicBezTo>
                  <a:pt x="2337" y="56"/>
                  <a:pt x="2308" y="1"/>
                  <a:pt x="2269" y="1"/>
                </a:cubicBezTo>
                <a:cubicBezTo>
                  <a:pt x="2240" y="1"/>
                  <a:pt x="2214" y="56"/>
                  <a:pt x="2188" y="56"/>
                </a:cubicBezTo>
                <a:cubicBezTo>
                  <a:pt x="2146" y="56"/>
                  <a:pt x="2120" y="1"/>
                  <a:pt x="2094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5" name="Google Shape;625;p26"/>
          <p:cNvSpPr/>
          <p:nvPr/>
        </p:nvSpPr>
        <p:spPr>
          <a:xfrm>
            <a:off x="43484" y="5959131"/>
            <a:ext cx="1435659" cy="244740"/>
          </a:xfrm>
          <a:custGeom>
            <a:avLst/>
            <a:gdLst/>
            <a:ahLst/>
            <a:cxnLst/>
            <a:rect l="l" t="t" r="r" b="b"/>
            <a:pathLst>
              <a:path w="5804" h="1608" extrusionOk="0">
                <a:moveTo>
                  <a:pt x="1430" y="1"/>
                </a:moveTo>
                <a:cubicBezTo>
                  <a:pt x="1404" y="1"/>
                  <a:pt x="1365" y="56"/>
                  <a:pt x="1336" y="56"/>
                </a:cubicBezTo>
                <a:cubicBezTo>
                  <a:pt x="1310" y="56"/>
                  <a:pt x="1284" y="43"/>
                  <a:pt x="1255" y="43"/>
                </a:cubicBezTo>
                <a:lnTo>
                  <a:pt x="1161" y="43"/>
                </a:lnTo>
                <a:cubicBezTo>
                  <a:pt x="1135" y="43"/>
                  <a:pt x="1093" y="27"/>
                  <a:pt x="1067" y="27"/>
                </a:cubicBezTo>
                <a:cubicBezTo>
                  <a:pt x="1041" y="27"/>
                  <a:pt x="1012" y="43"/>
                  <a:pt x="986" y="43"/>
                </a:cubicBezTo>
                <a:lnTo>
                  <a:pt x="892" y="43"/>
                </a:lnTo>
                <a:cubicBezTo>
                  <a:pt x="863" y="43"/>
                  <a:pt x="837" y="82"/>
                  <a:pt x="811" y="95"/>
                </a:cubicBezTo>
                <a:cubicBezTo>
                  <a:pt x="783" y="95"/>
                  <a:pt x="762" y="89"/>
                  <a:pt x="743" y="89"/>
                </a:cubicBezTo>
                <a:cubicBezTo>
                  <a:pt x="734" y="89"/>
                  <a:pt x="726" y="91"/>
                  <a:pt x="717" y="95"/>
                </a:cubicBezTo>
                <a:cubicBezTo>
                  <a:pt x="688" y="95"/>
                  <a:pt x="649" y="69"/>
                  <a:pt x="620" y="69"/>
                </a:cubicBezTo>
                <a:cubicBezTo>
                  <a:pt x="594" y="82"/>
                  <a:pt x="568" y="124"/>
                  <a:pt x="539" y="124"/>
                </a:cubicBezTo>
                <a:cubicBezTo>
                  <a:pt x="521" y="124"/>
                  <a:pt x="498" y="117"/>
                  <a:pt x="476" y="117"/>
                </a:cubicBezTo>
                <a:cubicBezTo>
                  <a:pt x="465" y="117"/>
                  <a:pt x="454" y="119"/>
                  <a:pt x="445" y="124"/>
                </a:cubicBezTo>
                <a:cubicBezTo>
                  <a:pt x="419" y="124"/>
                  <a:pt x="393" y="137"/>
                  <a:pt x="364" y="150"/>
                </a:cubicBezTo>
                <a:cubicBezTo>
                  <a:pt x="338" y="163"/>
                  <a:pt x="325" y="205"/>
                  <a:pt x="296" y="218"/>
                </a:cubicBezTo>
                <a:cubicBezTo>
                  <a:pt x="290" y="220"/>
                  <a:pt x="285" y="221"/>
                  <a:pt x="280" y="221"/>
                </a:cubicBezTo>
                <a:cubicBezTo>
                  <a:pt x="252" y="221"/>
                  <a:pt x="224" y="201"/>
                  <a:pt x="203" y="201"/>
                </a:cubicBezTo>
                <a:cubicBezTo>
                  <a:pt x="198" y="201"/>
                  <a:pt x="193" y="202"/>
                  <a:pt x="189" y="205"/>
                </a:cubicBezTo>
                <a:cubicBezTo>
                  <a:pt x="163" y="218"/>
                  <a:pt x="134" y="231"/>
                  <a:pt x="108" y="244"/>
                </a:cubicBezTo>
                <a:cubicBezTo>
                  <a:pt x="82" y="270"/>
                  <a:pt x="40" y="299"/>
                  <a:pt x="40" y="325"/>
                </a:cubicBezTo>
                <a:cubicBezTo>
                  <a:pt x="40" y="351"/>
                  <a:pt x="108" y="351"/>
                  <a:pt x="150" y="367"/>
                </a:cubicBezTo>
                <a:cubicBezTo>
                  <a:pt x="163" y="380"/>
                  <a:pt x="189" y="419"/>
                  <a:pt x="215" y="419"/>
                </a:cubicBezTo>
                <a:cubicBezTo>
                  <a:pt x="224" y="423"/>
                  <a:pt x="235" y="425"/>
                  <a:pt x="246" y="425"/>
                </a:cubicBezTo>
                <a:cubicBezTo>
                  <a:pt x="269" y="425"/>
                  <a:pt x="292" y="419"/>
                  <a:pt x="312" y="419"/>
                </a:cubicBezTo>
                <a:cubicBezTo>
                  <a:pt x="338" y="432"/>
                  <a:pt x="364" y="500"/>
                  <a:pt x="393" y="500"/>
                </a:cubicBezTo>
                <a:cubicBezTo>
                  <a:pt x="397" y="502"/>
                  <a:pt x="401" y="503"/>
                  <a:pt x="405" y="503"/>
                </a:cubicBezTo>
                <a:cubicBezTo>
                  <a:pt x="426" y="503"/>
                  <a:pt x="451" y="484"/>
                  <a:pt x="474" y="484"/>
                </a:cubicBezTo>
                <a:cubicBezTo>
                  <a:pt x="478" y="484"/>
                  <a:pt x="483" y="485"/>
                  <a:pt x="487" y="487"/>
                </a:cubicBezTo>
                <a:cubicBezTo>
                  <a:pt x="526" y="487"/>
                  <a:pt x="555" y="500"/>
                  <a:pt x="581" y="500"/>
                </a:cubicBezTo>
                <a:cubicBezTo>
                  <a:pt x="589" y="504"/>
                  <a:pt x="600" y="506"/>
                  <a:pt x="611" y="506"/>
                </a:cubicBezTo>
                <a:cubicBezTo>
                  <a:pt x="633" y="506"/>
                  <a:pt x="658" y="500"/>
                  <a:pt x="675" y="500"/>
                </a:cubicBezTo>
                <a:cubicBezTo>
                  <a:pt x="717" y="500"/>
                  <a:pt x="743" y="474"/>
                  <a:pt x="769" y="474"/>
                </a:cubicBezTo>
                <a:cubicBezTo>
                  <a:pt x="811" y="474"/>
                  <a:pt x="837" y="529"/>
                  <a:pt x="863" y="529"/>
                </a:cubicBezTo>
                <a:cubicBezTo>
                  <a:pt x="892" y="529"/>
                  <a:pt x="931" y="487"/>
                  <a:pt x="960" y="487"/>
                </a:cubicBezTo>
                <a:cubicBezTo>
                  <a:pt x="986" y="487"/>
                  <a:pt x="986" y="513"/>
                  <a:pt x="1025" y="513"/>
                </a:cubicBezTo>
                <a:cubicBezTo>
                  <a:pt x="999" y="542"/>
                  <a:pt x="999" y="555"/>
                  <a:pt x="999" y="568"/>
                </a:cubicBezTo>
                <a:cubicBezTo>
                  <a:pt x="999" y="594"/>
                  <a:pt x="1054" y="610"/>
                  <a:pt x="1080" y="636"/>
                </a:cubicBezTo>
                <a:cubicBezTo>
                  <a:pt x="1054" y="636"/>
                  <a:pt x="999" y="636"/>
                  <a:pt x="973" y="649"/>
                </a:cubicBezTo>
                <a:cubicBezTo>
                  <a:pt x="931" y="649"/>
                  <a:pt x="905" y="623"/>
                  <a:pt x="863" y="623"/>
                </a:cubicBezTo>
                <a:cubicBezTo>
                  <a:pt x="837" y="623"/>
                  <a:pt x="811" y="636"/>
                  <a:pt x="782" y="649"/>
                </a:cubicBezTo>
                <a:cubicBezTo>
                  <a:pt x="743" y="649"/>
                  <a:pt x="717" y="691"/>
                  <a:pt x="688" y="704"/>
                </a:cubicBezTo>
                <a:cubicBezTo>
                  <a:pt x="662" y="704"/>
                  <a:pt x="620" y="691"/>
                  <a:pt x="594" y="691"/>
                </a:cubicBezTo>
                <a:cubicBezTo>
                  <a:pt x="568" y="691"/>
                  <a:pt x="539" y="730"/>
                  <a:pt x="513" y="730"/>
                </a:cubicBezTo>
                <a:cubicBezTo>
                  <a:pt x="505" y="733"/>
                  <a:pt x="497" y="734"/>
                  <a:pt x="489" y="734"/>
                </a:cubicBezTo>
                <a:cubicBezTo>
                  <a:pt x="458" y="734"/>
                  <a:pt x="427" y="717"/>
                  <a:pt x="406" y="717"/>
                </a:cubicBezTo>
                <a:cubicBezTo>
                  <a:pt x="377" y="730"/>
                  <a:pt x="364" y="785"/>
                  <a:pt x="325" y="785"/>
                </a:cubicBezTo>
                <a:cubicBezTo>
                  <a:pt x="296" y="798"/>
                  <a:pt x="270" y="811"/>
                  <a:pt x="244" y="824"/>
                </a:cubicBezTo>
                <a:cubicBezTo>
                  <a:pt x="229" y="830"/>
                  <a:pt x="212" y="830"/>
                  <a:pt x="196" y="830"/>
                </a:cubicBezTo>
                <a:cubicBezTo>
                  <a:pt x="179" y="830"/>
                  <a:pt x="163" y="830"/>
                  <a:pt x="150" y="837"/>
                </a:cubicBezTo>
                <a:cubicBezTo>
                  <a:pt x="108" y="853"/>
                  <a:pt x="69" y="853"/>
                  <a:pt x="53" y="866"/>
                </a:cubicBezTo>
                <a:cubicBezTo>
                  <a:pt x="27" y="892"/>
                  <a:pt x="1" y="947"/>
                  <a:pt x="1" y="973"/>
                </a:cubicBezTo>
                <a:cubicBezTo>
                  <a:pt x="1" y="999"/>
                  <a:pt x="40" y="1028"/>
                  <a:pt x="69" y="1054"/>
                </a:cubicBezTo>
                <a:cubicBezTo>
                  <a:pt x="75" y="1060"/>
                  <a:pt x="92" y="1060"/>
                  <a:pt x="110" y="1060"/>
                </a:cubicBezTo>
                <a:cubicBezTo>
                  <a:pt x="128" y="1060"/>
                  <a:pt x="148" y="1060"/>
                  <a:pt x="163" y="1067"/>
                </a:cubicBezTo>
                <a:cubicBezTo>
                  <a:pt x="189" y="1067"/>
                  <a:pt x="215" y="1096"/>
                  <a:pt x="244" y="1096"/>
                </a:cubicBezTo>
                <a:cubicBezTo>
                  <a:pt x="270" y="1109"/>
                  <a:pt x="296" y="1148"/>
                  <a:pt x="325" y="1161"/>
                </a:cubicBezTo>
                <a:cubicBezTo>
                  <a:pt x="342" y="1161"/>
                  <a:pt x="367" y="1155"/>
                  <a:pt x="389" y="1155"/>
                </a:cubicBezTo>
                <a:cubicBezTo>
                  <a:pt x="400" y="1155"/>
                  <a:pt x="410" y="1157"/>
                  <a:pt x="419" y="1161"/>
                </a:cubicBezTo>
                <a:cubicBezTo>
                  <a:pt x="445" y="1161"/>
                  <a:pt x="474" y="1190"/>
                  <a:pt x="500" y="1190"/>
                </a:cubicBezTo>
                <a:cubicBezTo>
                  <a:pt x="508" y="1193"/>
                  <a:pt x="515" y="1194"/>
                  <a:pt x="522" y="1194"/>
                </a:cubicBezTo>
                <a:cubicBezTo>
                  <a:pt x="550" y="1194"/>
                  <a:pt x="573" y="1177"/>
                  <a:pt x="594" y="1177"/>
                </a:cubicBezTo>
                <a:cubicBezTo>
                  <a:pt x="636" y="1190"/>
                  <a:pt x="662" y="1216"/>
                  <a:pt x="688" y="1216"/>
                </a:cubicBezTo>
                <a:lnTo>
                  <a:pt x="782" y="1216"/>
                </a:lnTo>
                <a:cubicBezTo>
                  <a:pt x="785" y="1217"/>
                  <a:pt x="788" y="1218"/>
                  <a:pt x="791" y="1218"/>
                </a:cubicBezTo>
                <a:cubicBezTo>
                  <a:pt x="817" y="1218"/>
                  <a:pt x="841" y="1177"/>
                  <a:pt x="879" y="1177"/>
                </a:cubicBezTo>
                <a:cubicBezTo>
                  <a:pt x="905" y="1177"/>
                  <a:pt x="931" y="1229"/>
                  <a:pt x="960" y="1229"/>
                </a:cubicBezTo>
                <a:cubicBezTo>
                  <a:pt x="986" y="1229"/>
                  <a:pt x="1025" y="1203"/>
                  <a:pt x="1054" y="1203"/>
                </a:cubicBezTo>
                <a:cubicBezTo>
                  <a:pt x="1080" y="1203"/>
                  <a:pt x="1122" y="1216"/>
                  <a:pt x="1161" y="1216"/>
                </a:cubicBezTo>
                <a:cubicBezTo>
                  <a:pt x="1135" y="1229"/>
                  <a:pt x="1093" y="1242"/>
                  <a:pt x="1080" y="1258"/>
                </a:cubicBezTo>
                <a:cubicBezTo>
                  <a:pt x="1054" y="1284"/>
                  <a:pt x="1041" y="1310"/>
                  <a:pt x="1041" y="1323"/>
                </a:cubicBezTo>
                <a:cubicBezTo>
                  <a:pt x="1041" y="1352"/>
                  <a:pt x="1041" y="1404"/>
                  <a:pt x="1080" y="1433"/>
                </a:cubicBezTo>
                <a:cubicBezTo>
                  <a:pt x="1082" y="1435"/>
                  <a:pt x="1084" y="1436"/>
                  <a:pt x="1088" y="1436"/>
                </a:cubicBezTo>
                <a:cubicBezTo>
                  <a:pt x="1106" y="1436"/>
                  <a:pt x="1145" y="1416"/>
                  <a:pt x="1171" y="1416"/>
                </a:cubicBezTo>
                <a:cubicBezTo>
                  <a:pt x="1177" y="1416"/>
                  <a:pt x="1182" y="1417"/>
                  <a:pt x="1187" y="1420"/>
                </a:cubicBezTo>
                <a:cubicBezTo>
                  <a:pt x="1216" y="1420"/>
                  <a:pt x="1229" y="1485"/>
                  <a:pt x="1255" y="1501"/>
                </a:cubicBezTo>
                <a:cubicBezTo>
                  <a:pt x="1284" y="1501"/>
                  <a:pt x="1323" y="1514"/>
                  <a:pt x="1349" y="1514"/>
                </a:cubicBezTo>
                <a:cubicBezTo>
                  <a:pt x="1353" y="1516"/>
                  <a:pt x="1357" y="1516"/>
                  <a:pt x="1361" y="1516"/>
                </a:cubicBezTo>
                <a:cubicBezTo>
                  <a:pt x="1388" y="1516"/>
                  <a:pt x="1421" y="1485"/>
                  <a:pt x="1446" y="1485"/>
                </a:cubicBezTo>
                <a:cubicBezTo>
                  <a:pt x="1485" y="1501"/>
                  <a:pt x="1511" y="1501"/>
                  <a:pt x="1540" y="1514"/>
                </a:cubicBezTo>
                <a:cubicBezTo>
                  <a:pt x="1566" y="1514"/>
                  <a:pt x="1592" y="1582"/>
                  <a:pt x="1621" y="1582"/>
                </a:cubicBezTo>
                <a:cubicBezTo>
                  <a:pt x="1642" y="1582"/>
                  <a:pt x="1674" y="1563"/>
                  <a:pt x="1699" y="1563"/>
                </a:cubicBezTo>
                <a:cubicBezTo>
                  <a:pt x="1705" y="1563"/>
                  <a:pt x="1710" y="1563"/>
                  <a:pt x="1715" y="1566"/>
                </a:cubicBezTo>
                <a:lnTo>
                  <a:pt x="1809" y="1566"/>
                </a:lnTo>
                <a:cubicBezTo>
                  <a:pt x="1835" y="1566"/>
                  <a:pt x="1877" y="1553"/>
                  <a:pt x="1903" y="1553"/>
                </a:cubicBezTo>
                <a:cubicBezTo>
                  <a:pt x="1932" y="1553"/>
                  <a:pt x="1958" y="1566"/>
                  <a:pt x="1997" y="1566"/>
                </a:cubicBezTo>
                <a:cubicBezTo>
                  <a:pt x="2026" y="1566"/>
                  <a:pt x="2052" y="1608"/>
                  <a:pt x="2078" y="1608"/>
                </a:cubicBezTo>
                <a:cubicBezTo>
                  <a:pt x="2120" y="1608"/>
                  <a:pt x="2146" y="1553"/>
                  <a:pt x="2175" y="1553"/>
                </a:cubicBezTo>
                <a:cubicBezTo>
                  <a:pt x="2214" y="1553"/>
                  <a:pt x="2240" y="1608"/>
                  <a:pt x="2269" y="1608"/>
                </a:cubicBezTo>
                <a:cubicBezTo>
                  <a:pt x="2295" y="1608"/>
                  <a:pt x="2337" y="1553"/>
                  <a:pt x="2363" y="1553"/>
                </a:cubicBezTo>
                <a:cubicBezTo>
                  <a:pt x="2389" y="1553"/>
                  <a:pt x="2418" y="1608"/>
                  <a:pt x="2457" y="1608"/>
                </a:cubicBezTo>
                <a:cubicBezTo>
                  <a:pt x="2483" y="1608"/>
                  <a:pt x="2512" y="1540"/>
                  <a:pt x="2538" y="1540"/>
                </a:cubicBezTo>
                <a:cubicBezTo>
                  <a:pt x="2580" y="1540"/>
                  <a:pt x="2606" y="1566"/>
                  <a:pt x="2632" y="1566"/>
                </a:cubicBezTo>
                <a:cubicBezTo>
                  <a:pt x="2674" y="1566"/>
                  <a:pt x="2700" y="1540"/>
                  <a:pt x="2726" y="1540"/>
                </a:cubicBezTo>
                <a:lnTo>
                  <a:pt x="2823" y="1540"/>
                </a:lnTo>
                <a:cubicBezTo>
                  <a:pt x="2849" y="1540"/>
                  <a:pt x="2888" y="1582"/>
                  <a:pt x="2917" y="1582"/>
                </a:cubicBezTo>
                <a:cubicBezTo>
                  <a:pt x="2943" y="1566"/>
                  <a:pt x="2969" y="1527"/>
                  <a:pt x="2998" y="1527"/>
                </a:cubicBezTo>
                <a:cubicBezTo>
                  <a:pt x="3003" y="1525"/>
                  <a:pt x="3009" y="1524"/>
                  <a:pt x="3014" y="1524"/>
                </a:cubicBezTo>
                <a:cubicBezTo>
                  <a:pt x="3045" y="1524"/>
                  <a:pt x="3070" y="1553"/>
                  <a:pt x="3092" y="1553"/>
                </a:cubicBezTo>
                <a:cubicBezTo>
                  <a:pt x="3131" y="1540"/>
                  <a:pt x="3160" y="1540"/>
                  <a:pt x="3186" y="1527"/>
                </a:cubicBezTo>
                <a:cubicBezTo>
                  <a:pt x="3212" y="1527"/>
                  <a:pt x="3254" y="1540"/>
                  <a:pt x="3280" y="1540"/>
                </a:cubicBezTo>
                <a:cubicBezTo>
                  <a:pt x="3309" y="1527"/>
                  <a:pt x="3335" y="1472"/>
                  <a:pt x="3361" y="1472"/>
                </a:cubicBezTo>
                <a:cubicBezTo>
                  <a:pt x="3403" y="1472"/>
                  <a:pt x="3429" y="1459"/>
                  <a:pt x="3455" y="1459"/>
                </a:cubicBezTo>
                <a:cubicBezTo>
                  <a:pt x="3484" y="1446"/>
                  <a:pt x="3510" y="1420"/>
                  <a:pt x="3536" y="1420"/>
                </a:cubicBezTo>
                <a:cubicBezTo>
                  <a:pt x="3557" y="1412"/>
                  <a:pt x="3574" y="1412"/>
                  <a:pt x="3589" y="1412"/>
                </a:cubicBezTo>
                <a:cubicBezTo>
                  <a:pt x="3605" y="1412"/>
                  <a:pt x="3618" y="1412"/>
                  <a:pt x="3633" y="1404"/>
                </a:cubicBezTo>
                <a:lnTo>
                  <a:pt x="3727" y="1404"/>
                </a:lnTo>
                <a:cubicBezTo>
                  <a:pt x="3753" y="1391"/>
                  <a:pt x="3766" y="1339"/>
                  <a:pt x="3795" y="1339"/>
                </a:cubicBezTo>
                <a:cubicBezTo>
                  <a:pt x="3814" y="1331"/>
                  <a:pt x="3831" y="1331"/>
                  <a:pt x="3846" y="1331"/>
                </a:cubicBezTo>
                <a:cubicBezTo>
                  <a:pt x="3861" y="1331"/>
                  <a:pt x="3874" y="1331"/>
                  <a:pt x="3889" y="1323"/>
                </a:cubicBezTo>
                <a:cubicBezTo>
                  <a:pt x="3928" y="1310"/>
                  <a:pt x="3928" y="1271"/>
                  <a:pt x="3957" y="1258"/>
                </a:cubicBezTo>
                <a:cubicBezTo>
                  <a:pt x="3983" y="1229"/>
                  <a:pt x="3996" y="1229"/>
                  <a:pt x="3996" y="1203"/>
                </a:cubicBezTo>
                <a:cubicBezTo>
                  <a:pt x="3996" y="1177"/>
                  <a:pt x="4009" y="1135"/>
                  <a:pt x="3983" y="1109"/>
                </a:cubicBezTo>
                <a:cubicBezTo>
                  <a:pt x="3970" y="1096"/>
                  <a:pt x="3941" y="1080"/>
                  <a:pt x="3915" y="1067"/>
                </a:cubicBezTo>
                <a:cubicBezTo>
                  <a:pt x="3902" y="1060"/>
                  <a:pt x="3888" y="1060"/>
                  <a:pt x="3874" y="1060"/>
                </a:cubicBezTo>
                <a:cubicBezTo>
                  <a:pt x="3861" y="1060"/>
                  <a:pt x="3847" y="1060"/>
                  <a:pt x="3834" y="1054"/>
                </a:cubicBezTo>
                <a:cubicBezTo>
                  <a:pt x="3860" y="1054"/>
                  <a:pt x="3889" y="1028"/>
                  <a:pt x="3915" y="1028"/>
                </a:cubicBezTo>
                <a:cubicBezTo>
                  <a:pt x="3941" y="1028"/>
                  <a:pt x="3970" y="1015"/>
                  <a:pt x="3996" y="1015"/>
                </a:cubicBezTo>
                <a:cubicBezTo>
                  <a:pt x="4038" y="1015"/>
                  <a:pt x="4064" y="1054"/>
                  <a:pt x="4090" y="1054"/>
                </a:cubicBezTo>
                <a:cubicBezTo>
                  <a:pt x="4132" y="1054"/>
                  <a:pt x="4158" y="1041"/>
                  <a:pt x="4184" y="1041"/>
                </a:cubicBezTo>
                <a:cubicBezTo>
                  <a:pt x="4226" y="1041"/>
                  <a:pt x="4252" y="1028"/>
                  <a:pt x="4281" y="1015"/>
                </a:cubicBezTo>
                <a:cubicBezTo>
                  <a:pt x="4307" y="1015"/>
                  <a:pt x="4333" y="986"/>
                  <a:pt x="4362" y="986"/>
                </a:cubicBezTo>
                <a:cubicBezTo>
                  <a:pt x="4365" y="985"/>
                  <a:pt x="4369" y="984"/>
                  <a:pt x="4372" y="984"/>
                </a:cubicBezTo>
                <a:cubicBezTo>
                  <a:pt x="4408" y="984"/>
                  <a:pt x="4445" y="1041"/>
                  <a:pt x="4469" y="1041"/>
                </a:cubicBezTo>
                <a:cubicBezTo>
                  <a:pt x="4495" y="1028"/>
                  <a:pt x="4524" y="999"/>
                  <a:pt x="4550" y="986"/>
                </a:cubicBezTo>
                <a:cubicBezTo>
                  <a:pt x="4570" y="986"/>
                  <a:pt x="4600" y="1004"/>
                  <a:pt x="4625" y="1004"/>
                </a:cubicBezTo>
                <a:cubicBezTo>
                  <a:pt x="4632" y="1004"/>
                  <a:pt x="4638" y="1002"/>
                  <a:pt x="4644" y="999"/>
                </a:cubicBezTo>
                <a:cubicBezTo>
                  <a:pt x="4686" y="999"/>
                  <a:pt x="4699" y="947"/>
                  <a:pt x="4725" y="947"/>
                </a:cubicBezTo>
                <a:cubicBezTo>
                  <a:pt x="4731" y="945"/>
                  <a:pt x="4737" y="944"/>
                  <a:pt x="4742" y="944"/>
                </a:cubicBezTo>
                <a:cubicBezTo>
                  <a:pt x="4769" y="944"/>
                  <a:pt x="4790" y="963"/>
                  <a:pt x="4815" y="963"/>
                </a:cubicBezTo>
                <a:cubicBezTo>
                  <a:pt x="4821" y="963"/>
                  <a:pt x="4826" y="962"/>
                  <a:pt x="4832" y="960"/>
                </a:cubicBezTo>
                <a:cubicBezTo>
                  <a:pt x="4861" y="960"/>
                  <a:pt x="4874" y="918"/>
                  <a:pt x="4913" y="905"/>
                </a:cubicBezTo>
                <a:cubicBezTo>
                  <a:pt x="4942" y="905"/>
                  <a:pt x="4968" y="892"/>
                  <a:pt x="4994" y="892"/>
                </a:cubicBezTo>
                <a:cubicBezTo>
                  <a:pt x="5003" y="888"/>
                  <a:pt x="5014" y="886"/>
                  <a:pt x="5025" y="886"/>
                </a:cubicBezTo>
                <a:cubicBezTo>
                  <a:pt x="5048" y="886"/>
                  <a:pt x="5071" y="892"/>
                  <a:pt x="5091" y="892"/>
                </a:cubicBezTo>
                <a:cubicBezTo>
                  <a:pt x="5130" y="879"/>
                  <a:pt x="5130" y="824"/>
                  <a:pt x="5156" y="811"/>
                </a:cubicBezTo>
                <a:cubicBezTo>
                  <a:pt x="5198" y="785"/>
                  <a:pt x="5198" y="756"/>
                  <a:pt x="5224" y="743"/>
                </a:cubicBezTo>
                <a:cubicBezTo>
                  <a:pt x="5253" y="717"/>
                  <a:pt x="5305" y="717"/>
                  <a:pt x="5305" y="691"/>
                </a:cubicBezTo>
                <a:cubicBezTo>
                  <a:pt x="5305" y="662"/>
                  <a:pt x="5266" y="649"/>
                  <a:pt x="5224" y="623"/>
                </a:cubicBezTo>
                <a:cubicBezTo>
                  <a:pt x="5211" y="610"/>
                  <a:pt x="5156" y="594"/>
                  <a:pt x="5130" y="581"/>
                </a:cubicBezTo>
                <a:cubicBezTo>
                  <a:pt x="5156" y="568"/>
                  <a:pt x="5211" y="568"/>
                  <a:pt x="5237" y="568"/>
                </a:cubicBezTo>
                <a:cubicBezTo>
                  <a:pt x="5266" y="568"/>
                  <a:pt x="5292" y="513"/>
                  <a:pt x="5318" y="513"/>
                </a:cubicBezTo>
                <a:cubicBezTo>
                  <a:pt x="5347" y="513"/>
                  <a:pt x="5373" y="529"/>
                  <a:pt x="5399" y="529"/>
                </a:cubicBezTo>
                <a:cubicBezTo>
                  <a:pt x="5441" y="513"/>
                  <a:pt x="5454" y="500"/>
                  <a:pt x="5480" y="487"/>
                </a:cubicBezTo>
                <a:cubicBezTo>
                  <a:pt x="5509" y="487"/>
                  <a:pt x="5535" y="474"/>
                  <a:pt x="5561" y="474"/>
                </a:cubicBezTo>
                <a:cubicBezTo>
                  <a:pt x="5575" y="470"/>
                  <a:pt x="5588" y="468"/>
                  <a:pt x="5601" y="468"/>
                </a:cubicBezTo>
                <a:cubicBezTo>
                  <a:pt x="5626" y="468"/>
                  <a:pt x="5647" y="474"/>
                  <a:pt x="5658" y="474"/>
                </a:cubicBezTo>
                <a:cubicBezTo>
                  <a:pt x="5697" y="461"/>
                  <a:pt x="5723" y="432"/>
                  <a:pt x="5739" y="419"/>
                </a:cubicBezTo>
                <a:cubicBezTo>
                  <a:pt x="5765" y="406"/>
                  <a:pt x="5804" y="351"/>
                  <a:pt x="5804" y="338"/>
                </a:cubicBezTo>
                <a:cubicBezTo>
                  <a:pt x="5804" y="312"/>
                  <a:pt x="5765" y="270"/>
                  <a:pt x="5723" y="244"/>
                </a:cubicBezTo>
                <a:cubicBezTo>
                  <a:pt x="5716" y="237"/>
                  <a:pt x="5703" y="237"/>
                  <a:pt x="5687" y="237"/>
                </a:cubicBezTo>
                <a:cubicBezTo>
                  <a:pt x="5670" y="237"/>
                  <a:pt x="5650" y="237"/>
                  <a:pt x="5629" y="231"/>
                </a:cubicBezTo>
                <a:cubicBezTo>
                  <a:pt x="5603" y="231"/>
                  <a:pt x="5577" y="244"/>
                  <a:pt x="5548" y="244"/>
                </a:cubicBezTo>
                <a:cubicBezTo>
                  <a:pt x="5522" y="231"/>
                  <a:pt x="5496" y="205"/>
                  <a:pt x="5467" y="205"/>
                </a:cubicBezTo>
                <a:cubicBezTo>
                  <a:pt x="5428" y="189"/>
                  <a:pt x="5415" y="150"/>
                  <a:pt x="5373" y="150"/>
                </a:cubicBezTo>
                <a:cubicBezTo>
                  <a:pt x="5347" y="150"/>
                  <a:pt x="5318" y="176"/>
                  <a:pt x="5292" y="176"/>
                </a:cubicBezTo>
                <a:cubicBezTo>
                  <a:pt x="5266" y="176"/>
                  <a:pt x="5244" y="182"/>
                  <a:pt x="5225" y="182"/>
                </a:cubicBezTo>
                <a:cubicBezTo>
                  <a:pt x="5215" y="182"/>
                  <a:pt x="5206" y="180"/>
                  <a:pt x="5198" y="176"/>
                </a:cubicBezTo>
                <a:lnTo>
                  <a:pt x="5104" y="176"/>
                </a:lnTo>
                <a:cubicBezTo>
                  <a:pt x="5075" y="176"/>
                  <a:pt x="5049" y="137"/>
                  <a:pt x="5023" y="137"/>
                </a:cubicBezTo>
                <a:cubicBezTo>
                  <a:pt x="4994" y="137"/>
                  <a:pt x="4955" y="163"/>
                  <a:pt x="4929" y="163"/>
                </a:cubicBezTo>
                <a:cubicBezTo>
                  <a:pt x="4900" y="163"/>
                  <a:pt x="4874" y="176"/>
                  <a:pt x="4848" y="176"/>
                </a:cubicBezTo>
                <a:cubicBezTo>
                  <a:pt x="4806" y="176"/>
                  <a:pt x="4780" y="124"/>
                  <a:pt x="4751" y="124"/>
                </a:cubicBezTo>
                <a:cubicBezTo>
                  <a:pt x="4725" y="124"/>
                  <a:pt x="4686" y="137"/>
                  <a:pt x="4657" y="137"/>
                </a:cubicBezTo>
                <a:cubicBezTo>
                  <a:pt x="4631" y="150"/>
                  <a:pt x="4605" y="163"/>
                  <a:pt x="4576" y="163"/>
                </a:cubicBezTo>
                <a:cubicBezTo>
                  <a:pt x="4568" y="166"/>
                  <a:pt x="4561" y="167"/>
                  <a:pt x="4554" y="167"/>
                </a:cubicBezTo>
                <a:cubicBezTo>
                  <a:pt x="4525" y="167"/>
                  <a:pt x="4503" y="150"/>
                  <a:pt x="4482" y="150"/>
                </a:cubicBezTo>
                <a:cubicBezTo>
                  <a:pt x="4456" y="150"/>
                  <a:pt x="4427" y="163"/>
                  <a:pt x="4388" y="163"/>
                </a:cubicBezTo>
                <a:cubicBezTo>
                  <a:pt x="4362" y="176"/>
                  <a:pt x="4333" y="205"/>
                  <a:pt x="4307" y="218"/>
                </a:cubicBezTo>
                <a:cubicBezTo>
                  <a:pt x="4281" y="218"/>
                  <a:pt x="4239" y="163"/>
                  <a:pt x="4213" y="163"/>
                </a:cubicBezTo>
                <a:cubicBezTo>
                  <a:pt x="4184" y="163"/>
                  <a:pt x="4158" y="189"/>
                  <a:pt x="4132" y="205"/>
                </a:cubicBezTo>
                <a:cubicBezTo>
                  <a:pt x="4090" y="205"/>
                  <a:pt x="4077" y="244"/>
                  <a:pt x="4051" y="244"/>
                </a:cubicBezTo>
                <a:cubicBezTo>
                  <a:pt x="4042" y="247"/>
                  <a:pt x="4035" y="248"/>
                  <a:pt x="4027" y="248"/>
                </a:cubicBezTo>
                <a:cubicBezTo>
                  <a:pt x="3998" y="248"/>
                  <a:pt x="3978" y="231"/>
                  <a:pt x="3957" y="231"/>
                </a:cubicBezTo>
                <a:cubicBezTo>
                  <a:pt x="3915" y="231"/>
                  <a:pt x="3902" y="286"/>
                  <a:pt x="3876" y="299"/>
                </a:cubicBezTo>
                <a:cubicBezTo>
                  <a:pt x="3847" y="299"/>
                  <a:pt x="3795" y="257"/>
                  <a:pt x="3779" y="257"/>
                </a:cubicBezTo>
                <a:cubicBezTo>
                  <a:pt x="3740" y="270"/>
                  <a:pt x="3714" y="299"/>
                  <a:pt x="3698" y="312"/>
                </a:cubicBezTo>
                <a:cubicBezTo>
                  <a:pt x="3659" y="325"/>
                  <a:pt x="3646" y="351"/>
                  <a:pt x="3617" y="367"/>
                </a:cubicBezTo>
                <a:cubicBezTo>
                  <a:pt x="3591" y="380"/>
                  <a:pt x="3604" y="406"/>
                  <a:pt x="3604" y="432"/>
                </a:cubicBezTo>
                <a:cubicBezTo>
                  <a:pt x="3604" y="448"/>
                  <a:pt x="3591" y="474"/>
                  <a:pt x="3591" y="487"/>
                </a:cubicBezTo>
                <a:cubicBezTo>
                  <a:pt x="3565" y="487"/>
                  <a:pt x="3510" y="432"/>
                  <a:pt x="3484" y="432"/>
                </a:cubicBezTo>
                <a:cubicBezTo>
                  <a:pt x="3455" y="432"/>
                  <a:pt x="3429" y="500"/>
                  <a:pt x="3403" y="513"/>
                </a:cubicBezTo>
                <a:cubicBezTo>
                  <a:pt x="3361" y="513"/>
                  <a:pt x="3335" y="474"/>
                  <a:pt x="3293" y="474"/>
                </a:cubicBezTo>
                <a:lnTo>
                  <a:pt x="3212" y="474"/>
                </a:lnTo>
                <a:cubicBezTo>
                  <a:pt x="3212" y="448"/>
                  <a:pt x="3173" y="461"/>
                  <a:pt x="3131" y="432"/>
                </a:cubicBezTo>
                <a:cubicBezTo>
                  <a:pt x="3118" y="419"/>
                  <a:pt x="3092" y="406"/>
                  <a:pt x="3066" y="393"/>
                </a:cubicBezTo>
                <a:cubicBezTo>
                  <a:pt x="3037" y="393"/>
                  <a:pt x="3011" y="338"/>
                  <a:pt x="2985" y="338"/>
                </a:cubicBezTo>
                <a:cubicBezTo>
                  <a:pt x="2956" y="325"/>
                  <a:pt x="2917" y="325"/>
                  <a:pt x="2888" y="325"/>
                </a:cubicBezTo>
                <a:lnTo>
                  <a:pt x="2794" y="325"/>
                </a:lnTo>
                <a:cubicBezTo>
                  <a:pt x="2768" y="325"/>
                  <a:pt x="2742" y="270"/>
                  <a:pt x="2700" y="270"/>
                </a:cubicBezTo>
                <a:cubicBezTo>
                  <a:pt x="2674" y="270"/>
                  <a:pt x="2645" y="286"/>
                  <a:pt x="2606" y="286"/>
                </a:cubicBezTo>
                <a:cubicBezTo>
                  <a:pt x="2580" y="286"/>
                  <a:pt x="2538" y="325"/>
                  <a:pt x="2512" y="325"/>
                </a:cubicBezTo>
                <a:cubicBezTo>
                  <a:pt x="2483" y="312"/>
                  <a:pt x="2457" y="286"/>
                  <a:pt x="2418" y="286"/>
                </a:cubicBezTo>
                <a:cubicBezTo>
                  <a:pt x="2389" y="286"/>
                  <a:pt x="2363" y="299"/>
                  <a:pt x="2321" y="299"/>
                </a:cubicBezTo>
                <a:cubicBezTo>
                  <a:pt x="2295" y="299"/>
                  <a:pt x="2282" y="286"/>
                  <a:pt x="2256" y="286"/>
                </a:cubicBezTo>
                <a:cubicBezTo>
                  <a:pt x="2282" y="257"/>
                  <a:pt x="2282" y="244"/>
                  <a:pt x="2282" y="231"/>
                </a:cubicBezTo>
                <a:cubicBezTo>
                  <a:pt x="2282" y="205"/>
                  <a:pt x="2240" y="205"/>
                  <a:pt x="2201" y="176"/>
                </a:cubicBezTo>
                <a:cubicBezTo>
                  <a:pt x="2188" y="163"/>
                  <a:pt x="2159" y="163"/>
                  <a:pt x="2120" y="150"/>
                </a:cubicBezTo>
                <a:cubicBezTo>
                  <a:pt x="2107" y="150"/>
                  <a:pt x="2094" y="69"/>
                  <a:pt x="2052" y="69"/>
                </a:cubicBezTo>
                <a:cubicBezTo>
                  <a:pt x="2048" y="67"/>
                  <a:pt x="2044" y="66"/>
                  <a:pt x="2040" y="66"/>
                </a:cubicBezTo>
                <a:cubicBezTo>
                  <a:pt x="2014" y="66"/>
                  <a:pt x="1980" y="95"/>
                  <a:pt x="1958" y="95"/>
                </a:cubicBezTo>
                <a:cubicBezTo>
                  <a:pt x="1952" y="92"/>
                  <a:pt x="1947" y="91"/>
                  <a:pt x="1941" y="91"/>
                </a:cubicBezTo>
                <a:cubicBezTo>
                  <a:pt x="1925" y="91"/>
                  <a:pt x="1908" y="99"/>
                  <a:pt x="1887" y="99"/>
                </a:cubicBezTo>
                <a:cubicBezTo>
                  <a:pt x="1880" y="99"/>
                  <a:pt x="1872" y="98"/>
                  <a:pt x="1864" y="95"/>
                </a:cubicBezTo>
                <a:cubicBezTo>
                  <a:pt x="1835" y="95"/>
                  <a:pt x="1822" y="43"/>
                  <a:pt x="1783" y="27"/>
                </a:cubicBezTo>
                <a:cubicBezTo>
                  <a:pt x="1754" y="27"/>
                  <a:pt x="1728" y="82"/>
                  <a:pt x="1689" y="82"/>
                </a:cubicBezTo>
                <a:cubicBezTo>
                  <a:pt x="1660" y="82"/>
                  <a:pt x="1634" y="43"/>
                  <a:pt x="1608" y="43"/>
                </a:cubicBezTo>
                <a:cubicBezTo>
                  <a:pt x="1579" y="43"/>
                  <a:pt x="1553" y="69"/>
                  <a:pt x="1511" y="69"/>
                </a:cubicBezTo>
                <a:cubicBezTo>
                  <a:pt x="1485" y="69"/>
                  <a:pt x="1459" y="1"/>
                  <a:pt x="143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6" name="Google Shape;626;p26"/>
          <p:cNvSpPr/>
          <p:nvPr/>
        </p:nvSpPr>
        <p:spPr>
          <a:xfrm>
            <a:off x="1529953" y="5941565"/>
            <a:ext cx="564468" cy="79905"/>
          </a:xfrm>
          <a:custGeom>
            <a:avLst/>
            <a:gdLst/>
            <a:ahLst/>
            <a:cxnLst/>
            <a:rect l="l" t="t" r="r" b="b"/>
            <a:pathLst>
              <a:path w="2282" h="525" extrusionOk="0">
                <a:moveTo>
                  <a:pt x="973" y="0"/>
                </a:moveTo>
                <a:cubicBezTo>
                  <a:pt x="944" y="0"/>
                  <a:pt x="918" y="13"/>
                  <a:pt x="876" y="13"/>
                </a:cubicBezTo>
                <a:lnTo>
                  <a:pt x="795" y="13"/>
                </a:lnTo>
                <a:cubicBezTo>
                  <a:pt x="756" y="13"/>
                  <a:pt x="730" y="39"/>
                  <a:pt x="701" y="39"/>
                </a:cubicBezTo>
                <a:cubicBezTo>
                  <a:pt x="675" y="39"/>
                  <a:pt x="649" y="26"/>
                  <a:pt x="607" y="26"/>
                </a:cubicBezTo>
                <a:cubicBezTo>
                  <a:pt x="581" y="26"/>
                  <a:pt x="552" y="68"/>
                  <a:pt x="526" y="68"/>
                </a:cubicBezTo>
                <a:cubicBezTo>
                  <a:pt x="524" y="69"/>
                  <a:pt x="521" y="70"/>
                  <a:pt x="519" y="70"/>
                </a:cubicBezTo>
                <a:cubicBezTo>
                  <a:pt x="495" y="70"/>
                  <a:pt x="463" y="24"/>
                  <a:pt x="439" y="24"/>
                </a:cubicBezTo>
                <a:cubicBezTo>
                  <a:pt x="437" y="24"/>
                  <a:pt x="434" y="25"/>
                  <a:pt x="432" y="26"/>
                </a:cubicBezTo>
                <a:cubicBezTo>
                  <a:pt x="406" y="26"/>
                  <a:pt x="364" y="26"/>
                  <a:pt x="338" y="39"/>
                </a:cubicBezTo>
                <a:cubicBezTo>
                  <a:pt x="309" y="39"/>
                  <a:pt x="296" y="107"/>
                  <a:pt x="270" y="120"/>
                </a:cubicBezTo>
                <a:cubicBezTo>
                  <a:pt x="242" y="120"/>
                  <a:pt x="221" y="114"/>
                  <a:pt x="202" y="114"/>
                </a:cubicBezTo>
                <a:cubicBezTo>
                  <a:pt x="193" y="114"/>
                  <a:pt x="185" y="116"/>
                  <a:pt x="176" y="120"/>
                </a:cubicBezTo>
                <a:cubicBezTo>
                  <a:pt x="148" y="120"/>
                  <a:pt x="121" y="114"/>
                  <a:pt x="103" y="114"/>
                </a:cubicBezTo>
                <a:cubicBezTo>
                  <a:pt x="93" y="114"/>
                  <a:pt x="86" y="116"/>
                  <a:pt x="82" y="120"/>
                </a:cubicBezTo>
                <a:cubicBezTo>
                  <a:pt x="40" y="149"/>
                  <a:pt x="1" y="188"/>
                  <a:pt x="1" y="214"/>
                </a:cubicBezTo>
                <a:cubicBezTo>
                  <a:pt x="1" y="243"/>
                  <a:pt x="53" y="256"/>
                  <a:pt x="95" y="282"/>
                </a:cubicBezTo>
                <a:cubicBezTo>
                  <a:pt x="108" y="295"/>
                  <a:pt x="121" y="337"/>
                  <a:pt x="147" y="350"/>
                </a:cubicBezTo>
                <a:cubicBezTo>
                  <a:pt x="176" y="363"/>
                  <a:pt x="202" y="376"/>
                  <a:pt x="244" y="392"/>
                </a:cubicBezTo>
                <a:cubicBezTo>
                  <a:pt x="265" y="392"/>
                  <a:pt x="295" y="373"/>
                  <a:pt x="321" y="373"/>
                </a:cubicBezTo>
                <a:cubicBezTo>
                  <a:pt x="327" y="373"/>
                  <a:pt x="333" y="373"/>
                  <a:pt x="338" y="376"/>
                </a:cubicBezTo>
                <a:cubicBezTo>
                  <a:pt x="364" y="376"/>
                  <a:pt x="390" y="392"/>
                  <a:pt x="419" y="392"/>
                </a:cubicBezTo>
                <a:cubicBezTo>
                  <a:pt x="424" y="395"/>
                  <a:pt x="429" y="395"/>
                  <a:pt x="435" y="395"/>
                </a:cubicBezTo>
                <a:cubicBezTo>
                  <a:pt x="453" y="395"/>
                  <a:pt x="475" y="387"/>
                  <a:pt x="493" y="387"/>
                </a:cubicBezTo>
                <a:cubicBezTo>
                  <a:pt x="500" y="387"/>
                  <a:pt x="507" y="388"/>
                  <a:pt x="513" y="392"/>
                </a:cubicBezTo>
                <a:cubicBezTo>
                  <a:pt x="539" y="392"/>
                  <a:pt x="568" y="405"/>
                  <a:pt x="607" y="418"/>
                </a:cubicBezTo>
                <a:cubicBezTo>
                  <a:pt x="633" y="418"/>
                  <a:pt x="662" y="431"/>
                  <a:pt x="688" y="431"/>
                </a:cubicBezTo>
                <a:cubicBezTo>
                  <a:pt x="705" y="431"/>
                  <a:pt x="724" y="425"/>
                  <a:pt x="746" y="425"/>
                </a:cubicBezTo>
                <a:cubicBezTo>
                  <a:pt x="757" y="425"/>
                  <a:pt x="769" y="427"/>
                  <a:pt x="782" y="431"/>
                </a:cubicBezTo>
                <a:cubicBezTo>
                  <a:pt x="811" y="431"/>
                  <a:pt x="837" y="499"/>
                  <a:pt x="863" y="512"/>
                </a:cubicBezTo>
                <a:lnTo>
                  <a:pt x="944" y="512"/>
                </a:lnTo>
                <a:cubicBezTo>
                  <a:pt x="986" y="512"/>
                  <a:pt x="1012" y="486"/>
                  <a:pt x="1038" y="486"/>
                </a:cubicBezTo>
                <a:lnTo>
                  <a:pt x="1135" y="486"/>
                </a:lnTo>
                <a:cubicBezTo>
                  <a:pt x="1161" y="486"/>
                  <a:pt x="1187" y="457"/>
                  <a:pt x="1229" y="457"/>
                </a:cubicBezTo>
                <a:cubicBezTo>
                  <a:pt x="1255" y="457"/>
                  <a:pt x="1281" y="525"/>
                  <a:pt x="1310" y="525"/>
                </a:cubicBezTo>
                <a:cubicBezTo>
                  <a:pt x="1349" y="525"/>
                  <a:pt x="1378" y="512"/>
                  <a:pt x="1404" y="512"/>
                </a:cubicBezTo>
                <a:lnTo>
                  <a:pt x="1498" y="512"/>
                </a:lnTo>
                <a:cubicBezTo>
                  <a:pt x="1524" y="499"/>
                  <a:pt x="1553" y="486"/>
                  <a:pt x="1579" y="486"/>
                </a:cubicBezTo>
                <a:cubicBezTo>
                  <a:pt x="1605" y="486"/>
                  <a:pt x="1647" y="473"/>
                  <a:pt x="1673" y="473"/>
                </a:cubicBezTo>
                <a:cubicBezTo>
                  <a:pt x="1702" y="473"/>
                  <a:pt x="1728" y="457"/>
                  <a:pt x="1754" y="457"/>
                </a:cubicBezTo>
                <a:cubicBezTo>
                  <a:pt x="1796" y="457"/>
                  <a:pt x="1822" y="444"/>
                  <a:pt x="1848" y="444"/>
                </a:cubicBezTo>
                <a:cubicBezTo>
                  <a:pt x="1877" y="431"/>
                  <a:pt x="1903" y="418"/>
                  <a:pt x="1929" y="418"/>
                </a:cubicBezTo>
                <a:cubicBezTo>
                  <a:pt x="1932" y="417"/>
                  <a:pt x="1935" y="416"/>
                  <a:pt x="1939" y="416"/>
                </a:cubicBezTo>
                <a:cubicBezTo>
                  <a:pt x="1963" y="416"/>
                  <a:pt x="1992" y="446"/>
                  <a:pt x="2016" y="446"/>
                </a:cubicBezTo>
                <a:cubicBezTo>
                  <a:pt x="2019" y="446"/>
                  <a:pt x="2023" y="445"/>
                  <a:pt x="2026" y="444"/>
                </a:cubicBezTo>
                <a:lnTo>
                  <a:pt x="2120" y="444"/>
                </a:lnTo>
                <a:cubicBezTo>
                  <a:pt x="2159" y="431"/>
                  <a:pt x="2172" y="376"/>
                  <a:pt x="2188" y="363"/>
                </a:cubicBezTo>
                <a:cubicBezTo>
                  <a:pt x="2227" y="350"/>
                  <a:pt x="2282" y="337"/>
                  <a:pt x="2282" y="311"/>
                </a:cubicBezTo>
                <a:cubicBezTo>
                  <a:pt x="2282" y="282"/>
                  <a:pt x="2227" y="256"/>
                  <a:pt x="2201" y="243"/>
                </a:cubicBezTo>
                <a:cubicBezTo>
                  <a:pt x="2188" y="230"/>
                  <a:pt x="2146" y="214"/>
                  <a:pt x="2120" y="201"/>
                </a:cubicBezTo>
                <a:cubicBezTo>
                  <a:pt x="2091" y="188"/>
                  <a:pt x="2065" y="188"/>
                  <a:pt x="2039" y="175"/>
                </a:cubicBezTo>
                <a:cubicBezTo>
                  <a:pt x="2029" y="171"/>
                  <a:pt x="2018" y="169"/>
                  <a:pt x="2007" y="169"/>
                </a:cubicBezTo>
                <a:cubicBezTo>
                  <a:pt x="1985" y="169"/>
                  <a:pt x="1962" y="175"/>
                  <a:pt x="1945" y="175"/>
                </a:cubicBezTo>
                <a:cubicBezTo>
                  <a:pt x="1916" y="162"/>
                  <a:pt x="1903" y="120"/>
                  <a:pt x="1864" y="107"/>
                </a:cubicBezTo>
                <a:cubicBezTo>
                  <a:pt x="1835" y="107"/>
                  <a:pt x="1809" y="107"/>
                  <a:pt x="1783" y="94"/>
                </a:cubicBezTo>
                <a:cubicBezTo>
                  <a:pt x="1754" y="94"/>
                  <a:pt x="1728" y="52"/>
                  <a:pt x="1686" y="52"/>
                </a:cubicBezTo>
                <a:lnTo>
                  <a:pt x="1605" y="52"/>
                </a:lnTo>
                <a:cubicBezTo>
                  <a:pt x="1579" y="52"/>
                  <a:pt x="1540" y="94"/>
                  <a:pt x="1511" y="94"/>
                </a:cubicBezTo>
                <a:cubicBezTo>
                  <a:pt x="1472" y="94"/>
                  <a:pt x="1459" y="52"/>
                  <a:pt x="1417" y="52"/>
                </a:cubicBezTo>
                <a:cubicBezTo>
                  <a:pt x="1391" y="52"/>
                  <a:pt x="1362" y="52"/>
                  <a:pt x="1336" y="39"/>
                </a:cubicBezTo>
                <a:cubicBezTo>
                  <a:pt x="1297" y="39"/>
                  <a:pt x="1268" y="68"/>
                  <a:pt x="1242" y="68"/>
                </a:cubicBezTo>
                <a:cubicBezTo>
                  <a:pt x="1216" y="68"/>
                  <a:pt x="1187" y="26"/>
                  <a:pt x="1148" y="13"/>
                </a:cubicBezTo>
                <a:cubicBezTo>
                  <a:pt x="1119" y="13"/>
                  <a:pt x="1093" y="0"/>
                  <a:pt x="1067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7" name="Google Shape;627;p26"/>
          <p:cNvSpPr/>
          <p:nvPr/>
        </p:nvSpPr>
        <p:spPr>
          <a:xfrm>
            <a:off x="1465273" y="6086372"/>
            <a:ext cx="1129431" cy="170771"/>
          </a:xfrm>
          <a:custGeom>
            <a:avLst/>
            <a:gdLst/>
            <a:ahLst/>
            <a:cxnLst/>
            <a:rect l="l" t="t" r="r" b="b"/>
            <a:pathLst>
              <a:path w="4566" h="1122" extrusionOk="0">
                <a:moveTo>
                  <a:pt x="2201" y="1"/>
                </a:moveTo>
                <a:cubicBezTo>
                  <a:pt x="2162" y="1"/>
                  <a:pt x="2120" y="17"/>
                  <a:pt x="2081" y="17"/>
                </a:cubicBezTo>
                <a:cubicBezTo>
                  <a:pt x="2039" y="17"/>
                  <a:pt x="2013" y="111"/>
                  <a:pt x="1974" y="111"/>
                </a:cubicBezTo>
                <a:cubicBezTo>
                  <a:pt x="1965" y="114"/>
                  <a:pt x="1956" y="115"/>
                  <a:pt x="1948" y="115"/>
                </a:cubicBezTo>
                <a:cubicBezTo>
                  <a:pt x="1924" y="115"/>
                  <a:pt x="1903" y="107"/>
                  <a:pt x="1883" y="107"/>
                </a:cubicBezTo>
                <a:cubicBezTo>
                  <a:pt x="1877" y="107"/>
                  <a:pt x="1870" y="108"/>
                  <a:pt x="1864" y="111"/>
                </a:cubicBezTo>
                <a:cubicBezTo>
                  <a:pt x="1853" y="114"/>
                  <a:pt x="1842" y="115"/>
                  <a:pt x="1831" y="115"/>
                </a:cubicBezTo>
                <a:cubicBezTo>
                  <a:pt x="1801" y="115"/>
                  <a:pt x="1772" y="107"/>
                  <a:pt x="1751" y="107"/>
                </a:cubicBezTo>
                <a:cubicBezTo>
                  <a:pt x="1743" y="107"/>
                  <a:pt x="1736" y="108"/>
                  <a:pt x="1731" y="111"/>
                </a:cubicBezTo>
                <a:cubicBezTo>
                  <a:pt x="1689" y="137"/>
                  <a:pt x="1634" y="192"/>
                  <a:pt x="1634" y="218"/>
                </a:cubicBezTo>
                <a:cubicBezTo>
                  <a:pt x="1621" y="260"/>
                  <a:pt x="1702" y="286"/>
                  <a:pt x="1744" y="312"/>
                </a:cubicBezTo>
                <a:cubicBezTo>
                  <a:pt x="1744" y="325"/>
                  <a:pt x="1757" y="341"/>
                  <a:pt x="1770" y="354"/>
                </a:cubicBezTo>
                <a:lnTo>
                  <a:pt x="1744" y="354"/>
                </a:lnTo>
                <a:cubicBezTo>
                  <a:pt x="1702" y="354"/>
                  <a:pt x="1650" y="325"/>
                  <a:pt x="1595" y="325"/>
                </a:cubicBezTo>
                <a:lnTo>
                  <a:pt x="1446" y="325"/>
                </a:lnTo>
                <a:cubicBezTo>
                  <a:pt x="1407" y="325"/>
                  <a:pt x="1352" y="393"/>
                  <a:pt x="1310" y="393"/>
                </a:cubicBezTo>
                <a:cubicBezTo>
                  <a:pt x="1261" y="393"/>
                  <a:pt x="1210" y="311"/>
                  <a:pt x="1158" y="311"/>
                </a:cubicBezTo>
                <a:cubicBezTo>
                  <a:pt x="1155" y="311"/>
                  <a:pt x="1151" y="311"/>
                  <a:pt x="1148" y="312"/>
                </a:cubicBezTo>
                <a:cubicBezTo>
                  <a:pt x="1113" y="312"/>
                  <a:pt x="1077" y="306"/>
                  <a:pt x="1045" y="306"/>
                </a:cubicBezTo>
                <a:cubicBezTo>
                  <a:pt x="1030" y="306"/>
                  <a:pt x="1015" y="308"/>
                  <a:pt x="1002" y="312"/>
                </a:cubicBezTo>
                <a:cubicBezTo>
                  <a:pt x="947" y="312"/>
                  <a:pt x="905" y="367"/>
                  <a:pt x="853" y="380"/>
                </a:cubicBezTo>
                <a:cubicBezTo>
                  <a:pt x="798" y="380"/>
                  <a:pt x="759" y="380"/>
                  <a:pt x="704" y="393"/>
                </a:cubicBezTo>
                <a:cubicBezTo>
                  <a:pt x="649" y="393"/>
                  <a:pt x="623" y="461"/>
                  <a:pt x="568" y="474"/>
                </a:cubicBezTo>
                <a:cubicBezTo>
                  <a:pt x="557" y="477"/>
                  <a:pt x="546" y="478"/>
                  <a:pt x="535" y="478"/>
                </a:cubicBezTo>
                <a:cubicBezTo>
                  <a:pt x="504" y="478"/>
                  <a:pt x="474" y="470"/>
                  <a:pt x="447" y="470"/>
                </a:cubicBezTo>
                <a:cubicBezTo>
                  <a:pt x="437" y="470"/>
                  <a:pt x="428" y="471"/>
                  <a:pt x="419" y="474"/>
                </a:cubicBezTo>
                <a:cubicBezTo>
                  <a:pt x="367" y="487"/>
                  <a:pt x="325" y="503"/>
                  <a:pt x="273" y="516"/>
                </a:cubicBezTo>
                <a:cubicBezTo>
                  <a:pt x="218" y="542"/>
                  <a:pt x="176" y="555"/>
                  <a:pt x="137" y="568"/>
                </a:cubicBezTo>
                <a:cubicBezTo>
                  <a:pt x="82" y="610"/>
                  <a:pt x="1" y="649"/>
                  <a:pt x="1" y="691"/>
                </a:cubicBezTo>
                <a:cubicBezTo>
                  <a:pt x="1" y="730"/>
                  <a:pt x="95" y="746"/>
                  <a:pt x="150" y="785"/>
                </a:cubicBezTo>
                <a:cubicBezTo>
                  <a:pt x="176" y="811"/>
                  <a:pt x="205" y="892"/>
                  <a:pt x="257" y="921"/>
                </a:cubicBezTo>
                <a:cubicBezTo>
                  <a:pt x="278" y="927"/>
                  <a:pt x="302" y="927"/>
                  <a:pt x="328" y="927"/>
                </a:cubicBezTo>
                <a:cubicBezTo>
                  <a:pt x="353" y="927"/>
                  <a:pt x="380" y="927"/>
                  <a:pt x="406" y="934"/>
                </a:cubicBezTo>
                <a:cubicBezTo>
                  <a:pt x="409" y="935"/>
                  <a:pt x="413" y="936"/>
                  <a:pt x="417" y="936"/>
                </a:cubicBezTo>
                <a:cubicBezTo>
                  <a:pt x="456" y="936"/>
                  <a:pt x="509" y="890"/>
                  <a:pt x="554" y="890"/>
                </a:cubicBezTo>
                <a:cubicBezTo>
                  <a:pt x="559" y="890"/>
                  <a:pt x="563" y="891"/>
                  <a:pt x="568" y="892"/>
                </a:cubicBezTo>
                <a:cubicBezTo>
                  <a:pt x="623" y="892"/>
                  <a:pt x="662" y="921"/>
                  <a:pt x="717" y="934"/>
                </a:cubicBezTo>
                <a:cubicBezTo>
                  <a:pt x="759" y="947"/>
                  <a:pt x="811" y="960"/>
                  <a:pt x="853" y="973"/>
                </a:cubicBezTo>
                <a:cubicBezTo>
                  <a:pt x="905" y="973"/>
                  <a:pt x="947" y="989"/>
                  <a:pt x="1002" y="1002"/>
                </a:cubicBezTo>
                <a:cubicBezTo>
                  <a:pt x="1054" y="1002"/>
                  <a:pt x="1096" y="1028"/>
                  <a:pt x="1148" y="1028"/>
                </a:cubicBezTo>
                <a:cubicBezTo>
                  <a:pt x="1203" y="1041"/>
                  <a:pt x="1245" y="1070"/>
                  <a:pt x="1297" y="1070"/>
                </a:cubicBezTo>
                <a:cubicBezTo>
                  <a:pt x="1339" y="1083"/>
                  <a:pt x="1391" y="1083"/>
                  <a:pt x="1446" y="1083"/>
                </a:cubicBezTo>
                <a:cubicBezTo>
                  <a:pt x="1488" y="1096"/>
                  <a:pt x="1540" y="1122"/>
                  <a:pt x="1595" y="1122"/>
                </a:cubicBezTo>
                <a:cubicBezTo>
                  <a:pt x="1634" y="1122"/>
                  <a:pt x="1689" y="1015"/>
                  <a:pt x="1744" y="1015"/>
                </a:cubicBezTo>
                <a:cubicBezTo>
                  <a:pt x="1796" y="1015"/>
                  <a:pt x="1838" y="1070"/>
                  <a:pt x="1893" y="1070"/>
                </a:cubicBezTo>
                <a:cubicBezTo>
                  <a:pt x="1945" y="1070"/>
                  <a:pt x="2000" y="1083"/>
                  <a:pt x="2039" y="1083"/>
                </a:cubicBezTo>
                <a:cubicBezTo>
                  <a:pt x="2094" y="1083"/>
                  <a:pt x="2149" y="1122"/>
                  <a:pt x="2188" y="1122"/>
                </a:cubicBezTo>
                <a:lnTo>
                  <a:pt x="2337" y="1122"/>
                </a:lnTo>
                <a:cubicBezTo>
                  <a:pt x="2392" y="1122"/>
                  <a:pt x="2431" y="1002"/>
                  <a:pt x="2486" y="1002"/>
                </a:cubicBezTo>
                <a:cubicBezTo>
                  <a:pt x="2541" y="1002"/>
                  <a:pt x="2593" y="1015"/>
                  <a:pt x="2635" y="1015"/>
                </a:cubicBezTo>
                <a:cubicBezTo>
                  <a:pt x="2687" y="1015"/>
                  <a:pt x="2729" y="1002"/>
                  <a:pt x="2784" y="989"/>
                </a:cubicBezTo>
                <a:cubicBezTo>
                  <a:pt x="2836" y="989"/>
                  <a:pt x="2878" y="960"/>
                  <a:pt x="2930" y="960"/>
                </a:cubicBezTo>
                <a:cubicBezTo>
                  <a:pt x="2941" y="957"/>
                  <a:pt x="2951" y="956"/>
                  <a:pt x="2961" y="956"/>
                </a:cubicBezTo>
                <a:cubicBezTo>
                  <a:pt x="3002" y="956"/>
                  <a:pt x="3037" y="973"/>
                  <a:pt x="3079" y="973"/>
                </a:cubicBezTo>
                <a:cubicBezTo>
                  <a:pt x="3134" y="960"/>
                  <a:pt x="3173" y="947"/>
                  <a:pt x="3228" y="947"/>
                </a:cubicBezTo>
                <a:cubicBezTo>
                  <a:pt x="3234" y="946"/>
                  <a:pt x="3240" y="945"/>
                  <a:pt x="3245" y="945"/>
                </a:cubicBezTo>
                <a:cubicBezTo>
                  <a:pt x="3287" y="945"/>
                  <a:pt x="3327" y="976"/>
                  <a:pt x="3368" y="976"/>
                </a:cubicBezTo>
                <a:cubicBezTo>
                  <a:pt x="3376" y="976"/>
                  <a:pt x="3383" y="975"/>
                  <a:pt x="3390" y="973"/>
                </a:cubicBezTo>
                <a:cubicBezTo>
                  <a:pt x="3445" y="960"/>
                  <a:pt x="3484" y="934"/>
                  <a:pt x="3526" y="921"/>
                </a:cubicBezTo>
                <a:cubicBezTo>
                  <a:pt x="3578" y="908"/>
                  <a:pt x="3607" y="840"/>
                  <a:pt x="3646" y="811"/>
                </a:cubicBezTo>
                <a:cubicBezTo>
                  <a:pt x="3701" y="772"/>
                  <a:pt x="3795" y="746"/>
                  <a:pt x="3795" y="704"/>
                </a:cubicBezTo>
                <a:cubicBezTo>
                  <a:pt x="3795" y="691"/>
                  <a:pt x="3782" y="678"/>
                  <a:pt x="3769" y="649"/>
                </a:cubicBezTo>
                <a:lnTo>
                  <a:pt x="3876" y="649"/>
                </a:lnTo>
                <a:cubicBezTo>
                  <a:pt x="3918" y="636"/>
                  <a:pt x="3957" y="636"/>
                  <a:pt x="3999" y="623"/>
                </a:cubicBezTo>
                <a:cubicBezTo>
                  <a:pt x="4038" y="623"/>
                  <a:pt x="4064" y="610"/>
                  <a:pt x="4106" y="610"/>
                </a:cubicBezTo>
                <a:cubicBezTo>
                  <a:pt x="4109" y="609"/>
                  <a:pt x="4113" y="608"/>
                  <a:pt x="4116" y="608"/>
                </a:cubicBezTo>
                <a:cubicBezTo>
                  <a:pt x="4148" y="608"/>
                  <a:pt x="4181" y="651"/>
                  <a:pt x="4213" y="651"/>
                </a:cubicBezTo>
                <a:cubicBezTo>
                  <a:pt x="4217" y="651"/>
                  <a:pt x="4222" y="651"/>
                  <a:pt x="4226" y="649"/>
                </a:cubicBezTo>
                <a:cubicBezTo>
                  <a:pt x="4254" y="649"/>
                  <a:pt x="4288" y="656"/>
                  <a:pt x="4315" y="656"/>
                </a:cubicBezTo>
                <a:cubicBezTo>
                  <a:pt x="4328" y="656"/>
                  <a:pt x="4340" y="654"/>
                  <a:pt x="4349" y="649"/>
                </a:cubicBezTo>
                <a:cubicBezTo>
                  <a:pt x="4388" y="636"/>
                  <a:pt x="4417" y="568"/>
                  <a:pt x="4443" y="555"/>
                </a:cubicBezTo>
                <a:cubicBezTo>
                  <a:pt x="4485" y="529"/>
                  <a:pt x="4566" y="516"/>
                  <a:pt x="4566" y="487"/>
                </a:cubicBezTo>
                <a:cubicBezTo>
                  <a:pt x="4566" y="461"/>
                  <a:pt x="4498" y="422"/>
                  <a:pt x="4456" y="393"/>
                </a:cubicBezTo>
                <a:cubicBezTo>
                  <a:pt x="4430" y="367"/>
                  <a:pt x="4404" y="354"/>
                  <a:pt x="4362" y="341"/>
                </a:cubicBezTo>
                <a:cubicBezTo>
                  <a:pt x="4336" y="325"/>
                  <a:pt x="4294" y="312"/>
                  <a:pt x="4255" y="299"/>
                </a:cubicBezTo>
                <a:cubicBezTo>
                  <a:pt x="4234" y="292"/>
                  <a:pt x="4214" y="292"/>
                  <a:pt x="4193" y="292"/>
                </a:cubicBezTo>
                <a:cubicBezTo>
                  <a:pt x="4173" y="292"/>
                  <a:pt x="4153" y="292"/>
                  <a:pt x="4132" y="286"/>
                </a:cubicBezTo>
                <a:cubicBezTo>
                  <a:pt x="4106" y="273"/>
                  <a:pt x="4080" y="218"/>
                  <a:pt x="4038" y="205"/>
                </a:cubicBezTo>
                <a:cubicBezTo>
                  <a:pt x="3999" y="192"/>
                  <a:pt x="3970" y="192"/>
                  <a:pt x="3931" y="192"/>
                </a:cubicBezTo>
                <a:cubicBezTo>
                  <a:pt x="3889" y="179"/>
                  <a:pt x="3863" y="137"/>
                  <a:pt x="3821" y="124"/>
                </a:cubicBezTo>
                <a:cubicBezTo>
                  <a:pt x="3801" y="117"/>
                  <a:pt x="3781" y="117"/>
                  <a:pt x="3761" y="117"/>
                </a:cubicBezTo>
                <a:cubicBezTo>
                  <a:pt x="3741" y="117"/>
                  <a:pt x="3720" y="117"/>
                  <a:pt x="3701" y="111"/>
                </a:cubicBezTo>
                <a:cubicBezTo>
                  <a:pt x="3663" y="111"/>
                  <a:pt x="3628" y="165"/>
                  <a:pt x="3591" y="165"/>
                </a:cubicBezTo>
                <a:cubicBezTo>
                  <a:pt x="3587" y="165"/>
                  <a:pt x="3582" y="165"/>
                  <a:pt x="3578" y="163"/>
                </a:cubicBezTo>
                <a:cubicBezTo>
                  <a:pt x="3539" y="163"/>
                  <a:pt x="3513" y="111"/>
                  <a:pt x="3471" y="98"/>
                </a:cubicBezTo>
                <a:cubicBezTo>
                  <a:pt x="3432" y="98"/>
                  <a:pt x="3390" y="98"/>
                  <a:pt x="3351" y="82"/>
                </a:cubicBezTo>
                <a:cubicBezTo>
                  <a:pt x="3322" y="82"/>
                  <a:pt x="3270" y="111"/>
                  <a:pt x="3241" y="111"/>
                </a:cubicBezTo>
                <a:cubicBezTo>
                  <a:pt x="3202" y="98"/>
                  <a:pt x="3160" y="43"/>
                  <a:pt x="3121" y="43"/>
                </a:cubicBezTo>
                <a:cubicBezTo>
                  <a:pt x="3092" y="43"/>
                  <a:pt x="3053" y="17"/>
                  <a:pt x="3011" y="17"/>
                </a:cubicBezTo>
                <a:lnTo>
                  <a:pt x="2891" y="17"/>
                </a:lnTo>
                <a:cubicBezTo>
                  <a:pt x="2849" y="17"/>
                  <a:pt x="2810" y="30"/>
                  <a:pt x="2784" y="30"/>
                </a:cubicBezTo>
                <a:cubicBezTo>
                  <a:pt x="2742" y="30"/>
                  <a:pt x="2703" y="17"/>
                  <a:pt x="2661" y="17"/>
                </a:cubicBezTo>
                <a:cubicBezTo>
                  <a:pt x="2622" y="17"/>
                  <a:pt x="2580" y="43"/>
                  <a:pt x="2541" y="43"/>
                </a:cubicBezTo>
                <a:cubicBezTo>
                  <a:pt x="2512" y="43"/>
                  <a:pt x="2473" y="30"/>
                  <a:pt x="2431" y="30"/>
                </a:cubicBezTo>
                <a:cubicBezTo>
                  <a:pt x="2392" y="30"/>
                  <a:pt x="2350" y="69"/>
                  <a:pt x="2311" y="69"/>
                </a:cubicBezTo>
                <a:cubicBezTo>
                  <a:pt x="2269" y="69"/>
                  <a:pt x="2230" y="1"/>
                  <a:pt x="2201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8" name="Google Shape;628;p26"/>
          <p:cNvSpPr/>
          <p:nvPr/>
        </p:nvSpPr>
        <p:spPr>
          <a:xfrm>
            <a:off x="2457410" y="5965676"/>
            <a:ext cx="874653" cy="131197"/>
          </a:xfrm>
          <a:custGeom>
            <a:avLst/>
            <a:gdLst/>
            <a:ahLst/>
            <a:cxnLst/>
            <a:rect l="l" t="t" r="r" b="b"/>
            <a:pathLst>
              <a:path w="3536" h="862" extrusionOk="0">
                <a:moveTo>
                  <a:pt x="1203" y="0"/>
                </a:moveTo>
                <a:cubicBezTo>
                  <a:pt x="1174" y="13"/>
                  <a:pt x="1148" y="26"/>
                  <a:pt x="1106" y="26"/>
                </a:cubicBezTo>
                <a:cubicBezTo>
                  <a:pt x="1080" y="26"/>
                  <a:pt x="1054" y="81"/>
                  <a:pt x="1025" y="81"/>
                </a:cubicBezTo>
                <a:cubicBezTo>
                  <a:pt x="1004" y="81"/>
                  <a:pt x="974" y="62"/>
                  <a:pt x="947" y="62"/>
                </a:cubicBezTo>
                <a:cubicBezTo>
                  <a:pt x="942" y="62"/>
                  <a:pt x="936" y="62"/>
                  <a:pt x="931" y="65"/>
                </a:cubicBezTo>
                <a:cubicBezTo>
                  <a:pt x="905" y="65"/>
                  <a:pt x="879" y="65"/>
                  <a:pt x="850" y="81"/>
                </a:cubicBezTo>
                <a:cubicBezTo>
                  <a:pt x="811" y="81"/>
                  <a:pt x="798" y="120"/>
                  <a:pt x="756" y="120"/>
                </a:cubicBezTo>
                <a:cubicBezTo>
                  <a:pt x="753" y="121"/>
                  <a:pt x="750" y="122"/>
                  <a:pt x="747" y="122"/>
                </a:cubicBezTo>
                <a:cubicBezTo>
                  <a:pt x="721" y="122"/>
                  <a:pt x="685" y="81"/>
                  <a:pt x="662" y="81"/>
                </a:cubicBezTo>
                <a:cubicBezTo>
                  <a:pt x="649" y="88"/>
                  <a:pt x="635" y="88"/>
                  <a:pt x="620" y="88"/>
                </a:cubicBezTo>
                <a:cubicBezTo>
                  <a:pt x="604" y="88"/>
                  <a:pt x="587" y="88"/>
                  <a:pt x="568" y="94"/>
                </a:cubicBezTo>
                <a:cubicBezTo>
                  <a:pt x="539" y="94"/>
                  <a:pt x="513" y="133"/>
                  <a:pt x="487" y="133"/>
                </a:cubicBezTo>
                <a:cubicBezTo>
                  <a:pt x="458" y="146"/>
                  <a:pt x="432" y="146"/>
                  <a:pt x="406" y="162"/>
                </a:cubicBezTo>
                <a:cubicBezTo>
                  <a:pt x="377" y="162"/>
                  <a:pt x="351" y="201"/>
                  <a:pt x="325" y="214"/>
                </a:cubicBezTo>
                <a:cubicBezTo>
                  <a:pt x="310" y="220"/>
                  <a:pt x="297" y="220"/>
                  <a:pt x="283" y="220"/>
                </a:cubicBezTo>
                <a:cubicBezTo>
                  <a:pt x="270" y="220"/>
                  <a:pt x="257" y="220"/>
                  <a:pt x="244" y="227"/>
                </a:cubicBezTo>
                <a:cubicBezTo>
                  <a:pt x="202" y="243"/>
                  <a:pt x="176" y="243"/>
                  <a:pt x="150" y="256"/>
                </a:cubicBezTo>
                <a:cubicBezTo>
                  <a:pt x="121" y="269"/>
                  <a:pt x="95" y="282"/>
                  <a:pt x="82" y="295"/>
                </a:cubicBezTo>
                <a:cubicBezTo>
                  <a:pt x="40" y="324"/>
                  <a:pt x="1" y="350"/>
                  <a:pt x="1" y="376"/>
                </a:cubicBezTo>
                <a:cubicBezTo>
                  <a:pt x="1" y="405"/>
                  <a:pt x="53" y="405"/>
                  <a:pt x="95" y="431"/>
                </a:cubicBezTo>
                <a:cubicBezTo>
                  <a:pt x="108" y="444"/>
                  <a:pt x="134" y="486"/>
                  <a:pt x="163" y="499"/>
                </a:cubicBezTo>
                <a:lnTo>
                  <a:pt x="257" y="499"/>
                </a:lnTo>
                <a:cubicBezTo>
                  <a:pt x="283" y="499"/>
                  <a:pt x="325" y="457"/>
                  <a:pt x="351" y="457"/>
                </a:cubicBezTo>
                <a:cubicBezTo>
                  <a:pt x="377" y="470"/>
                  <a:pt x="406" y="486"/>
                  <a:pt x="432" y="486"/>
                </a:cubicBezTo>
                <a:cubicBezTo>
                  <a:pt x="474" y="486"/>
                  <a:pt x="500" y="499"/>
                  <a:pt x="526" y="499"/>
                </a:cubicBezTo>
                <a:lnTo>
                  <a:pt x="607" y="499"/>
                </a:lnTo>
                <a:cubicBezTo>
                  <a:pt x="594" y="512"/>
                  <a:pt x="594" y="525"/>
                  <a:pt x="594" y="538"/>
                </a:cubicBezTo>
                <a:cubicBezTo>
                  <a:pt x="594" y="580"/>
                  <a:pt x="662" y="593"/>
                  <a:pt x="717" y="619"/>
                </a:cubicBezTo>
                <a:cubicBezTo>
                  <a:pt x="743" y="648"/>
                  <a:pt x="756" y="687"/>
                  <a:pt x="798" y="713"/>
                </a:cubicBezTo>
                <a:cubicBezTo>
                  <a:pt x="824" y="729"/>
                  <a:pt x="863" y="742"/>
                  <a:pt x="905" y="755"/>
                </a:cubicBezTo>
                <a:cubicBezTo>
                  <a:pt x="937" y="755"/>
                  <a:pt x="981" y="725"/>
                  <a:pt x="1020" y="725"/>
                </a:cubicBezTo>
                <a:cubicBezTo>
                  <a:pt x="1027" y="725"/>
                  <a:pt x="1034" y="726"/>
                  <a:pt x="1041" y="729"/>
                </a:cubicBezTo>
                <a:cubicBezTo>
                  <a:pt x="1067" y="729"/>
                  <a:pt x="1106" y="742"/>
                  <a:pt x="1148" y="742"/>
                </a:cubicBezTo>
                <a:cubicBezTo>
                  <a:pt x="1156" y="745"/>
                  <a:pt x="1164" y="746"/>
                  <a:pt x="1171" y="746"/>
                </a:cubicBezTo>
                <a:cubicBezTo>
                  <a:pt x="1203" y="746"/>
                  <a:pt x="1237" y="729"/>
                  <a:pt x="1268" y="729"/>
                </a:cubicBezTo>
                <a:cubicBezTo>
                  <a:pt x="1297" y="742"/>
                  <a:pt x="1336" y="755"/>
                  <a:pt x="1378" y="768"/>
                </a:cubicBezTo>
                <a:cubicBezTo>
                  <a:pt x="1417" y="768"/>
                  <a:pt x="1459" y="781"/>
                  <a:pt x="1485" y="781"/>
                </a:cubicBezTo>
                <a:cubicBezTo>
                  <a:pt x="1527" y="781"/>
                  <a:pt x="1566" y="768"/>
                  <a:pt x="1608" y="768"/>
                </a:cubicBezTo>
                <a:cubicBezTo>
                  <a:pt x="1647" y="768"/>
                  <a:pt x="1673" y="862"/>
                  <a:pt x="1715" y="862"/>
                </a:cubicBezTo>
                <a:lnTo>
                  <a:pt x="1835" y="862"/>
                </a:lnTo>
                <a:cubicBezTo>
                  <a:pt x="1877" y="862"/>
                  <a:pt x="1916" y="836"/>
                  <a:pt x="1958" y="836"/>
                </a:cubicBezTo>
                <a:cubicBezTo>
                  <a:pt x="1984" y="836"/>
                  <a:pt x="2026" y="823"/>
                  <a:pt x="2065" y="823"/>
                </a:cubicBezTo>
                <a:cubicBezTo>
                  <a:pt x="2107" y="823"/>
                  <a:pt x="2146" y="781"/>
                  <a:pt x="2188" y="781"/>
                </a:cubicBezTo>
                <a:cubicBezTo>
                  <a:pt x="2227" y="781"/>
                  <a:pt x="2269" y="862"/>
                  <a:pt x="2295" y="862"/>
                </a:cubicBezTo>
                <a:cubicBezTo>
                  <a:pt x="2337" y="862"/>
                  <a:pt x="2376" y="836"/>
                  <a:pt x="2418" y="836"/>
                </a:cubicBezTo>
                <a:cubicBezTo>
                  <a:pt x="2457" y="836"/>
                  <a:pt x="2499" y="823"/>
                  <a:pt x="2538" y="823"/>
                </a:cubicBezTo>
                <a:cubicBezTo>
                  <a:pt x="2564" y="823"/>
                  <a:pt x="2606" y="794"/>
                  <a:pt x="2645" y="794"/>
                </a:cubicBezTo>
                <a:cubicBezTo>
                  <a:pt x="2687" y="794"/>
                  <a:pt x="2726" y="768"/>
                  <a:pt x="2755" y="768"/>
                </a:cubicBezTo>
                <a:cubicBezTo>
                  <a:pt x="2794" y="755"/>
                  <a:pt x="2836" y="755"/>
                  <a:pt x="2875" y="742"/>
                </a:cubicBezTo>
                <a:cubicBezTo>
                  <a:pt x="2917" y="742"/>
                  <a:pt x="2943" y="729"/>
                  <a:pt x="2985" y="713"/>
                </a:cubicBezTo>
                <a:cubicBezTo>
                  <a:pt x="3024" y="713"/>
                  <a:pt x="3050" y="687"/>
                  <a:pt x="3092" y="687"/>
                </a:cubicBezTo>
                <a:cubicBezTo>
                  <a:pt x="3096" y="686"/>
                  <a:pt x="3100" y="685"/>
                  <a:pt x="3105" y="685"/>
                </a:cubicBezTo>
                <a:cubicBezTo>
                  <a:pt x="3137" y="685"/>
                  <a:pt x="3177" y="716"/>
                  <a:pt x="3211" y="716"/>
                </a:cubicBezTo>
                <a:cubicBezTo>
                  <a:pt x="3217" y="716"/>
                  <a:pt x="3222" y="715"/>
                  <a:pt x="3228" y="713"/>
                </a:cubicBezTo>
                <a:cubicBezTo>
                  <a:pt x="3267" y="713"/>
                  <a:pt x="3309" y="713"/>
                  <a:pt x="3335" y="700"/>
                </a:cubicBezTo>
                <a:cubicBezTo>
                  <a:pt x="3374" y="687"/>
                  <a:pt x="3390" y="619"/>
                  <a:pt x="3416" y="606"/>
                </a:cubicBezTo>
                <a:cubicBezTo>
                  <a:pt x="3471" y="580"/>
                  <a:pt x="3536" y="551"/>
                  <a:pt x="3536" y="525"/>
                </a:cubicBezTo>
                <a:cubicBezTo>
                  <a:pt x="3536" y="499"/>
                  <a:pt x="3471" y="470"/>
                  <a:pt x="3429" y="444"/>
                </a:cubicBezTo>
                <a:cubicBezTo>
                  <a:pt x="3403" y="418"/>
                  <a:pt x="3361" y="405"/>
                  <a:pt x="3322" y="389"/>
                </a:cubicBezTo>
                <a:cubicBezTo>
                  <a:pt x="3293" y="376"/>
                  <a:pt x="3254" y="376"/>
                  <a:pt x="3212" y="363"/>
                </a:cubicBezTo>
                <a:cubicBezTo>
                  <a:pt x="3203" y="360"/>
                  <a:pt x="3195" y="359"/>
                  <a:pt x="3187" y="359"/>
                </a:cubicBezTo>
                <a:cubicBezTo>
                  <a:pt x="3164" y="359"/>
                  <a:pt x="3140" y="367"/>
                  <a:pt x="3117" y="367"/>
                </a:cubicBezTo>
                <a:cubicBezTo>
                  <a:pt x="3108" y="367"/>
                  <a:pt x="3100" y="366"/>
                  <a:pt x="3092" y="363"/>
                </a:cubicBezTo>
                <a:cubicBezTo>
                  <a:pt x="3050" y="350"/>
                  <a:pt x="3024" y="295"/>
                  <a:pt x="2985" y="295"/>
                </a:cubicBezTo>
                <a:cubicBezTo>
                  <a:pt x="2956" y="295"/>
                  <a:pt x="2917" y="295"/>
                  <a:pt x="2875" y="282"/>
                </a:cubicBezTo>
                <a:cubicBezTo>
                  <a:pt x="2836" y="282"/>
                  <a:pt x="2807" y="243"/>
                  <a:pt x="2768" y="227"/>
                </a:cubicBezTo>
                <a:cubicBezTo>
                  <a:pt x="2740" y="227"/>
                  <a:pt x="2713" y="234"/>
                  <a:pt x="2686" y="234"/>
                </a:cubicBezTo>
                <a:cubicBezTo>
                  <a:pt x="2672" y="234"/>
                  <a:pt x="2659" y="232"/>
                  <a:pt x="2645" y="227"/>
                </a:cubicBezTo>
                <a:cubicBezTo>
                  <a:pt x="2606" y="227"/>
                  <a:pt x="2564" y="295"/>
                  <a:pt x="2525" y="295"/>
                </a:cubicBezTo>
                <a:cubicBezTo>
                  <a:pt x="2483" y="295"/>
                  <a:pt x="2457" y="243"/>
                  <a:pt x="2418" y="243"/>
                </a:cubicBezTo>
                <a:lnTo>
                  <a:pt x="2295" y="243"/>
                </a:lnTo>
                <a:cubicBezTo>
                  <a:pt x="2256" y="243"/>
                  <a:pt x="2214" y="269"/>
                  <a:pt x="2175" y="269"/>
                </a:cubicBezTo>
                <a:lnTo>
                  <a:pt x="2159" y="269"/>
                </a:lnTo>
                <a:cubicBezTo>
                  <a:pt x="2175" y="256"/>
                  <a:pt x="2175" y="243"/>
                  <a:pt x="2188" y="243"/>
                </a:cubicBezTo>
                <a:cubicBezTo>
                  <a:pt x="2214" y="214"/>
                  <a:pt x="2269" y="188"/>
                  <a:pt x="2269" y="162"/>
                </a:cubicBezTo>
                <a:cubicBezTo>
                  <a:pt x="2269" y="146"/>
                  <a:pt x="2227" y="94"/>
                  <a:pt x="2188" y="81"/>
                </a:cubicBezTo>
                <a:cubicBezTo>
                  <a:pt x="2185" y="77"/>
                  <a:pt x="2180" y="76"/>
                  <a:pt x="2175" y="76"/>
                </a:cubicBezTo>
                <a:cubicBezTo>
                  <a:pt x="2160" y="76"/>
                  <a:pt x="2139" y="84"/>
                  <a:pt x="2116" y="84"/>
                </a:cubicBezTo>
                <a:cubicBezTo>
                  <a:pt x="2109" y="84"/>
                  <a:pt x="2101" y="84"/>
                  <a:pt x="2094" y="81"/>
                </a:cubicBezTo>
                <a:cubicBezTo>
                  <a:pt x="2087" y="77"/>
                  <a:pt x="2081" y="76"/>
                  <a:pt x="2074" y="76"/>
                </a:cubicBezTo>
                <a:cubicBezTo>
                  <a:pt x="2058" y="76"/>
                  <a:pt x="2041" y="84"/>
                  <a:pt x="2019" y="84"/>
                </a:cubicBezTo>
                <a:cubicBezTo>
                  <a:pt x="2012" y="84"/>
                  <a:pt x="2005" y="84"/>
                  <a:pt x="1997" y="81"/>
                </a:cubicBezTo>
                <a:cubicBezTo>
                  <a:pt x="1971" y="81"/>
                  <a:pt x="1958" y="13"/>
                  <a:pt x="1932" y="0"/>
                </a:cubicBezTo>
                <a:lnTo>
                  <a:pt x="1835" y="0"/>
                </a:lnTo>
                <a:cubicBezTo>
                  <a:pt x="1809" y="0"/>
                  <a:pt x="1770" y="52"/>
                  <a:pt x="1741" y="52"/>
                </a:cubicBezTo>
                <a:cubicBezTo>
                  <a:pt x="1715" y="52"/>
                  <a:pt x="1689" y="13"/>
                  <a:pt x="1647" y="13"/>
                </a:cubicBezTo>
                <a:cubicBezTo>
                  <a:pt x="1621" y="13"/>
                  <a:pt x="1592" y="26"/>
                  <a:pt x="1566" y="26"/>
                </a:cubicBezTo>
                <a:cubicBezTo>
                  <a:pt x="1527" y="26"/>
                  <a:pt x="1498" y="0"/>
                  <a:pt x="1472" y="0"/>
                </a:cubicBezTo>
                <a:cubicBezTo>
                  <a:pt x="1446" y="0"/>
                  <a:pt x="1417" y="13"/>
                  <a:pt x="1378" y="13"/>
                </a:cubicBezTo>
                <a:cubicBezTo>
                  <a:pt x="1349" y="13"/>
                  <a:pt x="1323" y="0"/>
                  <a:pt x="1297" y="0"/>
                </a:cubicBezTo>
                <a:cubicBezTo>
                  <a:pt x="1283" y="4"/>
                  <a:pt x="1271" y="6"/>
                  <a:pt x="1260" y="6"/>
                </a:cubicBezTo>
                <a:cubicBezTo>
                  <a:pt x="1237" y="6"/>
                  <a:pt x="1220" y="0"/>
                  <a:pt x="1203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9" name="Google Shape;629;p26"/>
          <p:cNvSpPr/>
          <p:nvPr/>
        </p:nvSpPr>
        <p:spPr>
          <a:xfrm>
            <a:off x="3335765" y="6086372"/>
            <a:ext cx="737617" cy="183099"/>
          </a:xfrm>
          <a:custGeom>
            <a:avLst/>
            <a:gdLst/>
            <a:ahLst/>
            <a:cxnLst/>
            <a:rect l="l" t="t" r="r" b="b"/>
            <a:pathLst>
              <a:path w="2982" h="1203" extrusionOk="0">
                <a:moveTo>
                  <a:pt x="1404" y="1"/>
                </a:moveTo>
                <a:cubicBezTo>
                  <a:pt x="1378" y="1"/>
                  <a:pt x="1349" y="56"/>
                  <a:pt x="1323" y="56"/>
                </a:cubicBezTo>
                <a:cubicBezTo>
                  <a:pt x="1297" y="56"/>
                  <a:pt x="1268" y="43"/>
                  <a:pt x="1242" y="43"/>
                </a:cubicBezTo>
                <a:cubicBezTo>
                  <a:pt x="1216" y="43"/>
                  <a:pt x="1187" y="17"/>
                  <a:pt x="1161" y="17"/>
                </a:cubicBezTo>
                <a:lnTo>
                  <a:pt x="1093" y="17"/>
                </a:lnTo>
                <a:cubicBezTo>
                  <a:pt x="1067" y="17"/>
                  <a:pt x="1038" y="69"/>
                  <a:pt x="1012" y="69"/>
                </a:cubicBezTo>
                <a:cubicBezTo>
                  <a:pt x="986" y="69"/>
                  <a:pt x="957" y="56"/>
                  <a:pt x="931" y="56"/>
                </a:cubicBezTo>
                <a:lnTo>
                  <a:pt x="850" y="56"/>
                </a:lnTo>
                <a:cubicBezTo>
                  <a:pt x="824" y="56"/>
                  <a:pt x="811" y="82"/>
                  <a:pt x="782" y="82"/>
                </a:cubicBezTo>
                <a:cubicBezTo>
                  <a:pt x="764" y="82"/>
                  <a:pt x="747" y="76"/>
                  <a:pt x="729" y="76"/>
                </a:cubicBezTo>
                <a:cubicBezTo>
                  <a:pt x="720" y="76"/>
                  <a:pt x="710" y="78"/>
                  <a:pt x="701" y="82"/>
                </a:cubicBezTo>
                <a:cubicBezTo>
                  <a:pt x="675" y="82"/>
                  <a:pt x="649" y="98"/>
                  <a:pt x="620" y="98"/>
                </a:cubicBezTo>
                <a:cubicBezTo>
                  <a:pt x="594" y="98"/>
                  <a:pt x="568" y="56"/>
                  <a:pt x="539" y="56"/>
                </a:cubicBezTo>
                <a:cubicBezTo>
                  <a:pt x="513" y="69"/>
                  <a:pt x="487" y="69"/>
                  <a:pt x="471" y="82"/>
                </a:cubicBezTo>
                <a:cubicBezTo>
                  <a:pt x="445" y="82"/>
                  <a:pt x="419" y="111"/>
                  <a:pt x="390" y="111"/>
                </a:cubicBezTo>
                <a:cubicBezTo>
                  <a:pt x="369" y="111"/>
                  <a:pt x="349" y="93"/>
                  <a:pt x="327" y="93"/>
                </a:cubicBezTo>
                <a:cubicBezTo>
                  <a:pt x="321" y="93"/>
                  <a:pt x="315" y="95"/>
                  <a:pt x="309" y="98"/>
                </a:cubicBezTo>
                <a:cubicBezTo>
                  <a:pt x="283" y="98"/>
                  <a:pt x="270" y="150"/>
                  <a:pt x="244" y="150"/>
                </a:cubicBezTo>
                <a:cubicBezTo>
                  <a:pt x="234" y="154"/>
                  <a:pt x="225" y="156"/>
                  <a:pt x="216" y="156"/>
                </a:cubicBezTo>
                <a:cubicBezTo>
                  <a:pt x="197" y="156"/>
                  <a:pt x="180" y="150"/>
                  <a:pt x="163" y="150"/>
                </a:cubicBezTo>
                <a:cubicBezTo>
                  <a:pt x="134" y="163"/>
                  <a:pt x="108" y="163"/>
                  <a:pt x="95" y="179"/>
                </a:cubicBezTo>
                <a:cubicBezTo>
                  <a:pt x="66" y="192"/>
                  <a:pt x="40" y="218"/>
                  <a:pt x="27" y="231"/>
                </a:cubicBezTo>
                <a:cubicBezTo>
                  <a:pt x="1" y="244"/>
                  <a:pt x="14" y="273"/>
                  <a:pt x="14" y="299"/>
                </a:cubicBezTo>
                <a:cubicBezTo>
                  <a:pt x="14" y="325"/>
                  <a:pt x="14" y="341"/>
                  <a:pt x="40" y="354"/>
                </a:cubicBezTo>
                <a:cubicBezTo>
                  <a:pt x="46" y="360"/>
                  <a:pt x="60" y="360"/>
                  <a:pt x="75" y="360"/>
                </a:cubicBezTo>
                <a:cubicBezTo>
                  <a:pt x="91" y="360"/>
                  <a:pt x="108" y="360"/>
                  <a:pt x="121" y="367"/>
                </a:cubicBezTo>
                <a:cubicBezTo>
                  <a:pt x="134" y="380"/>
                  <a:pt x="163" y="406"/>
                  <a:pt x="189" y="406"/>
                </a:cubicBezTo>
                <a:cubicBezTo>
                  <a:pt x="197" y="411"/>
                  <a:pt x="206" y="413"/>
                  <a:pt x="216" y="413"/>
                </a:cubicBezTo>
                <a:cubicBezTo>
                  <a:pt x="234" y="413"/>
                  <a:pt x="253" y="406"/>
                  <a:pt x="270" y="406"/>
                </a:cubicBezTo>
                <a:cubicBezTo>
                  <a:pt x="296" y="422"/>
                  <a:pt x="309" y="461"/>
                  <a:pt x="338" y="461"/>
                </a:cubicBezTo>
                <a:cubicBezTo>
                  <a:pt x="364" y="461"/>
                  <a:pt x="390" y="487"/>
                  <a:pt x="419" y="487"/>
                </a:cubicBezTo>
                <a:lnTo>
                  <a:pt x="500" y="487"/>
                </a:lnTo>
                <a:cubicBezTo>
                  <a:pt x="526" y="487"/>
                  <a:pt x="552" y="516"/>
                  <a:pt x="581" y="516"/>
                </a:cubicBezTo>
                <a:lnTo>
                  <a:pt x="662" y="516"/>
                </a:lnTo>
                <a:cubicBezTo>
                  <a:pt x="688" y="516"/>
                  <a:pt x="714" y="503"/>
                  <a:pt x="743" y="503"/>
                </a:cubicBezTo>
                <a:cubicBezTo>
                  <a:pt x="769" y="503"/>
                  <a:pt x="782" y="474"/>
                  <a:pt x="811" y="474"/>
                </a:cubicBezTo>
                <a:cubicBezTo>
                  <a:pt x="756" y="503"/>
                  <a:pt x="769" y="542"/>
                  <a:pt x="769" y="568"/>
                </a:cubicBezTo>
                <a:cubicBezTo>
                  <a:pt x="769" y="597"/>
                  <a:pt x="769" y="610"/>
                  <a:pt x="795" y="636"/>
                </a:cubicBezTo>
                <a:cubicBezTo>
                  <a:pt x="798" y="639"/>
                  <a:pt x="803" y="640"/>
                  <a:pt x="808" y="640"/>
                </a:cubicBezTo>
                <a:cubicBezTo>
                  <a:pt x="822" y="640"/>
                  <a:pt x="841" y="632"/>
                  <a:pt x="858" y="632"/>
                </a:cubicBezTo>
                <a:cubicBezTo>
                  <a:pt x="864" y="632"/>
                  <a:pt x="870" y="633"/>
                  <a:pt x="876" y="636"/>
                </a:cubicBezTo>
                <a:cubicBezTo>
                  <a:pt x="892" y="649"/>
                  <a:pt x="892" y="691"/>
                  <a:pt x="918" y="691"/>
                </a:cubicBezTo>
                <a:cubicBezTo>
                  <a:pt x="892" y="691"/>
                  <a:pt x="876" y="678"/>
                  <a:pt x="850" y="678"/>
                </a:cubicBezTo>
                <a:cubicBezTo>
                  <a:pt x="824" y="691"/>
                  <a:pt x="795" y="717"/>
                  <a:pt x="782" y="717"/>
                </a:cubicBezTo>
                <a:cubicBezTo>
                  <a:pt x="743" y="730"/>
                  <a:pt x="730" y="746"/>
                  <a:pt x="701" y="759"/>
                </a:cubicBezTo>
                <a:cubicBezTo>
                  <a:pt x="695" y="762"/>
                  <a:pt x="689" y="763"/>
                  <a:pt x="682" y="763"/>
                </a:cubicBezTo>
                <a:cubicBezTo>
                  <a:pt x="664" y="763"/>
                  <a:pt x="643" y="755"/>
                  <a:pt x="625" y="755"/>
                </a:cubicBezTo>
                <a:cubicBezTo>
                  <a:pt x="618" y="755"/>
                  <a:pt x="612" y="756"/>
                  <a:pt x="607" y="759"/>
                </a:cubicBezTo>
                <a:cubicBezTo>
                  <a:pt x="581" y="785"/>
                  <a:pt x="594" y="827"/>
                  <a:pt x="594" y="840"/>
                </a:cubicBezTo>
                <a:cubicBezTo>
                  <a:pt x="607" y="866"/>
                  <a:pt x="594" y="892"/>
                  <a:pt x="620" y="921"/>
                </a:cubicBezTo>
                <a:cubicBezTo>
                  <a:pt x="649" y="921"/>
                  <a:pt x="675" y="934"/>
                  <a:pt x="701" y="947"/>
                </a:cubicBezTo>
                <a:lnTo>
                  <a:pt x="782" y="947"/>
                </a:lnTo>
                <a:cubicBezTo>
                  <a:pt x="795" y="947"/>
                  <a:pt x="824" y="960"/>
                  <a:pt x="850" y="960"/>
                </a:cubicBezTo>
                <a:cubicBezTo>
                  <a:pt x="876" y="960"/>
                  <a:pt x="905" y="960"/>
                  <a:pt x="931" y="973"/>
                </a:cubicBezTo>
                <a:cubicBezTo>
                  <a:pt x="957" y="973"/>
                  <a:pt x="986" y="960"/>
                  <a:pt x="1012" y="960"/>
                </a:cubicBezTo>
                <a:cubicBezTo>
                  <a:pt x="1038" y="960"/>
                  <a:pt x="1054" y="989"/>
                  <a:pt x="1080" y="989"/>
                </a:cubicBezTo>
                <a:cubicBezTo>
                  <a:pt x="1083" y="991"/>
                  <a:pt x="1087" y="992"/>
                  <a:pt x="1090" y="992"/>
                </a:cubicBezTo>
                <a:cubicBezTo>
                  <a:pt x="1113" y="992"/>
                  <a:pt x="1138" y="960"/>
                  <a:pt x="1161" y="960"/>
                </a:cubicBezTo>
                <a:cubicBezTo>
                  <a:pt x="1187" y="960"/>
                  <a:pt x="1216" y="973"/>
                  <a:pt x="1242" y="973"/>
                </a:cubicBezTo>
                <a:cubicBezTo>
                  <a:pt x="1268" y="973"/>
                  <a:pt x="1281" y="989"/>
                  <a:pt x="1310" y="989"/>
                </a:cubicBezTo>
                <a:cubicBezTo>
                  <a:pt x="1297" y="1002"/>
                  <a:pt x="1297" y="1015"/>
                  <a:pt x="1297" y="1028"/>
                </a:cubicBezTo>
                <a:cubicBezTo>
                  <a:pt x="1297" y="1054"/>
                  <a:pt x="1297" y="1096"/>
                  <a:pt x="1323" y="1109"/>
                </a:cubicBezTo>
                <a:cubicBezTo>
                  <a:pt x="1328" y="1112"/>
                  <a:pt x="1334" y="1113"/>
                  <a:pt x="1340" y="1113"/>
                </a:cubicBezTo>
                <a:cubicBezTo>
                  <a:pt x="1365" y="1113"/>
                  <a:pt x="1396" y="1096"/>
                  <a:pt x="1417" y="1096"/>
                </a:cubicBezTo>
                <a:cubicBezTo>
                  <a:pt x="1443" y="1109"/>
                  <a:pt x="1459" y="1122"/>
                  <a:pt x="1485" y="1135"/>
                </a:cubicBezTo>
                <a:cubicBezTo>
                  <a:pt x="1511" y="1135"/>
                  <a:pt x="1540" y="1151"/>
                  <a:pt x="1566" y="1151"/>
                </a:cubicBezTo>
                <a:cubicBezTo>
                  <a:pt x="1592" y="1151"/>
                  <a:pt x="1621" y="1177"/>
                  <a:pt x="1647" y="1177"/>
                </a:cubicBezTo>
                <a:cubicBezTo>
                  <a:pt x="1660" y="1177"/>
                  <a:pt x="1686" y="1190"/>
                  <a:pt x="1715" y="1190"/>
                </a:cubicBezTo>
                <a:cubicBezTo>
                  <a:pt x="1741" y="1190"/>
                  <a:pt x="1767" y="1151"/>
                  <a:pt x="1796" y="1151"/>
                </a:cubicBezTo>
                <a:cubicBezTo>
                  <a:pt x="1822" y="1151"/>
                  <a:pt x="1848" y="1203"/>
                  <a:pt x="1877" y="1203"/>
                </a:cubicBezTo>
                <a:cubicBezTo>
                  <a:pt x="1903" y="1203"/>
                  <a:pt x="1929" y="1151"/>
                  <a:pt x="1958" y="1151"/>
                </a:cubicBezTo>
                <a:lnTo>
                  <a:pt x="2039" y="1151"/>
                </a:lnTo>
                <a:cubicBezTo>
                  <a:pt x="2065" y="1151"/>
                  <a:pt x="2091" y="1177"/>
                  <a:pt x="2120" y="1177"/>
                </a:cubicBezTo>
                <a:cubicBezTo>
                  <a:pt x="2146" y="1177"/>
                  <a:pt x="2172" y="1164"/>
                  <a:pt x="2188" y="1164"/>
                </a:cubicBezTo>
                <a:cubicBezTo>
                  <a:pt x="2214" y="1164"/>
                  <a:pt x="2253" y="1190"/>
                  <a:pt x="2269" y="1190"/>
                </a:cubicBezTo>
                <a:cubicBezTo>
                  <a:pt x="2295" y="1190"/>
                  <a:pt x="2321" y="1164"/>
                  <a:pt x="2350" y="1164"/>
                </a:cubicBezTo>
                <a:cubicBezTo>
                  <a:pt x="2359" y="1160"/>
                  <a:pt x="2367" y="1158"/>
                  <a:pt x="2376" y="1158"/>
                </a:cubicBezTo>
                <a:cubicBezTo>
                  <a:pt x="2393" y="1158"/>
                  <a:pt x="2411" y="1164"/>
                  <a:pt x="2431" y="1164"/>
                </a:cubicBezTo>
                <a:lnTo>
                  <a:pt x="2512" y="1164"/>
                </a:lnTo>
                <a:cubicBezTo>
                  <a:pt x="2538" y="1151"/>
                  <a:pt x="2551" y="1109"/>
                  <a:pt x="2577" y="1109"/>
                </a:cubicBezTo>
                <a:cubicBezTo>
                  <a:pt x="2601" y="1109"/>
                  <a:pt x="2632" y="1139"/>
                  <a:pt x="2659" y="1139"/>
                </a:cubicBezTo>
                <a:cubicBezTo>
                  <a:pt x="2664" y="1139"/>
                  <a:pt x="2669" y="1137"/>
                  <a:pt x="2674" y="1135"/>
                </a:cubicBezTo>
                <a:cubicBezTo>
                  <a:pt x="2700" y="1135"/>
                  <a:pt x="2713" y="1109"/>
                  <a:pt x="2739" y="1096"/>
                </a:cubicBezTo>
                <a:cubicBezTo>
                  <a:pt x="2768" y="1083"/>
                  <a:pt x="2794" y="1070"/>
                  <a:pt x="2807" y="1070"/>
                </a:cubicBezTo>
                <a:cubicBezTo>
                  <a:pt x="2836" y="1054"/>
                  <a:pt x="2875" y="1054"/>
                  <a:pt x="2888" y="1041"/>
                </a:cubicBezTo>
                <a:cubicBezTo>
                  <a:pt x="2917" y="1015"/>
                  <a:pt x="2901" y="1002"/>
                  <a:pt x="2901" y="973"/>
                </a:cubicBezTo>
                <a:cubicBezTo>
                  <a:pt x="2901" y="960"/>
                  <a:pt x="2930" y="908"/>
                  <a:pt x="2901" y="892"/>
                </a:cubicBezTo>
                <a:cubicBezTo>
                  <a:pt x="2896" y="889"/>
                  <a:pt x="2891" y="889"/>
                  <a:pt x="2885" y="889"/>
                </a:cubicBezTo>
                <a:cubicBezTo>
                  <a:pt x="2861" y="889"/>
                  <a:pt x="2831" y="908"/>
                  <a:pt x="2807" y="908"/>
                </a:cubicBezTo>
                <a:cubicBezTo>
                  <a:pt x="2781" y="892"/>
                  <a:pt x="2768" y="866"/>
                  <a:pt x="2739" y="866"/>
                </a:cubicBezTo>
                <a:cubicBezTo>
                  <a:pt x="2730" y="862"/>
                  <a:pt x="2721" y="860"/>
                  <a:pt x="2713" y="860"/>
                </a:cubicBezTo>
                <a:cubicBezTo>
                  <a:pt x="2695" y="860"/>
                  <a:pt x="2677" y="866"/>
                  <a:pt x="2658" y="866"/>
                </a:cubicBezTo>
                <a:cubicBezTo>
                  <a:pt x="2632" y="866"/>
                  <a:pt x="2606" y="853"/>
                  <a:pt x="2577" y="840"/>
                </a:cubicBezTo>
                <a:cubicBezTo>
                  <a:pt x="2551" y="840"/>
                  <a:pt x="2525" y="866"/>
                  <a:pt x="2496" y="866"/>
                </a:cubicBezTo>
                <a:cubicBezTo>
                  <a:pt x="2483" y="866"/>
                  <a:pt x="2457" y="853"/>
                  <a:pt x="2431" y="853"/>
                </a:cubicBezTo>
                <a:cubicBezTo>
                  <a:pt x="2402" y="840"/>
                  <a:pt x="2376" y="798"/>
                  <a:pt x="2350" y="798"/>
                </a:cubicBezTo>
                <a:lnTo>
                  <a:pt x="2269" y="798"/>
                </a:lnTo>
                <a:cubicBezTo>
                  <a:pt x="2253" y="798"/>
                  <a:pt x="2240" y="827"/>
                  <a:pt x="2214" y="827"/>
                </a:cubicBezTo>
                <a:cubicBezTo>
                  <a:pt x="2240" y="811"/>
                  <a:pt x="2253" y="798"/>
                  <a:pt x="2253" y="785"/>
                </a:cubicBezTo>
                <a:cubicBezTo>
                  <a:pt x="2253" y="772"/>
                  <a:pt x="2227" y="759"/>
                  <a:pt x="2214" y="746"/>
                </a:cubicBezTo>
                <a:cubicBezTo>
                  <a:pt x="2240" y="746"/>
                  <a:pt x="2240" y="704"/>
                  <a:pt x="2269" y="704"/>
                </a:cubicBezTo>
                <a:cubicBezTo>
                  <a:pt x="2295" y="704"/>
                  <a:pt x="2321" y="730"/>
                  <a:pt x="2350" y="730"/>
                </a:cubicBezTo>
                <a:cubicBezTo>
                  <a:pt x="2376" y="717"/>
                  <a:pt x="2389" y="717"/>
                  <a:pt x="2415" y="704"/>
                </a:cubicBezTo>
                <a:lnTo>
                  <a:pt x="2496" y="704"/>
                </a:lnTo>
                <a:cubicBezTo>
                  <a:pt x="2525" y="704"/>
                  <a:pt x="2551" y="691"/>
                  <a:pt x="2564" y="678"/>
                </a:cubicBezTo>
                <a:cubicBezTo>
                  <a:pt x="2593" y="678"/>
                  <a:pt x="2619" y="665"/>
                  <a:pt x="2645" y="665"/>
                </a:cubicBezTo>
                <a:cubicBezTo>
                  <a:pt x="2650" y="662"/>
                  <a:pt x="2654" y="661"/>
                  <a:pt x="2659" y="661"/>
                </a:cubicBezTo>
                <a:cubicBezTo>
                  <a:pt x="2679" y="661"/>
                  <a:pt x="2697" y="681"/>
                  <a:pt x="2715" y="681"/>
                </a:cubicBezTo>
                <a:cubicBezTo>
                  <a:pt x="2719" y="681"/>
                  <a:pt x="2722" y="680"/>
                  <a:pt x="2726" y="678"/>
                </a:cubicBezTo>
                <a:cubicBezTo>
                  <a:pt x="2755" y="678"/>
                  <a:pt x="2768" y="610"/>
                  <a:pt x="2781" y="597"/>
                </a:cubicBezTo>
                <a:lnTo>
                  <a:pt x="2862" y="597"/>
                </a:lnTo>
                <a:cubicBezTo>
                  <a:pt x="2888" y="584"/>
                  <a:pt x="2901" y="555"/>
                  <a:pt x="2917" y="542"/>
                </a:cubicBezTo>
                <a:cubicBezTo>
                  <a:pt x="2943" y="529"/>
                  <a:pt x="2982" y="516"/>
                  <a:pt x="2982" y="487"/>
                </a:cubicBezTo>
                <a:cubicBezTo>
                  <a:pt x="2982" y="474"/>
                  <a:pt x="2930" y="474"/>
                  <a:pt x="2901" y="448"/>
                </a:cubicBezTo>
                <a:cubicBezTo>
                  <a:pt x="2888" y="448"/>
                  <a:pt x="2875" y="393"/>
                  <a:pt x="2849" y="380"/>
                </a:cubicBezTo>
                <a:cubicBezTo>
                  <a:pt x="2836" y="380"/>
                  <a:pt x="2807" y="367"/>
                  <a:pt x="2768" y="367"/>
                </a:cubicBezTo>
                <a:cubicBezTo>
                  <a:pt x="2765" y="364"/>
                  <a:pt x="2762" y="363"/>
                  <a:pt x="2757" y="363"/>
                </a:cubicBezTo>
                <a:cubicBezTo>
                  <a:pt x="2739" y="363"/>
                  <a:pt x="2708" y="380"/>
                  <a:pt x="2687" y="380"/>
                </a:cubicBezTo>
                <a:cubicBezTo>
                  <a:pt x="2658" y="367"/>
                  <a:pt x="2645" y="341"/>
                  <a:pt x="2619" y="325"/>
                </a:cubicBezTo>
                <a:cubicBezTo>
                  <a:pt x="2593" y="325"/>
                  <a:pt x="2564" y="341"/>
                  <a:pt x="2538" y="341"/>
                </a:cubicBezTo>
                <a:cubicBezTo>
                  <a:pt x="2529" y="336"/>
                  <a:pt x="2520" y="334"/>
                  <a:pt x="2511" y="334"/>
                </a:cubicBezTo>
                <a:cubicBezTo>
                  <a:pt x="2493" y="334"/>
                  <a:pt x="2474" y="341"/>
                  <a:pt x="2457" y="341"/>
                </a:cubicBezTo>
                <a:cubicBezTo>
                  <a:pt x="2448" y="336"/>
                  <a:pt x="2439" y="334"/>
                  <a:pt x="2430" y="334"/>
                </a:cubicBezTo>
                <a:cubicBezTo>
                  <a:pt x="2412" y="334"/>
                  <a:pt x="2393" y="341"/>
                  <a:pt x="2376" y="341"/>
                </a:cubicBezTo>
                <a:cubicBezTo>
                  <a:pt x="2350" y="325"/>
                  <a:pt x="2321" y="286"/>
                  <a:pt x="2295" y="286"/>
                </a:cubicBezTo>
                <a:cubicBezTo>
                  <a:pt x="2269" y="286"/>
                  <a:pt x="2240" y="312"/>
                  <a:pt x="2214" y="312"/>
                </a:cubicBezTo>
                <a:cubicBezTo>
                  <a:pt x="2188" y="312"/>
                  <a:pt x="2133" y="286"/>
                  <a:pt x="2107" y="286"/>
                </a:cubicBezTo>
                <a:cubicBezTo>
                  <a:pt x="2159" y="260"/>
                  <a:pt x="2201" y="244"/>
                  <a:pt x="2201" y="218"/>
                </a:cubicBezTo>
                <a:cubicBezTo>
                  <a:pt x="2201" y="192"/>
                  <a:pt x="2188" y="179"/>
                  <a:pt x="2159" y="163"/>
                </a:cubicBezTo>
                <a:cubicBezTo>
                  <a:pt x="2146" y="156"/>
                  <a:pt x="2133" y="156"/>
                  <a:pt x="2119" y="156"/>
                </a:cubicBezTo>
                <a:cubicBezTo>
                  <a:pt x="2106" y="156"/>
                  <a:pt x="2092" y="156"/>
                  <a:pt x="2078" y="150"/>
                </a:cubicBezTo>
                <a:cubicBezTo>
                  <a:pt x="2065" y="137"/>
                  <a:pt x="2039" y="111"/>
                  <a:pt x="2010" y="98"/>
                </a:cubicBezTo>
                <a:cubicBezTo>
                  <a:pt x="1997" y="98"/>
                  <a:pt x="1971" y="69"/>
                  <a:pt x="1945" y="69"/>
                </a:cubicBezTo>
                <a:cubicBezTo>
                  <a:pt x="1939" y="66"/>
                  <a:pt x="1933" y="65"/>
                  <a:pt x="1928" y="65"/>
                </a:cubicBezTo>
                <a:cubicBezTo>
                  <a:pt x="1905" y="65"/>
                  <a:pt x="1885" y="82"/>
                  <a:pt x="1864" y="82"/>
                </a:cubicBezTo>
                <a:cubicBezTo>
                  <a:pt x="1835" y="82"/>
                  <a:pt x="1809" y="69"/>
                  <a:pt x="1783" y="69"/>
                </a:cubicBezTo>
                <a:cubicBezTo>
                  <a:pt x="1754" y="69"/>
                  <a:pt x="1741" y="30"/>
                  <a:pt x="1715" y="17"/>
                </a:cubicBezTo>
                <a:lnTo>
                  <a:pt x="1634" y="17"/>
                </a:lnTo>
                <a:cubicBezTo>
                  <a:pt x="1609" y="17"/>
                  <a:pt x="1586" y="46"/>
                  <a:pt x="1564" y="46"/>
                </a:cubicBezTo>
                <a:cubicBezTo>
                  <a:pt x="1560" y="46"/>
                  <a:pt x="1557" y="45"/>
                  <a:pt x="1553" y="43"/>
                </a:cubicBezTo>
                <a:cubicBezTo>
                  <a:pt x="1524" y="43"/>
                  <a:pt x="1498" y="17"/>
                  <a:pt x="1485" y="17"/>
                </a:cubicBezTo>
                <a:cubicBezTo>
                  <a:pt x="1459" y="17"/>
                  <a:pt x="1430" y="1"/>
                  <a:pt x="1404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0" name="Google Shape;630;p26"/>
          <p:cNvSpPr/>
          <p:nvPr/>
        </p:nvSpPr>
        <p:spPr>
          <a:xfrm>
            <a:off x="4283872" y="6035081"/>
            <a:ext cx="20283" cy="6545"/>
          </a:xfrm>
          <a:custGeom>
            <a:avLst/>
            <a:gdLst/>
            <a:ahLst/>
            <a:cxnLst/>
            <a:rect l="l" t="t" r="r" b="b"/>
            <a:pathLst>
              <a:path w="82" h="43" extrusionOk="0">
                <a:moveTo>
                  <a:pt x="40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14" y="43"/>
                  <a:pt x="40" y="43"/>
                </a:cubicBezTo>
                <a:cubicBezTo>
                  <a:pt x="69" y="43"/>
                  <a:pt x="82" y="30"/>
                  <a:pt x="82" y="30"/>
                </a:cubicBezTo>
                <a:cubicBezTo>
                  <a:pt x="82" y="14"/>
                  <a:pt x="69" y="1"/>
                  <a:pt x="4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1" name="Google Shape;631;p26"/>
          <p:cNvSpPr/>
          <p:nvPr/>
        </p:nvSpPr>
        <p:spPr>
          <a:xfrm>
            <a:off x="4200515" y="6027318"/>
            <a:ext cx="23499" cy="3957"/>
          </a:xfrm>
          <a:custGeom>
            <a:avLst/>
            <a:gdLst/>
            <a:ahLst/>
            <a:cxnLst/>
            <a:rect l="l" t="t" r="r" b="b"/>
            <a:pathLst>
              <a:path w="95" h="26" extrusionOk="0">
                <a:moveTo>
                  <a:pt x="53" y="0"/>
                </a:moveTo>
                <a:cubicBezTo>
                  <a:pt x="27" y="0"/>
                  <a:pt x="1" y="0"/>
                  <a:pt x="1" y="13"/>
                </a:cubicBezTo>
                <a:cubicBezTo>
                  <a:pt x="1" y="26"/>
                  <a:pt x="27" y="26"/>
                  <a:pt x="40" y="26"/>
                </a:cubicBezTo>
                <a:cubicBezTo>
                  <a:pt x="69" y="26"/>
                  <a:pt x="95" y="26"/>
                  <a:pt x="95" y="13"/>
                </a:cubicBezTo>
                <a:cubicBezTo>
                  <a:pt x="95" y="13"/>
                  <a:pt x="69" y="0"/>
                  <a:pt x="53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2" name="Google Shape;632;p26"/>
          <p:cNvSpPr/>
          <p:nvPr/>
        </p:nvSpPr>
        <p:spPr>
          <a:xfrm>
            <a:off x="4247016" y="6020774"/>
            <a:ext cx="23499" cy="669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43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14" y="43"/>
                  <a:pt x="43" y="43"/>
                </a:cubicBezTo>
                <a:cubicBezTo>
                  <a:pt x="69" y="43"/>
                  <a:pt x="95" y="43"/>
                  <a:pt x="95" y="27"/>
                </a:cubicBezTo>
                <a:cubicBezTo>
                  <a:pt x="95" y="14"/>
                  <a:pt x="69" y="14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3" name="Google Shape;633;p26"/>
          <p:cNvSpPr/>
          <p:nvPr/>
        </p:nvSpPr>
        <p:spPr>
          <a:xfrm>
            <a:off x="4153269" y="6037059"/>
            <a:ext cx="20283" cy="4567"/>
          </a:xfrm>
          <a:custGeom>
            <a:avLst/>
            <a:gdLst/>
            <a:ahLst/>
            <a:cxnLst/>
            <a:rect l="l" t="t" r="r" b="b"/>
            <a:pathLst>
              <a:path w="82" h="30" extrusionOk="0">
                <a:moveTo>
                  <a:pt x="43" y="1"/>
                </a:moveTo>
                <a:cubicBezTo>
                  <a:pt x="17" y="1"/>
                  <a:pt x="1" y="1"/>
                  <a:pt x="1" y="17"/>
                </a:cubicBezTo>
                <a:cubicBezTo>
                  <a:pt x="1" y="17"/>
                  <a:pt x="17" y="30"/>
                  <a:pt x="43" y="30"/>
                </a:cubicBezTo>
                <a:cubicBezTo>
                  <a:pt x="69" y="30"/>
                  <a:pt x="82" y="30"/>
                  <a:pt x="82" y="17"/>
                </a:cubicBezTo>
                <a:cubicBezTo>
                  <a:pt x="82" y="17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4" name="Google Shape;634;p26"/>
          <p:cNvSpPr/>
          <p:nvPr/>
        </p:nvSpPr>
        <p:spPr>
          <a:xfrm>
            <a:off x="4327160" y="6024730"/>
            <a:ext cx="23499" cy="4567"/>
          </a:xfrm>
          <a:custGeom>
            <a:avLst/>
            <a:gdLst/>
            <a:ahLst/>
            <a:cxnLst/>
            <a:rect l="l" t="t" r="r" b="b"/>
            <a:pathLst>
              <a:path w="95" h="30" extrusionOk="0">
                <a:moveTo>
                  <a:pt x="43" y="1"/>
                </a:moveTo>
                <a:cubicBezTo>
                  <a:pt x="27" y="1"/>
                  <a:pt x="1" y="1"/>
                  <a:pt x="1" y="17"/>
                </a:cubicBezTo>
                <a:cubicBezTo>
                  <a:pt x="1" y="17"/>
                  <a:pt x="14" y="30"/>
                  <a:pt x="43" y="30"/>
                </a:cubicBezTo>
                <a:cubicBezTo>
                  <a:pt x="69" y="30"/>
                  <a:pt x="95" y="30"/>
                  <a:pt x="95" y="17"/>
                </a:cubicBezTo>
                <a:cubicBezTo>
                  <a:pt x="95" y="1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5" name="Google Shape;635;p26"/>
          <p:cNvSpPr/>
          <p:nvPr/>
        </p:nvSpPr>
        <p:spPr>
          <a:xfrm>
            <a:off x="4310340" y="6050757"/>
            <a:ext cx="23499" cy="5175"/>
          </a:xfrm>
          <a:custGeom>
            <a:avLst/>
            <a:gdLst/>
            <a:ahLst/>
            <a:cxnLst/>
            <a:rect l="l" t="t" r="r" b="b"/>
            <a:pathLst>
              <a:path w="95" h="34" extrusionOk="0">
                <a:moveTo>
                  <a:pt x="19" y="1"/>
                </a:moveTo>
                <a:cubicBezTo>
                  <a:pt x="6" y="1"/>
                  <a:pt x="1" y="8"/>
                  <a:pt x="1" y="8"/>
                </a:cubicBezTo>
                <a:cubicBezTo>
                  <a:pt x="1" y="21"/>
                  <a:pt x="14" y="34"/>
                  <a:pt x="43" y="34"/>
                </a:cubicBezTo>
                <a:cubicBezTo>
                  <a:pt x="69" y="34"/>
                  <a:pt x="82" y="34"/>
                  <a:pt x="82" y="21"/>
                </a:cubicBezTo>
                <a:cubicBezTo>
                  <a:pt x="95" y="8"/>
                  <a:pt x="69" y="8"/>
                  <a:pt x="43" y="8"/>
                </a:cubicBezTo>
                <a:cubicBezTo>
                  <a:pt x="33" y="3"/>
                  <a:pt x="25" y="1"/>
                  <a:pt x="19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6" name="Google Shape;636;p26"/>
          <p:cNvSpPr/>
          <p:nvPr/>
        </p:nvSpPr>
        <p:spPr>
          <a:xfrm>
            <a:off x="4163659" y="6013925"/>
            <a:ext cx="23499" cy="5023"/>
          </a:xfrm>
          <a:custGeom>
            <a:avLst/>
            <a:gdLst/>
            <a:ahLst/>
            <a:cxnLst/>
            <a:rect l="l" t="t" r="r" b="b"/>
            <a:pathLst>
              <a:path w="95" h="33" extrusionOk="0">
                <a:moveTo>
                  <a:pt x="26" y="0"/>
                </a:moveTo>
                <a:cubicBezTo>
                  <a:pt x="14" y="0"/>
                  <a:pt x="1" y="11"/>
                  <a:pt x="1" y="20"/>
                </a:cubicBezTo>
                <a:cubicBezTo>
                  <a:pt x="1" y="20"/>
                  <a:pt x="14" y="33"/>
                  <a:pt x="40" y="33"/>
                </a:cubicBezTo>
                <a:cubicBezTo>
                  <a:pt x="69" y="33"/>
                  <a:pt x="82" y="33"/>
                  <a:pt x="95" y="20"/>
                </a:cubicBezTo>
                <a:cubicBezTo>
                  <a:pt x="95" y="7"/>
                  <a:pt x="69" y="7"/>
                  <a:pt x="40" y="7"/>
                </a:cubicBezTo>
                <a:cubicBezTo>
                  <a:pt x="36" y="2"/>
                  <a:pt x="31" y="0"/>
                  <a:pt x="2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7" name="Google Shape;637;p26"/>
          <p:cNvSpPr/>
          <p:nvPr/>
        </p:nvSpPr>
        <p:spPr>
          <a:xfrm>
            <a:off x="4277441" y="6006465"/>
            <a:ext cx="23499" cy="6088"/>
          </a:xfrm>
          <a:custGeom>
            <a:avLst/>
            <a:gdLst/>
            <a:ahLst/>
            <a:cxnLst/>
            <a:rect l="l" t="t" r="r" b="b"/>
            <a:pathLst>
              <a:path w="95" h="40" extrusionOk="0">
                <a:moveTo>
                  <a:pt x="40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14" y="27"/>
                  <a:pt x="40" y="40"/>
                </a:cubicBezTo>
                <a:cubicBezTo>
                  <a:pt x="66" y="40"/>
                  <a:pt x="95" y="27"/>
                  <a:pt x="95" y="27"/>
                </a:cubicBezTo>
                <a:cubicBezTo>
                  <a:pt x="95" y="14"/>
                  <a:pt x="66" y="1"/>
                  <a:pt x="4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8" name="Google Shape;638;p26"/>
          <p:cNvSpPr/>
          <p:nvPr/>
        </p:nvSpPr>
        <p:spPr>
          <a:xfrm>
            <a:off x="4373664" y="6037060"/>
            <a:ext cx="24241" cy="6545"/>
          </a:xfrm>
          <a:custGeom>
            <a:avLst/>
            <a:gdLst/>
            <a:ahLst/>
            <a:cxnLst/>
            <a:rect l="l" t="t" r="r" b="b"/>
            <a:pathLst>
              <a:path w="98" h="43" extrusionOk="0">
                <a:moveTo>
                  <a:pt x="43" y="1"/>
                </a:moveTo>
                <a:cubicBezTo>
                  <a:pt x="30" y="1"/>
                  <a:pt x="1" y="1"/>
                  <a:pt x="1" y="17"/>
                </a:cubicBezTo>
                <a:cubicBezTo>
                  <a:pt x="1" y="30"/>
                  <a:pt x="17" y="30"/>
                  <a:pt x="43" y="43"/>
                </a:cubicBezTo>
                <a:cubicBezTo>
                  <a:pt x="69" y="43"/>
                  <a:pt x="98" y="30"/>
                  <a:pt x="98" y="30"/>
                </a:cubicBezTo>
                <a:cubicBezTo>
                  <a:pt x="98" y="17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9" name="Google Shape;639;p26"/>
          <p:cNvSpPr/>
          <p:nvPr/>
        </p:nvSpPr>
        <p:spPr>
          <a:xfrm>
            <a:off x="4093164" y="6027318"/>
            <a:ext cx="24241" cy="3957"/>
          </a:xfrm>
          <a:custGeom>
            <a:avLst/>
            <a:gdLst/>
            <a:ahLst/>
            <a:cxnLst/>
            <a:rect l="l" t="t" r="r" b="b"/>
            <a:pathLst>
              <a:path w="98" h="26" extrusionOk="0">
                <a:moveTo>
                  <a:pt x="56" y="0"/>
                </a:moveTo>
                <a:cubicBezTo>
                  <a:pt x="30" y="0"/>
                  <a:pt x="17" y="0"/>
                  <a:pt x="17" y="13"/>
                </a:cubicBezTo>
                <a:cubicBezTo>
                  <a:pt x="1" y="26"/>
                  <a:pt x="30" y="26"/>
                  <a:pt x="56" y="26"/>
                </a:cubicBezTo>
                <a:cubicBezTo>
                  <a:pt x="82" y="26"/>
                  <a:pt x="98" y="26"/>
                  <a:pt x="98" y="13"/>
                </a:cubicBezTo>
                <a:cubicBezTo>
                  <a:pt x="98" y="13"/>
                  <a:pt x="82" y="0"/>
                  <a:pt x="5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0" name="Google Shape;640;p26"/>
          <p:cNvSpPr/>
          <p:nvPr/>
        </p:nvSpPr>
        <p:spPr>
          <a:xfrm>
            <a:off x="4206945" y="6057758"/>
            <a:ext cx="23499" cy="669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56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27" y="27"/>
                  <a:pt x="56" y="43"/>
                </a:cubicBezTo>
                <a:cubicBezTo>
                  <a:pt x="69" y="43"/>
                  <a:pt x="95" y="27"/>
                  <a:pt x="95" y="27"/>
                </a:cubicBezTo>
                <a:cubicBezTo>
                  <a:pt x="95" y="14"/>
                  <a:pt x="82" y="1"/>
                  <a:pt x="56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1" name="Google Shape;641;p26"/>
          <p:cNvSpPr/>
          <p:nvPr/>
        </p:nvSpPr>
        <p:spPr>
          <a:xfrm>
            <a:off x="4243801" y="6045430"/>
            <a:ext cx="23499" cy="4109"/>
          </a:xfrm>
          <a:custGeom>
            <a:avLst/>
            <a:gdLst/>
            <a:ahLst/>
            <a:cxnLst/>
            <a:rect l="l" t="t" r="r" b="b"/>
            <a:pathLst>
              <a:path w="95" h="27" extrusionOk="0">
                <a:moveTo>
                  <a:pt x="56" y="1"/>
                </a:moveTo>
                <a:cubicBezTo>
                  <a:pt x="27" y="1"/>
                  <a:pt x="1" y="1"/>
                  <a:pt x="1" y="14"/>
                </a:cubicBezTo>
                <a:cubicBezTo>
                  <a:pt x="1" y="14"/>
                  <a:pt x="27" y="27"/>
                  <a:pt x="40" y="27"/>
                </a:cubicBezTo>
                <a:cubicBezTo>
                  <a:pt x="69" y="27"/>
                  <a:pt x="95" y="27"/>
                  <a:pt x="95" y="14"/>
                </a:cubicBezTo>
                <a:cubicBezTo>
                  <a:pt x="95" y="14"/>
                  <a:pt x="69" y="1"/>
                  <a:pt x="56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2" name="Google Shape;642;p26"/>
          <p:cNvSpPr/>
          <p:nvPr/>
        </p:nvSpPr>
        <p:spPr>
          <a:xfrm>
            <a:off x="2366877" y="6007685"/>
            <a:ext cx="23499" cy="4871"/>
          </a:xfrm>
          <a:custGeom>
            <a:avLst/>
            <a:gdLst/>
            <a:ahLst/>
            <a:cxnLst/>
            <a:rect l="l" t="t" r="r" b="b"/>
            <a:pathLst>
              <a:path w="95" h="32" extrusionOk="0">
                <a:moveTo>
                  <a:pt x="68" y="0"/>
                </a:moveTo>
                <a:cubicBezTo>
                  <a:pt x="60" y="0"/>
                  <a:pt x="52" y="2"/>
                  <a:pt x="43" y="6"/>
                </a:cubicBezTo>
                <a:cubicBezTo>
                  <a:pt x="30" y="6"/>
                  <a:pt x="1" y="6"/>
                  <a:pt x="1" y="19"/>
                </a:cubicBezTo>
                <a:cubicBezTo>
                  <a:pt x="1" y="32"/>
                  <a:pt x="30" y="32"/>
                  <a:pt x="56" y="32"/>
                </a:cubicBezTo>
                <a:cubicBezTo>
                  <a:pt x="69" y="32"/>
                  <a:pt x="95" y="19"/>
                  <a:pt x="95" y="6"/>
                </a:cubicBezTo>
                <a:cubicBezTo>
                  <a:pt x="95" y="6"/>
                  <a:pt x="83" y="0"/>
                  <a:pt x="6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3" name="Google Shape;643;p26"/>
          <p:cNvSpPr/>
          <p:nvPr/>
        </p:nvSpPr>
        <p:spPr>
          <a:xfrm>
            <a:off x="2450236" y="5998096"/>
            <a:ext cx="20283" cy="6545"/>
          </a:xfrm>
          <a:custGeom>
            <a:avLst/>
            <a:gdLst/>
            <a:ahLst/>
            <a:cxnLst/>
            <a:rect l="l" t="t" r="r" b="b"/>
            <a:pathLst>
              <a:path w="82" h="43" extrusionOk="0">
                <a:moveTo>
                  <a:pt x="43" y="1"/>
                </a:moveTo>
                <a:cubicBezTo>
                  <a:pt x="17" y="1"/>
                  <a:pt x="1" y="14"/>
                  <a:pt x="1" y="30"/>
                </a:cubicBezTo>
                <a:cubicBezTo>
                  <a:pt x="1" y="30"/>
                  <a:pt x="17" y="43"/>
                  <a:pt x="43" y="43"/>
                </a:cubicBezTo>
                <a:cubicBezTo>
                  <a:pt x="69" y="30"/>
                  <a:pt x="82" y="30"/>
                  <a:pt x="82" y="14"/>
                </a:cubicBezTo>
                <a:cubicBezTo>
                  <a:pt x="82" y="14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4" name="Google Shape;644;p26"/>
          <p:cNvSpPr/>
          <p:nvPr/>
        </p:nvSpPr>
        <p:spPr>
          <a:xfrm>
            <a:off x="2403733" y="5994138"/>
            <a:ext cx="23499" cy="4109"/>
          </a:xfrm>
          <a:custGeom>
            <a:avLst/>
            <a:gdLst/>
            <a:ahLst/>
            <a:cxnLst/>
            <a:rect l="l" t="t" r="r" b="b"/>
            <a:pathLst>
              <a:path w="95" h="27" extrusionOk="0">
                <a:moveTo>
                  <a:pt x="43" y="1"/>
                </a:moveTo>
                <a:cubicBezTo>
                  <a:pt x="14" y="1"/>
                  <a:pt x="1" y="1"/>
                  <a:pt x="1" y="14"/>
                </a:cubicBezTo>
                <a:cubicBezTo>
                  <a:pt x="1" y="27"/>
                  <a:pt x="14" y="27"/>
                  <a:pt x="43" y="27"/>
                </a:cubicBezTo>
                <a:cubicBezTo>
                  <a:pt x="69" y="27"/>
                  <a:pt x="95" y="14"/>
                  <a:pt x="82" y="14"/>
                </a:cubicBezTo>
                <a:cubicBezTo>
                  <a:pt x="82" y="1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5" name="Google Shape;645;p26"/>
          <p:cNvSpPr/>
          <p:nvPr/>
        </p:nvSpPr>
        <p:spPr>
          <a:xfrm>
            <a:off x="2497480" y="6008445"/>
            <a:ext cx="23499" cy="669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40" y="1"/>
                </a:moveTo>
                <a:cubicBezTo>
                  <a:pt x="27" y="1"/>
                  <a:pt x="1" y="14"/>
                  <a:pt x="1" y="27"/>
                </a:cubicBezTo>
                <a:cubicBezTo>
                  <a:pt x="1" y="27"/>
                  <a:pt x="27" y="43"/>
                  <a:pt x="53" y="43"/>
                </a:cubicBezTo>
                <a:cubicBezTo>
                  <a:pt x="69" y="27"/>
                  <a:pt x="95" y="27"/>
                  <a:pt x="95" y="14"/>
                </a:cubicBezTo>
                <a:cubicBezTo>
                  <a:pt x="95" y="1"/>
                  <a:pt x="69" y="1"/>
                  <a:pt x="4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6" name="Google Shape;646;p26"/>
          <p:cNvSpPr/>
          <p:nvPr/>
        </p:nvSpPr>
        <p:spPr>
          <a:xfrm>
            <a:off x="2323591" y="5996116"/>
            <a:ext cx="20283" cy="4109"/>
          </a:xfrm>
          <a:custGeom>
            <a:avLst/>
            <a:gdLst/>
            <a:ahLst/>
            <a:cxnLst/>
            <a:rect l="l" t="t" r="r" b="b"/>
            <a:pathLst>
              <a:path w="82" h="27" extrusionOk="0">
                <a:moveTo>
                  <a:pt x="43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27"/>
                  <a:pt x="14" y="27"/>
                  <a:pt x="43" y="27"/>
                </a:cubicBezTo>
                <a:cubicBezTo>
                  <a:pt x="69" y="27"/>
                  <a:pt x="82" y="27"/>
                  <a:pt x="82" y="14"/>
                </a:cubicBezTo>
                <a:cubicBezTo>
                  <a:pt x="82" y="1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7" name="Google Shape;647;p26"/>
          <p:cNvSpPr/>
          <p:nvPr/>
        </p:nvSpPr>
        <p:spPr>
          <a:xfrm>
            <a:off x="2340411" y="6022753"/>
            <a:ext cx="23499" cy="4719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40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27" y="30"/>
                  <a:pt x="40" y="30"/>
                </a:cubicBezTo>
                <a:cubicBezTo>
                  <a:pt x="69" y="30"/>
                  <a:pt x="95" y="14"/>
                  <a:pt x="95" y="14"/>
                </a:cubicBezTo>
                <a:cubicBezTo>
                  <a:pt x="95" y="1"/>
                  <a:pt x="69" y="1"/>
                  <a:pt x="4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8" name="Google Shape;648;p26"/>
          <p:cNvSpPr/>
          <p:nvPr/>
        </p:nvSpPr>
        <p:spPr>
          <a:xfrm>
            <a:off x="2487092" y="5985767"/>
            <a:ext cx="23499" cy="4719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43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30" y="30"/>
                  <a:pt x="43" y="30"/>
                </a:cubicBezTo>
                <a:cubicBezTo>
                  <a:pt x="69" y="30"/>
                  <a:pt x="95" y="30"/>
                  <a:pt x="95" y="14"/>
                </a:cubicBezTo>
                <a:cubicBezTo>
                  <a:pt x="95" y="1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9" name="Google Shape;649;p26"/>
          <p:cNvSpPr/>
          <p:nvPr/>
        </p:nvSpPr>
        <p:spPr>
          <a:xfrm>
            <a:off x="2374051" y="5979070"/>
            <a:ext cx="23499" cy="4871"/>
          </a:xfrm>
          <a:custGeom>
            <a:avLst/>
            <a:gdLst/>
            <a:ahLst/>
            <a:cxnLst/>
            <a:rect l="l" t="t" r="r" b="b"/>
            <a:pathLst>
              <a:path w="95" h="32" extrusionOk="0">
                <a:moveTo>
                  <a:pt x="62" y="0"/>
                </a:moveTo>
                <a:cubicBezTo>
                  <a:pt x="56" y="0"/>
                  <a:pt x="48" y="2"/>
                  <a:pt x="40" y="6"/>
                </a:cubicBezTo>
                <a:cubicBezTo>
                  <a:pt x="14" y="6"/>
                  <a:pt x="1" y="6"/>
                  <a:pt x="1" y="19"/>
                </a:cubicBezTo>
                <a:cubicBezTo>
                  <a:pt x="1" y="32"/>
                  <a:pt x="14" y="32"/>
                  <a:pt x="40" y="32"/>
                </a:cubicBezTo>
                <a:cubicBezTo>
                  <a:pt x="66" y="32"/>
                  <a:pt x="95" y="19"/>
                  <a:pt x="82" y="6"/>
                </a:cubicBezTo>
                <a:cubicBezTo>
                  <a:pt x="82" y="6"/>
                  <a:pt x="75" y="0"/>
                  <a:pt x="62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0" name="Google Shape;650;p26"/>
          <p:cNvSpPr/>
          <p:nvPr/>
        </p:nvSpPr>
        <p:spPr>
          <a:xfrm>
            <a:off x="2277088" y="6008445"/>
            <a:ext cx="20283" cy="6697"/>
          </a:xfrm>
          <a:custGeom>
            <a:avLst/>
            <a:gdLst/>
            <a:ahLst/>
            <a:cxnLst/>
            <a:rect l="l" t="t" r="r" b="b"/>
            <a:pathLst>
              <a:path w="82" h="44" extrusionOk="0">
                <a:moveTo>
                  <a:pt x="40" y="1"/>
                </a:moveTo>
                <a:cubicBezTo>
                  <a:pt x="14" y="14"/>
                  <a:pt x="1" y="14"/>
                  <a:pt x="1" y="27"/>
                </a:cubicBezTo>
                <a:cubicBezTo>
                  <a:pt x="1" y="43"/>
                  <a:pt x="14" y="43"/>
                  <a:pt x="40" y="43"/>
                </a:cubicBezTo>
                <a:cubicBezTo>
                  <a:pt x="69" y="43"/>
                  <a:pt x="82" y="27"/>
                  <a:pt x="82" y="14"/>
                </a:cubicBezTo>
                <a:cubicBezTo>
                  <a:pt x="82" y="14"/>
                  <a:pt x="69" y="1"/>
                  <a:pt x="4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1" name="Google Shape;651;p26"/>
          <p:cNvSpPr/>
          <p:nvPr/>
        </p:nvSpPr>
        <p:spPr>
          <a:xfrm>
            <a:off x="2554372" y="5998096"/>
            <a:ext cx="23499" cy="6545"/>
          </a:xfrm>
          <a:custGeom>
            <a:avLst/>
            <a:gdLst/>
            <a:ahLst/>
            <a:cxnLst/>
            <a:rect l="l" t="t" r="r" b="b"/>
            <a:pathLst>
              <a:path w="95" h="43" extrusionOk="0">
                <a:moveTo>
                  <a:pt x="53" y="1"/>
                </a:moveTo>
                <a:cubicBezTo>
                  <a:pt x="27" y="1"/>
                  <a:pt x="1" y="14"/>
                  <a:pt x="1" y="30"/>
                </a:cubicBezTo>
                <a:cubicBezTo>
                  <a:pt x="1" y="30"/>
                  <a:pt x="27" y="43"/>
                  <a:pt x="53" y="43"/>
                </a:cubicBezTo>
                <a:cubicBezTo>
                  <a:pt x="82" y="30"/>
                  <a:pt x="95" y="30"/>
                  <a:pt x="95" y="14"/>
                </a:cubicBezTo>
                <a:cubicBezTo>
                  <a:pt x="95" y="1"/>
                  <a:pt x="66" y="1"/>
                  <a:pt x="5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2" name="Google Shape;652;p26"/>
          <p:cNvSpPr/>
          <p:nvPr/>
        </p:nvSpPr>
        <p:spPr>
          <a:xfrm>
            <a:off x="2440589" y="6029296"/>
            <a:ext cx="23499" cy="5936"/>
          </a:xfrm>
          <a:custGeom>
            <a:avLst/>
            <a:gdLst/>
            <a:ahLst/>
            <a:cxnLst/>
            <a:rect l="l" t="t" r="r" b="b"/>
            <a:pathLst>
              <a:path w="95" h="39" extrusionOk="0">
                <a:moveTo>
                  <a:pt x="56" y="0"/>
                </a:moveTo>
                <a:cubicBezTo>
                  <a:pt x="27" y="13"/>
                  <a:pt x="1" y="13"/>
                  <a:pt x="14" y="26"/>
                </a:cubicBezTo>
                <a:cubicBezTo>
                  <a:pt x="14" y="39"/>
                  <a:pt x="27" y="39"/>
                  <a:pt x="56" y="39"/>
                </a:cubicBezTo>
                <a:cubicBezTo>
                  <a:pt x="82" y="39"/>
                  <a:pt x="95" y="26"/>
                  <a:pt x="95" y="13"/>
                </a:cubicBezTo>
                <a:cubicBezTo>
                  <a:pt x="95" y="13"/>
                  <a:pt x="82" y="0"/>
                  <a:pt x="5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3" name="Google Shape;653;p26"/>
          <p:cNvSpPr/>
          <p:nvPr/>
        </p:nvSpPr>
        <p:spPr>
          <a:xfrm>
            <a:off x="2406949" y="6016969"/>
            <a:ext cx="20283" cy="4871"/>
          </a:xfrm>
          <a:custGeom>
            <a:avLst/>
            <a:gdLst/>
            <a:ahLst/>
            <a:cxnLst/>
            <a:rect l="l" t="t" r="r" b="b"/>
            <a:pathLst>
              <a:path w="82" h="32" extrusionOk="0">
                <a:moveTo>
                  <a:pt x="43" y="0"/>
                </a:moveTo>
                <a:cubicBezTo>
                  <a:pt x="14" y="0"/>
                  <a:pt x="1" y="13"/>
                  <a:pt x="1" y="26"/>
                </a:cubicBezTo>
                <a:cubicBezTo>
                  <a:pt x="1" y="26"/>
                  <a:pt x="7" y="32"/>
                  <a:pt x="19" y="32"/>
                </a:cubicBezTo>
                <a:cubicBezTo>
                  <a:pt x="25" y="32"/>
                  <a:pt x="33" y="30"/>
                  <a:pt x="43" y="26"/>
                </a:cubicBezTo>
                <a:cubicBezTo>
                  <a:pt x="69" y="26"/>
                  <a:pt x="82" y="26"/>
                  <a:pt x="82" y="13"/>
                </a:cubicBezTo>
                <a:cubicBezTo>
                  <a:pt x="82" y="0"/>
                  <a:pt x="69" y="0"/>
                  <a:pt x="43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4" name="Google Shape;654;p26"/>
          <p:cNvSpPr/>
          <p:nvPr/>
        </p:nvSpPr>
        <p:spPr>
          <a:xfrm>
            <a:off x="9094425" y="5974121"/>
            <a:ext cx="815288" cy="513376"/>
          </a:xfrm>
          <a:custGeom>
            <a:avLst/>
            <a:gdLst/>
            <a:ahLst/>
            <a:cxnLst/>
            <a:rect l="l" t="t" r="r" b="b"/>
            <a:pathLst>
              <a:path w="3296" h="3373" extrusionOk="0">
                <a:moveTo>
                  <a:pt x="1932" y="0"/>
                </a:moveTo>
                <a:lnTo>
                  <a:pt x="1757" y="457"/>
                </a:lnTo>
                <a:lnTo>
                  <a:pt x="1689" y="392"/>
                </a:lnTo>
                <a:lnTo>
                  <a:pt x="1595" y="214"/>
                </a:lnTo>
                <a:lnTo>
                  <a:pt x="1498" y="94"/>
                </a:lnTo>
                <a:lnTo>
                  <a:pt x="1404" y="243"/>
                </a:lnTo>
                <a:lnTo>
                  <a:pt x="1297" y="149"/>
                </a:lnTo>
                <a:lnTo>
                  <a:pt x="1203" y="188"/>
                </a:lnTo>
                <a:lnTo>
                  <a:pt x="1174" y="418"/>
                </a:lnTo>
                <a:lnTo>
                  <a:pt x="1067" y="405"/>
                </a:lnTo>
                <a:lnTo>
                  <a:pt x="837" y="120"/>
                </a:lnTo>
                <a:lnTo>
                  <a:pt x="973" y="606"/>
                </a:lnTo>
                <a:lnTo>
                  <a:pt x="973" y="606"/>
                </a:lnTo>
                <a:lnTo>
                  <a:pt x="717" y="350"/>
                </a:lnTo>
                <a:lnTo>
                  <a:pt x="607" y="376"/>
                </a:lnTo>
                <a:lnTo>
                  <a:pt x="649" y="593"/>
                </a:lnTo>
                <a:lnTo>
                  <a:pt x="649" y="593"/>
                </a:lnTo>
                <a:lnTo>
                  <a:pt x="445" y="525"/>
                </a:lnTo>
                <a:lnTo>
                  <a:pt x="338" y="567"/>
                </a:lnTo>
                <a:lnTo>
                  <a:pt x="487" y="823"/>
                </a:lnTo>
                <a:lnTo>
                  <a:pt x="594" y="998"/>
                </a:lnTo>
                <a:lnTo>
                  <a:pt x="150" y="836"/>
                </a:lnTo>
                <a:lnTo>
                  <a:pt x="150" y="836"/>
                </a:lnTo>
                <a:lnTo>
                  <a:pt x="202" y="985"/>
                </a:lnTo>
                <a:lnTo>
                  <a:pt x="406" y="1186"/>
                </a:lnTo>
                <a:lnTo>
                  <a:pt x="14" y="1134"/>
                </a:lnTo>
                <a:lnTo>
                  <a:pt x="218" y="1309"/>
                </a:lnTo>
                <a:lnTo>
                  <a:pt x="244" y="1403"/>
                </a:lnTo>
                <a:lnTo>
                  <a:pt x="14" y="1471"/>
                </a:lnTo>
                <a:lnTo>
                  <a:pt x="364" y="1591"/>
                </a:lnTo>
                <a:lnTo>
                  <a:pt x="202" y="1672"/>
                </a:lnTo>
                <a:lnTo>
                  <a:pt x="1" y="1782"/>
                </a:lnTo>
                <a:lnTo>
                  <a:pt x="95" y="1876"/>
                </a:lnTo>
                <a:lnTo>
                  <a:pt x="150" y="1957"/>
                </a:lnTo>
                <a:lnTo>
                  <a:pt x="393" y="1996"/>
                </a:lnTo>
                <a:lnTo>
                  <a:pt x="189" y="2145"/>
                </a:lnTo>
                <a:lnTo>
                  <a:pt x="312" y="2213"/>
                </a:lnTo>
                <a:lnTo>
                  <a:pt x="121" y="2401"/>
                </a:lnTo>
                <a:lnTo>
                  <a:pt x="121" y="2401"/>
                </a:lnTo>
                <a:lnTo>
                  <a:pt x="461" y="2336"/>
                </a:lnTo>
                <a:lnTo>
                  <a:pt x="380" y="2482"/>
                </a:lnTo>
                <a:lnTo>
                  <a:pt x="312" y="2660"/>
                </a:lnTo>
                <a:lnTo>
                  <a:pt x="312" y="2660"/>
                </a:lnTo>
                <a:lnTo>
                  <a:pt x="636" y="2524"/>
                </a:lnTo>
                <a:lnTo>
                  <a:pt x="688" y="2579"/>
                </a:lnTo>
                <a:lnTo>
                  <a:pt x="769" y="2618"/>
                </a:lnTo>
                <a:lnTo>
                  <a:pt x="850" y="2644"/>
                </a:lnTo>
                <a:lnTo>
                  <a:pt x="743" y="2942"/>
                </a:lnTo>
                <a:lnTo>
                  <a:pt x="931" y="2822"/>
                </a:lnTo>
                <a:lnTo>
                  <a:pt x="879" y="3146"/>
                </a:lnTo>
                <a:lnTo>
                  <a:pt x="1122" y="2835"/>
                </a:lnTo>
                <a:lnTo>
                  <a:pt x="1109" y="3130"/>
                </a:lnTo>
                <a:lnTo>
                  <a:pt x="1203" y="3146"/>
                </a:lnTo>
                <a:lnTo>
                  <a:pt x="1297" y="3211"/>
                </a:lnTo>
                <a:lnTo>
                  <a:pt x="1391" y="3240"/>
                </a:lnTo>
                <a:lnTo>
                  <a:pt x="1514" y="3049"/>
                </a:lnTo>
                <a:lnTo>
                  <a:pt x="1595" y="3373"/>
                </a:lnTo>
                <a:lnTo>
                  <a:pt x="1702" y="3159"/>
                </a:lnTo>
                <a:lnTo>
                  <a:pt x="1809" y="3292"/>
                </a:lnTo>
                <a:lnTo>
                  <a:pt x="1838" y="2874"/>
                </a:lnTo>
                <a:lnTo>
                  <a:pt x="1945" y="2955"/>
                </a:lnTo>
                <a:lnTo>
                  <a:pt x="2052" y="3023"/>
                </a:lnTo>
                <a:lnTo>
                  <a:pt x="2094" y="2874"/>
                </a:lnTo>
                <a:lnTo>
                  <a:pt x="2256" y="3023"/>
                </a:lnTo>
                <a:lnTo>
                  <a:pt x="2324" y="2929"/>
                </a:lnTo>
                <a:lnTo>
                  <a:pt x="2499" y="3010"/>
                </a:lnTo>
                <a:lnTo>
                  <a:pt x="2499" y="3010"/>
                </a:lnTo>
                <a:lnTo>
                  <a:pt x="2457" y="2793"/>
                </a:lnTo>
                <a:lnTo>
                  <a:pt x="2606" y="2822"/>
                </a:lnTo>
                <a:lnTo>
                  <a:pt x="2632" y="2712"/>
                </a:lnTo>
                <a:lnTo>
                  <a:pt x="2674" y="2618"/>
                </a:lnTo>
                <a:lnTo>
                  <a:pt x="2781" y="2592"/>
                </a:lnTo>
                <a:lnTo>
                  <a:pt x="2972" y="2592"/>
                </a:lnTo>
                <a:lnTo>
                  <a:pt x="2768" y="2349"/>
                </a:lnTo>
                <a:lnTo>
                  <a:pt x="2956" y="2349"/>
                </a:lnTo>
                <a:lnTo>
                  <a:pt x="2781" y="2158"/>
                </a:lnTo>
                <a:lnTo>
                  <a:pt x="2917" y="2119"/>
                </a:lnTo>
                <a:lnTo>
                  <a:pt x="2810" y="1996"/>
                </a:lnTo>
                <a:lnTo>
                  <a:pt x="3024" y="1957"/>
                </a:lnTo>
                <a:lnTo>
                  <a:pt x="2930" y="1850"/>
                </a:lnTo>
                <a:lnTo>
                  <a:pt x="2810" y="1753"/>
                </a:lnTo>
                <a:lnTo>
                  <a:pt x="3118" y="1672"/>
                </a:lnTo>
                <a:lnTo>
                  <a:pt x="2956" y="1578"/>
                </a:lnTo>
                <a:lnTo>
                  <a:pt x="3296" y="1458"/>
                </a:lnTo>
                <a:lnTo>
                  <a:pt x="2917" y="1416"/>
                </a:lnTo>
                <a:lnTo>
                  <a:pt x="3118" y="1267"/>
                </a:lnTo>
                <a:lnTo>
                  <a:pt x="2875" y="1241"/>
                </a:lnTo>
                <a:lnTo>
                  <a:pt x="2998" y="1092"/>
                </a:lnTo>
                <a:lnTo>
                  <a:pt x="2943" y="1011"/>
                </a:lnTo>
                <a:lnTo>
                  <a:pt x="2943" y="904"/>
                </a:lnTo>
                <a:lnTo>
                  <a:pt x="3011" y="729"/>
                </a:lnTo>
                <a:lnTo>
                  <a:pt x="2687" y="836"/>
                </a:lnTo>
                <a:lnTo>
                  <a:pt x="2619" y="768"/>
                </a:lnTo>
                <a:lnTo>
                  <a:pt x="2755" y="525"/>
                </a:lnTo>
                <a:lnTo>
                  <a:pt x="2431" y="729"/>
                </a:lnTo>
                <a:lnTo>
                  <a:pt x="2470" y="538"/>
                </a:lnTo>
                <a:lnTo>
                  <a:pt x="2499" y="337"/>
                </a:lnTo>
                <a:lnTo>
                  <a:pt x="2444" y="201"/>
                </a:lnTo>
                <a:lnTo>
                  <a:pt x="2243" y="363"/>
                </a:lnTo>
                <a:lnTo>
                  <a:pt x="2175" y="295"/>
                </a:lnTo>
                <a:lnTo>
                  <a:pt x="2052" y="350"/>
                </a:lnTo>
                <a:lnTo>
                  <a:pt x="1958" y="337"/>
                </a:lnTo>
                <a:lnTo>
                  <a:pt x="1932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5" name="Google Shape;655;p26"/>
          <p:cNvSpPr/>
          <p:nvPr/>
        </p:nvSpPr>
        <p:spPr>
          <a:xfrm>
            <a:off x="8667245" y="6142151"/>
            <a:ext cx="584504" cy="368024"/>
          </a:xfrm>
          <a:custGeom>
            <a:avLst/>
            <a:gdLst/>
            <a:ahLst/>
            <a:cxnLst/>
            <a:rect l="l" t="t" r="r" b="b"/>
            <a:pathLst>
              <a:path w="2363" h="2418" extrusionOk="0">
                <a:moveTo>
                  <a:pt x="973" y="1"/>
                </a:moveTo>
                <a:lnTo>
                  <a:pt x="957" y="244"/>
                </a:lnTo>
                <a:lnTo>
                  <a:pt x="892" y="244"/>
                </a:lnTo>
                <a:lnTo>
                  <a:pt x="811" y="218"/>
                </a:lnTo>
                <a:lnTo>
                  <a:pt x="756" y="273"/>
                </a:lnTo>
                <a:lnTo>
                  <a:pt x="607" y="150"/>
                </a:lnTo>
                <a:lnTo>
                  <a:pt x="581" y="244"/>
                </a:lnTo>
                <a:lnTo>
                  <a:pt x="594" y="393"/>
                </a:lnTo>
                <a:lnTo>
                  <a:pt x="620" y="516"/>
                </a:lnTo>
                <a:lnTo>
                  <a:pt x="620" y="516"/>
                </a:lnTo>
                <a:lnTo>
                  <a:pt x="390" y="380"/>
                </a:lnTo>
                <a:lnTo>
                  <a:pt x="487" y="555"/>
                </a:lnTo>
                <a:lnTo>
                  <a:pt x="432" y="597"/>
                </a:lnTo>
                <a:lnTo>
                  <a:pt x="202" y="529"/>
                </a:lnTo>
                <a:lnTo>
                  <a:pt x="202" y="529"/>
                </a:lnTo>
                <a:lnTo>
                  <a:pt x="257" y="649"/>
                </a:lnTo>
                <a:lnTo>
                  <a:pt x="244" y="730"/>
                </a:lnTo>
                <a:lnTo>
                  <a:pt x="215" y="785"/>
                </a:lnTo>
                <a:lnTo>
                  <a:pt x="296" y="892"/>
                </a:lnTo>
                <a:lnTo>
                  <a:pt x="121" y="908"/>
                </a:lnTo>
                <a:lnTo>
                  <a:pt x="270" y="1015"/>
                </a:lnTo>
                <a:lnTo>
                  <a:pt x="1" y="1041"/>
                </a:lnTo>
                <a:lnTo>
                  <a:pt x="244" y="1135"/>
                </a:lnTo>
                <a:lnTo>
                  <a:pt x="121" y="1203"/>
                </a:lnTo>
                <a:lnTo>
                  <a:pt x="351" y="1258"/>
                </a:lnTo>
                <a:lnTo>
                  <a:pt x="270" y="1326"/>
                </a:lnTo>
                <a:lnTo>
                  <a:pt x="189" y="1407"/>
                </a:lnTo>
                <a:lnTo>
                  <a:pt x="351" y="1433"/>
                </a:lnTo>
                <a:lnTo>
                  <a:pt x="270" y="1527"/>
                </a:lnTo>
                <a:lnTo>
                  <a:pt x="364" y="1556"/>
                </a:lnTo>
                <a:lnTo>
                  <a:pt x="244" y="1689"/>
                </a:lnTo>
                <a:lnTo>
                  <a:pt x="377" y="1689"/>
                </a:lnTo>
                <a:lnTo>
                  <a:pt x="228" y="1864"/>
                </a:lnTo>
                <a:lnTo>
                  <a:pt x="364" y="1851"/>
                </a:lnTo>
                <a:lnTo>
                  <a:pt x="445" y="1880"/>
                </a:lnTo>
                <a:lnTo>
                  <a:pt x="471" y="1945"/>
                </a:lnTo>
                <a:lnTo>
                  <a:pt x="500" y="2026"/>
                </a:lnTo>
                <a:lnTo>
                  <a:pt x="607" y="2000"/>
                </a:lnTo>
                <a:lnTo>
                  <a:pt x="581" y="2162"/>
                </a:lnTo>
                <a:lnTo>
                  <a:pt x="581" y="2162"/>
                </a:lnTo>
                <a:lnTo>
                  <a:pt x="701" y="2094"/>
                </a:lnTo>
                <a:lnTo>
                  <a:pt x="743" y="2162"/>
                </a:lnTo>
                <a:lnTo>
                  <a:pt x="863" y="2068"/>
                </a:lnTo>
                <a:lnTo>
                  <a:pt x="892" y="2175"/>
                </a:lnTo>
                <a:lnTo>
                  <a:pt x="973" y="2123"/>
                </a:lnTo>
                <a:lnTo>
                  <a:pt x="1038" y="2068"/>
                </a:lnTo>
                <a:lnTo>
                  <a:pt x="1067" y="2366"/>
                </a:lnTo>
                <a:lnTo>
                  <a:pt x="1148" y="2269"/>
                </a:lnTo>
                <a:lnTo>
                  <a:pt x="1216" y="2418"/>
                </a:lnTo>
                <a:lnTo>
                  <a:pt x="1281" y="2188"/>
                </a:lnTo>
                <a:lnTo>
                  <a:pt x="1362" y="2324"/>
                </a:lnTo>
                <a:lnTo>
                  <a:pt x="1430" y="2298"/>
                </a:lnTo>
                <a:lnTo>
                  <a:pt x="1498" y="2256"/>
                </a:lnTo>
                <a:lnTo>
                  <a:pt x="1566" y="2243"/>
                </a:lnTo>
                <a:lnTo>
                  <a:pt x="1566" y="2042"/>
                </a:lnTo>
                <a:lnTo>
                  <a:pt x="1741" y="2256"/>
                </a:lnTo>
                <a:lnTo>
                  <a:pt x="1686" y="2026"/>
                </a:lnTo>
                <a:lnTo>
                  <a:pt x="1822" y="2123"/>
                </a:lnTo>
                <a:lnTo>
                  <a:pt x="1822" y="2123"/>
                </a:lnTo>
                <a:lnTo>
                  <a:pt x="1754" y="1906"/>
                </a:lnTo>
                <a:lnTo>
                  <a:pt x="1809" y="1880"/>
                </a:lnTo>
                <a:lnTo>
                  <a:pt x="1864" y="1851"/>
                </a:lnTo>
                <a:lnTo>
                  <a:pt x="1916" y="1812"/>
                </a:lnTo>
                <a:lnTo>
                  <a:pt x="2146" y="1919"/>
                </a:lnTo>
                <a:lnTo>
                  <a:pt x="2091" y="1783"/>
                </a:lnTo>
                <a:lnTo>
                  <a:pt x="2026" y="1676"/>
                </a:lnTo>
                <a:lnTo>
                  <a:pt x="2026" y="1676"/>
                </a:lnTo>
                <a:lnTo>
                  <a:pt x="2282" y="1731"/>
                </a:lnTo>
                <a:lnTo>
                  <a:pt x="2146" y="1582"/>
                </a:lnTo>
                <a:lnTo>
                  <a:pt x="2227" y="1540"/>
                </a:lnTo>
                <a:lnTo>
                  <a:pt x="2078" y="1433"/>
                </a:lnTo>
                <a:lnTo>
                  <a:pt x="2253" y="1407"/>
                </a:lnTo>
                <a:lnTo>
                  <a:pt x="2295" y="1339"/>
                </a:lnTo>
                <a:lnTo>
                  <a:pt x="2363" y="1284"/>
                </a:lnTo>
                <a:lnTo>
                  <a:pt x="2227" y="1203"/>
                </a:lnTo>
                <a:lnTo>
                  <a:pt x="2107" y="1151"/>
                </a:lnTo>
                <a:lnTo>
                  <a:pt x="2350" y="1054"/>
                </a:lnTo>
                <a:lnTo>
                  <a:pt x="2188" y="1015"/>
                </a:lnTo>
                <a:lnTo>
                  <a:pt x="2214" y="934"/>
                </a:lnTo>
                <a:lnTo>
                  <a:pt x="2350" y="811"/>
                </a:lnTo>
                <a:lnTo>
                  <a:pt x="2065" y="853"/>
                </a:lnTo>
                <a:lnTo>
                  <a:pt x="2214" y="704"/>
                </a:lnTo>
                <a:lnTo>
                  <a:pt x="2253" y="597"/>
                </a:lnTo>
                <a:lnTo>
                  <a:pt x="2253" y="597"/>
                </a:lnTo>
                <a:lnTo>
                  <a:pt x="1929" y="717"/>
                </a:lnTo>
                <a:lnTo>
                  <a:pt x="1929" y="717"/>
                </a:lnTo>
                <a:lnTo>
                  <a:pt x="2010" y="597"/>
                </a:lnTo>
                <a:lnTo>
                  <a:pt x="2120" y="406"/>
                </a:lnTo>
                <a:lnTo>
                  <a:pt x="2039" y="380"/>
                </a:lnTo>
                <a:lnTo>
                  <a:pt x="1890" y="435"/>
                </a:lnTo>
                <a:lnTo>
                  <a:pt x="1929" y="273"/>
                </a:lnTo>
                <a:lnTo>
                  <a:pt x="1848" y="260"/>
                </a:lnTo>
                <a:lnTo>
                  <a:pt x="1660" y="435"/>
                </a:lnTo>
                <a:lnTo>
                  <a:pt x="1767" y="98"/>
                </a:lnTo>
                <a:lnTo>
                  <a:pt x="1592" y="299"/>
                </a:lnTo>
                <a:lnTo>
                  <a:pt x="1524" y="299"/>
                </a:lnTo>
                <a:lnTo>
                  <a:pt x="1498" y="137"/>
                </a:lnTo>
                <a:lnTo>
                  <a:pt x="1430" y="111"/>
                </a:lnTo>
                <a:lnTo>
                  <a:pt x="1349" y="179"/>
                </a:lnTo>
                <a:lnTo>
                  <a:pt x="1297" y="69"/>
                </a:lnTo>
                <a:lnTo>
                  <a:pt x="1216" y="150"/>
                </a:lnTo>
                <a:lnTo>
                  <a:pt x="1161" y="286"/>
                </a:lnTo>
                <a:lnTo>
                  <a:pt x="1106" y="341"/>
                </a:lnTo>
                <a:lnTo>
                  <a:pt x="973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6" name="Google Shape;656;p26"/>
          <p:cNvSpPr/>
          <p:nvPr/>
        </p:nvSpPr>
        <p:spPr>
          <a:xfrm>
            <a:off x="1751207" y="6150798"/>
            <a:ext cx="10542341" cy="976545"/>
          </a:xfrm>
          <a:custGeom>
            <a:avLst/>
            <a:gdLst/>
            <a:ahLst/>
            <a:cxnLst/>
            <a:rect l="l" t="t" r="r" b="b"/>
            <a:pathLst>
              <a:path w="42620" h="10715" extrusionOk="0">
                <a:moveTo>
                  <a:pt x="42620" y="0"/>
                </a:moveTo>
                <a:cubicBezTo>
                  <a:pt x="40783" y="94"/>
                  <a:pt x="38907" y="214"/>
                  <a:pt x="37005" y="350"/>
                </a:cubicBezTo>
                <a:cubicBezTo>
                  <a:pt x="16415" y="1847"/>
                  <a:pt x="1" y="5236"/>
                  <a:pt x="325" y="7896"/>
                </a:cubicBezTo>
                <a:cubicBezTo>
                  <a:pt x="553" y="9699"/>
                  <a:pt x="8423" y="10715"/>
                  <a:pt x="19883" y="10715"/>
                </a:cubicBezTo>
                <a:cubicBezTo>
                  <a:pt x="25329" y="10715"/>
                  <a:pt x="31587" y="10485"/>
                  <a:pt x="38220" y="10002"/>
                </a:cubicBezTo>
                <a:cubicBezTo>
                  <a:pt x="39717" y="9895"/>
                  <a:pt x="41175" y="9772"/>
                  <a:pt x="42620" y="9652"/>
                </a:cubicBezTo>
                <a:lnTo>
                  <a:pt x="4262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7" name="Google Shape;657;p26"/>
          <p:cNvSpPr/>
          <p:nvPr/>
        </p:nvSpPr>
        <p:spPr>
          <a:xfrm>
            <a:off x="-47779" y="5946650"/>
            <a:ext cx="772000" cy="538949"/>
          </a:xfrm>
          <a:custGeom>
            <a:avLst/>
            <a:gdLst/>
            <a:ahLst/>
            <a:cxnLst/>
            <a:rect l="l" t="t" r="r" b="b"/>
            <a:pathLst>
              <a:path w="3121" h="3216" extrusionOk="0">
                <a:moveTo>
                  <a:pt x="1825" y="1"/>
                </a:moveTo>
                <a:lnTo>
                  <a:pt x="1663" y="445"/>
                </a:lnTo>
                <a:lnTo>
                  <a:pt x="1595" y="380"/>
                </a:lnTo>
                <a:lnTo>
                  <a:pt x="1514" y="218"/>
                </a:lnTo>
                <a:lnTo>
                  <a:pt x="1420" y="95"/>
                </a:lnTo>
                <a:lnTo>
                  <a:pt x="1339" y="244"/>
                </a:lnTo>
                <a:lnTo>
                  <a:pt x="1229" y="150"/>
                </a:lnTo>
                <a:lnTo>
                  <a:pt x="1135" y="189"/>
                </a:lnTo>
                <a:lnTo>
                  <a:pt x="1109" y="406"/>
                </a:lnTo>
                <a:lnTo>
                  <a:pt x="1015" y="393"/>
                </a:lnTo>
                <a:lnTo>
                  <a:pt x="785" y="137"/>
                </a:lnTo>
                <a:lnTo>
                  <a:pt x="921" y="581"/>
                </a:lnTo>
                <a:lnTo>
                  <a:pt x="921" y="581"/>
                </a:lnTo>
                <a:lnTo>
                  <a:pt x="678" y="338"/>
                </a:lnTo>
                <a:lnTo>
                  <a:pt x="568" y="380"/>
                </a:lnTo>
                <a:lnTo>
                  <a:pt x="623" y="581"/>
                </a:lnTo>
                <a:lnTo>
                  <a:pt x="435" y="513"/>
                </a:lnTo>
                <a:lnTo>
                  <a:pt x="325" y="555"/>
                </a:lnTo>
                <a:lnTo>
                  <a:pt x="461" y="785"/>
                </a:lnTo>
                <a:lnTo>
                  <a:pt x="568" y="960"/>
                </a:lnTo>
                <a:lnTo>
                  <a:pt x="568" y="960"/>
                </a:lnTo>
                <a:lnTo>
                  <a:pt x="137" y="798"/>
                </a:lnTo>
                <a:lnTo>
                  <a:pt x="137" y="798"/>
                </a:lnTo>
                <a:lnTo>
                  <a:pt x="192" y="947"/>
                </a:lnTo>
                <a:lnTo>
                  <a:pt x="380" y="1135"/>
                </a:lnTo>
                <a:lnTo>
                  <a:pt x="14" y="1080"/>
                </a:lnTo>
                <a:lnTo>
                  <a:pt x="205" y="1242"/>
                </a:lnTo>
                <a:lnTo>
                  <a:pt x="231" y="1336"/>
                </a:lnTo>
                <a:lnTo>
                  <a:pt x="14" y="1404"/>
                </a:lnTo>
                <a:lnTo>
                  <a:pt x="338" y="1527"/>
                </a:lnTo>
                <a:lnTo>
                  <a:pt x="192" y="1595"/>
                </a:lnTo>
                <a:lnTo>
                  <a:pt x="1" y="1702"/>
                </a:lnTo>
                <a:lnTo>
                  <a:pt x="95" y="1783"/>
                </a:lnTo>
                <a:lnTo>
                  <a:pt x="150" y="1864"/>
                </a:lnTo>
                <a:lnTo>
                  <a:pt x="367" y="1903"/>
                </a:lnTo>
                <a:lnTo>
                  <a:pt x="192" y="2052"/>
                </a:lnTo>
                <a:lnTo>
                  <a:pt x="299" y="2107"/>
                </a:lnTo>
                <a:lnTo>
                  <a:pt x="111" y="2282"/>
                </a:lnTo>
                <a:lnTo>
                  <a:pt x="435" y="2214"/>
                </a:lnTo>
                <a:lnTo>
                  <a:pt x="367" y="2363"/>
                </a:lnTo>
                <a:lnTo>
                  <a:pt x="299" y="2538"/>
                </a:lnTo>
                <a:lnTo>
                  <a:pt x="299" y="2538"/>
                </a:lnTo>
                <a:lnTo>
                  <a:pt x="597" y="2405"/>
                </a:lnTo>
                <a:lnTo>
                  <a:pt x="649" y="2457"/>
                </a:lnTo>
                <a:lnTo>
                  <a:pt x="730" y="2486"/>
                </a:lnTo>
                <a:lnTo>
                  <a:pt x="811" y="2512"/>
                </a:lnTo>
                <a:lnTo>
                  <a:pt x="704" y="2810"/>
                </a:lnTo>
                <a:lnTo>
                  <a:pt x="879" y="2687"/>
                </a:lnTo>
                <a:lnTo>
                  <a:pt x="824" y="2985"/>
                </a:lnTo>
                <a:lnTo>
                  <a:pt x="1054" y="2700"/>
                </a:lnTo>
                <a:lnTo>
                  <a:pt x="1041" y="2972"/>
                </a:lnTo>
                <a:lnTo>
                  <a:pt x="1135" y="2985"/>
                </a:lnTo>
                <a:lnTo>
                  <a:pt x="1216" y="3053"/>
                </a:lnTo>
                <a:lnTo>
                  <a:pt x="1310" y="3079"/>
                </a:lnTo>
                <a:lnTo>
                  <a:pt x="1433" y="2891"/>
                </a:lnTo>
                <a:lnTo>
                  <a:pt x="1514" y="3215"/>
                </a:lnTo>
                <a:lnTo>
                  <a:pt x="1608" y="2998"/>
                </a:lnTo>
                <a:lnTo>
                  <a:pt x="1715" y="3134"/>
                </a:lnTo>
                <a:lnTo>
                  <a:pt x="1744" y="2742"/>
                </a:lnTo>
                <a:lnTo>
                  <a:pt x="1838" y="2810"/>
                </a:lnTo>
                <a:lnTo>
                  <a:pt x="1945" y="2875"/>
                </a:lnTo>
                <a:lnTo>
                  <a:pt x="1987" y="2742"/>
                </a:lnTo>
                <a:lnTo>
                  <a:pt x="2136" y="2862"/>
                </a:lnTo>
                <a:lnTo>
                  <a:pt x="2188" y="2781"/>
                </a:lnTo>
                <a:lnTo>
                  <a:pt x="2363" y="2862"/>
                </a:lnTo>
                <a:lnTo>
                  <a:pt x="2324" y="2661"/>
                </a:lnTo>
                <a:lnTo>
                  <a:pt x="2473" y="2687"/>
                </a:lnTo>
                <a:lnTo>
                  <a:pt x="2499" y="2580"/>
                </a:lnTo>
                <a:lnTo>
                  <a:pt x="2525" y="2486"/>
                </a:lnTo>
                <a:lnTo>
                  <a:pt x="2635" y="2457"/>
                </a:lnTo>
                <a:lnTo>
                  <a:pt x="2810" y="2470"/>
                </a:lnTo>
                <a:lnTo>
                  <a:pt x="2622" y="2227"/>
                </a:lnTo>
                <a:lnTo>
                  <a:pt x="2797" y="2227"/>
                </a:lnTo>
                <a:lnTo>
                  <a:pt x="2635" y="2065"/>
                </a:lnTo>
                <a:lnTo>
                  <a:pt x="2755" y="2026"/>
                </a:lnTo>
                <a:lnTo>
                  <a:pt x="2661" y="1903"/>
                </a:lnTo>
                <a:lnTo>
                  <a:pt x="2865" y="1864"/>
                </a:lnTo>
                <a:lnTo>
                  <a:pt x="2768" y="1770"/>
                </a:lnTo>
                <a:lnTo>
                  <a:pt x="2661" y="1676"/>
                </a:lnTo>
                <a:lnTo>
                  <a:pt x="2959" y="1595"/>
                </a:lnTo>
                <a:lnTo>
                  <a:pt x="2797" y="1514"/>
                </a:lnTo>
                <a:lnTo>
                  <a:pt x="3121" y="1391"/>
                </a:lnTo>
                <a:lnTo>
                  <a:pt x="2755" y="1352"/>
                </a:lnTo>
                <a:lnTo>
                  <a:pt x="2946" y="1216"/>
                </a:lnTo>
                <a:lnTo>
                  <a:pt x="2729" y="1190"/>
                </a:lnTo>
                <a:lnTo>
                  <a:pt x="2836" y="1054"/>
                </a:lnTo>
                <a:lnTo>
                  <a:pt x="2797" y="973"/>
                </a:lnTo>
                <a:lnTo>
                  <a:pt x="2784" y="866"/>
                </a:lnTo>
                <a:lnTo>
                  <a:pt x="2849" y="704"/>
                </a:lnTo>
                <a:lnTo>
                  <a:pt x="2554" y="798"/>
                </a:lnTo>
                <a:lnTo>
                  <a:pt x="2486" y="743"/>
                </a:lnTo>
                <a:lnTo>
                  <a:pt x="2606" y="500"/>
                </a:lnTo>
                <a:lnTo>
                  <a:pt x="2298" y="704"/>
                </a:lnTo>
                <a:lnTo>
                  <a:pt x="2337" y="526"/>
                </a:lnTo>
                <a:lnTo>
                  <a:pt x="2363" y="325"/>
                </a:lnTo>
                <a:lnTo>
                  <a:pt x="2311" y="202"/>
                </a:lnTo>
                <a:lnTo>
                  <a:pt x="2120" y="364"/>
                </a:lnTo>
                <a:lnTo>
                  <a:pt x="2055" y="299"/>
                </a:lnTo>
                <a:lnTo>
                  <a:pt x="1932" y="338"/>
                </a:lnTo>
                <a:lnTo>
                  <a:pt x="1851" y="338"/>
                </a:lnTo>
                <a:lnTo>
                  <a:pt x="1825" y="1"/>
                </a:ln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8" name="Google Shape;658;p26"/>
          <p:cNvSpPr/>
          <p:nvPr/>
        </p:nvSpPr>
        <p:spPr>
          <a:xfrm>
            <a:off x="-118545" y="6278567"/>
            <a:ext cx="6708033" cy="848776"/>
          </a:xfrm>
          <a:custGeom>
            <a:avLst/>
            <a:gdLst/>
            <a:ahLst/>
            <a:cxnLst/>
            <a:rect l="l" t="t" r="r" b="b"/>
            <a:pathLst>
              <a:path w="27026" h="10756" extrusionOk="0">
                <a:moveTo>
                  <a:pt x="1" y="1"/>
                </a:moveTo>
                <a:lnTo>
                  <a:pt x="1" y="9261"/>
                </a:lnTo>
                <a:cubicBezTo>
                  <a:pt x="1660" y="9572"/>
                  <a:pt x="3390" y="9828"/>
                  <a:pt x="5185" y="10058"/>
                </a:cubicBezTo>
                <a:cubicBezTo>
                  <a:pt x="8967" y="10531"/>
                  <a:pt x="12535" y="10756"/>
                  <a:pt x="15642" y="10756"/>
                </a:cubicBezTo>
                <a:cubicBezTo>
                  <a:pt x="22197" y="10756"/>
                  <a:pt x="26701" y="9756"/>
                  <a:pt x="26838" y="7978"/>
                </a:cubicBezTo>
                <a:cubicBezTo>
                  <a:pt x="27026" y="5360"/>
                  <a:pt x="17646" y="2039"/>
                  <a:pt x="5872" y="555"/>
                </a:cubicBezTo>
                <a:cubicBezTo>
                  <a:pt x="3847" y="299"/>
                  <a:pt x="1877" y="121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9" name="Google Shape;659;p26"/>
          <p:cNvSpPr/>
          <p:nvPr/>
        </p:nvSpPr>
        <p:spPr>
          <a:xfrm>
            <a:off x="4524909" y="6745537"/>
            <a:ext cx="4267892" cy="538947"/>
          </a:xfrm>
          <a:custGeom>
            <a:avLst/>
            <a:gdLst/>
            <a:ahLst/>
            <a:cxnLst/>
            <a:rect l="l" t="t" r="r" b="b"/>
            <a:pathLst>
              <a:path w="17254" h="3541" extrusionOk="0">
                <a:moveTo>
                  <a:pt x="7184" y="1"/>
                </a:moveTo>
                <a:cubicBezTo>
                  <a:pt x="7103" y="1"/>
                  <a:pt x="7009" y="124"/>
                  <a:pt x="6915" y="124"/>
                </a:cubicBezTo>
                <a:cubicBezTo>
                  <a:pt x="6834" y="124"/>
                  <a:pt x="6740" y="30"/>
                  <a:pt x="6643" y="30"/>
                </a:cubicBezTo>
                <a:cubicBezTo>
                  <a:pt x="6549" y="43"/>
                  <a:pt x="6468" y="150"/>
                  <a:pt x="6374" y="150"/>
                </a:cubicBezTo>
                <a:cubicBezTo>
                  <a:pt x="6297" y="150"/>
                  <a:pt x="6197" y="42"/>
                  <a:pt x="6106" y="42"/>
                </a:cubicBezTo>
                <a:cubicBezTo>
                  <a:pt x="6102" y="42"/>
                  <a:pt x="6097" y="42"/>
                  <a:pt x="6092" y="43"/>
                </a:cubicBezTo>
                <a:cubicBezTo>
                  <a:pt x="6011" y="43"/>
                  <a:pt x="5914" y="124"/>
                  <a:pt x="5833" y="124"/>
                </a:cubicBezTo>
                <a:cubicBezTo>
                  <a:pt x="5739" y="137"/>
                  <a:pt x="5658" y="179"/>
                  <a:pt x="5564" y="179"/>
                </a:cubicBezTo>
                <a:cubicBezTo>
                  <a:pt x="5554" y="180"/>
                  <a:pt x="5544" y="181"/>
                  <a:pt x="5534" y="181"/>
                </a:cubicBezTo>
                <a:cubicBezTo>
                  <a:pt x="5460" y="181"/>
                  <a:pt x="5387" y="148"/>
                  <a:pt x="5321" y="148"/>
                </a:cubicBezTo>
                <a:cubicBezTo>
                  <a:pt x="5312" y="148"/>
                  <a:pt x="5303" y="148"/>
                  <a:pt x="5295" y="150"/>
                </a:cubicBezTo>
                <a:cubicBezTo>
                  <a:pt x="5201" y="163"/>
                  <a:pt x="5104" y="163"/>
                  <a:pt x="5023" y="179"/>
                </a:cubicBezTo>
                <a:cubicBezTo>
                  <a:pt x="4941" y="179"/>
                  <a:pt x="4850" y="147"/>
                  <a:pt x="4774" y="147"/>
                </a:cubicBezTo>
                <a:cubicBezTo>
                  <a:pt x="4763" y="147"/>
                  <a:pt x="4752" y="148"/>
                  <a:pt x="4741" y="150"/>
                </a:cubicBezTo>
                <a:cubicBezTo>
                  <a:pt x="4647" y="150"/>
                  <a:pt x="4592" y="299"/>
                  <a:pt x="4498" y="312"/>
                </a:cubicBezTo>
                <a:cubicBezTo>
                  <a:pt x="4404" y="325"/>
                  <a:pt x="4323" y="341"/>
                  <a:pt x="4242" y="354"/>
                </a:cubicBezTo>
                <a:cubicBezTo>
                  <a:pt x="4235" y="355"/>
                  <a:pt x="4228" y="355"/>
                  <a:pt x="4220" y="355"/>
                </a:cubicBezTo>
                <a:cubicBezTo>
                  <a:pt x="4137" y="355"/>
                  <a:pt x="4036" y="298"/>
                  <a:pt x="3963" y="298"/>
                </a:cubicBezTo>
                <a:cubicBezTo>
                  <a:pt x="3956" y="298"/>
                  <a:pt x="3950" y="298"/>
                  <a:pt x="3944" y="299"/>
                </a:cubicBezTo>
                <a:cubicBezTo>
                  <a:pt x="3850" y="312"/>
                  <a:pt x="3756" y="341"/>
                  <a:pt x="3675" y="354"/>
                </a:cubicBezTo>
                <a:cubicBezTo>
                  <a:pt x="3581" y="380"/>
                  <a:pt x="3565" y="516"/>
                  <a:pt x="3484" y="542"/>
                </a:cubicBezTo>
                <a:cubicBezTo>
                  <a:pt x="3472" y="545"/>
                  <a:pt x="3459" y="547"/>
                  <a:pt x="3445" y="547"/>
                </a:cubicBezTo>
                <a:cubicBezTo>
                  <a:pt x="3366" y="547"/>
                  <a:pt x="3257" y="505"/>
                  <a:pt x="3190" y="505"/>
                </a:cubicBezTo>
                <a:cubicBezTo>
                  <a:pt x="3172" y="505"/>
                  <a:pt x="3157" y="508"/>
                  <a:pt x="3147" y="516"/>
                </a:cubicBezTo>
                <a:cubicBezTo>
                  <a:pt x="3053" y="568"/>
                  <a:pt x="3053" y="678"/>
                  <a:pt x="3053" y="730"/>
                </a:cubicBezTo>
                <a:cubicBezTo>
                  <a:pt x="3053" y="785"/>
                  <a:pt x="3108" y="840"/>
                  <a:pt x="3176" y="879"/>
                </a:cubicBezTo>
                <a:cubicBezTo>
                  <a:pt x="3228" y="921"/>
                  <a:pt x="3322" y="947"/>
                  <a:pt x="3403" y="973"/>
                </a:cubicBezTo>
                <a:cubicBezTo>
                  <a:pt x="3309" y="989"/>
                  <a:pt x="3189" y="1002"/>
                  <a:pt x="3108" y="1002"/>
                </a:cubicBezTo>
                <a:cubicBezTo>
                  <a:pt x="3100" y="1003"/>
                  <a:pt x="3091" y="1004"/>
                  <a:pt x="3083" y="1004"/>
                </a:cubicBezTo>
                <a:cubicBezTo>
                  <a:pt x="3005" y="1004"/>
                  <a:pt x="2925" y="958"/>
                  <a:pt x="2848" y="958"/>
                </a:cubicBezTo>
                <a:cubicBezTo>
                  <a:pt x="2839" y="958"/>
                  <a:pt x="2831" y="959"/>
                  <a:pt x="2823" y="960"/>
                </a:cubicBezTo>
                <a:cubicBezTo>
                  <a:pt x="2729" y="960"/>
                  <a:pt x="2661" y="1070"/>
                  <a:pt x="2567" y="1083"/>
                </a:cubicBezTo>
                <a:cubicBezTo>
                  <a:pt x="2486" y="1083"/>
                  <a:pt x="2379" y="989"/>
                  <a:pt x="2285" y="989"/>
                </a:cubicBezTo>
                <a:cubicBezTo>
                  <a:pt x="2204" y="1002"/>
                  <a:pt x="2107" y="1002"/>
                  <a:pt x="2013" y="1015"/>
                </a:cubicBezTo>
                <a:cubicBezTo>
                  <a:pt x="1932" y="1028"/>
                  <a:pt x="1851" y="1096"/>
                  <a:pt x="1770" y="1096"/>
                </a:cubicBezTo>
                <a:cubicBezTo>
                  <a:pt x="1756" y="1098"/>
                  <a:pt x="1742" y="1099"/>
                  <a:pt x="1728" y="1099"/>
                </a:cubicBezTo>
                <a:cubicBezTo>
                  <a:pt x="1659" y="1099"/>
                  <a:pt x="1587" y="1080"/>
                  <a:pt x="1525" y="1080"/>
                </a:cubicBezTo>
                <a:cubicBezTo>
                  <a:pt x="1512" y="1080"/>
                  <a:pt x="1500" y="1081"/>
                  <a:pt x="1488" y="1083"/>
                </a:cubicBezTo>
                <a:cubicBezTo>
                  <a:pt x="1394" y="1096"/>
                  <a:pt x="1313" y="1151"/>
                  <a:pt x="1232" y="1164"/>
                </a:cubicBezTo>
                <a:cubicBezTo>
                  <a:pt x="1183" y="1170"/>
                  <a:pt x="1135" y="1170"/>
                  <a:pt x="1090" y="1170"/>
                </a:cubicBezTo>
                <a:cubicBezTo>
                  <a:pt x="1044" y="1170"/>
                  <a:pt x="1000" y="1170"/>
                  <a:pt x="960" y="1177"/>
                </a:cubicBezTo>
                <a:cubicBezTo>
                  <a:pt x="866" y="1190"/>
                  <a:pt x="811" y="1284"/>
                  <a:pt x="730" y="1313"/>
                </a:cubicBezTo>
                <a:cubicBezTo>
                  <a:pt x="636" y="1326"/>
                  <a:pt x="568" y="1365"/>
                  <a:pt x="503" y="1394"/>
                </a:cubicBezTo>
                <a:cubicBezTo>
                  <a:pt x="474" y="1406"/>
                  <a:pt x="441" y="1409"/>
                  <a:pt x="407" y="1409"/>
                </a:cubicBezTo>
                <a:cubicBezTo>
                  <a:pt x="363" y="1409"/>
                  <a:pt x="317" y="1403"/>
                  <a:pt x="279" y="1403"/>
                </a:cubicBezTo>
                <a:cubicBezTo>
                  <a:pt x="248" y="1403"/>
                  <a:pt x="222" y="1407"/>
                  <a:pt x="205" y="1420"/>
                </a:cubicBezTo>
                <a:cubicBezTo>
                  <a:pt x="124" y="1475"/>
                  <a:pt x="1" y="1556"/>
                  <a:pt x="1" y="1608"/>
                </a:cubicBezTo>
                <a:cubicBezTo>
                  <a:pt x="1" y="1663"/>
                  <a:pt x="98" y="1770"/>
                  <a:pt x="192" y="1825"/>
                </a:cubicBezTo>
                <a:cubicBezTo>
                  <a:pt x="260" y="1851"/>
                  <a:pt x="380" y="1851"/>
                  <a:pt x="474" y="1893"/>
                </a:cubicBezTo>
                <a:cubicBezTo>
                  <a:pt x="490" y="1898"/>
                  <a:pt x="508" y="1900"/>
                  <a:pt x="527" y="1900"/>
                </a:cubicBezTo>
                <a:cubicBezTo>
                  <a:pt x="582" y="1900"/>
                  <a:pt x="646" y="1884"/>
                  <a:pt x="706" y="1884"/>
                </a:cubicBezTo>
                <a:cubicBezTo>
                  <a:pt x="729" y="1884"/>
                  <a:pt x="751" y="1887"/>
                  <a:pt x="772" y="1893"/>
                </a:cubicBezTo>
                <a:cubicBezTo>
                  <a:pt x="853" y="1919"/>
                  <a:pt x="921" y="1945"/>
                  <a:pt x="1015" y="1974"/>
                </a:cubicBezTo>
                <a:cubicBezTo>
                  <a:pt x="1109" y="1987"/>
                  <a:pt x="1164" y="2094"/>
                  <a:pt x="1258" y="2107"/>
                </a:cubicBezTo>
                <a:cubicBezTo>
                  <a:pt x="1270" y="2109"/>
                  <a:pt x="1282" y="2110"/>
                  <a:pt x="1295" y="2110"/>
                </a:cubicBezTo>
                <a:cubicBezTo>
                  <a:pt x="1369" y="2110"/>
                  <a:pt x="1449" y="2079"/>
                  <a:pt x="1524" y="2079"/>
                </a:cubicBezTo>
                <a:cubicBezTo>
                  <a:pt x="1535" y="2079"/>
                  <a:pt x="1545" y="2080"/>
                  <a:pt x="1556" y="2081"/>
                </a:cubicBezTo>
                <a:cubicBezTo>
                  <a:pt x="1637" y="2081"/>
                  <a:pt x="1718" y="2149"/>
                  <a:pt x="1812" y="2149"/>
                </a:cubicBezTo>
                <a:cubicBezTo>
                  <a:pt x="1825" y="2151"/>
                  <a:pt x="1839" y="2152"/>
                  <a:pt x="1852" y="2152"/>
                </a:cubicBezTo>
                <a:cubicBezTo>
                  <a:pt x="1933" y="2152"/>
                  <a:pt x="2013" y="2123"/>
                  <a:pt x="2094" y="2123"/>
                </a:cubicBezTo>
                <a:cubicBezTo>
                  <a:pt x="2188" y="2136"/>
                  <a:pt x="2269" y="2230"/>
                  <a:pt x="2366" y="2230"/>
                </a:cubicBezTo>
                <a:cubicBezTo>
                  <a:pt x="2447" y="2243"/>
                  <a:pt x="2541" y="2269"/>
                  <a:pt x="2635" y="2269"/>
                </a:cubicBezTo>
                <a:cubicBezTo>
                  <a:pt x="2645" y="2271"/>
                  <a:pt x="2655" y="2271"/>
                  <a:pt x="2665" y="2271"/>
                </a:cubicBezTo>
                <a:cubicBezTo>
                  <a:pt x="2749" y="2271"/>
                  <a:pt x="2833" y="2217"/>
                  <a:pt x="2917" y="2217"/>
                </a:cubicBezTo>
                <a:cubicBezTo>
                  <a:pt x="3014" y="2217"/>
                  <a:pt x="3160" y="2230"/>
                  <a:pt x="3257" y="2230"/>
                </a:cubicBezTo>
                <a:cubicBezTo>
                  <a:pt x="3176" y="2269"/>
                  <a:pt x="3027" y="2324"/>
                  <a:pt x="3027" y="2379"/>
                </a:cubicBezTo>
                <a:cubicBezTo>
                  <a:pt x="3027" y="2418"/>
                  <a:pt x="3014" y="2447"/>
                  <a:pt x="3095" y="2486"/>
                </a:cubicBezTo>
                <a:cubicBezTo>
                  <a:pt x="2998" y="2486"/>
                  <a:pt x="3014" y="2554"/>
                  <a:pt x="2917" y="2554"/>
                </a:cubicBezTo>
                <a:cubicBezTo>
                  <a:pt x="2829" y="2554"/>
                  <a:pt x="2741" y="2472"/>
                  <a:pt x="2653" y="2472"/>
                </a:cubicBezTo>
                <a:cubicBezTo>
                  <a:pt x="2647" y="2472"/>
                  <a:pt x="2641" y="2472"/>
                  <a:pt x="2635" y="2473"/>
                </a:cubicBezTo>
                <a:cubicBezTo>
                  <a:pt x="2541" y="2473"/>
                  <a:pt x="2460" y="2609"/>
                  <a:pt x="2379" y="2609"/>
                </a:cubicBezTo>
                <a:cubicBezTo>
                  <a:pt x="2285" y="2609"/>
                  <a:pt x="2175" y="2554"/>
                  <a:pt x="2081" y="2554"/>
                </a:cubicBezTo>
                <a:cubicBezTo>
                  <a:pt x="2061" y="2557"/>
                  <a:pt x="2041" y="2558"/>
                  <a:pt x="2021" y="2558"/>
                </a:cubicBezTo>
                <a:cubicBezTo>
                  <a:pt x="1967" y="2558"/>
                  <a:pt x="1914" y="2550"/>
                  <a:pt x="1865" y="2550"/>
                </a:cubicBezTo>
                <a:cubicBezTo>
                  <a:pt x="1847" y="2550"/>
                  <a:pt x="1829" y="2551"/>
                  <a:pt x="1812" y="2554"/>
                </a:cubicBezTo>
                <a:cubicBezTo>
                  <a:pt x="1718" y="2554"/>
                  <a:pt x="1621" y="2609"/>
                  <a:pt x="1540" y="2609"/>
                </a:cubicBezTo>
                <a:cubicBezTo>
                  <a:pt x="1531" y="2610"/>
                  <a:pt x="1523" y="2611"/>
                  <a:pt x="1514" y="2611"/>
                </a:cubicBezTo>
                <a:cubicBezTo>
                  <a:pt x="1434" y="2611"/>
                  <a:pt x="1339" y="2565"/>
                  <a:pt x="1267" y="2565"/>
                </a:cubicBezTo>
                <a:cubicBezTo>
                  <a:pt x="1259" y="2565"/>
                  <a:pt x="1252" y="2566"/>
                  <a:pt x="1245" y="2567"/>
                </a:cubicBezTo>
                <a:cubicBezTo>
                  <a:pt x="1151" y="2580"/>
                  <a:pt x="1096" y="2729"/>
                  <a:pt x="1015" y="2742"/>
                </a:cubicBezTo>
                <a:cubicBezTo>
                  <a:pt x="981" y="2752"/>
                  <a:pt x="944" y="2755"/>
                  <a:pt x="908" y="2755"/>
                </a:cubicBezTo>
                <a:cubicBezTo>
                  <a:pt x="865" y="2755"/>
                  <a:pt x="822" y="2751"/>
                  <a:pt x="782" y="2751"/>
                </a:cubicBezTo>
                <a:cubicBezTo>
                  <a:pt x="764" y="2751"/>
                  <a:pt x="746" y="2752"/>
                  <a:pt x="730" y="2755"/>
                </a:cubicBezTo>
                <a:cubicBezTo>
                  <a:pt x="636" y="2784"/>
                  <a:pt x="597" y="2865"/>
                  <a:pt x="529" y="2891"/>
                </a:cubicBezTo>
                <a:cubicBezTo>
                  <a:pt x="422" y="2946"/>
                  <a:pt x="231" y="2933"/>
                  <a:pt x="231" y="2985"/>
                </a:cubicBezTo>
                <a:cubicBezTo>
                  <a:pt x="231" y="3040"/>
                  <a:pt x="354" y="3108"/>
                  <a:pt x="448" y="3147"/>
                </a:cubicBezTo>
                <a:cubicBezTo>
                  <a:pt x="516" y="3189"/>
                  <a:pt x="597" y="3215"/>
                  <a:pt x="691" y="3241"/>
                </a:cubicBezTo>
                <a:cubicBezTo>
                  <a:pt x="700" y="3243"/>
                  <a:pt x="709" y="3243"/>
                  <a:pt x="718" y="3243"/>
                </a:cubicBezTo>
                <a:cubicBezTo>
                  <a:pt x="790" y="3243"/>
                  <a:pt x="882" y="3200"/>
                  <a:pt x="963" y="3200"/>
                </a:cubicBezTo>
                <a:cubicBezTo>
                  <a:pt x="972" y="3200"/>
                  <a:pt x="980" y="3201"/>
                  <a:pt x="989" y="3202"/>
                </a:cubicBezTo>
                <a:cubicBezTo>
                  <a:pt x="1054" y="3215"/>
                  <a:pt x="1109" y="3322"/>
                  <a:pt x="1203" y="3338"/>
                </a:cubicBezTo>
                <a:cubicBezTo>
                  <a:pt x="1284" y="3351"/>
                  <a:pt x="1365" y="3377"/>
                  <a:pt x="1459" y="3390"/>
                </a:cubicBezTo>
                <a:cubicBezTo>
                  <a:pt x="1475" y="3392"/>
                  <a:pt x="1492" y="3393"/>
                  <a:pt x="1509" y="3393"/>
                </a:cubicBezTo>
                <a:cubicBezTo>
                  <a:pt x="1578" y="3393"/>
                  <a:pt x="1656" y="3377"/>
                  <a:pt x="1731" y="3377"/>
                </a:cubicBezTo>
                <a:cubicBezTo>
                  <a:pt x="1812" y="3390"/>
                  <a:pt x="1893" y="3471"/>
                  <a:pt x="1987" y="3484"/>
                </a:cubicBezTo>
                <a:cubicBezTo>
                  <a:pt x="2068" y="3484"/>
                  <a:pt x="2162" y="3432"/>
                  <a:pt x="2256" y="3432"/>
                </a:cubicBezTo>
                <a:cubicBezTo>
                  <a:pt x="2337" y="3432"/>
                  <a:pt x="2431" y="3419"/>
                  <a:pt x="2512" y="3419"/>
                </a:cubicBezTo>
                <a:cubicBezTo>
                  <a:pt x="2609" y="3432"/>
                  <a:pt x="2690" y="3526"/>
                  <a:pt x="2771" y="3526"/>
                </a:cubicBezTo>
                <a:cubicBezTo>
                  <a:pt x="2865" y="3526"/>
                  <a:pt x="2946" y="3513"/>
                  <a:pt x="3040" y="3513"/>
                </a:cubicBezTo>
                <a:cubicBezTo>
                  <a:pt x="3121" y="3513"/>
                  <a:pt x="3215" y="3539"/>
                  <a:pt x="3309" y="3539"/>
                </a:cubicBezTo>
                <a:cubicBezTo>
                  <a:pt x="3390" y="3539"/>
                  <a:pt x="3484" y="3500"/>
                  <a:pt x="3565" y="3500"/>
                </a:cubicBezTo>
                <a:lnTo>
                  <a:pt x="3837" y="3500"/>
                </a:lnTo>
                <a:cubicBezTo>
                  <a:pt x="3931" y="3500"/>
                  <a:pt x="4012" y="3458"/>
                  <a:pt x="4093" y="3458"/>
                </a:cubicBezTo>
                <a:cubicBezTo>
                  <a:pt x="4181" y="3458"/>
                  <a:pt x="4269" y="3540"/>
                  <a:pt x="4346" y="3540"/>
                </a:cubicBezTo>
                <a:cubicBezTo>
                  <a:pt x="4351" y="3540"/>
                  <a:pt x="4356" y="3540"/>
                  <a:pt x="4362" y="3539"/>
                </a:cubicBezTo>
                <a:cubicBezTo>
                  <a:pt x="4456" y="3539"/>
                  <a:pt x="4537" y="3403"/>
                  <a:pt x="4618" y="3403"/>
                </a:cubicBezTo>
                <a:cubicBezTo>
                  <a:pt x="4626" y="3402"/>
                  <a:pt x="4635" y="3401"/>
                  <a:pt x="4643" y="3401"/>
                </a:cubicBezTo>
                <a:cubicBezTo>
                  <a:pt x="4731" y="3401"/>
                  <a:pt x="4816" y="3458"/>
                  <a:pt x="4890" y="3458"/>
                </a:cubicBezTo>
                <a:cubicBezTo>
                  <a:pt x="4984" y="3445"/>
                  <a:pt x="5052" y="3364"/>
                  <a:pt x="5146" y="3364"/>
                </a:cubicBezTo>
                <a:cubicBezTo>
                  <a:pt x="5150" y="3363"/>
                  <a:pt x="5155" y="3363"/>
                  <a:pt x="5160" y="3363"/>
                </a:cubicBezTo>
                <a:cubicBezTo>
                  <a:pt x="5239" y="3363"/>
                  <a:pt x="5339" y="3458"/>
                  <a:pt x="5428" y="3458"/>
                </a:cubicBezTo>
                <a:cubicBezTo>
                  <a:pt x="5509" y="3445"/>
                  <a:pt x="5577" y="3309"/>
                  <a:pt x="5658" y="3296"/>
                </a:cubicBezTo>
                <a:cubicBezTo>
                  <a:pt x="5733" y="3296"/>
                  <a:pt x="5810" y="3312"/>
                  <a:pt x="5879" y="3312"/>
                </a:cubicBezTo>
                <a:cubicBezTo>
                  <a:pt x="5897" y="3312"/>
                  <a:pt x="5914" y="3311"/>
                  <a:pt x="5930" y="3309"/>
                </a:cubicBezTo>
                <a:cubicBezTo>
                  <a:pt x="5938" y="3308"/>
                  <a:pt x="5946" y="3307"/>
                  <a:pt x="5955" y="3307"/>
                </a:cubicBezTo>
                <a:cubicBezTo>
                  <a:pt x="6034" y="3307"/>
                  <a:pt x="6120" y="3353"/>
                  <a:pt x="6190" y="3353"/>
                </a:cubicBezTo>
                <a:cubicBezTo>
                  <a:pt x="6197" y="3353"/>
                  <a:pt x="6205" y="3352"/>
                  <a:pt x="6212" y="3351"/>
                </a:cubicBezTo>
                <a:cubicBezTo>
                  <a:pt x="6306" y="3338"/>
                  <a:pt x="6335" y="3189"/>
                  <a:pt x="6400" y="3160"/>
                </a:cubicBezTo>
                <a:cubicBezTo>
                  <a:pt x="6510" y="3134"/>
                  <a:pt x="6578" y="3121"/>
                  <a:pt x="6643" y="3095"/>
                </a:cubicBezTo>
                <a:cubicBezTo>
                  <a:pt x="6740" y="3053"/>
                  <a:pt x="6847" y="3040"/>
                  <a:pt x="6847" y="2985"/>
                </a:cubicBezTo>
                <a:cubicBezTo>
                  <a:pt x="6847" y="2946"/>
                  <a:pt x="6847" y="2917"/>
                  <a:pt x="6766" y="2865"/>
                </a:cubicBezTo>
                <a:cubicBezTo>
                  <a:pt x="6860" y="2865"/>
                  <a:pt x="6886" y="2836"/>
                  <a:pt x="6983" y="2836"/>
                </a:cubicBezTo>
                <a:cubicBezTo>
                  <a:pt x="7077" y="2836"/>
                  <a:pt x="7171" y="2852"/>
                  <a:pt x="7265" y="2852"/>
                </a:cubicBezTo>
                <a:cubicBezTo>
                  <a:pt x="7359" y="2836"/>
                  <a:pt x="7440" y="2771"/>
                  <a:pt x="7534" y="2771"/>
                </a:cubicBezTo>
                <a:cubicBezTo>
                  <a:pt x="7631" y="2771"/>
                  <a:pt x="7725" y="2836"/>
                  <a:pt x="7819" y="2836"/>
                </a:cubicBezTo>
                <a:cubicBezTo>
                  <a:pt x="7836" y="2833"/>
                  <a:pt x="7853" y="2833"/>
                  <a:pt x="7870" y="2833"/>
                </a:cubicBezTo>
                <a:cubicBezTo>
                  <a:pt x="7947" y="2833"/>
                  <a:pt x="8024" y="2852"/>
                  <a:pt x="8101" y="2852"/>
                </a:cubicBezTo>
                <a:cubicBezTo>
                  <a:pt x="8198" y="2836"/>
                  <a:pt x="8263" y="2742"/>
                  <a:pt x="8360" y="2729"/>
                </a:cubicBezTo>
                <a:cubicBezTo>
                  <a:pt x="8380" y="2726"/>
                  <a:pt x="8400" y="2725"/>
                  <a:pt x="8419" y="2725"/>
                </a:cubicBezTo>
                <a:cubicBezTo>
                  <a:pt x="8474" y="2725"/>
                  <a:pt x="8528" y="2733"/>
                  <a:pt x="8582" y="2733"/>
                </a:cubicBezTo>
                <a:cubicBezTo>
                  <a:pt x="8602" y="2733"/>
                  <a:pt x="8622" y="2732"/>
                  <a:pt x="8642" y="2729"/>
                </a:cubicBezTo>
                <a:cubicBezTo>
                  <a:pt x="8736" y="2716"/>
                  <a:pt x="8830" y="2703"/>
                  <a:pt x="8911" y="2690"/>
                </a:cubicBezTo>
                <a:cubicBezTo>
                  <a:pt x="9008" y="2674"/>
                  <a:pt x="9060" y="2567"/>
                  <a:pt x="9141" y="2554"/>
                </a:cubicBezTo>
                <a:cubicBezTo>
                  <a:pt x="9235" y="2528"/>
                  <a:pt x="9303" y="2486"/>
                  <a:pt x="9358" y="2460"/>
                </a:cubicBezTo>
                <a:cubicBezTo>
                  <a:pt x="9465" y="2405"/>
                  <a:pt x="9559" y="2431"/>
                  <a:pt x="9559" y="2379"/>
                </a:cubicBezTo>
                <a:cubicBezTo>
                  <a:pt x="9559" y="2371"/>
                  <a:pt x="9562" y="2368"/>
                  <a:pt x="9566" y="2368"/>
                </a:cubicBezTo>
                <a:cubicBezTo>
                  <a:pt x="9575" y="2368"/>
                  <a:pt x="9590" y="2382"/>
                  <a:pt x="9590" y="2382"/>
                </a:cubicBezTo>
                <a:cubicBezTo>
                  <a:pt x="9590" y="2382"/>
                  <a:pt x="9590" y="2381"/>
                  <a:pt x="9588" y="2379"/>
                </a:cubicBezTo>
                <a:cubicBezTo>
                  <a:pt x="9669" y="2379"/>
                  <a:pt x="9750" y="2366"/>
                  <a:pt x="9844" y="2366"/>
                </a:cubicBezTo>
                <a:cubicBezTo>
                  <a:pt x="9848" y="2367"/>
                  <a:pt x="9853" y="2367"/>
                  <a:pt x="9858" y="2367"/>
                </a:cubicBezTo>
                <a:cubicBezTo>
                  <a:pt x="9931" y="2367"/>
                  <a:pt x="10022" y="2283"/>
                  <a:pt x="10106" y="2283"/>
                </a:cubicBezTo>
                <a:cubicBezTo>
                  <a:pt x="10113" y="2283"/>
                  <a:pt x="10119" y="2284"/>
                  <a:pt x="10126" y="2285"/>
                </a:cubicBezTo>
                <a:cubicBezTo>
                  <a:pt x="10207" y="2285"/>
                  <a:pt x="10288" y="2431"/>
                  <a:pt x="10385" y="2431"/>
                </a:cubicBezTo>
                <a:cubicBezTo>
                  <a:pt x="10479" y="2431"/>
                  <a:pt x="10612" y="2311"/>
                  <a:pt x="10693" y="2311"/>
                </a:cubicBezTo>
                <a:cubicBezTo>
                  <a:pt x="10680" y="2324"/>
                  <a:pt x="10748" y="2405"/>
                  <a:pt x="10748" y="2418"/>
                </a:cubicBezTo>
                <a:cubicBezTo>
                  <a:pt x="10748" y="2473"/>
                  <a:pt x="10693" y="2528"/>
                  <a:pt x="10790" y="2580"/>
                </a:cubicBezTo>
                <a:cubicBezTo>
                  <a:pt x="10855" y="2609"/>
                  <a:pt x="10923" y="2661"/>
                  <a:pt x="11017" y="2690"/>
                </a:cubicBezTo>
                <a:cubicBezTo>
                  <a:pt x="11098" y="2703"/>
                  <a:pt x="11166" y="2755"/>
                  <a:pt x="11260" y="2771"/>
                </a:cubicBezTo>
                <a:cubicBezTo>
                  <a:pt x="11264" y="2772"/>
                  <a:pt x="11269" y="2772"/>
                  <a:pt x="11274" y="2772"/>
                </a:cubicBezTo>
                <a:cubicBezTo>
                  <a:pt x="11348" y="2772"/>
                  <a:pt x="11453" y="2688"/>
                  <a:pt x="11538" y="2688"/>
                </a:cubicBezTo>
                <a:cubicBezTo>
                  <a:pt x="11545" y="2688"/>
                  <a:pt x="11551" y="2689"/>
                  <a:pt x="11558" y="2690"/>
                </a:cubicBezTo>
                <a:cubicBezTo>
                  <a:pt x="11639" y="2703"/>
                  <a:pt x="11707" y="2810"/>
                  <a:pt x="11788" y="2823"/>
                </a:cubicBezTo>
                <a:cubicBezTo>
                  <a:pt x="11795" y="2824"/>
                  <a:pt x="11802" y="2824"/>
                  <a:pt x="11809" y="2824"/>
                </a:cubicBezTo>
                <a:cubicBezTo>
                  <a:pt x="11887" y="2824"/>
                  <a:pt x="11966" y="2769"/>
                  <a:pt x="12044" y="2769"/>
                </a:cubicBezTo>
                <a:cubicBezTo>
                  <a:pt x="12052" y="2769"/>
                  <a:pt x="12061" y="2770"/>
                  <a:pt x="12070" y="2771"/>
                </a:cubicBezTo>
                <a:cubicBezTo>
                  <a:pt x="12151" y="2784"/>
                  <a:pt x="12232" y="2865"/>
                  <a:pt x="12313" y="2878"/>
                </a:cubicBezTo>
                <a:cubicBezTo>
                  <a:pt x="12410" y="2878"/>
                  <a:pt x="12491" y="2946"/>
                  <a:pt x="12572" y="2946"/>
                </a:cubicBezTo>
                <a:cubicBezTo>
                  <a:pt x="12576" y="2947"/>
                  <a:pt x="12580" y="2947"/>
                  <a:pt x="12585" y="2947"/>
                </a:cubicBezTo>
                <a:cubicBezTo>
                  <a:pt x="12674" y="2947"/>
                  <a:pt x="12764" y="2823"/>
                  <a:pt x="12854" y="2823"/>
                </a:cubicBezTo>
                <a:cubicBezTo>
                  <a:pt x="12935" y="2836"/>
                  <a:pt x="13016" y="2904"/>
                  <a:pt x="13110" y="2917"/>
                </a:cubicBezTo>
                <a:cubicBezTo>
                  <a:pt x="13191" y="2917"/>
                  <a:pt x="13285" y="2959"/>
                  <a:pt x="13366" y="2959"/>
                </a:cubicBezTo>
                <a:cubicBezTo>
                  <a:pt x="13454" y="2959"/>
                  <a:pt x="13530" y="2902"/>
                  <a:pt x="13614" y="2902"/>
                </a:cubicBezTo>
                <a:cubicBezTo>
                  <a:pt x="13622" y="2902"/>
                  <a:pt x="13630" y="2903"/>
                  <a:pt x="13638" y="2904"/>
                </a:cubicBezTo>
                <a:cubicBezTo>
                  <a:pt x="13719" y="2904"/>
                  <a:pt x="13813" y="2946"/>
                  <a:pt x="13907" y="2946"/>
                </a:cubicBezTo>
                <a:cubicBezTo>
                  <a:pt x="13988" y="2946"/>
                  <a:pt x="14082" y="2985"/>
                  <a:pt x="14163" y="2985"/>
                </a:cubicBezTo>
                <a:cubicBezTo>
                  <a:pt x="14257" y="2985"/>
                  <a:pt x="14338" y="2852"/>
                  <a:pt x="14419" y="2836"/>
                </a:cubicBezTo>
                <a:cubicBezTo>
                  <a:pt x="14506" y="2836"/>
                  <a:pt x="14590" y="2880"/>
                  <a:pt x="14665" y="2880"/>
                </a:cubicBezTo>
                <a:cubicBezTo>
                  <a:pt x="14674" y="2880"/>
                  <a:pt x="14682" y="2879"/>
                  <a:pt x="14691" y="2878"/>
                </a:cubicBezTo>
                <a:cubicBezTo>
                  <a:pt x="14785" y="2878"/>
                  <a:pt x="14879" y="2917"/>
                  <a:pt x="14960" y="2917"/>
                </a:cubicBezTo>
                <a:cubicBezTo>
                  <a:pt x="15054" y="2904"/>
                  <a:pt x="15122" y="2823"/>
                  <a:pt x="15216" y="2823"/>
                </a:cubicBezTo>
                <a:cubicBezTo>
                  <a:pt x="15297" y="2810"/>
                  <a:pt x="15391" y="2810"/>
                  <a:pt x="15472" y="2810"/>
                </a:cubicBezTo>
                <a:cubicBezTo>
                  <a:pt x="15491" y="2807"/>
                  <a:pt x="15510" y="2806"/>
                  <a:pt x="15530" y="2806"/>
                </a:cubicBezTo>
                <a:cubicBezTo>
                  <a:pt x="15606" y="2806"/>
                  <a:pt x="15679" y="2823"/>
                  <a:pt x="15744" y="2823"/>
                </a:cubicBezTo>
                <a:cubicBezTo>
                  <a:pt x="15754" y="2822"/>
                  <a:pt x="15764" y="2821"/>
                  <a:pt x="15773" y="2821"/>
                </a:cubicBezTo>
                <a:cubicBezTo>
                  <a:pt x="15857" y="2821"/>
                  <a:pt x="15940" y="2865"/>
                  <a:pt x="16013" y="2865"/>
                </a:cubicBezTo>
                <a:cubicBezTo>
                  <a:pt x="16107" y="2852"/>
                  <a:pt x="16175" y="2755"/>
                  <a:pt x="16256" y="2742"/>
                </a:cubicBezTo>
                <a:cubicBezTo>
                  <a:pt x="16350" y="2729"/>
                  <a:pt x="16418" y="2674"/>
                  <a:pt x="16499" y="2661"/>
                </a:cubicBezTo>
                <a:cubicBezTo>
                  <a:pt x="16525" y="2654"/>
                  <a:pt x="16551" y="2651"/>
                  <a:pt x="16576" y="2651"/>
                </a:cubicBezTo>
                <a:cubicBezTo>
                  <a:pt x="16618" y="2651"/>
                  <a:pt x="16659" y="2657"/>
                  <a:pt x="16698" y="2657"/>
                </a:cubicBezTo>
                <a:cubicBezTo>
                  <a:pt x="16722" y="2657"/>
                  <a:pt x="16745" y="2655"/>
                  <a:pt x="16768" y="2648"/>
                </a:cubicBezTo>
                <a:cubicBezTo>
                  <a:pt x="16816" y="2635"/>
                  <a:pt x="16871" y="2635"/>
                  <a:pt x="16920" y="2635"/>
                </a:cubicBezTo>
                <a:cubicBezTo>
                  <a:pt x="16969" y="2635"/>
                  <a:pt x="17012" y="2635"/>
                  <a:pt x="17040" y="2622"/>
                </a:cubicBezTo>
                <a:cubicBezTo>
                  <a:pt x="17147" y="2567"/>
                  <a:pt x="17254" y="2473"/>
                  <a:pt x="17254" y="2418"/>
                </a:cubicBezTo>
                <a:cubicBezTo>
                  <a:pt x="17254" y="2379"/>
                  <a:pt x="17147" y="2285"/>
                  <a:pt x="17053" y="2243"/>
                </a:cubicBezTo>
                <a:cubicBezTo>
                  <a:pt x="16985" y="2217"/>
                  <a:pt x="16904" y="2175"/>
                  <a:pt x="16810" y="2149"/>
                </a:cubicBezTo>
                <a:cubicBezTo>
                  <a:pt x="16796" y="2144"/>
                  <a:pt x="16780" y="2142"/>
                  <a:pt x="16762" y="2142"/>
                </a:cubicBezTo>
                <a:cubicBezTo>
                  <a:pt x="16704" y="2142"/>
                  <a:pt x="16630" y="2164"/>
                  <a:pt x="16570" y="2164"/>
                </a:cubicBezTo>
                <a:cubicBezTo>
                  <a:pt x="16560" y="2164"/>
                  <a:pt x="16550" y="2163"/>
                  <a:pt x="16541" y="2162"/>
                </a:cubicBezTo>
                <a:cubicBezTo>
                  <a:pt x="16460" y="2149"/>
                  <a:pt x="16379" y="2136"/>
                  <a:pt x="16298" y="2123"/>
                </a:cubicBezTo>
                <a:cubicBezTo>
                  <a:pt x="16217" y="2107"/>
                  <a:pt x="16136" y="2068"/>
                  <a:pt x="16055" y="2055"/>
                </a:cubicBezTo>
                <a:cubicBezTo>
                  <a:pt x="16046" y="2054"/>
                  <a:pt x="16036" y="2053"/>
                  <a:pt x="16027" y="2053"/>
                </a:cubicBezTo>
                <a:cubicBezTo>
                  <a:pt x="15962" y="2053"/>
                  <a:pt x="15888" y="2083"/>
                  <a:pt x="15815" y="2083"/>
                </a:cubicBezTo>
                <a:cubicBezTo>
                  <a:pt x="15804" y="2083"/>
                  <a:pt x="15793" y="2082"/>
                  <a:pt x="15783" y="2081"/>
                </a:cubicBezTo>
                <a:cubicBezTo>
                  <a:pt x="15702" y="2081"/>
                  <a:pt x="15634" y="1987"/>
                  <a:pt x="15553" y="1974"/>
                </a:cubicBezTo>
                <a:lnTo>
                  <a:pt x="15216" y="1974"/>
                </a:lnTo>
                <a:cubicBezTo>
                  <a:pt x="15310" y="1932"/>
                  <a:pt x="15459" y="1906"/>
                  <a:pt x="15514" y="1864"/>
                </a:cubicBezTo>
                <a:cubicBezTo>
                  <a:pt x="15608" y="1812"/>
                  <a:pt x="15731" y="1770"/>
                  <a:pt x="15731" y="1718"/>
                </a:cubicBezTo>
                <a:cubicBezTo>
                  <a:pt x="15731" y="1663"/>
                  <a:pt x="15553" y="1663"/>
                  <a:pt x="15472" y="1608"/>
                </a:cubicBezTo>
                <a:cubicBezTo>
                  <a:pt x="15407" y="1569"/>
                  <a:pt x="15378" y="1501"/>
                  <a:pt x="15284" y="1475"/>
                </a:cubicBezTo>
                <a:cubicBezTo>
                  <a:pt x="15216" y="1446"/>
                  <a:pt x="15177" y="1326"/>
                  <a:pt x="15083" y="1297"/>
                </a:cubicBezTo>
                <a:cubicBezTo>
                  <a:pt x="15074" y="1295"/>
                  <a:pt x="15063" y="1294"/>
                  <a:pt x="15052" y="1294"/>
                </a:cubicBezTo>
                <a:cubicBezTo>
                  <a:pt x="14993" y="1294"/>
                  <a:pt x="14911" y="1316"/>
                  <a:pt x="14838" y="1316"/>
                </a:cubicBezTo>
                <a:cubicBezTo>
                  <a:pt x="14824" y="1316"/>
                  <a:pt x="14811" y="1315"/>
                  <a:pt x="14798" y="1313"/>
                </a:cubicBezTo>
                <a:cubicBezTo>
                  <a:pt x="14717" y="1297"/>
                  <a:pt x="14623" y="1284"/>
                  <a:pt x="14529" y="1271"/>
                </a:cubicBezTo>
                <a:cubicBezTo>
                  <a:pt x="14448" y="1258"/>
                  <a:pt x="14380" y="1177"/>
                  <a:pt x="14286" y="1164"/>
                </a:cubicBezTo>
                <a:cubicBezTo>
                  <a:pt x="14280" y="1163"/>
                  <a:pt x="14274" y="1163"/>
                  <a:pt x="14267" y="1163"/>
                </a:cubicBezTo>
                <a:cubicBezTo>
                  <a:pt x="14195" y="1163"/>
                  <a:pt x="14097" y="1218"/>
                  <a:pt x="14024" y="1218"/>
                </a:cubicBezTo>
                <a:cubicBezTo>
                  <a:pt x="14016" y="1218"/>
                  <a:pt x="14008" y="1217"/>
                  <a:pt x="14001" y="1216"/>
                </a:cubicBezTo>
                <a:cubicBezTo>
                  <a:pt x="13907" y="1203"/>
                  <a:pt x="13839" y="1096"/>
                  <a:pt x="13745" y="1096"/>
                </a:cubicBezTo>
                <a:cubicBezTo>
                  <a:pt x="13736" y="1094"/>
                  <a:pt x="13726" y="1094"/>
                  <a:pt x="13716" y="1094"/>
                </a:cubicBezTo>
                <a:cubicBezTo>
                  <a:pt x="13650" y="1094"/>
                  <a:pt x="13570" y="1124"/>
                  <a:pt x="13495" y="1124"/>
                </a:cubicBezTo>
                <a:cubicBezTo>
                  <a:pt x="13484" y="1124"/>
                  <a:pt x="13473" y="1123"/>
                  <a:pt x="13463" y="1122"/>
                </a:cubicBezTo>
                <a:cubicBezTo>
                  <a:pt x="13382" y="1122"/>
                  <a:pt x="13301" y="1054"/>
                  <a:pt x="13204" y="1041"/>
                </a:cubicBezTo>
                <a:cubicBezTo>
                  <a:pt x="13114" y="1041"/>
                  <a:pt x="13024" y="1165"/>
                  <a:pt x="12935" y="1165"/>
                </a:cubicBezTo>
                <a:cubicBezTo>
                  <a:pt x="12930" y="1165"/>
                  <a:pt x="12926" y="1165"/>
                  <a:pt x="12922" y="1164"/>
                </a:cubicBezTo>
                <a:cubicBezTo>
                  <a:pt x="12828" y="1164"/>
                  <a:pt x="12747" y="1096"/>
                  <a:pt x="12653" y="1096"/>
                </a:cubicBezTo>
                <a:cubicBezTo>
                  <a:pt x="12572" y="1096"/>
                  <a:pt x="12475" y="1054"/>
                  <a:pt x="12381" y="1054"/>
                </a:cubicBezTo>
                <a:cubicBezTo>
                  <a:pt x="12300" y="1054"/>
                  <a:pt x="12206" y="1041"/>
                  <a:pt x="12112" y="1041"/>
                </a:cubicBezTo>
                <a:cubicBezTo>
                  <a:pt x="12031" y="1041"/>
                  <a:pt x="11937" y="1135"/>
                  <a:pt x="11843" y="1135"/>
                </a:cubicBezTo>
                <a:cubicBezTo>
                  <a:pt x="11746" y="1122"/>
                  <a:pt x="11665" y="1122"/>
                  <a:pt x="11571" y="1122"/>
                </a:cubicBezTo>
                <a:cubicBezTo>
                  <a:pt x="11477" y="1122"/>
                  <a:pt x="11409" y="1054"/>
                  <a:pt x="11328" y="1054"/>
                </a:cubicBezTo>
                <a:cubicBezTo>
                  <a:pt x="11358" y="1044"/>
                  <a:pt x="11389" y="1042"/>
                  <a:pt x="11420" y="1042"/>
                </a:cubicBezTo>
                <a:cubicBezTo>
                  <a:pt x="11454" y="1042"/>
                  <a:pt x="11487" y="1045"/>
                  <a:pt x="11515" y="1045"/>
                </a:cubicBezTo>
                <a:cubicBezTo>
                  <a:pt x="11531" y="1045"/>
                  <a:pt x="11545" y="1044"/>
                  <a:pt x="11558" y="1041"/>
                </a:cubicBezTo>
                <a:cubicBezTo>
                  <a:pt x="11652" y="1002"/>
                  <a:pt x="11733" y="960"/>
                  <a:pt x="11788" y="934"/>
                </a:cubicBezTo>
                <a:cubicBezTo>
                  <a:pt x="11869" y="879"/>
                  <a:pt x="11788" y="785"/>
                  <a:pt x="11788" y="730"/>
                </a:cubicBezTo>
                <a:cubicBezTo>
                  <a:pt x="11788" y="678"/>
                  <a:pt x="11746" y="678"/>
                  <a:pt x="11652" y="623"/>
                </a:cubicBezTo>
                <a:cubicBezTo>
                  <a:pt x="11600" y="597"/>
                  <a:pt x="11571" y="516"/>
                  <a:pt x="11477" y="474"/>
                </a:cubicBezTo>
                <a:cubicBezTo>
                  <a:pt x="11456" y="467"/>
                  <a:pt x="11433" y="465"/>
                  <a:pt x="11409" y="465"/>
                </a:cubicBezTo>
                <a:cubicBezTo>
                  <a:pt x="11355" y="465"/>
                  <a:pt x="11295" y="477"/>
                  <a:pt x="11238" y="477"/>
                </a:cubicBezTo>
                <a:cubicBezTo>
                  <a:pt x="11223" y="477"/>
                  <a:pt x="11209" y="476"/>
                  <a:pt x="11195" y="474"/>
                </a:cubicBezTo>
                <a:cubicBezTo>
                  <a:pt x="11114" y="448"/>
                  <a:pt x="11059" y="354"/>
                  <a:pt x="10978" y="341"/>
                </a:cubicBezTo>
                <a:cubicBezTo>
                  <a:pt x="10943" y="330"/>
                  <a:pt x="10907" y="327"/>
                  <a:pt x="10872" y="327"/>
                </a:cubicBezTo>
                <a:cubicBezTo>
                  <a:pt x="10837" y="327"/>
                  <a:pt x="10801" y="330"/>
                  <a:pt x="10765" y="330"/>
                </a:cubicBezTo>
                <a:cubicBezTo>
                  <a:pt x="10741" y="330"/>
                  <a:pt x="10717" y="329"/>
                  <a:pt x="10693" y="325"/>
                </a:cubicBezTo>
                <a:cubicBezTo>
                  <a:pt x="10652" y="318"/>
                  <a:pt x="10608" y="318"/>
                  <a:pt x="10563" y="318"/>
                </a:cubicBezTo>
                <a:cubicBezTo>
                  <a:pt x="10518" y="318"/>
                  <a:pt x="10471" y="318"/>
                  <a:pt x="10424" y="312"/>
                </a:cubicBezTo>
                <a:cubicBezTo>
                  <a:pt x="10343" y="299"/>
                  <a:pt x="10262" y="260"/>
                  <a:pt x="10168" y="244"/>
                </a:cubicBezTo>
                <a:cubicBezTo>
                  <a:pt x="10074" y="231"/>
                  <a:pt x="9993" y="218"/>
                  <a:pt x="9899" y="205"/>
                </a:cubicBezTo>
                <a:cubicBezTo>
                  <a:pt x="9818" y="192"/>
                  <a:pt x="9737" y="98"/>
                  <a:pt x="9640" y="82"/>
                </a:cubicBezTo>
                <a:cubicBezTo>
                  <a:pt x="9573" y="82"/>
                  <a:pt x="9498" y="101"/>
                  <a:pt x="9422" y="101"/>
                </a:cubicBezTo>
                <a:cubicBezTo>
                  <a:pt x="9405" y="101"/>
                  <a:pt x="9388" y="100"/>
                  <a:pt x="9371" y="98"/>
                </a:cubicBezTo>
                <a:cubicBezTo>
                  <a:pt x="9277" y="98"/>
                  <a:pt x="9196" y="82"/>
                  <a:pt x="9102" y="69"/>
                </a:cubicBezTo>
                <a:cubicBezTo>
                  <a:pt x="9008" y="69"/>
                  <a:pt x="8911" y="137"/>
                  <a:pt x="8817" y="137"/>
                </a:cubicBezTo>
                <a:cubicBezTo>
                  <a:pt x="8723" y="137"/>
                  <a:pt x="8642" y="30"/>
                  <a:pt x="8561" y="30"/>
                </a:cubicBezTo>
                <a:cubicBezTo>
                  <a:pt x="8467" y="30"/>
                  <a:pt x="8373" y="124"/>
                  <a:pt x="8279" y="124"/>
                </a:cubicBezTo>
                <a:lnTo>
                  <a:pt x="8007" y="124"/>
                </a:lnTo>
                <a:cubicBezTo>
                  <a:pt x="7913" y="111"/>
                  <a:pt x="7832" y="69"/>
                  <a:pt x="7738" y="69"/>
                </a:cubicBezTo>
                <a:cubicBezTo>
                  <a:pt x="7644" y="69"/>
                  <a:pt x="7550" y="150"/>
                  <a:pt x="7469" y="150"/>
                </a:cubicBezTo>
                <a:cubicBezTo>
                  <a:pt x="7372" y="150"/>
                  <a:pt x="7278" y="1"/>
                  <a:pt x="7184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60" name="Google Shape;660;p26"/>
          <p:cNvSpPr/>
          <p:nvPr/>
        </p:nvSpPr>
        <p:spPr>
          <a:xfrm>
            <a:off x="7932357" y="6195656"/>
            <a:ext cx="2634596" cy="333017"/>
          </a:xfrm>
          <a:custGeom>
            <a:avLst/>
            <a:gdLst/>
            <a:ahLst/>
            <a:cxnLst/>
            <a:rect l="l" t="t" r="r" b="b"/>
            <a:pathLst>
              <a:path w="10651" h="2188" extrusionOk="0">
                <a:moveTo>
                  <a:pt x="7615" y="0"/>
                </a:moveTo>
                <a:cubicBezTo>
                  <a:pt x="7560" y="0"/>
                  <a:pt x="7492" y="39"/>
                  <a:pt x="7440" y="39"/>
                </a:cubicBezTo>
                <a:lnTo>
                  <a:pt x="7265" y="39"/>
                </a:lnTo>
                <a:cubicBezTo>
                  <a:pt x="7210" y="39"/>
                  <a:pt x="7155" y="65"/>
                  <a:pt x="7103" y="81"/>
                </a:cubicBezTo>
                <a:cubicBezTo>
                  <a:pt x="7048" y="81"/>
                  <a:pt x="6980" y="65"/>
                  <a:pt x="6925" y="65"/>
                </a:cubicBezTo>
                <a:cubicBezTo>
                  <a:pt x="6880" y="65"/>
                  <a:pt x="6833" y="36"/>
                  <a:pt x="6778" y="36"/>
                </a:cubicBezTo>
                <a:cubicBezTo>
                  <a:pt x="6769" y="36"/>
                  <a:pt x="6759" y="37"/>
                  <a:pt x="6750" y="39"/>
                </a:cubicBezTo>
                <a:cubicBezTo>
                  <a:pt x="6698" y="39"/>
                  <a:pt x="6643" y="107"/>
                  <a:pt x="6588" y="107"/>
                </a:cubicBezTo>
                <a:cubicBezTo>
                  <a:pt x="6582" y="108"/>
                  <a:pt x="6577" y="109"/>
                  <a:pt x="6571" y="109"/>
                </a:cubicBezTo>
                <a:cubicBezTo>
                  <a:pt x="6524" y="109"/>
                  <a:pt x="6474" y="65"/>
                  <a:pt x="6413" y="65"/>
                </a:cubicBezTo>
                <a:cubicBezTo>
                  <a:pt x="6358" y="65"/>
                  <a:pt x="6306" y="133"/>
                  <a:pt x="6251" y="133"/>
                </a:cubicBezTo>
                <a:cubicBezTo>
                  <a:pt x="6202" y="133"/>
                  <a:pt x="6145" y="92"/>
                  <a:pt x="6094" y="92"/>
                </a:cubicBezTo>
                <a:cubicBezTo>
                  <a:pt x="6088" y="92"/>
                  <a:pt x="6082" y="93"/>
                  <a:pt x="6076" y="94"/>
                </a:cubicBezTo>
                <a:cubicBezTo>
                  <a:pt x="6021" y="94"/>
                  <a:pt x="5969" y="175"/>
                  <a:pt x="5914" y="188"/>
                </a:cubicBezTo>
                <a:cubicBezTo>
                  <a:pt x="5868" y="188"/>
                  <a:pt x="5812" y="158"/>
                  <a:pt x="5765" y="158"/>
                </a:cubicBezTo>
                <a:cubicBezTo>
                  <a:pt x="5756" y="158"/>
                  <a:pt x="5747" y="159"/>
                  <a:pt x="5739" y="162"/>
                </a:cubicBezTo>
                <a:cubicBezTo>
                  <a:pt x="5684" y="162"/>
                  <a:pt x="5629" y="188"/>
                  <a:pt x="5577" y="201"/>
                </a:cubicBezTo>
                <a:cubicBezTo>
                  <a:pt x="5522" y="201"/>
                  <a:pt x="5467" y="214"/>
                  <a:pt x="5415" y="214"/>
                </a:cubicBezTo>
                <a:cubicBezTo>
                  <a:pt x="5405" y="216"/>
                  <a:pt x="5395" y="217"/>
                  <a:pt x="5386" y="217"/>
                </a:cubicBezTo>
                <a:cubicBezTo>
                  <a:pt x="5328" y="217"/>
                  <a:pt x="5271" y="188"/>
                  <a:pt x="5224" y="188"/>
                </a:cubicBezTo>
                <a:cubicBezTo>
                  <a:pt x="5172" y="201"/>
                  <a:pt x="5130" y="256"/>
                  <a:pt x="5078" y="269"/>
                </a:cubicBezTo>
                <a:cubicBezTo>
                  <a:pt x="5023" y="269"/>
                  <a:pt x="4955" y="243"/>
                  <a:pt x="4900" y="243"/>
                </a:cubicBezTo>
                <a:cubicBezTo>
                  <a:pt x="4835" y="256"/>
                  <a:pt x="4780" y="269"/>
                  <a:pt x="4725" y="282"/>
                </a:cubicBezTo>
                <a:lnTo>
                  <a:pt x="4563" y="282"/>
                </a:lnTo>
                <a:cubicBezTo>
                  <a:pt x="4495" y="295"/>
                  <a:pt x="4469" y="363"/>
                  <a:pt x="4414" y="376"/>
                </a:cubicBezTo>
                <a:cubicBezTo>
                  <a:pt x="4349" y="376"/>
                  <a:pt x="4294" y="389"/>
                  <a:pt x="4239" y="405"/>
                </a:cubicBezTo>
                <a:cubicBezTo>
                  <a:pt x="4187" y="418"/>
                  <a:pt x="4145" y="444"/>
                  <a:pt x="4090" y="457"/>
                </a:cubicBezTo>
                <a:cubicBezTo>
                  <a:pt x="4038" y="470"/>
                  <a:pt x="3970" y="470"/>
                  <a:pt x="3928" y="486"/>
                </a:cubicBezTo>
                <a:cubicBezTo>
                  <a:pt x="3863" y="499"/>
                  <a:pt x="3808" y="499"/>
                  <a:pt x="3753" y="512"/>
                </a:cubicBezTo>
                <a:cubicBezTo>
                  <a:pt x="3701" y="525"/>
                  <a:pt x="3672" y="580"/>
                  <a:pt x="3633" y="593"/>
                </a:cubicBezTo>
                <a:cubicBezTo>
                  <a:pt x="3599" y="606"/>
                  <a:pt x="3565" y="606"/>
                  <a:pt x="3534" y="606"/>
                </a:cubicBezTo>
                <a:cubicBezTo>
                  <a:pt x="3504" y="606"/>
                  <a:pt x="3477" y="606"/>
                  <a:pt x="3458" y="619"/>
                </a:cubicBezTo>
                <a:cubicBezTo>
                  <a:pt x="3390" y="648"/>
                  <a:pt x="3390" y="687"/>
                  <a:pt x="3348" y="713"/>
                </a:cubicBezTo>
                <a:cubicBezTo>
                  <a:pt x="3296" y="742"/>
                  <a:pt x="3267" y="742"/>
                  <a:pt x="3280" y="781"/>
                </a:cubicBezTo>
                <a:cubicBezTo>
                  <a:pt x="3280" y="810"/>
                  <a:pt x="3241" y="862"/>
                  <a:pt x="3296" y="875"/>
                </a:cubicBezTo>
                <a:cubicBezTo>
                  <a:pt x="3322" y="891"/>
                  <a:pt x="3390" y="917"/>
                  <a:pt x="3442" y="917"/>
                </a:cubicBezTo>
                <a:cubicBezTo>
                  <a:pt x="3451" y="920"/>
                  <a:pt x="3460" y="921"/>
                  <a:pt x="3470" y="921"/>
                </a:cubicBezTo>
                <a:cubicBezTo>
                  <a:pt x="3497" y="921"/>
                  <a:pt x="3527" y="913"/>
                  <a:pt x="3558" y="913"/>
                </a:cubicBezTo>
                <a:cubicBezTo>
                  <a:pt x="3569" y="913"/>
                  <a:pt x="3580" y="914"/>
                  <a:pt x="3591" y="917"/>
                </a:cubicBezTo>
                <a:cubicBezTo>
                  <a:pt x="3539" y="917"/>
                  <a:pt x="3497" y="956"/>
                  <a:pt x="3442" y="972"/>
                </a:cubicBezTo>
                <a:cubicBezTo>
                  <a:pt x="3377" y="972"/>
                  <a:pt x="3322" y="985"/>
                  <a:pt x="3267" y="985"/>
                </a:cubicBezTo>
                <a:cubicBezTo>
                  <a:pt x="3260" y="987"/>
                  <a:pt x="3253" y="987"/>
                  <a:pt x="3245" y="987"/>
                </a:cubicBezTo>
                <a:cubicBezTo>
                  <a:pt x="3197" y="987"/>
                  <a:pt x="3139" y="956"/>
                  <a:pt x="3092" y="956"/>
                </a:cubicBezTo>
                <a:cubicBezTo>
                  <a:pt x="3037" y="972"/>
                  <a:pt x="2985" y="972"/>
                  <a:pt x="2930" y="985"/>
                </a:cubicBezTo>
                <a:cubicBezTo>
                  <a:pt x="2875" y="998"/>
                  <a:pt x="2823" y="1011"/>
                  <a:pt x="2768" y="1024"/>
                </a:cubicBezTo>
                <a:cubicBezTo>
                  <a:pt x="2713" y="1037"/>
                  <a:pt x="2661" y="1079"/>
                  <a:pt x="2606" y="1079"/>
                </a:cubicBezTo>
                <a:cubicBezTo>
                  <a:pt x="2601" y="1080"/>
                  <a:pt x="2596" y="1081"/>
                  <a:pt x="2591" y="1081"/>
                </a:cubicBezTo>
                <a:cubicBezTo>
                  <a:pt x="2542" y="1081"/>
                  <a:pt x="2479" y="1035"/>
                  <a:pt x="2432" y="1035"/>
                </a:cubicBezTo>
                <a:cubicBezTo>
                  <a:pt x="2427" y="1035"/>
                  <a:pt x="2422" y="1036"/>
                  <a:pt x="2418" y="1037"/>
                </a:cubicBezTo>
                <a:cubicBezTo>
                  <a:pt x="2363" y="1037"/>
                  <a:pt x="2324" y="1079"/>
                  <a:pt x="2269" y="1092"/>
                </a:cubicBezTo>
                <a:cubicBezTo>
                  <a:pt x="2254" y="1095"/>
                  <a:pt x="2240" y="1096"/>
                  <a:pt x="2226" y="1096"/>
                </a:cubicBezTo>
                <a:cubicBezTo>
                  <a:pt x="2187" y="1096"/>
                  <a:pt x="2149" y="1088"/>
                  <a:pt x="2116" y="1088"/>
                </a:cubicBezTo>
                <a:cubicBezTo>
                  <a:pt x="2103" y="1088"/>
                  <a:pt x="2092" y="1089"/>
                  <a:pt x="2081" y="1092"/>
                </a:cubicBezTo>
                <a:cubicBezTo>
                  <a:pt x="2026" y="1105"/>
                  <a:pt x="2000" y="1160"/>
                  <a:pt x="1945" y="1173"/>
                </a:cubicBezTo>
                <a:cubicBezTo>
                  <a:pt x="1933" y="1176"/>
                  <a:pt x="1920" y="1177"/>
                  <a:pt x="1907" y="1177"/>
                </a:cubicBezTo>
                <a:cubicBezTo>
                  <a:pt x="1870" y="1177"/>
                  <a:pt x="1829" y="1169"/>
                  <a:pt x="1793" y="1169"/>
                </a:cubicBezTo>
                <a:cubicBezTo>
                  <a:pt x="1780" y="1169"/>
                  <a:pt x="1768" y="1170"/>
                  <a:pt x="1757" y="1173"/>
                </a:cubicBezTo>
                <a:cubicBezTo>
                  <a:pt x="1702" y="1186"/>
                  <a:pt x="1660" y="1228"/>
                  <a:pt x="1608" y="1241"/>
                </a:cubicBezTo>
                <a:cubicBezTo>
                  <a:pt x="1553" y="1254"/>
                  <a:pt x="1498" y="1267"/>
                  <a:pt x="1446" y="1280"/>
                </a:cubicBezTo>
                <a:cubicBezTo>
                  <a:pt x="1418" y="1288"/>
                  <a:pt x="1388" y="1288"/>
                  <a:pt x="1357" y="1288"/>
                </a:cubicBezTo>
                <a:cubicBezTo>
                  <a:pt x="1327" y="1288"/>
                  <a:pt x="1297" y="1288"/>
                  <a:pt x="1271" y="1296"/>
                </a:cubicBezTo>
                <a:cubicBezTo>
                  <a:pt x="1216" y="1309"/>
                  <a:pt x="1203" y="1377"/>
                  <a:pt x="1161" y="1403"/>
                </a:cubicBezTo>
                <a:cubicBezTo>
                  <a:pt x="1109" y="1416"/>
                  <a:pt x="1093" y="1458"/>
                  <a:pt x="1054" y="1484"/>
                </a:cubicBezTo>
                <a:cubicBezTo>
                  <a:pt x="999" y="1510"/>
                  <a:pt x="892" y="1523"/>
                  <a:pt x="905" y="1552"/>
                </a:cubicBezTo>
                <a:cubicBezTo>
                  <a:pt x="905" y="1591"/>
                  <a:pt x="986" y="1604"/>
                  <a:pt x="1054" y="1620"/>
                </a:cubicBezTo>
                <a:cubicBezTo>
                  <a:pt x="1093" y="1633"/>
                  <a:pt x="1174" y="1646"/>
                  <a:pt x="1242" y="1659"/>
                </a:cubicBezTo>
                <a:cubicBezTo>
                  <a:pt x="1190" y="1672"/>
                  <a:pt x="1080" y="1672"/>
                  <a:pt x="1041" y="1685"/>
                </a:cubicBezTo>
                <a:cubicBezTo>
                  <a:pt x="986" y="1701"/>
                  <a:pt x="947" y="1753"/>
                  <a:pt x="892" y="1753"/>
                </a:cubicBezTo>
                <a:cubicBezTo>
                  <a:pt x="873" y="1757"/>
                  <a:pt x="855" y="1759"/>
                  <a:pt x="838" y="1759"/>
                </a:cubicBezTo>
                <a:cubicBezTo>
                  <a:pt x="802" y="1759"/>
                  <a:pt x="767" y="1753"/>
                  <a:pt x="730" y="1753"/>
                </a:cubicBezTo>
                <a:cubicBezTo>
                  <a:pt x="675" y="1766"/>
                  <a:pt x="636" y="1795"/>
                  <a:pt x="581" y="1808"/>
                </a:cubicBezTo>
                <a:cubicBezTo>
                  <a:pt x="526" y="1821"/>
                  <a:pt x="487" y="1834"/>
                  <a:pt x="432" y="1847"/>
                </a:cubicBezTo>
                <a:cubicBezTo>
                  <a:pt x="406" y="1855"/>
                  <a:pt x="376" y="1855"/>
                  <a:pt x="345" y="1855"/>
                </a:cubicBezTo>
                <a:cubicBezTo>
                  <a:pt x="315" y="1855"/>
                  <a:pt x="284" y="1855"/>
                  <a:pt x="257" y="1863"/>
                </a:cubicBezTo>
                <a:cubicBezTo>
                  <a:pt x="202" y="1876"/>
                  <a:pt x="163" y="1902"/>
                  <a:pt x="121" y="1928"/>
                </a:cubicBezTo>
                <a:cubicBezTo>
                  <a:pt x="69" y="1957"/>
                  <a:pt x="1" y="2009"/>
                  <a:pt x="14" y="2038"/>
                </a:cubicBezTo>
                <a:cubicBezTo>
                  <a:pt x="14" y="2064"/>
                  <a:pt x="95" y="2106"/>
                  <a:pt x="150" y="2119"/>
                </a:cubicBezTo>
                <a:cubicBezTo>
                  <a:pt x="163" y="2123"/>
                  <a:pt x="180" y="2125"/>
                  <a:pt x="200" y="2125"/>
                </a:cubicBezTo>
                <a:cubicBezTo>
                  <a:pt x="240" y="2125"/>
                  <a:pt x="288" y="2119"/>
                  <a:pt x="325" y="2119"/>
                </a:cubicBezTo>
                <a:cubicBezTo>
                  <a:pt x="336" y="2122"/>
                  <a:pt x="347" y="2123"/>
                  <a:pt x="358" y="2123"/>
                </a:cubicBezTo>
                <a:cubicBezTo>
                  <a:pt x="401" y="2123"/>
                  <a:pt x="445" y="2106"/>
                  <a:pt x="500" y="2106"/>
                </a:cubicBezTo>
                <a:cubicBezTo>
                  <a:pt x="542" y="2119"/>
                  <a:pt x="594" y="2145"/>
                  <a:pt x="649" y="2145"/>
                </a:cubicBezTo>
                <a:cubicBezTo>
                  <a:pt x="704" y="2145"/>
                  <a:pt x="756" y="2187"/>
                  <a:pt x="811" y="2187"/>
                </a:cubicBezTo>
                <a:cubicBezTo>
                  <a:pt x="866" y="2187"/>
                  <a:pt x="918" y="2145"/>
                  <a:pt x="973" y="2145"/>
                </a:cubicBezTo>
                <a:cubicBezTo>
                  <a:pt x="1028" y="2145"/>
                  <a:pt x="1080" y="2132"/>
                  <a:pt x="1148" y="2132"/>
                </a:cubicBezTo>
                <a:cubicBezTo>
                  <a:pt x="1203" y="2119"/>
                  <a:pt x="1255" y="2119"/>
                  <a:pt x="1310" y="2119"/>
                </a:cubicBezTo>
                <a:cubicBezTo>
                  <a:pt x="1318" y="2117"/>
                  <a:pt x="1325" y="2116"/>
                  <a:pt x="1333" y="2116"/>
                </a:cubicBezTo>
                <a:cubicBezTo>
                  <a:pt x="1380" y="2116"/>
                  <a:pt x="1425" y="2145"/>
                  <a:pt x="1472" y="2145"/>
                </a:cubicBezTo>
                <a:cubicBezTo>
                  <a:pt x="1527" y="2145"/>
                  <a:pt x="1579" y="2119"/>
                  <a:pt x="1634" y="2119"/>
                </a:cubicBezTo>
                <a:cubicBezTo>
                  <a:pt x="1689" y="2106"/>
                  <a:pt x="1741" y="2077"/>
                  <a:pt x="1796" y="2077"/>
                </a:cubicBezTo>
                <a:cubicBezTo>
                  <a:pt x="1846" y="2077"/>
                  <a:pt x="1907" y="2134"/>
                  <a:pt x="1957" y="2134"/>
                </a:cubicBezTo>
                <a:cubicBezTo>
                  <a:pt x="1962" y="2134"/>
                  <a:pt x="1966" y="2133"/>
                  <a:pt x="1971" y="2132"/>
                </a:cubicBezTo>
                <a:cubicBezTo>
                  <a:pt x="2026" y="2132"/>
                  <a:pt x="2081" y="2106"/>
                  <a:pt x="2133" y="2090"/>
                </a:cubicBezTo>
                <a:cubicBezTo>
                  <a:pt x="2188" y="2090"/>
                  <a:pt x="2243" y="2064"/>
                  <a:pt x="2295" y="2051"/>
                </a:cubicBezTo>
                <a:cubicBezTo>
                  <a:pt x="2339" y="2051"/>
                  <a:pt x="2383" y="2068"/>
                  <a:pt x="2425" y="2068"/>
                </a:cubicBezTo>
                <a:cubicBezTo>
                  <a:pt x="2436" y="2068"/>
                  <a:pt x="2446" y="2067"/>
                  <a:pt x="2457" y="2064"/>
                </a:cubicBezTo>
                <a:cubicBezTo>
                  <a:pt x="2512" y="2064"/>
                  <a:pt x="2567" y="2038"/>
                  <a:pt x="2619" y="2025"/>
                </a:cubicBezTo>
                <a:cubicBezTo>
                  <a:pt x="2674" y="2025"/>
                  <a:pt x="2713" y="1970"/>
                  <a:pt x="2768" y="1970"/>
                </a:cubicBezTo>
                <a:cubicBezTo>
                  <a:pt x="2773" y="1969"/>
                  <a:pt x="2778" y="1968"/>
                  <a:pt x="2783" y="1968"/>
                </a:cubicBezTo>
                <a:cubicBezTo>
                  <a:pt x="2830" y="1968"/>
                  <a:pt x="2892" y="2011"/>
                  <a:pt x="2938" y="2011"/>
                </a:cubicBezTo>
                <a:cubicBezTo>
                  <a:pt x="2944" y="2011"/>
                  <a:pt x="2950" y="2011"/>
                  <a:pt x="2956" y="2009"/>
                </a:cubicBezTo>
                <a:cubicBezTo>
                  <a:pt x="3011" y="1996"/>
                  <a:pt x="3053" y="1970"/>
                  <a:pt x="3105" y="1957"/>
                </a:cubicBezTo>
                <a:cubicBezTo>
                  <a:pt x="3160" y="1944"/>
                  <a:pt x="3199" y="1889"/>
                  <a:pt x="3254" y="1889"/>
                </a:cubicBezTo>
                <a:cubicBezTo>
                  <a:pt x="3265" y="1886"/>
                  <a:pt x="3278" y="1885"/>
                  <a:pt x="3290" y="1885"/>
                </a:cubicBezTo>
                <a:cubicBezTo>
                  <a:pt x="3324" y="1885"/>
                  <a:pt x="3361" y="1893"/>
                  <a:pt x="3394" y="1893"/>
                </a:cubicBezTo>
                <a:cubicBezTo>
                  <a:pt x="3406" y="1893"/>
                  <a:pt x="3418" y="1892"/>
                  <a:pt x="3429" y="1889"/>
                </a:cubicBezTo>
                <a:cubicBezTo>
                  <a:pt x="3484" y="1889"/>
                  <a:pt x="3510" y="1821"/>
                  <a:pt x="3565" y="1808"/>
                </a:cubicBezTo>
                <a:cubicBezTo>
                  <a:pt x="3571" y="1806"/>
                  <a:pt x="3578" y="1806"/>
                  <a:pt x="3584" y="1806"/>
                </a:cubicBezTo>
                <a:cubicBezTo>
                  <a:pt x="3631" y="1806"/>
                  <a:pt x="3689" y="1836"/>
                  <a:pt x="3734" y="1836"/>
                </a:cubicBezTo>
                <a:cubicBezTo>
                  <a:pt x="3741" y="1836"/>
                  <a:pt x="3747" y="1835"/>
                  <a:pt x="3753" y="1834"/>
                </a:cubicBezTo>
                <a:cubicBezTo>
                  <a:pt x="3808" y="1821"/>
                  <a:pt x="3847" y="1782"/>
                  <a:pt x="3902" y="1766"/>
                </a:cubicBezTo>
                <a:cubicBezTo>
                  <a:pt x="3957" y="1753"/>
                  <a:pt x="3996" y="1714"/>
                  <a:pt x="4025" y="1701"/>
                </a:cubicBezTo>
                <a:cubicBezTo>
                  <a:pt x="4090" y="1672"/>
                  <a:pt x="4051" y="1646"/>
                  <a:pt x="4051" y="1620"/>
                </a:cubicBezTo>
                <a:cubicBezTo>
                  <a:pt x="4051" y="1604"/>
                  <a:pt x="4077" y="1552"/>
                  <a:pt x="4064" y="1552"/>
                </a:cubicBezTo>
                <a:cubicBezTo>
                  <a:pt x="4070" y="1551"/>
                  <a:pt x="4076" y="1550"/>
                  <a:pt x="4083" y="1550"/>
                </a:cubicBezTo>
                <a:cubicBezTo>
                  <a:pt x="4140" y="1550"/>
                  <a:pt x="4203" y="1593"/>
                  <a:pt x="4252" y="1593"/>
                </a:cubicBezTo>
                <a:cubicBezTo>
                  <a:pt x="4258" y="1593"/>
                  <a:pt x="4263" y="1592"/>
                  <a:pt x="4268" y="1591"/>
                </a:cubicBezTo>
                <a:cubicBezTo>
                  <a:pt x="4333" y="1591"/>
                  <a:pt x="4375" y="1497"/>
                  <a:pt x="4430" y="1497"/>
                </a:cubicBezTo>
                <a:cubicBezTo>
                  <a:pt x="4435" y="1496"/>
                  <a:pt x="4441" y="1495"/>
                  <a:pt x="4447" y="1495"/>
                </a:cubicBezTo>
                <a:cubicBezTo>
                  <a:pt x="4489" y="1495"/>
                  <a:pt x="4538" y="1526"/>
                  <a:pt x="4583" y="1526"/>
                </a:cubicBezTo>
                <a:cubicBezTo>
                  <a:pt x="4590" y="1526"/>
                  <a:pt x="4598" y="1525"/>
                  <a:pt x="4605" y="1523"/>
                </a:cubicBezTo>
                <a:cubicBezTo>
                  <a:pt x="4639" y="1516"/>
                  <a:pt x="4666" y="1516"/>
                  <a:pt x="4691" y="1516"/>
                </a:cubicBezTo>
                <a:cubicBezTo>
                  <a:pt x="4716" y="1516"/>
                  <a:pt x="4739" y="1516"/>
                  <a:pt x="4767" y="1510"/>
                </a:cubicBezTo>
                <a:cubicBezTo>
                  <a:pt x="4767" y="1513"/>
                  <a:pt x="4767" y="1514"/>
                  <a:pt x="4768" y="1514"/>
                </a:cubicBezTo>
                <a:cubicBezTo>
                  <a:pt x="4771" y="1514"/>
                  <a:pt x="4776" y="1506"/>
                  <a:pt x="4778" y="1506"/>
                </a:cubicBezTo>
                <a:cubicBezTo>
                  <a:pt x="4779" y="1506"/>
                  <a:pt x="4780" y="1507"/>
                  <a:pt x="4780" y="1510"/>
                </a:cubicBezTo>
                <a:cubicBezTo>
                  <a:pt x="4780" y="1539"/>
                  <a:pt x="4848" y="1523"/>
                  <a:pt x="4916" y="1539"/>
                </a:cubicBezTo>
                <a:cubicBezTo>
                  <a:pt x="4955" y="1552"/>
                  <a:pt x="4997" y="1565"/>
                  <a:pt x="5049" y="1578"/>
                </a:cubicBezTo>
                <a:cubicBezTo>
                  <a:pt x="5104" y="1578"/>
                  <a:pt x="5143" y="1633"/>
                  <a:pt x="5211" y="1633"/>
                </a:cubicBezTo>
                <a:cubicBezTo>
                  <a:pt x="5229" y="1637"/>
                  <a:pt x="5247" y="1639"/>
                  <a:pt x="5266" y="1639"/>
                </a:cubicBezTo>
                <a:cubicBezTo>
                  <a:pt x="5302" y="1639"/>
                  <a:pt x="5338" y="1633"/>
                  <a:pt x="5373" y="1633"/>
                </a:cubicBezTo>
                <a:cubicBezTo>
                  <a:pt x="5384" y="1636"/>
                  <a:pt x="5395" y="1637"/>
                  <a:pt x="5407" y="1637"/>
                </a:cubicBezTo>
                <a:cubicBezTo>
                  <a:pt x="5454" y="1637"/>
                  <a:pt x="5506" y="1620"/>
                  <a:pt x="5548" y="1620"/>
                </a:cubicBezTo>
                <a:cubicBezTo>
                  <a:pt x="5603" y="1620"/>
                  <a:pt x="5658" y="1672"/>
                  <a:pt x="5726" y="1672"/>
                </a:cubicBezTo>
                <a:cubicBezTo>
                  <a:pt x="5778" y="1672"/>
                  <a:pt x="5833" y="1646"/>
                  <a:pt x="5901" y="1646"/>
                </a:cubicBezTo>
                <a:cubicBezTo>
                  <a:pt x="5953" y="1646"/>
                  <a:pt x="6008" y="1591"/>
                  <a:pt x="6076" y="1591"/>
                </a:cubicBezTo>
                <a:cubicBezTo>
                  <a:pt x="6131" y="1591"/>
                  <a:pt x="6183" y="1620"/>
                  <a:pt x="6251" y="1620"/>
                </a:cubicBezTo>
                <a:cubicBezTo>
                  <a:pt x="6306" y="1604"/>
                  <a:pt x="6358" y="1591"/>
                  <a:pt x="6413" y="1591"/>
                </a:cubicBezTo>
                <a:cubicBezTo>
                  <a:pt x="6449" y="1591"/>
                  <a:pt x="6473" y="1597"/>
                  <a:pt x="6501" y="1597"/>
                </a:cubicBezTo>
                <a:cubicBezTo>
                  <a:pt x="6515" y="1597"/>
                  <a:pt x="6530" y="1595"/>
                  <a:pt x="6549" y="1591"/>
                </a:cubicBezTo>
                <a:lnTo>
                  <a:pt x="6549" y="1591"/>
                </a:lnTo>
                <a:cubicBezTo>
                  <a:pt x="6507" y="1620"/>
                  <a:pt x="6507" y="1646"/>
                  <a:pt x="6507" y="1659"/>
                </a:cubicBezTo>
                <a:cubicBezTo>
                  <a:pt x="6520" y="1685"/>
                  <a:pt x="6588" y="1685"/>
                  <a:pt x="6643" y="1714"/>
                </a:cubicBezTo>
                <a:cubicBezTo>
                  <a:pt x="6682" y="1727"/>
                  <a:pt x="6737" y="1727"/>
                  <a:pt x="6792" y="1727"/>
                </a:cubicBezTo>
                <a:cubicBezTo>
                  <a:pt x="6844" y="1740"/>
                  <a:pt x="6873" y="1808"/>
                  <a:pt x="6925" y="1821"/>
                </a:cubicBezTo>
                <a:cubicBezTo>
                  <a:pt x="6980" y="1821"/>
                  <a:pt x="7048" y="1782"/>
                  <a:pt x="7103" y="1782"/>
                </a:cubicBezTo>
                <a:cubicBezTo>
                  <a:pt x="7155" y="1782"/>
                  <a:pt x="7210" y="1753"/>
                  <a:pt x="7278" y="1753"/>
                </a:cubicBezTo>
                <a:cubicBezTo>
                  <a:pt x="7330" y="1753"/>
                  <a:pt x="7372" y="1821"/>
                  <a:pt x="7427" y="1821"/>
                </a:cubicBezTo>
                <a:cubicBezTo>
                  <a:pt x="7479" y="1821"/>
                  <a:pt x="7547" y="1753"/>
                  <a:pt x="7602" y="1753"/>
                </a:cubicBezTo>
                <a:cubicBezTo>
                  <a:pt x="7654" y="1753"/>
                  <a:pt x="7709" y="1782"/>
                  <a:pt x="7764" y="1782"/>
                </a:cubicBezTo>
                <a:cubicBezTo>
                  <a:pt x="7816" y="1782"/>
                  <a:pt x="7871" y="1740"/>
                  <a:pt x="7926" y="1740"/>
                </a:cubicBezTo>
                <a:cubicBezTo>
                  <a:pt x="7973" y="1740"/>
                  <a:pt x="8023" y="1797"/>
                  <a:pt x="8073" y="1797"/>
                </a:cubicBezTo>
                <a:cubicBezTo>
                  <a:pt x="8078" y="1797"/>
                  <a:pt x="8083" y="1796"/>
                  <a:pt x="8088" y="1795"/>
                </a:cubicBezTo>
                <a:cubicBezTo>
                  <a:pt x="8140" y="1795"/>
                  <a:pt x="8195" y="1740"/>
                  <a:pt x="8250" y="1740"/>
                </a:cubicBezTo>
                <a:lnTo>
                  <a:pt x="8425" y="1740"/>
                </a:lnTo>
                <a:cubicBezTo>
                  <a:pt x="8480" y="1740"/>
                  <a:pt x="8532" y="1727"/>
                  <a:pt x="8587" y="1727"/>
                </a:cubicBezTo>
                <a:cubicBezTo>
                  <a:pt x="8605" y="1723"/>
                  <a:pt x="8623" y="1721"/>
                  <a:pt x="8641" y="1721"/>
                </a:cubicBezTo>
                <a:cubicBezTo>
                  <a:pt x="8677" y="1721"/>
                  <a:pt x="8712" y="1727"/>
                  <a:pt x="8749" y="1727"/>
                </a:cubicBezTo>
                <a:cubicBezTo>
                  <a:pt x="8804" y="1727"/>
                  <a:pt x="8856" y="1701"/>
                  <a:pt x="8911" y="1701"/>
                </a:cubicBezTo>
                <a:cubicBezTo>
                  <a:pt x="8938" y="1693"/>
                  <a:pt x="8968" y="1693"/>
                  <a:pt x="8997" y="1693"/>
                </a:cubicBezTo>
                <a:cubicBezTo>
                  <a:pt x="9025" y="1693"/>
                  <a:pt x="9052" y="1693"/>
                  <a:pt x="9073" y="1685"/>
                </a:cubicBezTo>
                <a:cubicBezTo>
                  <a:pt x="9141" y="1672"/>
                  <a:pt x="9180" y="1620"/>
                  <a:pt x="9235" y="1620"/>
                </a:cubicBezTo>
                <a:cubicBezTo>
                  <a:pt x="9290" y="1604"/>
                  <a:pt x="9342" y="1604"/>
                  <a:pt x="9397" y="1604"/>
                </a:cubicBezTo>
                <a:cubicBezTo>
                  <a:pt x="9407" y="1601"/>
                  <a:pt x="9417" y="1601"/>
                  <a:pt x="9428" y="1601"/>
                </a:cubicBezTo>
                <a:cubicBezTo>
                  <a:pt x="9475" y="1601"/>
                  <a:pt x="9527" y="1620"/>
                  <a:pt x="9572" y="1620"/>
                </a:cubicBezTo>
                <a:cubicBezTo>
                  <a:pt x="9627" y="1604"/>
                  <a:pt x="9666" y="1552"/>
                  <a:pt x="9721" y="1539"/>
                </a:cubicBezTo>
                <a:cubicBezTo>
                  <a:pt x="9776" y="1539"/>
                  <a:pt x="9828" y="1539"/>
                  <a:pt x="9883" y="1523"/>
                </a:cubicBezTo>
                <a:cubicBezTo>
                  <a:pt x="9938" y="1523"/>
                  <a:pt x="9990" y="1497"/>
                  <a:pt x="10045" y="1484"/>
                </a:cubicBezTo>
                <a:cubicBezTo>
                  <a:pt x="10100" y="1471"/>
                  <a:pt x="10126" y="1416"/>
                  <a:pt x="10165" y="1403"/>
                </a:cubicBezTo>
                <a:cubicBezTo>
                  <a:pt x="10176" y="1400"/>
                  <a:pt x="10189" y="1399"/>
                  <a:pt x="10203" y="1399"/>
                </a:cubicBezTo>
                <a:cubicBezTo>
                  <a:pt x="10239" y="1399"/>
                  <a:pt x="10281" y="1407"/>
                  <a:pt x="10318" y="1407"/>
                </a:cubicBezTo>
                <a:cubicBezTo>
                  <a:pt x="10331" y="1407"/>
                  <a:pt x="10344" y="1406"/>
                  <a:pt x="10356" y="1403"/>
                </a:cubicBezTo>
                <a:cubicBezTo>
                  <a:pt x="10408" y="1377"/>
                  <a:pt x="10450" y="1361"/>
                  <a:pt x="10489" y="1335"/>
                </a:cubicBezTo>
                <a:cubicBezTo>
                  <a:pt x="10544" y="1309"/>
                  <a:pt x="10625" y="1267"/>
                  <a:pt x="10625" y="1241"/>
                </a:cubicBezTo>
                <a:cubicBezTo>
                  <a:pt x="10612" y="1215"/>
                  <a:pt x="10505" y="1228"/>
                  <a:pt x="10424" y="1199"/>
                </a:cubicBezTo>
                <a:cubicBezTo>
                  <a:pt x="10382" y="1186"/>
                  <a:pt x="10356" y="1160"/>
                  <a:pt x="10288" y="1147"/>
                </a:cubicBezTo>
                <a:cubicBezTo>
                  <a:pt x="10233" y="1147"/>
                  <a:pt x="10181" y="1160"/>
                  <a:pt x="10113" y="1160"/>
                </a:cubicBezTo>
                <a:cubicBezTo>
                  <a:pt x="10058" y="1160"/>
                  <a:pt x="10019" y="1079"/>
                  <a:pt x="9964" y="1079"/>
                </a:cubicBezTo>
                <a:cubicBezTo>
                  <a:pt x="9909" y="1079"/>
                  <a:pt x="9841" y="1118"/>
                  <a:pt x="9776" y="1118"/>
                </a:cubicBezTo>
                <a:cubicBezTo>
                  <a:pt x="9721" y="1118"/>
                  <a:pt x="9666" y="1105"/>
                  <a:pt x="9614" y="1105"/>
                </a:cubicBezTo>
                <a:cubicBezTo>
                  <a:pt x="9546" y="1105"/>
                  <a:pt x="9491" y="1118"/>
                  <a:pt x="9436" y="1118"/>
                </a:cubicBezTo>
                <a:cubicBezTo>
                  <a:pt x="9384" y="1118"/>
                  <a:pt x="9316" y="1173"/>
                  <a:pt x="9261" y="1173"/>
                </a:cubicBezTo>
                <a:cubicBezTo>
                  <a:pt x="9209" y="1173"/>
                  <a:pt x="9141" y="1105"/>
                  <a:pt x="9086" y="1105"/>
                </a:cubicBezTo>
                <a:cubicBezTo>
                  <a:pt x="9031" y="1118"/>
                  <a:pt x="8979" y="1173"/>
                  <a:pt x="8911" y="1173"/>
                </a:cubicBezTo>
                <a:cubicBezTo>
                  <a:pt x="8903" y="1175"/>
                  <a:pt x="8896" y="1176"/>
                  <a:pt x="8890" y="1176"/>
                </a:cubicBezTo>
                <a:cubicBezTo>
                  <a:pt x="8855" y="1176"/>
                  <a:pt x="8848" y="1147"/>
                  <a:pt x="8804" y="1147"/>
                </a:cubicBezTo>
                <a:cubicBezTo>
                  <a:pt x="8843" y="1118"/>
                  <a:pt x="8843" y="1105"/>
                  <a:pt x="8843" y="1092"/>
                </a:cubicBezTo>
                <a:cubicBezTo>
                  <a:pt x="8830" y="1066"/>
                  <a:pt x="8736" y="1037"/>
                  <a:pt x="8681" y="1024"/>
                </a:cubicBezTo>
                <a:cubicBezTo>
                  <a:pt x="8749" y="1011"/>
                  <a:pt x="8830" y="998"/>
                  <a:pt x="8898" y="998"/>
                </a:cubicBezTo>
                <a:cubicBezTo>
                  <a:pt x="8905" y="996"/>
                  <a:pt x="8913" y="995"/>
                  <a:pt x="8922" y="995"/>
                </a:cubicBezTo>
                <a:cubicBezTo>
                  <a:pt x="8961" y="995"/>
                  <a:pt x="9007" y="1014"/>
                  <a:pt x="9048" y="1014"/>
                </a:cubicBezTo>
                <a:cubicBezTo>
                  <a:pt x="9056" y="1014"/>
                  <a:pt x="9065" y="1013"/>
                  <a:pt x="9073" y="1011"/>
                </a:cubicBezTo>
                <a:cubicBezTo>
                  <a:pt x="9128" y="998"/>
                  <a:pt x="9180" y="985"/>
                  <a:pt x="9235" y="972"/>
                </a:cubicBezTo>
                <a:cubicBezTo>
                  <a:pt x="9303" y="956"/>
                  <a:pt x="9342" y="904"/>
                  <a:pt x="9397" y="891"/>
                </a:cubicBezTo>
                <a:cubicBezTo>
                  <a:pt x="9409" y="887"/>
                  <a:pt x="9423" y="886"/>
                  <a:pt x="9436" y="886"/>
                </a:cubicBezTo>
                <a:cubicBezTo>
                  <a:pt x="9470" y="886"/>
                  <a:pt x="9505" y="894"/>
                  <a:pt x="9539" y="894"/>
                </a:cubicBezTo>
                <a:cubicBezTo>
                  <a:pt x="9550" y="894"/>
                  <a:pt x="9561" y="894"/>
                  <a:pt x="9572" y="891"/>
                </a:cubicBezTo>
                <a:cubicBezTo>
                  <a:pt x="9627" y="875"/>
                  <a:pt x="9679" y="849"/>
                  <a:pt x="9734" y="836"/>
                </a:cubicBezTo>
                <a:cubicBezTo>
                  <a:pt x="9752" y="832"/>
                  <a:pt x="9772" y="830"/>
                  <a:pt x="9792" y="830"/>
                </a:cubicBezTo>
                <a:cubicBezTo>
                  <a:pt x="9832" y="830"/>
                  <a:pt x="9874" y="836"/>
                  <a:pt x="9909" y="836"/>
                </a:cubicBezTo>
                <a:cubicBezTo>
                  <a:pt x="9977" y="810"/>
                  <a:pt x="10003" y="755"/>
                  <a:pt x="10058" y="742"/>
                </a:cubicBezTo>
                <a:cubicBezTo>
                  <a:pt x="10113" y="729"/>
                  <a:pt x="10152" y="700"/>
                  <a:pt x="10207" y="687"/>
                </a:cubicBezTo>
                <a:cubicBezTo>
                  <a:pt x="10234" y="674"/>
                  <a:pt x="10268" y="674"/>
                  <a:pt x="10300" y="674"/>
                </a:cubicBezTo>
                <a:cubicBezTo>
                  <a:pt x="10332" y="674"/>
                  <a:pt x="10362" y="674"/>
                  <a:pt x="10382" y="661"/>
                </a:cubicBezTo>
                <a:cubicBezTo>
                  <a:pt x="10450" y="632"/>
                  <a:pt x="10518" y="632"/>
                  <a:pt x="10557" y="606"/>
                </a:cubicBezTo>
                <a:cubicBezTo>
                  <a:pt x="10612" y="580"/>
                  <a:pt x="10651" y="512"/>
                  <a:pt x="10651" y="486"/>
                </a:cubicBezTo>
                <a:cubicBezTo>
                  <a:pt x="10651" y="457"/>
                  <a:pt x="10570" y="418"/>
                  <a:pt x="10518" y="389"/>
                </a:cubicBezTo>
                <a:cubicBezTo>
                  <a:pt x="10510" y="386"/>
                  <a:pt x="10501" y="386"/>
                  <a:pt x="10491" y="386"/>
                </a:cubicBezTo>
                <a:cubicBezTo>
                  <a:pt x="10447" y="386"/>
                  <a:pt x="10382" y="405"/>
                  <a:pt x="10327" y="405"/>
                </a:cubicBezTo>
                <a:cubicBezTo>
                  <a:pt x="10288" y="389"/>
                  <a:pt x="10246" y="376"/>
                  <a:pt x="10181" y="363"/>
                </a:cubicBezTo>
                <a:cubicBezTo>
                  <a:pt x="10126" y="363"/>
                  <a:pt x="10084" y="308"/>
                  <a:pt x="10032" y="308"/>
                </a:cubicBezTo>
                <a:cubicBezTo>
                  <a:pt x="9977" y="308"/>
                  <a:pt x="9922" y="324"/>
                  <a:pt x="9857" y="324"/>
                </a:cubicBezTo>
                <a:cubicBezTo>
                  <a:pt x="9802" y="324"/>
                  <a:pt x="9760" y="295"/>
                  <a:pt x="9695" y="295"/>
                </a:cubicBezTo>
                <a:cubicBezTo>
                  <a:pt x="9640" y="295"/>
                  <a:pt x="9585" y="324"/>
                  <a:pt x="9533" y="324"/>
                </a:cubicBezTo>
                <a:cubicBezTo>
                  <a:pt x="9478" y="324"/>
                  <a:pt x="9423" y="295"/>
                  <a:pt x="9355" y="295"/>
                </a:cubicBezTo>
                <a:lnTo>
                  <a:pt x="9193" y="295"/>
                </a:lnTo>
                <a:cubicBezTo>
                  <a:pt x="9141" y="295"/>
                  <a:pt x="9073" y="363"/>
                  <a:pt x="9018" y="363"/>
                </a:cubicBezTo>
                <a:cubicBezTo>
                  <a:pt x="8966" y="363"/>
                  <a:pt x="8911" y="308"/>
                  <a:pt x="8856" y="308"/>
                </a:cubicBezTo>
                <a:cubicBezTo>
                  <a:pt x="8804" y="324"/>
                  <a:pt x="8749" y="350"/>
                  <a:pt x="8681" y="363"/>
                </a:cubicBezTo>
                <a:lnTo>
                  <a:pt x="8493" y="363"/>
                </a:lnTo>
                <a:cubicBezTo>
                  <a:pt x="8545" y="350"/>
                  <a:pt x="8600" y="324"/>
                  <a:pt x="8626" y="295"/>
                </a:cubicBezTo>
                <a:cubicBezTo>
                  <a:pt x="8668" y="269"/>
                  <a:pt x="8707" y="243"/>
                  <a:pt x="8707" y="214"/>
                </a:cubicBezTo>
                <a:cubicBezTo>
                  <a:pt x="8694" y="175"/>
                  <a:pt x="8681" y="120"/>
                  <a:pt x="8626" y="94"/>
                </a:cubicBezTo>
                <a:cubicBezTo>
                  <a:pt x="8622" y="93"/>
                  <a:pt x="8618" y="92"/>
                  <a:pt x="8613" y="92"/>
                </a:cubicBezTo>
                <a:cubicBezTo>
                  <a:pt x="8572" y="92"/>
                  <a:pt x="8492" y="135"/>
                  <a:pt x="8431" y="135"/>
                </a:cubicBezTo>
                <a:cubicBezTo>
                  <a:pt x="8425" y="135"/>
                  <a:pt x="8418" y="134"/>
                  <a:pt x="8412" y="133"/>
                </a:cubicBezTo>
                <a:cubicBezTo>
                  <a:pt x="8370" y="120"/>
                  <a:pt x="8344" y="52"/>
                  <a:pt x="8289" y="52"/>
                </a:cubicBezTo>
                <a:cubicBezTo>
                  <a:pt x="8237" y="39"/>
                  <a:pt x="8169" y="39"/>
                  <a:pt x="8114" y="39"/>
                </a:cubicBezTo>
                <a:cubicBezTo>
                  <a:pt x="8108" y="38"/>
                  <a:pt x="8102" y="37"/>
                  <a:pt x="8096" y="37"/>
                </a:cubicBezTo>
                <a:cubicBezTo>
                  <a:pt x="8045" y="37"/>
                  <a:pt x="7988" y="81"/>
                  <a:pt x="7939" y="81"/>
                </a:cubicBezTo>
                <a:lnTo>
                  <a:pt x="7764" y="81"/>
                </a:lnTo>
                <a:cubicBezTo>
                  <a:pt x="7709" y="81"/>
                  <a:pt x="7670" y="0"/>
                  <a:pt x="761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61" name="Google Shape;661;p26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62" name="Google Shape;662;p26"/>
          <p:cNvSpPr txBox="1">
            <a:spLocks noGrp="1"/>
          </p:cNvSpPr>
          <p:nvPr>
            <p:ph type="subTitle" idx="1"/>
          </p:nvPr>
        </p:nvSpPr>
        <p:spPr>
          <a:xfrm>
            <a:off x="4000967" y="2636100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63" name="Google Shape;663;p26"/>
          <p:cNvSpPr txBox="1">
            <a:spLocks noGrp="1"/>
          </p:cNvSpPr>
          <p:nvPr>
            <p:ph type="title" idx="2"/>
          </p:nvPr>
        </p:nvSpPr>
        <p:spPr>
          <a:xfrm>
            <a:off x="4000967" y="2020807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64" name="Google Shape;664;p26"/>
          <p:cNvSpPr txBox="1">
            <a:spLocks noGrp="1"/>
          </p:cNvSpPr>
          <p:nvPr>
            <p:ph type="subTitle" idx="3"/>
          </p:nvPr>
        </p:nvSpPr>
        <p:spPr>
          <a:xfrm>
            <a:off x="4000967" y="5109136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65" name="Google Shape;665;p26"/>
          <p:cNvSpPr txBox="1">
            <a:spLocks noGrp="1"/>
          </p:cNvSpPr>
          <p:nvPr>
            <p:ph type="title" idx="4"/>
          </p:nvPr>
        </p:nvSpPr>
        <p:spPr>
          <a:xfrm>
            <a:off x="4000967" y="4493847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66" name="Google Shape;666;p26"/>
          <p:cNvSpPr txBox="1">
            <a:spLocks noGrp="1"/>
          </p:cNvSpPr>
          <p:nvPr>
            <p:ph type="subTitle" idx="5"/>
          </p:nvPr>
        </p:nvSpPr>
        <p:spPr>
          <a:xfrm>
            <a:off x="4000967" y="3872617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1158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67" name="Google Shape;667;p26"/>
          <p:cNvSpPr txBox="1">
            <a:spLocks noGrp="1"/>
          </p:cNvSpPr>
          <p:nvPr>
            <p:ph type="title" idx="6"/>
          </p:nvPr>
        </p:nvSpPr>
        <p:spPr>
          <a:xfrm>
            <a:off x="4000967" y="3257327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8884304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Section header 1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Google Shape;669;p27"/>
          <p:cNvSpPr/>
          <p:nvPr/>
        </p:nvSpPr>
        <p:spPr>
          <a:xfrm>
            <a:off x="7982025" y="4005630"/>
            <a:ext cx="5996052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0" name="Google Shape;670;p27"/>
          <p:cNvSpPr/>
          <p:nvPr/>
        </p:nvSpPr>
        <p:spPr>
          <a:xfrm>
            <a:off x="-454909" y="4005630"/>
            <a:ext cx="5996052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1" name="Google Shape;671;p27"/>
          <p:cNvSpPr/>
          <p:nvPr/>
        </p:nvSpPr>
        <p:spPr>
          <a:xfrm>
            <a:off x="4976902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2" name="Google Shape;672;p27"/>
          <p:cNvSpPr/>
          <p:nvPr/>
        </p:nvSpPr>
        <p:spPr>
          <a:xfrm>
            <a:off x="9604340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3" name="Google Shape;673;p27"/>
          <p:cNvSpPr/>
          <p:nvPr/>
        </p:nvSpPr>
        <p:spPr>
          <a:xfrm>
            <a:off x="33" y="5041234"/>
            <a:ext cx="12192016" cy="1106837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4" name="Google Shape;674;p27"/>
          <p:cNvSpPr/>
          <p:nvPr/>
        </p:nvSpPr>
        <p:spPr>
          <a:xfrm>
            <a:off x="-16" y="5669032"/>
            <a:ext cx="12192016" cy="826673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5" name="Google Shape;675;p27"/>
          <p:cNvSpPr/>
          <p:nvPr/>
        </p:nvSpPr>
        <p:spPr>
          <a:xfrm>
            <a:off x="4853785" y="5500935"/>
            <a:ext cx="7338209" cy="164847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6" name="Google Shape;676;p27"/>
          <p:cNvSpPr/>
          <p:nvPr/>
        </p:nvSpPr>
        <p:spPr>
          <a:xfrm>
            <a:off x="-15" y="6092424"/>
            <a:ext cx="11949201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7" name="Google Shape;677;p27"/>
          <p:cNvSpPr/>
          <p:nvPr/>
        </p:nvSpPr>
        <p:spPr>
          <a:xfrm>
            <a:off x="-16" y="6392956"/>
            <a:ext cx="12192016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678" name="Google Shape;678;p27"/>
          <p:cNvGrpSpPr/>
          <p:nvPr/>
        </p:nvGrpSpPr>
        <p:grpSpPr>
          <a:xfrm>
            <a:off x="7173214" y="5123540"/>
            <a:ext cx="3442029" cy="1169041"/>
            <a:chOff x="5379910" y="3842654"/>
            <a:chExt cx="2581522" cy="876781"/>
          </a:xfrm>
        </p:grpSpPr>
        <p:sp>
          <p:nvSpPr>
            <p:cNvPr id="679" name="Google Shape;679;p27"/>
            <p:cNvSpPr/>
            <p:nvPr/>
          </p:nvSpPr>
          <p:spPr>
            <a:xfrm>
              <a:off x="7639533" y="3968202"/>
              <a:ext cx="196495" cy="712964"/>
            </a:xfrm>
            <a:custGeom>
              <a:avLst/>
              <a:gdLst/>
              <a:ahLst/>
              <a:cxnLst/>
              <a:rect l="l" t="t" r="r" b="b"/>
              <a:pathLst>
                <a:path w="1335" h="4844" extrusionOk="0">
                  <a:moveTo>
                    <a:pt x="0" y="0"/>
                  </a:moveTo>
                  <a:lnTo>
                    <a:pt x="0" y="4698"/>
                  </a:lnTo>
                  <a:lnTo>
                    <a:pt x="1335" y="4844"/>
                  </a:lnTo>
                  <a:lnTo>
                    <a:pt x="1335" y="0"/>
                  </a:ln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0" name="Google Shape;680;p27"/>
            <p:cNvSpPr/>
            <p:nvPr/>
          </p:nvSpPr>
          <p:spPr>
            <a:xfrm>
              <a:off x="7631290" y="3842654"/>
              <a:ext cx="210920" cy="125696"/>
            </a:xfrm>
            <a:custGeom>
              <a:avLst/>
              <a:gdLst/>
              <a:ahLst/>
              <a:cxnLst/>
              <a:rect l="l" t="t" r="r" b="b"/>
              <a:pathLst>
                <a:path w="1433" h="854" extrusionOk="0">
                  <a:moveTo>
                    <a:pt x="717" y="1"/>
                  </a:moveTo>
                  <a:cubicBezTo>
                    <a:pt x="1" y="1"/>
                    <a:pt x="56" y="853"/>
                    <a:pt x="56" y="853"/>
                  </a:cubicBezTo>
                  <a:lnTo>
                    <a:pt x="1391" y="853"/>
                  </a:lnTo>
                  <a:cubicBezTo>
                    <a:pt x="1391" y="853"/>
                    <a:pt x="1433" y="1"/>
                    <a:pt x="717" y="1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1" name="Google Shape;681;p27"/>
            <p:cNvSpPr/>
            <p:nvPr/>
          </p:nvSpPr>
          <p:spPr>
            <a:xfrm>
              <a:off x="7748598" y="4331455"/>
              <a:ext cx="37827" cy="18398"/>
            </a:xfrm>
            <a:custGeom>
              <a:avLst/>
              <a:gdLst/>
              <a:ahLst/>
              <a:cxnLst/>
              <a:rect l="l" t="t" r="r" b="b"/>
              <a:pathLst>
                <a:path w="257" h="125" extrusionOk="0">
                  <a:moveTo>
                    <a:pt x="1" y="1"/>
                  </a:moveTo>
                  <a:lnTo>
                    <a:pt x="1" y="124"/>
                  </a:lnTo>
                  <a:lnTo>
                    <a:pt x="257" y="124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2" name="Google Shape;682;p27"/>
            <p:cNvSpPr/>
            <p:nvPr/>
          </p:nvSpPr>
          <p:spPr>
            <a:xfrm>
              <a:off x="7794521" y="4331455"/>
              <a:ext cx="37680" cy="18398"/>
            </a:xfrm>
            <a:custGeom>
              <a:avLst/>
              <a:gdLst/>
              <a:ahLst/>
              <a:cxnLst/>
              <a:rect l="l" t="t" r="r" b="b"/>
              <a:pathLst>
                <a:path w="256" h="125" extrusionOk="0">
                  <a:moveTo>
                    <a:pt x="0" y="1"/>
                  </a:moveTo>
                  <a:lnTo>
                    <a:pt x="0" y="124"/>
                  </a:lnTo>
                  <a:lnTo>
                    <a:pt x="256" y="124"/>
                  </a:lnTo>
                  <a:lnTo>
                    <a:pt x="256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3" name="Google Shape;683;p27"/>
            <p:cNvSpPr/>
            <p:nvPr/>
          </p:nvSpPr>
          <p:spPr>
            <a:xfrm>
              <a:off x="7770677" y="4357212"/>
              <a:ext cx="39593" cy="20164"/>
            </a:xfrm>
            <a:custGeom>
              <a:avLst/>
              <a:gdLst/>
              <a:ahLst/>
              <a:cxnLst/>
              <a:rect l="l" t="t" r="r" b="b"/>
              <a:pathLst>
                <a:path w="269" h="137" extrusionOk="0">
                  <a:moveTo>
                    <a:pt x="0" y="1"/>
                  </a:moveTo>
                  <a:lnTo>
                    <a:pt x="0" y="137"/>
                  </a:lnTo>
                  <a:lnTo>
                    <a:pt x="269" y="137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4" name="Google Shape;684;p27"/>
            <p:cNvSpPr/>
            <p:nvPr/>
          </p:nvSpPr>
          <p:spPr>
            <a:xfrm>
              <a:off x="7661463" y="4003968"/>
              <a:ext cx="37680" cy="17662"/>
            </a:xfrm>
            <a:custGeom>
              <a:avLst/>
              <a:gdLst/>
              <a:ahLst/>
              <a:cxnLst/>
              <a:rect l="l" t="t" r="r" b="b"/>
              <a:pathLst>
                <a:path w="256" h="120" extrusionOk="0">
                  <a:moveTo>
                    <a:pt x="0" y="0"/>
                  </a:moveTo>
                  <a:lnTo>
                    <a:pt x="0" y="120"/>
                  </a:lnTo>
                  <a:lnTo>
                    <a:pt x="256" y="12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5" name="Google Shape;685;p27"/>
            <p:cNvSpPr/>
            <p:nvPr/>
          </p:nvSpPr>
          <p:spPr>
            <a:xfrm>
              <a:off x="7706650" y="4003968"/>
              <a:ext cx="38416" cy="17662"/>
            </a:xfrm>
            <a:custGeom>
              <a:avLst/>
              <a:gdLst/>
              <a:ahLst/>
              <a:cxnLst/>
              <a:rect l="l" t="t" r="r" b="b"/>
              <a:pathLst>
                <a:path w="261" h="120" extrusionOk="0">
                  <a:moveTo>
                    <a:pt x="1" y="0"/>
                  </a:moveTo>
                  <a:lnTo>
                    <a:pt x="1" y="120"/>
                  </a:lnTo>
                  <a:lnTo>
                    <a:pt x="260" y="120"/>
                  </a:lnTo>
                  <a:lnTo>
                    <a:pt x="260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6" name="Google Shape;686;p27"/>
            <p:cNvSpPr/>
            <p:nvPr/>
          </p:nvSpPr>
          <p:spPr>
            <a:xfrm>
              <a:off x="7682806" y="4029726"/>
              <a:ext cx="38416" cy="19576"/>
            </a:xfrm>
            <a:custGeom>
              <a:avLst/>
              <a:gdLst/>
              <a:ahLst/>
              <a:cxnLst/>
              <a:rect l="l" t="t" r="r" b="b"/>
              <a:pathLst>
                <a:path w="261" h="133" extrusionOk="0">
                  <a:moveTo>
                    <a:pt x="1" y="0"/>
                  </a:moveTo>
                  <a:lnTo>
                    <a:pt x="1" y="133"/>
                  </a:lnTo>
                  <a:lnTo>
                    <a:pt x="260" y="133"/>
                  </a:lnTo>
                  <a:lnTo>
                    <a:pt x="260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7" name="Google Shape;687;p27"/>
            <p:cNvSpPr/>
            <p:nvPr/>
          </p:nvSpPr>
          <p:spPr>
            <a:xfrm>
              <a:off x="7774356" y="4130695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8" name="Google Shape;688;p27"/>
            <p:cNvSpPr/>
            <p:nvPr/>
          </p:nvSpPr>
          <p:spPr>
            <a:xfrm>
              <a:off x="7728581" y="4130695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9" name="Google Shape;689;p27"/>
            <p:cNvSpPr/>
            <p:nvPr/>
          </p:nvSpPr>
          <p:spPr>
            <a:xfrm>
              <a:off x="7750512" y="4104937"/>
              <a:ext cx="39741" cy="18398"/>
            </a:xfrm>
            <a:custGeom>
              <a:avLst/>
              <a:gdLst/>
              <a:ahLst/>
              <a:cxnLst/>
              <a:rect l="l" t="t" r="r" b="b"/>
              <a:pathLst>
                <a:path w="270" h="125" extrusionOk="0">
                  <a:moveTo>
                    <a:pt x="1" y="1"/>
                  </a:moveTo>
                  <a:lnTo>
                    <a:pt x="1" y="124"/>
                  </a:lnTo>
                  <a:lnTo>
                    <a:pt x="270" y="124"/>
                  </a:lnTo>
                  <a:lnTo>
                    <a:pt x="270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0" name="Google Shape;690;p27"/>
            <p:cNvSpPr/>
            <p:nvPr/>
          </p:nvSpPr>
          <p:spPr>
            <a:xfrm>
              <a:off x="7748598" y="4382970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1" name="Google Shape;691;p27"/>
            <p:cNvSpPr/>
            <p:nvPr/>
          </p:nvSpPr>
          <p:spPr>
            <a:xfrm>
              <a:off x="7702823" y="4382970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2" name="Google Shape;692;p27"/>
            <p:cNvSpPr/>
            <p:nvPr/>
          </p:nvSpPr>
          <p:spPr>
            <a:xfrm>
              <a:off x="7726668" y="4357212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3" name="Google Shape;693;p27"/>
            <p:cNvSpPr/>
            <p:nvPr/>
          </p:nvSpPr>
          <p:spPr>
            <a:xfrm>
              <a:off x="7665143" y="4239906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4" name="Google Shape;694;p27"/>
            <p:cNvSpPr/>
            <p:nvPr/>
          </p:nvSpPr>
          <p:spPr>
            <a:xfrm>
              <a:off x="7711066" y="4239906"/>
              <a:ext cx="37680" cy="20164"/>
            </a:xfrm>
            <a:custGeom>
              <a:avLst/>
              <a:gdLst/>
              <a:ahLst/>
              <a:cxnLst/>
              <a:rect l="l" t="t" r="r" b="b"/>
              <a:pathLst>
                <a:path w="256" h="137" extrusionOk="0">
                  <a:moveTo>
                    <a:pt x="0" y="1"/>
                  </a:moveTo>
                  <a:lnTo>
                    <a:pt x="0" y="137"/>
                  </a:lnTo>
                  <a:lnTo>
                    <a:pt x="256" y="137"/>
                  </a:lnTo>
                  <a:lnTo>
                    <a:pt x="256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5" name="Google Shape;695;p27"/>
            <p:cNvSpPr/>
            <p:nvPr/>
          </p:nvSpPr>
          <p:spPr>
            <a:xfrm>
              <a:off x="7754339" y="4239906"/>
              <a:ext cx="38416" cy="20164"/>
            </a:xfrm>
            <a:custGeom>
              <a:avLst/>
              <a:gdLst/>
              <a:ahLst/>
              <a:cxnLst/>
              <a:rect l="l" t="t" r="r" b="b"/>
              <a:pathLst>
                <a:path w="261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60" y="137"/>
                  </a:lnTo>
                  <a:lnTo>
                    <a:pt x="260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6" name="Google Shape;696;p27"/>
            <p:cNvSpPr/>
            <p:nvPr/>
          </p:nvSpPr>
          <p:spPr>
            <a:xfrm>
              <a:off x="7687221" y="4266252"/>
              <a:ext cx="37680" cy="19576"/>
            </a:xfrm>
            <a:custGeom>
              <a:avLst/>
              <a:gdLst/>
              <a:ahLst/>
              <a:cxnLst/>
              <a:rect l="l" t="t" r="r" b="b"/>
              <a:pathLst>
                <a:path w="256" h="133" extrusionOk="0">
                  <a:moveTo>
                    <a:pt x="0" y="0"/>
                  </a:moveTo>
                  <a:lnTo>
                    <a:pt x="0" y="133"/>
                  </a:lnTo>
                  <a:lnTo>
                    <a:pt x="256" y="133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7" name="Google Shape;697;p27"/>
            <p:cNvSpPr/>
            <p:nvPr/>
          </p:nvSpPr>
          <p:spPr>
            <a:xfrm>
              <a:off x="7730494" y="4266252"/>
              <a:ext cx="40182" cy="19576"/>
            </a:xfrm>
            <a:custGeom>
              <a:avLst/>
              <a:gdLst/>
              <a:ahLst/>
              <a:cxnLst/>
              <a:rect l="l" t="t" r="r" b="b"/>
              <a:pathLst>
                <a:path w="273" h="133" extrusionOk="0">
                  <a:moveTo>
                    <a:pt x="1" y="0"/>
                  </a:moveTo>
                  <a:lnTo>
                    <a:pt x="1" y="133"/>
                  </a:lnTo>
                  <a:lnTo>
                    <a:pt x="273" y="13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8" name="Google Shape;698;p27"/>
            <p:cNvSpPr/>
            <p:nvPr/>
          </p:nvSpPr>
          <p:spPr>
            <a:xfrm>
              <a:off x="7196498" y="4061076"/>
              <a:ext cx="202824" cy="602428"/>
            </a:xfrm>
            <a:custGeom>
              <a:avLst/>
              <a:gdLst/>
              <a:ahLst/>
              <a:cxnLst/>
              <a:rect l="l" t="t" r="r" b="b"/>
              <a:pathLst>
                <a:path w="1378" h="4093" extrusionOk="0">
                  <a:moveTo>
                    <a:pt x="606" y="367"/>
                  </a:moveTo>
                  <a:lnTo>
                    <a:pt x="606" y="1002"/>
                  </a:lnTo>
                  <a:lnTo>
                    <a:pt x="512" y="1002"/>
                  </a:lnTo>
                  <a:lnTo>
                    <a:pt x="606" y="367"/>
                  </a:lnTo>
                  <a:close/>
                  <a:moveTo>
                    <a:pt x="661" y="312"/>
                  </a:moveTo>
                  <a:lnTo>
                    <a:pt x="794" y="1002"/>
                  </a:lnTo>
                  <a:lnTo>
                    <a:pt x="661" y="1002"/>
                  </a:lnTo>
                  <a:lnTo>
                    <a:pt x="661" y="312"/>
                  </a:lnTo>
                  <a:close/>
                  <a:moveTo>
                    <a:pt x="606" y="1054"/>
                  </a:moveTo>
                  <a:lnTo>
                    <a:pt x="606" y="1663"/>
                  </a:lnTo>
                  <a:lnTo>
                    <a:pt x="418" y="1663"/>
                  </a:lnTo>
                  <a:lnTo>
                    <a:pt x="512" y="1054"/>
                  </a:lnTo>
                  <a:close/>
                  <a:moveTo>
                    <a:pt x="794" y="1054"/>
                  </a:moveTo>
                  <a:lnTo>
                    <a:pt x="904" y="1663"/>
                  </a:lnTo>
                  <a:lnTo>
                    <a:pt x="661" y="1663"/>
                  </a:lnTo>
                  <a:lnTo>
                    <a:pt x="661" y="1054"/>
                  </a:lnTo>
                  <a:close/>
                  <a:moveTo>
                    <a:pt x="606" y="1718"/>
                  </a:moveTo>
                  <a:lnTo>
                    <a:pt x="606" y="2499"/>
                  </a:lnTo>
                  <a:lnTo>
                    <a:pt x="282" y="2499"/>
                  </a:lnTo>
                  <a:lnTo>
                    <a:pt x="405" y="1718"/>
                  </a:lnTo>
                  <a:close/>
                  <a:moveTo>
                    <a:pt x="917" y="1718"/>
                  </a:moveTo>
                  <a:lnTo>
                    <a:pt x="1066" y="2499"/>
                  </a:lnTo>
                  <a:lnTo>
                    <a:pt x="661" y="2499"/>
                  </a:lnTo>
                  <a:lnTo>
                    <a:pt x="661" y="1718"/>
                  </a:lnTo>
                  <a:close/>
                  <a:moveTo>
                    <a:pt x="606" y="2554"/>
                  </a:moveTo>
                  <a:lnTo>
                    <a:pt x="606" y="4038"/>
                  </a:lnTo>
                  <a:lnTo>
                    <a:pt x="52" y="4038"/>
                  </a:lnTo>
                  <a:lnTo>
                    <a:pt x="282" y="2554"/>
                  </a:lnTo>
                  <a:close/>
                  <a:moveTo>
                    <a:pt x="606" y="1"/>
                  </a:moveTo>
                  <a:lnTo>
                    <a:pt x="0" y="4093"/>
                  </a:lnTo>
                  <a:lnTo>
                    <a:pt x="661" y="4093"/>
                  </a:lnTo>
                  <a:lnTo>
                    <a:pt x="661" y="2554"/>
                  </a:lnTo>
                  <a:lnTo>
                    <a:pt x="1066" y="2554"/>
                  </a:lnTo>
                  <a:lnTo>
                    <a:pt x="1322" y="3931"/>
                  </a:lnTo>
                  <a:lnTo>
                    <a:pt x="1377" y="3918"/>
                  </a:lnTo>
                  <a:lnTo>
                    <a:pt x="661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9" name="Google Shape;699;p27"/>
            <p:cNvSpPr/>
            <p:nvPr/>
          </p:nvSpPr>
          <p:spPr>
            <a:xfrm>
              <a:off x="7224022" y="4071085"/>
              <a:ext cx="61672" cy="61671"/>
            </a:xfrm>
            <a:custGeom>
              <a:avLst/>
              <a:gdLst/>
              <a:ahLst/>
              <a:cxnLst/>
              <a:rect l="l" t="t" r="r" b="b"/>
              <a:pathLst>
                <a:path w="419" h="419" extrusionOk="0">
                  <a:moveTo>
                    <a:pt x="364" y="1"/>
                  </a:moveTo>
                  <a:lnTo>
                    <a:pt x="1" y="205"/>
                  </a:lnTo>
                  <a:lnTo>
                    <a:pt x="69" y="312"/>
                  </a:lnTo>
                  <a:lnTo>
                    <a:pt x="299" y="124"/>
                  </a:lnTo>
                  <a:lnTo>
                    <a:pt x="95" y="338"/>
                  </a:lnTo>
                  <a:lnTo>
                    <a:pt x="202" y="419"/>
                  </a:lnTo>
                  <a:lnTo>
                    <a:pt x="419" y="56"/>
                  </a:lnTo>
                  <a:cubicBezTo>
                    <a:pt x="393" y="43"/>
                    <a:pt x="380" y="30"/>
                    <a:pt x="364" y="1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0" name="Google Shape;700;p27"/>
            <p:cNvSpPr/>
            <p:nvPr/>
          </p:nvSpPr>
          <p:spPr>
            <a:xfrm>
              <a:off x="7214013" y="3989544"/>
              <a:ext cx="155136" cy="145713"/>
            </a:xfrm>
            <a:custGeom>
              <a:avLst/>
              <a:gdLst/>
              <a:ahLst/>
              <a:cxnLst/>
              <a:rect l="l" t="t" r="r" b="b"/>
              <a:pathLst>
                <a:path w="1054" h="990" extrusionOk="0">
                  <a:moveTo>
                    <a:pt x="529" y="419"/>
                  </a:moveTo>
                  <a:lnTo>
                    <a:pt x="529" y="422"/>
                  </a:lnTo>
                  <a:lnTo>
                    <a:pt x="529" y="419"/>
                  </a:lnTo>
                  <a:lnTo>
                    <a:pt x="529" y="419"/>
                  </a:lnTo>
                  <a:cubicBezTo>
                    <a:pt x="529" y="419"/>
                    <a:pt x="529" y="419"/>
                    <a:pt x="529" y="419"/>
                  </a:cubicBezTo>
                  <a:close/>
                  <a:moveTo>
                    <a:pt x="487" y="1"/>
                  </a:moveTo>
                  <a:lnTo>
                    <a:pt x="380" y="17"/>
                  </a:lnTo>
                  <a:lnTo>
                    <a:pt x="474" y="380"/>
                  </a:lnTo>
                  <a:lnTo>
                    <a:pt x="286" y="56"/>
                  </a:lnTo>
                  <a:lnTo>
                    <a:pt x="189" y="124"/>
                  </a:lnTo>
                  <a:lnTo>
                    <a:pt x="432" y="422"/>
                  </a:lnTo>
                  <a:lnTo>
                    <a:pt x="137" y="163"/>
                  </a:lnTo>
                  <a:lnTo>
                    <a:pt x="69" y="260"/>
                  </a:lnTo>
                  <a:lnTo>
                    <a:pt x="419" y="474"/>
                  </a:lnTo>
                  <a:lnTo>
                    <a:pt x="419" y="474"/>
                  </a:lnTo>
                  <a:lnTo>
                    <a:pt x="27" y="367"/>
                  </a:lnTo>
                  <a:lnTo>
                    <a:pt x="14" y="474"/>
                  </a:lnTo>
                  <a:lnTo>
                    <a:pt x="338" y="516"/>
                  </a:lnTo>
                  <a:lnTo>
                    <a:pt x="1" y="542"/>
                  </a:lnTo>
                  <a:lnTo>
                    <a:pt x="14" y="665"/>
                  </a:lnTo>
                  <a:lnTo>
                    <a:pt x="432" y="555"/>
                  </a:lnTo>
                  <a:cubicBezTo>
                    <a:pt x="432" y="542"/>
                    <a:pt x="419" y="542"/>
                    <a:pt x="419" y="529"/>
                  </a:cubicBezTo>
                  <a:cubicBezTo>
                    <a:pt x="419" y="474"/>
                    <a:pt x="448" y="422"/>
                    <a:pt x="500" y="422"/>
                  </a:cubicBezTo>
                  <a:cubicBezTo>
                    <a:pt x="508" y="420"/>
                    <a:pt x="516" y="419"/>
                    <a:pt x="524" y="419"/>
                  </a:cubicBezTo>
                  <a:cubicBezTo>
                    <a:pt x="526" y="419"/>
                    <a:pt x="527" y="419"/>
                    <a:pt x="529" y="419"/>
                  </a:cubicBezTo>
                  <a:lnTo>
                    <a:pt x="529" y="419"/>
                  </a:lnTo>
                  <a:lnTo>
                    <a:pt x="487" y="1"/>
                  </a:lnTo>
                  <a:close/>
                  <a:moveTo>
                    <a:pt x="568" y="1"/>
                  </a:moveTo>
                  <a:lnTo>
                    <a:pt x="529" y="419"/>
                  </a:lnTo>
                  <a:lnTo>
                    <a:pt x="529" y="419"/>
                  </a:lnTo>
                  <a:cubicBezTo>
                    <a:pt x="573" y="421"/>
                    <a:pt x="610" y="458"/>
                    <a:pt x="610" y="503"/>
                  </a:cubicBezTo>
                  <a:cubicBezTo>
                    <a:pt x="623" y="542"/>
                    <a:pt x="594" y="584"/>
                    <a:pt x="555" y="610"/>
                  </a:cubicBezTo>
                  <a:lnTo>
                    <a:pt x="772" y="989"/>
                  </a:lnTo>
                  <a:lnTo>
                    <a:pt x="866" y="921"/>
                  </a:lnTo>
                  <a:lnTo>
                    <a:pt x="649" y="649"/>
                  </a:lnTo>
                  <a:lnTo>
                    <a:pt x="905" y="866"/>
                  </a:lnTo>
                  <a:lnTo>
                    <a:pt x="973" y="772"/>
                  </a:lnTo>
                  <a:lnTo>
                    <a:pt x="636" y="568"/>
                  </a:lnTo>
                  <a:lnTo>
                    <a:pt x="1028" y="678"/>
                  </a:lnTo>
                  <a:lnTo>
                    <a:pt x="1054" y="555"/>
                  </a:lnTo>
                  <a:lnTo>
                    <a:pt x="649" y="516"/>
                  </a:lnTo>
                  <a:lnTo>
                    <a:pt x="1041" y="487"/>
                  </a:lnTo>
                  <a:lnTo>
                    <a:pt x="1015" y="367"/>
                  </a:lnTo>
                  <a:lnTo>
                    <a:pt x="662" y="461"/>
                  </a:lnTo>
                  <a:lnTo>
                    <a:pt x="662" y="461"/>
                  </a:lnTo>
                  <a:lnTo>
                    <a:pt x="986" y="286"/>
                  </a:lnTo>
                  <a:lnTo>
                    <a:pt x="918" y="179"/>
                  </a:lnTo>
                  <a:lnTo>
                    <a:pt x="594" y="448"/>
                  </a:lnTo>
                  <a:lnTo>
                    <a:pt x="866" y="137"/>
                  </a:lnTo>
                  <a:lnTo>
                    <a:pt x="772" y="56"/>
                  </a:lnTo>
                  <a:lnTo>
                    <a:pt x="581" y="367"/>
                  </a:lnTo>
                  <a:lnTo>
                    <a:pt x="691" y="30"/>
                  </a:lnTo>
                  <a:lnTo>
                    <a:pt x="568" y="1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1" name="Google Shape;701;p27"/>
            <p:cNvSpPr/>
            <p:nvPr/>
          </p:nvSpPr>
          <p:spPr>
            <a:xfrm>
              <a:off x="7269945" y="4079180"/>
              <a:ext cx="41507" cy="63584"/>
            </a:xfrm>
            <a:custGeom>
              <a:avLst/>
              <a:gdLst/>
              <a:ahLst/>
              <a:cxnLst/>
              <a:rect l="l" t="t" r="r" b="b"/>
              <a:pathLst>
                <a:path w="282" h="432" extrusionOk="0">
                  <a:moveTo>
                    <a:pt x="107" y="1"/>
                  </a:moveTo>
                  <a:lnTo>
                    <a:pt x="0" y="406"/>
                  </a:lnTo>
                  <a:lnTo>
                    <a:pt x="107" y="432"/>
                  </a:lnTo>
                  <a:lnTo>
                    <a:pt x="133" y="121"/>
                  </a:lnTo>
                  <a:lnTo>
                    <a:pt x="162" y="419"/>
                  </a:lnTo>
                  <a:lnTo>
                    <a:pt x="282" y="406"/>
                  </a:lnTo>
                  <a:lnTo>
                    <a:pt x="175" y="1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2" name="Google Shape;702;p27"/>
            <p:cNvSpPr/>
            <p:nvPr/>
          </p:nvSpPr>
          <p:spPr>
            <a:xfrm>
              <a:off x="7295555" y="4077414"/>
              <a:ext cx="147" cy="19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3"/>
                  </a:moveTo>
                  <a:lnTo>
                    <a:pt x="1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3" name="Google Shape;703;p27"/>
            <p:cNvSpPr/>
            <p:nvPr/>
          </p:nvSpPr>
          <p:spPr>
            <a:xfrm>
              <a:off x="7494553" y="4331455"/>
              <a:ext cx="1913" cy="8390"/>
            </a:xfrm>
            <a:custGeom>
              <a:avLst/>
              <a:gdLst/>
              <a:ahLst/>
              <a:cxnLst/>
              <a:rect l="l" t="t" r="r" b="b"/>
              <a:pathLst>
                <a:path w="13" h="57" extrusionOk="0">
                  <a:moveTo>
                    <a:pt x="0" y="56"/>
                  </a:moveTo>
                  <a:cubicBezTo>
                    <a:pt x="0" y="56"/>
                    <a:pt x="0" y="27"/>
                    <a:pt x="13" y="1"/>
                  </a:cubicBezTo>
                  <a:cubicBezTo>
                    <a:pt x="0" y="27"/>
                    <a:pt x="0" y="56"/>
                    <a:pt x="0" y="56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4" name="Google Shape;704;p27"/>
            <p:cNvSpPr/>
            <p:nvPr/>
          </p:nvSpPr>
          <p:spPr>
            <a:xfrm>
              <a:off x="7429202" y="4290096"/>
              <a:ext cx="136296" cy="103471"/>
            </a:xfrm>
            <a:custGeom>
              <a:avLst/>
              <a:gdLst/>
              <a:ahLst/>
              <a:cxnLst/>
              <a:rect l="l" t="t" r="r" b="b"/>
              <a:pathLst>
                <a:path w="926" h="703" extrusionOk="0">
                  <a:moveTo>
                    <a:pt x="347" y="175"/>
                  </a:moveTo>
                  <a:cubicBezTo>
                    <a:pt x="336" y="186"/>
                    <a:pt x="325" y="197"/>
                    <a:pt x="313" y="200"/>
                  </a:cubicBezTo>
                  <a:lnTo>
                    <a:pt x="313" y="200"/>
                  </a:lnTo>
                  <a:cubicBezTo>
                    <a:pt x="323" y="192"/>
                    <a:pt x="333" y="182"/>
                    <a:pt x="347" y="175"/>
                  </a:cubicBezTo>
                  <a:close/>
                  <a:moveTo>
                    <a:pt x="509" y="146"/>
                  </a:moveTo>
                  <a:cubicBezTo>
                    <a:pt x="537" y="186"/>
                    <a:pt x="586" y="251"/>
                    <a:pt x="615" y="279"/>
                  </a:cubicBezTo>
                  <a:lnTo>
                    <a:pt x="615" y="279"/>
                  </a:lnTo>
                  <a:cubicBezTo>
                    <a:pt x="573" y="240"/>
                    <a:pt x="508" y="188"/>
                    <a:pt x="483" y="175"/>
                  </a:cubicBezTo>
                  <a:lnTo>
                    <a:pt x="483" y="162"/>
                  </a:lnTo>
                  <a:cubicBezTo>
                    <a:pt x="496" y="175"/>
                    <a:pt x="525" y="175"/>
                    <a:pt x="525" y="188"/>
                  </a:cubicBezTo>
                  <a:cubicBezTo>
                    <a:pt x="527" y="190"/>
                    <a:pt x="529" y="191"/>
                    <a:pt x="530" y="191"/>
                  </a:cubicBezTo>
                  <a:cubicBezTo>
                    <a:pt x="533" y="191"/>
                    <a:pt x="522" y="170"/>
                    <a:pt x="509" y="146"/>
                  </a:cubicBezTo>
                  <a:close/>
                  <a:moveTo>
                    <a:pt x="428" y="162"/>
                  </a:moveTo>
                  <a:lnTo>
                    <a:pt x="428" y="162"/>
                  </a:lnTo>
                  <a:cubicBezTo>
                    <a:pt x="407" y="183"/>
                    <a:pt x="394" y="204"/>
                    <a:pt x="397" y="204"/>
                  </a:cubicBezTo>
                  <a:cubicBezTo>
                    <a:pt x="398" y="204"/>
                    <a:pt x="400" y="203"/>
                    <a:pt x="402" y="201"/>
                  </a:cubicBezTo>
                  <a:cubicBezTo>
                    <a:pt x="415" y="188"/>
                    <a:pt x="428" y="188"/>
                    <a:pt x="444" y="175"/>
                  </a:cubicBezTo>
                  <a:lnTo>
                    <a:pt x="444" y="188"/>
                  </a:lnTo>
                  <a:cubicBezTo>
                    <a:pt x="415" y="201"/>
                    <a:pt x="347" y="256"/>
                    <a:pt x="321" y="295"/>
                  </a:cubicBezTo>
                  <a:cubicBezTo>
                    <a:pt x="347" y="256"/>
                    <a:pt x="389" y="201"/>
                    <a:pt x="428" y="162"/>
                  </a:cubicBezTo>
                  <a:close/>
                  <a:moveTo>
                    <a:pt x="496" y="0"/>
                  </a:moveTo>
                  <a:cubicBezTo>
                    <a:pt x="496" y="0"/>
                    <a:pt x="201" y="146"/>
                    <a:pt x="240" y="146"/>
                  </a:cubicBezTo>
                  <a:cubicBezTo>
                    <a:pt x="244" y="146"/>
                    <a:pt x="247" y="146"/>
                    <a:pt x="249" y="145"/>
                  </a:cubicBezTo>
                  <a:lnTo>
                    <a:pt x="249" y="145"/>
                  </a:lnTo>
                  <a:cubicBezTo>
                    <a:pt x="194" y="185"/>
                    <a:pt x="107" y="227"/>
                    <a:pt x="133" y="227"/>
                  </a:cubicBezTo>
                  <a:cubicBezTo>
                    <a:pt x="185" y="214"/>
                    <a:pt x="214" y="201"/>
                    <a:pt x="214" y="201"/>
                  </a:cubicBezTo>
                  <a:lnTo>
                    <a:pt x="214" y="201"/>
                  </a:lnTo>
                  <a:cubicBezTo>
                    <a:pt x="214" y="201"/>
                    <a:pt x="52" y="308"/>
                    <a:pt x="78" y="308"/>
                  </a:cubicBezTo>
                  <a:cubicBezTo>
                    <a:pt x="104" y="295"/>
                    <a:pt x="308" y="146"/>
                    <a:pt x="308" y="146"/>
                  </a:cubicBezTo>
                  <a:lnTo>
                    <a:pt x="308" y="146"/>
                  </a:lnTo>
                  <a:cubicBezTo>
                    <a:pt x="308" y="146"/>
                    <a:pt x="257" y="219"/>
                    <a:pt x="271" y="219"/>
                  </a:cubicBezTo>
                  <a:cubicBezTo>
                    <a:pt x="273" y="219"/>
                    <a:pt x="277" y="218"/>
                    <a:pt x="282" y="214"/>
                  </a:cubicBezTo>
                  <a:cubicBezTo>
                    <a:pt x="287" y="214"/>
                    <a:pt x="291" y="213"/>
                    <a:pt x="294" y="212"/>
                  </a:cubicBezTo>
                  <a:lnTo>
                    <a:pt x="294" y="212"/>
                  </a:lnTo>
                  <a:cubicBezTo>
                    <a:pt x="228" y="265"/>
                    <a:pt x="148" y="324"/>
                    <a:pt x="172" y="324"/>
                  </a:cubicBezTo>
                  <a:cubicBezTo>
                    <a:pt x="198" y="314"/>
                    <a:pt x="223" y="300"/>
                    <a:pt x="241" y="288"/>
                  </a:cubicBezTo>
                  <a:lnTo>
                    <a:pt x="241" y="288"/>
                  </a:lnTo>
                  <a:cubicBezTo>
                    <a:pt x="173" y="346"/>
                    <a:pt x="1" y="512"/>
                    <a:pt x="20" y="512"/>
                  </a:cubicBezTo>
                  <a:cubicBezTo>
                    <a:pt x="21" y="512"/>
                    <a:pt x="22" y="512"/>
                    <a:pt x="23" y="512"/>
                  </a:cubicBezTo>
                  <a:cubicBezTo>
                    <a:pt x="52" y="499"/>
                    <a:pt x="253" y="308"/>
                    <a:pt x="253" y="308"/>
                  </a:cubicBezTo>
                  <a:lnTo>
                    <a:pt x="253" y="308"/>
                  </a:lnTo>
                  <a:cubicBezTo>
                    <a:pt x="253" y="308"/>
                    <a:pt x="167" y="445"/>
                    <a:pt x="182" y="445"/>
                  </a:cubicBezTo>
                  <a:cubicBezTo>
                    <a:pt x="183" y="445"/>
                    <a:pt x="184" y="444"/>
                    <a:pt x="185" y="444"/>
                  </a:cubicBezTo>
                  <a:cubicBezTo>
                    <a:pt x="201" y="418"/>
                    <a:pt x="266" y="337"/>
                    <a:pt x="295" y="295"/>
                  </a:cubicBezTo>
                  <a:lnTo>
                    <a:pt x="295" y="295"/>
                  </a:lnTo>
                  <a:cubicBezTo>
                    <a:pt x="295" y="308"/>
                    <a:pt x="282" y="324"/>
                    <a:pt x="282" y="324"/>
                  </a:cubicBezTo>
                  <a:lnTo>
                    <a:pt x="295" y="324"/>
                  </a:lnTo>
                  <a:cubicBezTo>
                    <a:pt x="308" y="324"/>
                    <a:pt x="363" y="269"/>
                    <a:pt x="363" y="269"/>
                  </a:cubicBezTo>
                  <a:lnTo>
                    <a:pt x="363" y="269"/>
                  </a:lnTo>
                  <a:cubicBezTo>
                    <a:pt x="363" y="269"/>
                    <a:pt x="208" y="538"/>
                    <a:pt x="238" y="538"/>
                  </a:cubicBezTo>
                  <a:cubicBezTo>
                    <a:pt x="238" y="538"/>
                    <a:pt x="239" y="538"/>
                    <a:pt x="240" y="538"/>
                  </a:cubicBezTo>
                  <a:cubicBezTo>
                    <a:pt x="253" y="512"/>
                    <a:pt x="295" y="457"/>
                    <a:pt x="321" y="418"/>
                  </a:cubicBezTo>
                  <a:lnTo>
                    <a:pt x="321" y="418"/>
                  </a:lnTo>
                  <a:cubicBezTo>
                    <a:pt x="269" y="506"/>
                    <a:pt x="161" y="703"/>
                    <a:pt x="169" y="703"/>
                  </a:cubicBezTo>
                  <a:cubicBezTo>
                    <a:pt x="169" y="703"/>
                    <a:pt x="170" y="702"/>
                    <a:pt x="172" y="700"/>
                  </a:cubicBezTo>
                  <a:cubicBezTo>
                    <a:pt x="214" y="661"/>
                    <a:pt x="402" y="308"/>
                    <a:pt x="402" y="308"/>
                  </a:cubicBezTo>
                  <a:lnTo>
                    <a:pt x="402" y="308"/>
                  </a:lnTo>
                  <a:cubicBezTo>
                    <a:pt x="402" y="308"/>
                    <a:pt x="367" y="406"/>
                    <a:pt x="374" y="406"/>
                  </a:cubicBezTo>
                  <a:cubicBezTo>
                    <a:pt x="375" y="406"/>
                    <a:pt x="375" y="406"/>
                    <a:pt x="376" y="405"/>
                  </a:cubicBezTo>
                  <a:cubicBezTo>
                    <a:pt x="389" y="389"/>
                    <a:pt x="428" y="308"/>
                    <a:pt x="457" y="269"/>
                  </a:cubicBezTo>
                  <a:lnTo>
                    <a:pt x="457" y="243"/>
                  </a:lnTo>
                  <a:lnTo>
                    <a:pt x="470" y="243"/>
                  </a:lnTo>
                  <a:lnTo>
                    <a:pt x="457" y="227"/>
                  </a:lnTo>
                  <a:cubicBezTo>
                    <a:pt x="470" y="227"/>
                    <a:pt x="470" y="227"/>
                    <a:pt x="470" y="214"/>
                  </a:cubicBezTo>
                  <a:lnTo>
                    <a:pt x="470" y="243"/>
                  </a:lnTo>
                  <a:cubicBezTo>
                    <a:pt x="470" y="256"/>
                    <a:pt x="457" y="256"/>
                    <a:pt x="457" y="269"/>
                  </a:cubicBezTo>
                  <a:lnTo>
                    <a:pt x="457" y="282"/>
                  </a:lnTo>
                  <a:cubicBezTo>
                    <a:pt x="457" y="269"/>
                    <a:pt x="457" y="256"/>
                    <a:pt x="470" y="256"/>
                  </a:cubicBezTo>
                  <a:cubicBezTo>
                    <a:pt x="496" y="295"/>
                    <a:pt x="538" y="376"/>
                    <a:pt x="551" y="389"/>
                  </a:cubicBezTo>
                  <a:cubicBezTo>
                    <a:pt x="552" y="390"/>
                    <a:pt x="552" y="390"/>
                    <a:pt x="553" y="390"/>
                  </a:cubicBezTo>
                  <a:cubicBezTo>
                    <a:pt x="559" y="390"/>
                    <a:pt x="525" y="295"/>
                    <a:pt x="525" y="295"/>
                  </a:cubicBezTo>
                  <a:lnTo>
                    <a:pt x="525" y="295"/>
                  </a:lnTo>
                  <a:cubicBezTo>
                    <a:pt x="525" y="295"/>
                    <a:pt x="713" y="648"/>
                    <a:pt x="752" y="687"/>
                  </a:cubicBezTo>
                  <a:cubicBezTo>
                    <a:pt x="753" y="688"/>
                    <a:pt x="755" y="689"/>
                    <a:pt x="755" y="689"/>
                  </a:cubicBezTo>
                  <a:cubicBezTo>
                    <a:pt x="767" y="689"/>
                    <a:pt x="655" y="494"/>
                    <a:pt x="606" y="405"/>
                  </a:cubicBezTo>
                  <a:lnTo>
                    <a:pt x="606" y="405"/>
                  </a:lnTo>
                  <a:cubicBezTo>
                    <a:pt x="632" y="444"/>
                    <a:pt x="671" y="512"/>
                    <a:pt x="700" y="525"/>
                  </a:cubicBezTo>
                  <a:cubicBezTo>
                    <a:pt x="701" y="526"/>
                    <a:pt x="702" y="527"/>
                    <a:pt x="702" y="527"/>
                  </a:cubicBezTo>
                  <a:cubicBezTo>
                    <a:pt x="713" y="527"/>
                    <a:pt x="564" y="256"/>
                    <a:pt x="564" y="256"/>
                  </a:cubicBezTo>
                  <a:lnTo>
                    <a:pt x="564" y="256"/>
                  </a:lnTo>
                  <a:cubicBezTo>
                    <a:pt x="564" y="256"/>
                    <a:pt x="619" y="308"/>
                    <a:pt x="645" y="324"/>
                  </a:cubicBezTo>
                  <a:lnTo>
                    <a:pt x="645" y="308"/>
                  </a:lnTo>
                  <a:cubicBezTo>
                    <a:pt x="645" y="308"/>
                    <a:pt x="645" y="304"/>
                    <a:pt x="643" y="299"/>
                  </a:cubicBezTo>
                  <a:lnTo>
                    <a:pt x="643" y="299"/>
                  </a:lnTo>
                  <a:cubicBezTo>
                    <a:pt x="674" y="346"/>
                    <a:pt x="729" y="420"/>
                    <a:pt x="752" y="431"/>
                  </a:cubicBezTo>
                  <a:cubicBezTo>
                    <a:pt x="753" y="432"/>
                    <a:pt x="753" y="432"/>
                    <a:pt x="753" y="432"/>
                  </a:cubicBezTo>
                  <a:cubicBezTo>
                    <a:pt x="759" y="432"/>
                    <a:pt x="671" y="308"/>
                    <a:pt x="671" y="308"/>
                  </a:cubicBezTo>
                  <a:lnTo>
                    <a:pt x="671" y="308"/>
                  </a:lnTo>
                  <a:cubicBezTo>
                    <a:pt x="671" y="308"/>
                    <a:pt x="875" y="486"/>
                    <a:pt x="901" y="499"/>
                  </a:cubicBezTo>
                  <a:cubicBezTo>
                    <a:pt x="902" y="499"/>
                    <a:pt x="903" y="500"/>
                    <a:pt x="904" y="500"/>
                  </a:cubicBezTo>
                  <a:cubicBezTo>
                    <a:pt x="926" y="500"/>
                    <a:pt x="751" y="339"/>
                    <a:pt x="690" y="278"/>
                  </a:cubicBezTo>
                  <a:lnTo>
                    <a:pt x="690" y="278"/>
                  </a:lnTo>
                  <a:cubicBezTo>
                    <a:pt x="706" y="289"/>
                    <a:pt x="729" y="300"/>
                    <a:pt x="752" y="308"/>
                  </a:cubicBezTo>
                  <a:cubicBezTo>
                    <a:pt x="756" y="309"/>
                    <a:pt x="758" y="310"/>
                    <a:pt x="760" y="310"/>
                  </a:cubicBezTo>
                  <a:cubicBezTo>
                    <a:pt x="775" y="310"/>
                    <a:pt x="681" y="239"/>
                    <a:pt x="619" y="201"/>
                  </a:cubicBezTo>
                  <a:lnTo>
                    <a:pt x="619" y="188"/>
                  </a:lnTo>
                  <a:cubicBezTo>
                    <a:pt x="619" y="201"/>
                    <a:pt x="632" y="201"/>
                    <a:pt x="645" y="201"/>
                  </a:cubicBezTo>
                  <a:cubicBezTo>
                    <a:pt x="652" y="204"/>
                    <a:pt x="656" y="205"/>
                    <a:pt x="659" y="205"/>
                  </a:cubicBezTo>
                  <a:cubicBezTo>
                    <a:pt x="682" y="205"/>
                    <a:pt x="619" y="133"/>
                    <a:pt x="619" y="133"/>
                  </a:cubicBezTo>
                  <a:lnTo>
                    <a:pt x="619" y="133"/>
                  </a:lnTo>
                  <a:cubicBezTo>
                    <a:pt x="619" y="133"/>
                    <a:pt x="820" y="282"/>
                    <a:pt x="849" y="295"/>
                  </a:cubicBezTo>
                  <a:cubicBezTo>
                    <a:pt x="875" y="295"/>
                    <a:pt x="713" y="188"/>
                    <a:pt x="713" y="188"/>
                  </a:cubicBezTo>
                  <a:lnTo>
                    <a:pt x="713" y="188"/>
                  </a:lnTo>
                  <a:lnTo>
                    <a:pt x="794" y="214"/>
                  </a:lnTo>
                  <a:cubicBezTo>
                    <a:pt x="820" y="214"/>
                    <a:pt x="713" y="162"/>
                    <a:pt x="658" y="133"/>
                  </a:cubicBezTo>
                  <a:lnTo>
                    <a:pt x="687" y="133"/>
                  </a:lnTo>
                  <a:cubicBezTo>
                    <a:pt x="726" y="133"/>
                    <a:pt x="496" y="0"/>
                    <a:pt x="49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5" name="Google Shape;705;p27"/>
            <p:cNvSpPr/>
            <p:nvPr/>
          </p:nvSpPr>
          <p:spPr>
            <a:xfrm>
              <a:off x="7498233" y="4331455"/>
              <a:ext cx="3974" cy="6476"/>
            </a:xfrm>
            <a:custGeom>
              <a:avLst/>
              <a:gdLst/>
              <a:ahLst/>
              <a:cxnLst/>
              <a:rect l="l" t="t" r="r" b="b"/>
              <a:pathLst>
                <a:path w="27" h="44" extrusionOk="0">
                  <a:moveTo>
                    <a:pt x="1" y="1"/>
                  </a:moveTo>
                  <a:lnTo>
                    <a:pt x="1" y="1"/>
                  </a:lnTo>
                  <a:cubicBezTo>
                    <a:pt x="14" y="27"/>
                    <a:pt x="14" y="43"/>
                    <a:pt x="14" y="43"/>
                  </a:cubicBezTo>
                  <a:cubicBezTo>
                    <a:pt x="27" y="43"/>
                    <a:pt x="14" y="14"/>
                    <a:pt x="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6" name="Google Shape;706;p27"/>
            <p:cNvSpPr/>
            <p:nvPr/>
          </p:nvSpPr>
          <p:spPr>
            <a:xfrm>
              <a:off x="7492051" y="4359126"/>
              <a:ext cx="4416" cy="8242"/>
            </a:xfrm>
            <a:custGeom>
              <a:avLst/>
              <a:gdLst/>
              <a:ahLst/>
              <a:cxnLst/>
              <a:rect l="l" t="t" r="r" b="b"/>
              <a:pathLst>
                <a:path w="30" h="56" extrusionOk="0">
                  <a:moveTo>
                    <a:pt x="30" y="1"/>
                  </a:moveTo>
                  <a:cubicBezTo>
                    <a:pt x="17" y="30"/>
                    <a:pt x="1" y="56"/>
                    <a:pt x="1" y="56"/>
                  </a:cubicBezTo>
                  <a:cubicBezTo>
                    <a:pt x="17" y="56"/>
                    <a:pt x="17" y="30"/>
                    <a:pt x="3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7" name="Google Shape;707;p27"/>
            <p:cNvSpPr/>
            <p:nvPr/>
          </p:nvSpPr>
          <p:spPr>
            <a:xfrm>
              <a:off x="7410803" y="4305698"/>
              <a:ext cx="172504" cy="129964"/>
            </a:xfrm>
            <a:custGeom>
              <a:avLst/>
              <a:gdLst/>
              <a:ahLst/>
              <a:cxnLst/>
              <a:rect l="l" t="t" r="r" b="b"/>
              <a:pathLst>
                <a:path w="1172" h="883" extrusionOk="0">
                  <a:moveTo>
                    <a:pt x="406" y="250"/>
                  </a:moveTo>
                  <a:cubicBezTo>
                    <a:pt x="403" y="252"/>
                    <a:pt x="401" y="254"/>
                    <a:pt x="398" y="255"/>
                  </a:cubicBezTo>
                  <a:lnTo>
                    <a:pt x="398" y="255"/>
                  </a:lnTo>
                  <a:cubicBezTo>
                    <a:pt x="401" y="254"/>
                    <a:pt x="403" y="252"/>
                    <a:pt x="406" y="250"/>
                  </a:cubicBezTo>
                  <a:close/>
                  <a:moveTo>
                    <a:pt x="595" y="312"/>
                  </a:moveTo>
                  <a:cubicBezTo>
                    <a:pt x="595" y="325"/>
                    <a:pt x="595" y="338"/>
                    <a:pt x="608" y="351"/>
                  </a:cubicBezTo>
                  <a:cubicBezTo>
                    <a:pt x="608" y="338"/>
                    <a:pt x="595" y="325"/>
                    <a:pt x="595" y="312"/>
                  </a:cubicBezTo>
                  <a:close/>
                  <a:moveTo>
                    <a:pt x="634" y="189"/>
                  </a:moveTo>
                  <a:lnTo>
                    <a:pt x="634" y="189"/>
                  </a:lnTo>
                  <a:cubicBezTo>
                    <a:pt x="689" y="244"/>
                    <a:pt x="744" y="312"/>
                    <a:pt x="783" y="351"/>
                  </a:cubicBezTo>
                  <a:cubicBezTo>
                    <a:pt x="731" y="312"/>
                    <a:pt x="650" y="231"/>
                    <a:pt x="621" y="218"/>
                  </a:cubicBezTo>
                  <a:lnTo>
                    <a:pt x="621" y="202"/>
                  </a:lnTo>
                  <a:cubicBezTo>
                    <a:pt x="634" y="218"/>
                    <a:pt x="663" y="231"/>
                    <a:pt x="676" y="244"/>
                  </a:cubicBezTo>
                  <a:cubicBezTo>
                    <a:pt x="676" y="244"/>
                    <a:pt x="663" y="218"/>
                    <a:pt x="634" y="189"/>
                  </a:cubicBezTo>
                  <a:close/>
                  <a:moveTo>
                    <a:pt x="540" y="202"/>
                  </a:moveTo>
                  <a:cubicBezTo>
                    <a:pt x="514" y="244"/>
                    <a:pt x="501" y="257"/>
                    <a:pt x="514" y="257"/>
                  </a:cubicBezTo>
                  <a:cubicBezTo>
                    <a:pt x="527" y="244"/>
                    <a:pt x="540" y="231"/>
                    <a:pt x="553" y="231"/>
                  </a:cubicBezTo>
                  <a:cubicBezTo>
                    <a:pt x="527" y="257"/>
                    <a:pt x="446" y="325"/>
                    <a:pt x="407" y="364"/>
                  </a:cubicBezTo>
                  <a:cubicBezTo>
                    <a:pt x="433" y="325"/>
                    <a:pt x="501" y="257"/>
                    <a:pt x="540" y="202"/>
                  </a:cubicBezTo>
                  <a:close/>
                  <a:moveTo>
                    <a:pt x="595" y="312"/>
                  </a:moveTo>
                  <a:lnTo>
                    <a:pt x="582" y="325"/>
                  </a:lnTo>
                  <a:lnTo>
                    <a:pt x="582" y="364"/>
                  </a:lnTo>
                  <a:cubicBezTo>
                    <a:pt x="582" y="338"/>
                    <a:pt x="582" y="325"/>
                    <a:pt x="595" y="312"/>
                  </a:cubicBezTo>
                  <a:close/>
                  <a:moveTo>
                    <a:pt x="621" y="1"/>
                  </a:moveTo>
                  <a:cubicBezTo>
                    <a:pt x="621" y="1"/>
                    <a:pt x="282" y="177"/>
                    <a:pt x="306" y="177"/>
                  </a:cubicBezTo>
                  <a:cubicBezTo>
                    <a:pt x="307" y="177"/>
                    <a:pt x="308" y="176"/>
                    <a:pt x="310" y="176"/>
                  </a:cubicBezTo>
                  <a:lnTo>
                    <a:pt x="339" y="176"/>
                  </a:lnTo>
                  <a:cubicBezTo>
                    <a:pt x="271" y="218"/>
                    <a:pt x="135" y="283"/>
                    <a:pt x="177" y="283"/>
                  </a:cubicBezTo>
                  <a:cubicBezTo>
                    <a:pt x="229" y="270"/>
                    <a:pt x="271" y="257"/>
                    <a:pt x="271" y="257"/>
                  </a:cubicBezTo>
                  <a:lnTo>
                    <a:pt x="271" y="257"/>
                  </a:lnTo>
                  <a:cubicBezTo>
                    <a:pt x="271" y="257"/>
                    <a:pt x="85" y="381"/>
                    <a:pt x="105" y="381"/>
                  </a:cubicBezTo>
                  <a:cubicBezTo>
                    <a:pt x="106" y="381"/>
                    <a:pt x="107" y="381"/>
                    <a:pt x="109" y="380"/>
                  </a:cubicBezTo>
                  <a:cubicBezTo>
                    <a:pt x="135" y="380"/>
                    <a:pt x="391" y="189"/>
                    <a:pt x="391" y="189"/>
                  </a:cubicBezTo>
                  <a:lnTo>
                    <a:pt x="391" y="189"/>
                  </a:lnTo>
                  <a:cubicBezTo>
                    <a:pt x="391" y="189"/>
                    <a:pt x="322" y="279"/>
                    <a:pt x="345" y="279"/>
                  </a:cubicBezTo>
                  <a:cubicBezTo>
                    <a:pt x="349" y="279"/>
                    <a:pt x="355" y="276"/>
                    <a:pt x="365" y="270"/>
                  </a:cubicBezTo>
                  <a:cubicBezTo>
                    <a:pt x="369" y="270"/>
                    <a:pt x="375" y="268"/>
                    <a:pt x="382" y="264"/>
                  </a:cubicBezTo>
                  <a:lnTo>
                    <a:pt x="382" y="264"/>
                  </a:lnTo>
                  <a:cubicBezTo>
                    <a:pt x="306" y="327"/>
                    <a:pt x="194" y="407"/>
                    <a:pt x="211" y="407"/>
                  </a:cubicBezTo>
                  <a:cubicBezTo>
                    <a:pt x="212" y="407"/>
                    <a:pt x="213" y="407"/>
                    <a:pt x="216" y="406"/>
                  </a:cubicBezTo>
                  <a:cubicBezTo>
                    <a:pt x="264" y="395"/>
                    <a:pt x="312" y="362"/>
                    <a:pt x="332" y="344"/>
                  </a:cubicBezTo>
                  <a:lnTo>
                    <a:pt x="332" y="344"/>
                  </a:lnTo>
                  <a:cubicBezTo>
                    <a:pt x="277" y="394"/>
                    <a:pt x="1" y="649"/>
                    <a:pt x="26" y="649"/>
                  </a:cubicBezTo>
                  <a:cubicBezTo>
                    <a:pt x="26" y="649"/>
                    <a:pt x="27" y="649"/>
                    <a:pt x="28" y="649"/>
                  </a:cubicBezTo>
                  <a:cubicBezTo>
                    <a:pt x="67" y="623"/>
                    <a:pt x="326" y="393"/>
                    <a:pt x="326" y="393"/>
                  </a:cubicBezTo>
                  <a:lnTo>
                    <a:pt x="326" y="393"/>
                  </a:lnTo>
                  <a:cubicBezTo>
                    <a:pt x="326" y="393"/>
                    <a:pt x="218" y="557"/>
                    <a:pt x="226" y="557"/>
                  </a:cubicBezTo>
                  <a:cubicBezTo>
                    <a:pt x="226" y="557"/>
                    <a:pt x="227" y="557"/>
                    <a:pt x="229" y="555"/>
                  </a:cubicBezTo>
                  <a:cubicBezTo>
                    <a:pt x="257" y="527"/>
                    <a:pt x="335" y="424"/>
                    <a:pt x="375" y="368"/>
                  </a:cubicBezTo>
                  <a:lnTo>
                    <a:pt x="375" y="368"/>
                  </a:lnTo>
                  <a:cubicBezTo>
                    <a:pt x="365" y="384"/>
                    <a:pt x="365" y="406"/>
                    <a:pt x="365" y="406"/>
                  </a:cubicBezTo>
                  <a:lnTo>
                    <a:pt x="365" y="419"/>
                  </a:lnTo>
                  <a:cubicBezTo>
                    <a:pt x="391" y="406"/>
                    <a:pt x="459" y="338"/>
                    <a:pt x="459" y="338"/>
                  </a:cubicBezTo>
                  <a:lnTo>
                    <a:pt x="459" y="338"/>
                  </a:lnTo>
                  <a:cubicBezTo>
                    <a:pt x="459" y="338"/>
                    <a:pt x="273" y="677"/>
                    <a:pt x="293" y="677"/>
                  </a:cubicBezTo>
                  <a:cubicBezTo>
                    <a:pt x="294" y="677"/>
                    <a:pt x="295" y="676"/>
                    <a:pt x="297" y="675"/>
                  </a:cubicBezTo>
                  <a:cubicBezTo>
                    <a:pt x="318" y="656"/>
                    <a:pt x="352" y="614"/>
                    <a:pt x="380" y="571"/>
                  </a:cubicBezTo>
                  <a:lnTo>
                    <a:pt x="380" y="571"/>
                  </a:lnTo>
                  <a:cubicBezTo>
                    <a:pt x="312" y="689"/>
                    <a:pt x="211" y="883"/>
                    <a:pt x="224" y="883"/>
                  </a:cubicBezTo>
                  <a:cubicBezTo>
                    <a:pt x="225" y="883"/>
                    <a:pt x="226" y="882"/>
                    <a:pt x="229" y="879"/>
                  </a:cubicBezTo>
                  <a:cubicBezTo>
                    <a:pt x="284" y="824"/>
                    <a:pt x="514" y="380"/>
                    <a:pt x="514" y="380"/>
                  </a:cubicBezTo>
                  <a:lnTo>
                    <a:pt x="514" y="380"/>
                  </a:lnTo>
                  <a:cubicBezTo>
                    <a:pt x="514" y="380"/>
                    <a:pt x="464" y="501"/>
                    <a:pt x="470" y="501"/>
                  </a:cubicBezTo>
                  <a:cubicBezTo>
                    <a:pt x="471" y="501"/>
                    <a:pt x="471" y="501"/>
                    <a:pt x="472" y="500"/>
                  </a:cubicBezTo>
                  <a:cubicBezTo>
                    <a:pt x="501" y="487"/>
                    <a:pt x="553" y="393"/>
                    <a:pt x="582" y="325"/>
                  </a:cubicBezTo>
                  <a:lnTo>
                    <a:pt x="582" y="299"/>
                  </a:lnTo>
                  <a:cubicBezTo>
                    <a:pt x="595" y="283"/>
                    <a:pt x="595" y="283"/>
                    <a:pt x="595" y="270"/>
                  </a:cubicBezTo>
                  <a:lnTo>
                    <a:pt x="595" y="299"/>
                  </a:lnTo>
                  <a:lnTo>
                    <a:pt x="595" y="312"/>
                  </a:lnTo>
                  <a:cubicBezTo>
                    <a:pt x="621" y="380"/>
                    <a:pt x="689" y="474"/>
                    <a:pt x="702" y="487"/>
                  </a:cubicBezTo>
                  <a:cubicBezTo>
                    <a:pt x="703" y="488"/>
                    <a:pt x="704" y="488"/>
                    <a:pt x="705" y="488"/>
                  </a:cubicBezTo>
                  <a:cubicBezTo>
                    <a:pt x="725" y="488"/>
                    <a:pt x="663" y="364"/>
                    <a:pt x="663" y="364"/>
                  </a:cubicBezTo>
                  <a:lnTo>
                    <a:pt x="663" y="364"/>
                  </a:lnTo>
                  <a:cubicBezTo>
                    <a:pt x="663" y="364"/>
                    <a:pt x="906" y="811"/>
                    <a:pt x="958" y="866"/>
                  </a:cubicBezTo>
                  <a:cubicBezTo>
                    <a:pt x="961" y="869"/>
                    <a:pt x="962" y="870"/>
                    <a:pt x="963" y="870"/>
                  </a:cubicBezTo>
                  <a:cubicBezTo>
                    <a:pt x="977" y="870"/>
                    <a:pt x="882" y="701"/>
                    <a:pt x="812" y="583"/>
                  </a:cubicBezTo>
                  <a:lnTo>
                    <a:pt x="812" y="583"/>
                  </a:lnTo>
                  <a:cubicBezTo>
                    <a:pt x="836" y="616"/>
                    <a:pt x="861" y="647"/>
                    <a:pt x="877" y="662"/>
                  </a:cubicBezTo>
                  <a:cubicBezTo>
                    <a:pt x="878" y="663"/>
                    <a:pt x="879" y="663"/>
                    <a:pt x="880" y="663"/>
                  </a:cubicBezTo>
                  <a:cubicBezTo>
                    <a:pt x="905" y="663"/>
                    <a:pt x="715" y="325"/>
                    <a:pt x="715" y="325"/>
                  </a:cubicBezTo>
                  <a:lnTo>
                    <a:pt x="715" y="325"/>
                  </a:lnTo>
                  <a:cubicBezTo>
                    <a:pt x="715" y="325"/>
                    <a:pt x="783" y="393"/>
                    <a:pt x="812" y="406"/>
                  </a:cubicBezTo>
                  <a:lnTo>
                    <a:pt x="812" y="393"/>
                  </a:lnTo>
                  <a:cubicBezTo>
                    <a:pt x="825" y="393"/>
                    <a:pt x="812" y="364"/>
                    <a:pt x="812" y="351"/>
                  </a:cubicBezTo>
                  <a:lnTo>
                    <a:pt x="812" y="351"/>
                  </a:lnTo>
                  <a:cubicBezTo>
                    <a:pt x="838" y="406"/>
                    <a:pt x="932" y="513"/>
                    <a:pt x="945" y="542"/>
                  </a:cubicBezTo>
                  <a:cubicBezTo>
                    <a:pt x="947" y="544"/>
                    <a:pt x="948" y="545"/>
                    <a:pt x="949" y="545"/>
                  </a:cubicBezTo>
                  <a:cubicBezTo>
                    <a:pt x="959" y="545"/>
                    <a:pt x="851" y="380"/>
                    <a:pt x="851" y="380"/>
                  </a:cubicBezTo>
                  <a:lnTo>
                    <a:pt x="851" y="380"/>
                  </a:lnTo>
                  <a:cubicBezTo>
                    <a:pt x="851" y="380"/>
                    <a:pt x="1107" y="607"/>
                    <a:pt x="1149" y="636"/>
                  </a:cubicBezTo>
                  <a:cubicBezTo>
                    <a:pt x="1150" y="636"/>
                    <a:pt x="1150" y="636"/>
                    <a:pt x="1151" y="636"/>
                  </a:cubicBezTo>
                  <a:cubicBezTo>
                    <a:pt x="1172" y="636"/>
                    <a:pt x="944" y="416"/>
                    <a:pt x="862" y="345"/>
                  </a:cubicBezTo>
                  <a:lnTo>
                    <a:pt x="862" y="345"/>
                  </a:lnTo>
                  <a:cubicBezTo>
                    <a:pt x="886" y="362"/>
                    <a:pt x="923" y="384"/>
                    <a:pt x="958" y="393"/>
                  </a:cubicBezTo>
                  <a:cubicBezTo>
                    <a:pt x="960" y="394"/>
                    <a:pt x="962" y="394"/>
                    <a:pt x="964" y="394"/>
                  </a:cubicBezTo>
                  <a:cubicBezTo>
                    <a:pt x="985" y="394"/>
                    <a:pt x="871" y="308"/>
                    <a:pt x="783" y="244"/>
                  </a:cubicBezTo>
                  <a:lnTo>
                    <a:pt x="783" y="231"/>
                  </a:lnTo>
                  <a:lnTo>
                    <a:pt x="812" y="257"/>
                  </a:lnTo>
                  <a:cubicBezTo>
                    <a:pt x="822" y="263"/>
                    <a:pt x="828" y="266"/>
                    <a:pt x="831" y="266"/>
                  </a:cubicBezTo>
                  <a:cubicBezTo>
                    <a:pt x="851" y="266"/>
                    <a:pt x="783" y="176"/>
                    <a:pt x="783" y="176"/>
                  </a:cubicBezTo>
                  <a:lnTo>
                    <a:pt x="783" y="176"/>
                  </a:lnTo>
                  <a:cubicBezTo>
                    <a:pt x="783" y="176"/>
                    <a:pt x="1039" y="364"/>
                    <a:pt x="1081" y="364"/>
                  </a:cubicBezTo>
                  <a:cubicBezTo>
                    <a:pt x="1082" y="365"/>
                    <a:pt x="1083" y="365"/>
                    <a:pt x="1083" y="365"/>
                  </a:cubicBezTo>
                  <a:cubicBezTo>
                    <a:pt x="1085" y="365"/>
                    <a:pt x="906" y="244"/>
                    <a:pt x="906" y="244"/>
                  </a:cubicBezTo>
                  <a:lnTo>
                    <a:pt x="906" y="244"/>
                  </a:lnTo>
                  <a:cubicBezTo>
                    <a:pt x="906" y="244"/>
                    <a:pt x="945" y="257"/>
                    <a:pt x="1000" y="270"/>
                  </a:cubicBezTo>
                  <a:cubicBezTo>
                    <a:pt x="1039" y="270"/>
                    <a:pt x="906" y="202"/>
                    <a:pt x="838" y="163"/>
                  </a:cubicBezTo>
                  <a:lnTo>
                    <a:pt x="877" y="163"/>
                  </a:lnTo>
                  <a:cubicBezTo>
                    <a:pt x="879" y="163"/>
                    <a:pt x="880" y="164"/>
                    <a:pt x="881" y="164"/>
                  </a:cubicBezTo>
                  <a:cubicBezTo>
                    <a:pt x="910" y="164"/>
                    <a:pt x="621" y="1"/>
                    <a:pt x="62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8" name="Google Shape;708;p27"/>
            <p:cNvSpPr/>
            <p:nvPr/>
          </p:nvSpPr>
          <p:spPr>
            <a:xfrm>
              <a:off x="7500146" y="4357212"/>
              <a:ext cx="2061" cy="8242"/>
            </a:xfrm>
            <a:custGeom>
              <a:avLst/>
              <a:gdLst/>
              <a:ahLst/>
              <a:cxnLst/>
              <a:rect l="l" t="t" r="r" b="b"/>
              <a:pathLst>
                <a:path w="14" h="56" extrusionOk="0">
                  <a:moveTo>
                    <a:pt x="1" y="1"/>
                  </a:moveTo>
                  <a:cubicBezTo>
                    <a:pt x="1" y="30"/>
                    <a:pt x="14" y="56"/>
                    <a:pt x="14" y="56"/>
                  </a:cubicBezTo>
                  <a:cubicBezTo>
                    <a:pt x="14" y="56"/>
                    <a:pt x="1" y="30"/>
                    <a:pt x="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9" name="Google Shape;709;p27"/>
            <p:cNvSpPr/>
            <p:nvPr/>
          </p:nvSpPr>
          <p:spPr>
            <a:xfrm>
              <a:off x="7490726" y="4403134"/>
              <a:ext cx="3974" cy="10450"/>
            </a:xfrm>
            <a:custGeom>
              <a:avLst/>
              <a:gdLst/>
              <a:ahLst/>
              <a:cxnLst/>
              <a:rect l="l" t="t" r="r" b="b"/>
              <a:pathLst>
                <a:path w="27" h="71" extrusionOk="0">
                  <a:moveTo>
                    <a:pt x="26" y="0"/>
                  </a:moveTo>
                  <a:cubicBezTo>
                    <a:pt x="12" y="36"/>
                    <a:pt x="0" y="71"/>
                    <a:pt x="6" y="71"/>
                  </a:cubicBezTo>
                  <a:cubicBezTo>
                    <a:pt x="7" y="71"/>
                    <a:pt x="8" y="70"/>
                    <a:pt x="10" y="68"/>
                  </a:cubicBezTo>
                  <a:cubicBezTo>
                    <a:pt x="10" y="68"/>
                    <a:pt x="10" y="42"/>
                    <a:pt x="26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0" name="Google Shape;710;p27"/>
            <p:cNvSpPr/>
            <p:nvPr/>
          </p:nvSpPr>
          <p:spPr>
            <a:xfrm>
              <a:off x="7391522" y="4337784"/>
              <a:ext cx="211656" cy="161609"/>
            </a:xfrm>
            <a:custGeom>
              <a:avLst/>
              <a:gdLst/>
              <a:ahLst/>
              <a:cxnLst/>
              <a:rect l="l" t="t" r="r" b="b"/>
              <a:pathLst>
                <a:path w="1438" h="1098" extrusionOk="0">
                  <a:moveTo>
                    <a:pt x="713" y="363"/>
                  </a:moveTo>
                  <a:cubicBezTo>
                    <a:pt x="713" y="363"/>
                    <a:pt x="713" y="376"/>
                    <a:pt x="726" y="376"/>
                  </a:cubicBezTo>
                  <a:cubicBezTo>
                    <a:pt x="726" y="363"/>
                    <a:pt x="713" y="363"/>
                    <a:pt x="713" y="363"/>
                  </a:cubicBezTo>
                  <a:close/>
                  <a:moveTo>
                    <a:pt x="731" y="408"/>
                  </a:moveTo>
                  <a:cubicBezTo>
                    <a:pt x="733" y="411"/>
                    <a:pt x="736" y="415"/>
                    <a:pt x="739" y="418"/>
                  </a:cubicBezTo>
                  <a:lnTo>
                    <a:pt x="739" y="418"/>
                  </a:lnTo>
                  <a:cubicBezTo>
                    <a:pt x="739" y="418"/>
                    <a:pt x="735" y="414"/>
                    <a:pt x="731" y="408"/>
                  </a:cubicBezTo>
                  <a:close/>
                  <a:moveTo>
                    <a:pt x="781" y="227"/>
                  </a:moveTo>
                  <a:cubicBezTo>
                    <a:pt x="833" y="295"/>
                    <a:pt x="914" y="376"/>
                    <a:pt x="956" y="431"/>
                  </a:cubicBezTo>
                  <a:cubicBezTo>
                    <a:pt x="888" y="376"/>
                    <a:pt x="781" y="282"/>
                    <a:pt x="752" y="256"/>
                  </a:cubicBezTo>
                  <a:cubicBezTo>
                    <a:pt x="765" y="256"/>
                    <a:pt x="807" y="269"/>
                    <a:pt x="820" y="295"/>
                  </a:cubicBezTo>
                  <a:cubicBezTo>
                    <a:pt x="833" y="295"/>
                    <a:pt x="807" y="269"/>
                    <a:pt x="781" y="227"/>
                  </a:cubicBezTo>
                  <a:close/>
                  <a:moveTo>
                    <a:pt x="658" y="243"/>
                  </a:moveTo>
                  <a:lnTo>
                    <a:pt x="658" y="243"/>
                  </a:lnTo>
                  <a:cubicBezTo>
                    <a:pt x="636" y="276"/>
                    <a:pt x="612" y="311"/>
                    <a:pt x="615" y="311"/>
                  </a:cubicBezTo>
                  <a:cubicBezTo>
                    <a:pt x="615" y="311"/>
                    <a:pt x="617" y="310"/>
                    <a:pt x="619" y="308"/>
                  </a:cubicBezTo>
                  <a:cubicBezTo>
                    <a:pt x="632" y="295"/>
                    <a:pt x="658" y="282"/>
                    <a:pt x="671" y="269"/>
                  </a:cubicBezTo>
                  <a:lnTo>
                    <a:pt x="684" y="269"/>
                  </a:lnTo>
                  <a:cubicBezTo>
                    <a:pt x="645" y="308"/>
                    <a:pt x="538" y="389"/>
                    <a:pt x="483" y="457"/>
                  </a:cubicBezTo>
                  <a:cubicBezTo>
                    <a:pt x="522" y="405"/>
                    <a:pt x="590" y="308"/>
                    <a:pt x="658" y="243"/>
                  </a:cubicBezTo>
                  <a:close/>
                  <a:moveTo>
                    <a:pt x="765" y="0"/>
                  </a:moveTo>
                  <a:cubicBezTo>
                    <a:pt x="765" y="0"/>
                    <a:pt x="295" y="214"/>
                    <a:pt x="360" y="214"/>
                  </a:cubicBezTo>
                  <a:cubicBezTo>
                    <a:pt x="370" y="214"/>
                    <a:pt x="379" y="214"/>
                    <a:pt x="388" y="211"/>
                  </a:cubicBezTo>
                  <a:lnTo>
                    <a:pt x="388" y="211"/>
                  </a:lnTo>
                  <a:cubicBezTo>
                    <a:pt x="303" y="266"/>
                    <a:pt x="161" y="350"/>
                    <a:pt x="198" y="350"/>
                  </a:cubicBezTo>
                  <a:cubicBezTo>
                    <a:pt x="266" y="337"/>
                    <a:pt x="321" y="308"/>
                    <a:pt x="321" y="308"/>
                  </a:cubicBezTo>
                  <a:lnTo>
                    <a:pt x="321" y="308"/>
                  </a:lnTo>
                  <a:cubicBezTo>
                    <a:pt x="321" y="308"/>
                    <a:pt x="87" y="471"/>
                    <a:pt x="100" y="471"/>
                  </a:cubicBezTo>
                  <a:cubicBezTo>
                    <a:pt x="101" y="471"/>
                    <a:pt x="102" y="471"/>
                    <a:pt x="104" y="470"/>
                  </a:cubicBezTo>
                  <a:cubicBezTo>
                    <a:pt x="146" y="457"/>
                    <a:pt x="483" y="227"/>
                    <a:pt x="483" y="227"/>
                  </a:cubicBezTo>
                  <a:lnTo>
                    <a:pt x="483" y="227"/>
                  </a:lnTo>
                  <a:cubicBezTo>
                    <a:pt x="483" y="227"/>
                    <a:pt x="387" y="343"/>
                    <a:pt x="411" y="343"/>
                  </a:cubicBezTo>
                  <a:cubicBezTo>
                    <a:pt x="415" y="343"/>
                    <a:pt x="420" y="342"/>
                    <a:pt x="428" y="337"/>
                  </a:cubicBezTo>
                  <a:cubicBezTo>
                    <a:pt x="457" y="324"/>
                    <a:pt x="496" y="282"/>
                    <a:pt x="522" y="256"/>
                  </a:cubicBezTo>
                  <a:lnTo>
                    <a:pt x="522" y="256"/>
                  </a:lnTo>
                  <a:cubicBezTo>
                    <a:pt x="509" y="282"/>
                    <a:pt x="483" y="308"/>
                    <a:pt x="483" y="308"/>
                  </a:cubicBezTo>
                  <a:cubicBezTo>
                    <a:pt x="366" y="385"/>
                    <a:pt x="214" y="500"/>
                    <a:pt x="246" y="500"/>
                  </a:cubicBezTo>
                  <a:cubicBezTo>
                    <a:pt x="248" y="500"/>
                    <a:pt x="250" y="500"/>
                    <a:pt x="253" y="499"/>
                  </a:cubicBezTo>
                  <a:cubicBezTo>
                    <a:pt x="298" y="491"/>
                    <a:pt x="342" y="464"/>
                    <a:pt x="371" y="443"/>
                  </a:cubicBezTo>
                  <a:lnTo>
                    <a:pt x="371" y="443"/>
                  </a:lnTo>
                  <a:cubicBezTo>
                    <a:pt x="274" y="529"/>
                    <a:pt x="0" y="795"/>
                    <a:pt x="7" y="795"/>
                  </a:cubicBezTo>
                  <a:cubicBezTo>
                    <a:pt x="8" y="795"/>
                    <a:pt x="8" y="795"/>
                    <a:pt x="10" y="794"/>
                  </a:cubicBezTo>
                  <a:cubicBezTo>
                    <a:pt x="65" y="781"/>
                    <a:pt x="376" y="486"/>
                    <a:pt x="376" y="486"/>
                  </a:cubicBezTo>
                  <a:lnTo>
                    <a:pt x="376" y="486"/>
                  </a:lnTo>
                  <a:cubicBezTo>
                    <a:pt x="376" y="486"/>
                    <a:pt x="254" y="689"/>
                    <a:pt x="263" y="689"/>
                  </a:cubicBezTo>
                  <a:cubicBezTo>
                    <a:pt x="264" y="689"/>
                    <a:pt x="264" y="688"/>
                    <a:pt x="266" y="687"/>
                  </a:cubicBezTo>
                  <a:cubicBezTo>
                    <a:pt x="295" y="661"/>
                    <a:pt x="402" y="512"/>
                    <a:pt x="441" y="444"/>
                  </a:cubicBezTo>
                  <a:lnTo>
                    <a:pt x="441" y="444"/>
                  </a:lnTo>
                  <a:cubicBezTo>
                    <a:pt x="441" y="470"/>
                    <a:pt x="428" y="499"/>
                    <a:pt x="441" y="499"/>
                  </a:cubicBezTo>
                  <a:lnTo>
                    <a:pt x="441" y="512"/>
                  </a:lnTo>
                  <a:cubicBezTo>
                    <a:pt x="470" y="499"/>
                    <a:pt x="564" y="418"/>
                    <a:pt x="564" y="418"/>
                  </a:cubicBezTo>
                  <a:lnTo>
                    <a:pt x="564" y="418"/>
                  </a:lnTo>
                  <a:cubicBezTo>
                    <a:pt x="564" y="418"/>
                    <a:pt x="328" y="838"/>
                    <a:pt x="355" y="838"/>
                  </a:cubicBezTo>
                  <a:cubicBezTo>
                    <a:pt x="356" y="838"/>
                    <a:pt x="358" y="838"/>
                    <a:pt x="360" y="836"/>
                  </a:cubicBezTo>
                  <a:cubicBezTo>
                    <a:pt x="389" y="810"/>
                    <a:pt x="441" y="713"/>
                    <a:pt x="483" y="648"/>
                  </a:cubicBezTo>
                  <a:lnTo>
                    <a:pt x="483" y="648"/>
                  </a:lnTo>
                  <a:cubicBezTo>
                    <a:pt x="408" y="783"/>
                    <a:pt x="240" y="1098"/>
                    <a:pt x="258" y="1098"/>
                  </a:cubicBezTo>
                  <a:cubicBezTo>
                    <a:pt x="260" y="1098"/>
                    <a:pt x="262" y="1096"/>
                    <a:pt x="266" y="1092"/>
                  </a:cubicBezTo>
                  <a:cubicBezTo>
                    <a:pt x="321" y="1037"/>
                    <a:pt x="632" y="470"/>
                    <a:pt x="632" y="470"/>
                  </a:cubicBezTo>
                  <a:lnTo>
                    <a:pt x="632" y="470"/>
                  </a:lnTo>
                  <a:cubicBezTo>
                    <a:pt x="632" y="470"/>
                    <a:pt x="557" y="620"/>
                    <a:pt x="574" y="620"/>
                  </a:cubicBezTo>
                  <a:cubicBezTo>
                    <a:pt x="575" y="620"/>
                    <a:pt x="576" y="619"/>
                    <a:pt x="577" y="619"/>
                  </a:cubicBezTo>
                  <a:cubicBezTo>
                    <a:pt x="601" y="607"/>
                    <a:pt x="660" y="491"/>
                    <a:pt x="702" y="422"/>
                  </a:cubicBezTo>
                  <a:lnTo>
                    <a:pt x="702" y="422"/>
                  </a:lnTo>
                  <a:cubicBezTo>
                    <a:pt x="700" y="429"/>
                    <a:pt x="700" y="437"/>
                    <a:pt x="700" y="444"/>
                  </a:cubicBezTo>
                  <a:cubicBezTo>
                    <a:pt x="713" y="418"/>
                    <a:pt x="713" y="405"/>
                    <a:pt x="726" y="376"/>
                  </a:cubicBezTo>
                  <a:lnTo>
                    <a:pt x="726" y="376"/>
                  </a:lnTo>
                  <a:cubicBezTo>
                    <a:pt x="713" y="389"/>
                    <a:pt x="713" y="389"/>
                    <a:pt x="713" y="405"/>
                  </a:cubicBezTo>
                  <a:lnTo>
                    <a:pt x="713" y="363"/>
                  </a:lnTo>
                  <a:cubicBezTo>
                    <a:pt x="713" y="350"/>
                    <a:pt x="713" y="337"/>
                    <a:pt x="726" y="337"/>
                  </a:cubicBezTo>
                  <a:lnTo>
                    <a:pt x="726" y="363"/>
                  </a:lnTo>
                  <a:lnTo>
                    <a:pt x="726" y="376"/>
                  </a:lnTo>
                  <a:cubicBezTo>
                    <a:pt x="726" y="380"/>
                    <a:pt x="726" y="385"/>
                    <a:pt x="726" y="390"/>
                  </a:cubicBezTo>
                  <a:lnTo>
                    <a:pt x="726" y="390"/>
                  </a:lnTo>
                  <a:cubicBezTo>
                    <a:pt x="726" y="389"/>
                    <a:pt x="726" y="389"/>
                    <a:pt x="726" y="389"/>
                  </a:cubicBezTo>
                  <a:lnTo>
                    <a:pt x="726" y="389"/>
                  </a:lnTo>
                  <a:cubicBezTo>
                    <a:pt x="726" y="396"/>
                    <a:pt x="729" y="403"/>
                    <a:pt x="731" y="408"/>
                  </a:cubicBezTo>
                  <a:lnTo>
                    <a:pt x="731" y="408"/>
                  </a:lnTo>
                  <a:cubicBezTo>
                    <a:pt x="728" y="402"/>
                    <a:pt x="727" y="396"/>
                    <a:pt x="726" y="390"/>
                  </a:cubicBezTo>
                  <a:lnTo>
                    <a:pt x="726" y="390"/>
                  </a:lnTo>
                  <a:cubicBezTo>
                    <a:pt x="765" y="458"/>
                    <a:pt x="833" y="593"/>
                    <a:pt x="862" y="606"/>
                  </a:cubicBezTo>
                  <a:cubicBezTo>
                    <a:pt x="863" y="606"/>
                    <a:pt x="864" y="607"/>
                    <a:pt x="865" y="607"/>
                  </a:cubicBezTo>
                  <a:cubicBezTo>
                    <a:pt x="882" y="607"/>
                    <a:pt x="807" y="457"/>
                    <a:pt x="807" y="457"/>
                  </a:cubicBezTo>
                  <a:lnTo>
                    <a:pt x="807" y="457"/>
                  </a:lnTo>
                  <a:cubicBezTo>
                    <a:pt x="807" y="457"/>
                    <a:pt x="1105" y="1011"/>
                    <a:pt x="1170" y="1079"/>
                  </a:cubicBezTo>
                  <a:cubicBezTo>
                    <a:pt x="1173" y="1081"/>
                    <a:pt x="1175" y="1082"/>
                    <a:pt x="1177" y="1082"/>
                  </a:cubicBezTo>
                  <a:cubicBezTo>
                    <a:pt x="1200" y="1082"/>
                    <a:pt x="1095" y="880"/>
                    <a:pt x="1013" y="732"/>
                  </a:cubicBezTo>
                  <a:lnTo>
                    <a:pt x="1013" y="732"/>
                  </a:lnTo>
                  <a:cubicBezTo>
                    <a:pt x="1038" y="766"/>
                    <a:pt x="1062" y="795"/>
                    <a:pt x="1076" y="810"/>
                  </a:cubicBezTo>
                  <a:cubicBezTo>
                    <a:pt x="1078" y="812"/>
                    <a:pt x="1080" y="812"/>
                    <a:pt x="1081" y="812"/>
                  </a:cubicBezTo>
                  <a:cubicBezTo>
                    <a:pt x="1110" y="812"/>
                    <a:pt x="875" y="405"/>
                    <a:pt x="875" y="405"/>
                  </a:cubicBezTo>
                  <a:lnTo>
                    <a:pt x="875" y="405"/>
                  </a:lnTo>
                  <a:cubicBezTo>
                    <a:pt x="875" y="405"/>
                    <a:pt x="956" y="486"/>
                    <a:pt x="995" y="486"/>
                  </a:cubicBezTo>
                  <a:cubicBezTo>
                    <a:pt x="1008" y="486"/>
                    <a:pt x="995" y="457"/>
                    <a:pt x="995" y="431"/>
                  </a:cubicBezTo>
                  <a:lnTo>
                    <a:pt x="995" y="431"/>
                  </a:lnTo>
                  <a:cubicBezTo>
                    <a:pt x="1037" y="499"/>
                    <a:pt x="1144" y="632"/>
                    <a:pt x="1170" y="661"/>
                  </a:cubicBezTo>
                  <a:cubicBezTo>
                    <a:pt x="1171" y="662"/>
                    <a:pt x="1173" y="663"/>
                    <a:pt x="1173" y="663"/>
                  </a:cubicBezTo>
                  <a:cubicBezTo>
                    <a:pt x="1183" y="663"/>
                    <a:pt x="1050" y="470"/>
                    <a:pt x="1050" y="470"/>
                  </a:cubicBezTo>
                  <a:lnTo>
                    <a:pt x="1050" y="470"/>
                  </a:lnTo>
                  <a:cubicBezTo>
                    <a:pt x="1050" y="470"/>
                    <a:pt x="1374" y="755"/>
                    <a:pt x="1413" y="781"/>
                  </a:cubicBezTo>
                  <a:cubicBezTo>
                    <a:pt x="1415" y="782"/>
                    <a:pt x="1416" y="783"/>
                    <a:pt x="1417" y="783"/>
                  </a:cubicBezTo>
                  <a:cubicBezTo>
                    <a:pt x="1437" y="783"/>
                    <a:pt x="1142" y="495"/>
                    <a:pt x="1057" y="409"/>
                  </a:cubicBezTo>
                  <a:lnTo>
                    <a:pt x="1057" y="409"/>
                  </a:lnTo>
                  <a:cubicBezTo>
                    <a:pt x="1084" y="435"/>
                    <a:pt x="1135" y="474"/>
                    <a:pt x="1186" y="486"/>
                  </a:cubicBezTo>
                  <a:cubicBezTo>
                    <a:pt x="1225" y="486"/>
                    <a:pt x="1076" y="376"/>
                    <a:pt x="969" y="295"/>
                  </a:cubicBezTo>
                  <a:cubicBezTo>
                    <a:pt x="969" y="295"/>
                    <a:pt x="956" y="295"/>
                    <a:pt x="956" y="282"/>
                  </a:cubicBezTo>
                  <a:lnTo>
                    <a:pt x="956" y="282"/>
                  </a:lnTo>
                  <a:cubicBezTo>
                    <a:pt x="969" y="295"/>
                    <a:pt x="995" y="308"/>
                    <a:pt x="1008" y="308"/>
                  </a:cubicBezTo>
                  <a:cubicBezTo>
                    <a:pt x="1016" y="313"/>
                    <a:pt x="1022" y="315"/>
                    <a:pt x="1025" y="315"/>
                  </a:cubicBezTo>
                  <a:cubicBezTo>
                    <a:pt x="1048" y="315"/>
                    <a:pt x="956" y="201"/>
                    <a:pt x="956" y="201"/>
                  </a:cubicBezTo>
                  <a:lnTo>
                    <a:pt x="956" y="201"/>
                  </a:lnTo>
                  <a:cubicBezTo>
                    <a:pt x="956" y="201"/>
                    <a:pt x="1293" y="444"/>
                    <a:pt x="1332" y="457"/>
                  </a:cubicBezTo>
                  <a:cubicBezTo>
                    <a:pt x="1368" y="457"/>
                    <a:pt x="1187" y="330"/>
                    <a:pt x="1133" y="292"/>
                  </a:cubicBezTo>
                  <a:lnTo>
                    <a:pt x="1133" y="292"/>
                  </a:lnTo>
                  <a:cubicBezTo>
                    <a:pt x="1153" y="305"/>
                    <a:pt x="1192" y="324"/>
                    <a:pt x="1238" y="324"/>
                  </a:cubicBezTo>
                  <a:cubicBezTo>
                    <a:pt x="1241" y="325"/>
                    <a:pt x="1242" y="325"/>
                    <a:pt x="1244" y="325"/>
                  </a:cubicBezTo>
                  <a:cubicBezTo>
                    <a:pt x="1260" y="325"/>
                    <a:pt x="1113" y="240"/>
                    <a:pt x="1037" y="188"/>
                  </a:cubicBezTo>
                  <a:lnTo>
                    <a:pt x="1037" y="188"/>
                  </a:lnTo>
                  <a:cubicBezTo>
                    <a:pt x="1037" y="188"/>
                    <a:pt x="1063" y="201"/>
                    <a:pt x="1076" y="201"/>
                  </a:cubicBezTo>
                  <a:cubicBezTo>
                    <a:pt x="1144" y="201"/>
                    <a:pt x="765" y="0"/>
                    <a:pt x="765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1" name="Google Shape;711;p27"/>
            <p:cNvSpPr/>
            <p:nvPr/>
          </p:nvSpPr>
          <p:spPr>
            <a:xfrm>
              <a:off x="7500146" y="4399307"/>
              <a:ext cx="3974" cy="12069"/>
            </a:xfrm>
            <a:custGeom>
              <a:avLst/>
              <a:gdLst/>
              <a:ahLst/>
              <a:cxnLst/>
              <a:rect l="l" t="t" r="r" b="b"/>
              <a:pathLst>
                <a:path w="27" h="82" extrusionOk="0">
                  <a:moveTo>
                    <a:pt x="1" y="0"/>
                  </a:moveTo>
                  <a:cubicBezTo>
                    <a:pt x="1" y="52"/>
                    <a:pt x="14" y="81"/>
                    <a:pt x="14" y="81"/>
                  </a:cubicBezTo>
                  <a:cubicBezTo>
                    <a:pt x="27" y="81"/>
                    <a:pt x="14" y="39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2" name="Google Shape;712;p27"/>
            <p:cNvSpPr/>
            <p:nvPr/>
          </p:nvSpPr>
          <p:spPr>
            <a:xfrm>
              <a:off x="7490137" y="4430658"/>
              <a:ext cx="4563" cy="12511"/>
            </a:xfrm>
            <a:custGeom>
              <a:avLst/>
              <a:gdLst/>
              <a:ahLst/>
              <a:cxnLst/>
              <a:rect l="l" t="t" r="r" b="b"/>
              <a:pathLst>
                <a:path w="31" h="85" extrusionOk="0">
                  <a:moveTo>
                    <a:pt x="30" y="1"/>
                  </a:moveTo>
                  <a:cubicBezTo>
                    <a:pt x="18" y="32"/>
                    <a:pt x="8" y="70"/>
                    <a:pt x="3" y="81"/>
                  </a:cubicBezTo>
                  <a:lnTo>
                    <a:pt x="3" y="81"/>
                  </a:lnTo>
                  <a:cubicBezTo>
                    <a:pt x="14" y="76"/>
                    <a:pt x="15" y="40"/>
                    <a:pt x="30" y="1"/>
                  </a:cubicBezTo>
                  <a:close/>
                  <a:moveTo>
                    <a:pt x="3" y="81"/>
                  </a:moveTo>
                  <a:cubicBezTo>
                    <a:pt x="3" y="82"/>
                    <a:pt x="2" y="82"/>
                    <a:pt x="1" y="82"/>
                  </a:cubicBezTo>
                  <a:cubicBezTo>
                    <a:pt x="1" y="84"/>
                    <a:pt x="1" y="85"/>
                    <a:pt x="1" y="85"/>
                  </a:cubicBezTo>
                  <a:cubicBezTo>
                    <a:pt x="2" y="85"/>
                    <a:pt x="3" y="84"/>
                    <a:pt x="3" y="8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3" name="Google Shape;713;p27"/>
            <p:cNvSpPr/>
            <p:nvPr/>
          </p:nvSpPr>
          <p:spPr>
            <a:xfrm>
              <a:off x="7373418" y="4353386"/>
              <a:ext cx="248011" cy="189721"/>
            </a:xfrm>
            <a:custGeom>
              <a:avLst/>
              <a:gdLst/>
              <a:ahLst/>
              <a:cxnLst/>
              <a:rect l="l" t="t" r="r" b="b"/>
              <a:pathLst>
                <a:path w="1685" h="1289" extrusionOk="0">
                  <a:moveTo>
                    <a:pt x="836" y="432"/>
                  </a:moveTo>
                  <a:cubicBezTo>
                    <a:pt x="836" y="432"/>
                    <a:pt x="836" y="445"/>
                    <a:pt x="849" y="445"/>
                  </a:cubicBezTo>
                  <a:cubicBezTo>
                    <a:pt x="849" y="432"/>
                    <a:pt x="836" y="432"/>
                    <a:pt x="836" y="432"/>
                  </a:cubicBezTo>
                  <a:close/>
                  <a:moveTo>
                    <a:pt x="849" y="406"/>
                  </a:moveTo>
                  <a:lnTo>
                    <a:pt x="849" y="432"/>
                  </a:lnTo>
                  <a:lnTo>
                    <a:pt x="849" y="445"/>
                  </a:lnTo>
                  <a:cubicBezTo>
                    <a:pt x="836" y="461"/>
                    <a:pt x="836" y="474"/>
                    <a:pt x="836" y="487"/>
                  </a:cubicBezTo>
                  <a:lnTo>
                    <a:pt x="836" y="432"/>
                  </a:lnTo>
                  <a:cubicBezTo>
                    <a:pt x="836" y="419"/>
                    <a:pt x="836" y="406"/>
                    <a:pt x="849" y="406"/>
                  </a:cubicBezTo>
                  <a:close/>
                  <a:moveTo>
                    <a:pt x="917" y="270"/>
                  </a:moveTo>
                  <a:lnTo>
                    <a:pt x="917" y="270"/>
                  </a:lnTo>
                  <a:cubicBezTo>
                    <a:pt x="985" y="351"/>
                    <a:pt x="1066" y="461"/>
                    <a:pt x="1118" y="513"/>
                  </a:cubicBezTo>
                  <a:cubicBezTo>
                    <a:pt x="1037" y="445"/>
                    <a:pt x="917" y="338"/>
                    <a:pt x="875" y="312"/>
                  </a:cubicBezTo>
                  <a:lnTo>
                    <a:pt x="888" y="299"/>
                  </a:lnTo>
                  <a:cubicBezTo>
                    <a:pt x="904" y="312"/>
                    <a:pt x="943" y="325"/>
                    <a:pt x="956" y="351"/>
                  </a:cubicBezTo>
                  <a:cubicBezTo>
                    <a:pt x="958" y="353"/>
                    <a:pt x="959" y="353"/>
                    <a:pt x="959" y="353"/>
                  </a:cubicBezTo>
                  <a:cubicBezTo>
                    <a:pt x="962" y="353"/>
                    <a:pt x="940" y="318"/>
                    <a:pt x="917" y="270"/>
                  </a:cubicBezTo>
                  <a:close/>
                  <a:moveTo>
                    <a:pt x="768" y="299"/>
                  </a:moveTo>
                  <a:lnTo>
                    <a:pt x="768" y="299"/>
                  </a:lnTo>
                  <a:cubicBezTo>
                    <a:pt x="746" y="332"/>
                    <a:pt x="722" y="367"/>
                    <a:pt x="723" y="367"/>
                  </a:cubicBezTo>
                  <a:cubicBezTo>
                    <a:pt x="723" y="367"/>
                    <a:pt x="724" y="366"/>
                    <a:pt x="726" y="364"/>
                  </a:cubicBezTo>
                  <a:cubicBezTo>
                    <a:pt x="742" y="351"/>
                    <a:pt x="768" y="338"/>
                    <a:pt x="794" y="325"/>
                  </a:cubicBezTo>
                  <a:lnTo>
                    <a:pt x="794" y="325"/>
                  </a:lnTo>
                  <a:cubicBezTo>
                    <a:pt x="755" y="364"/>
                    <a:pt x="632" y="474"/>
                    <a:pt x="564" y="542"/>
                  </a:cubicBezTo>
                  <a:cubicBezTo>
                    <a:pt x="619" y="474"/>
                    <a:pt x="700" y="380"/>
                    <a:pt x="768" y="299"/>
                  </a:cubicBezTo>
                  <a:close/>
                  <a:moveTo>
                    <a:pt x="888" y="1"/>
                  </a:moveTo>
                  <a:cubicBezTo>
                    <a:pt x="888" y="1"/>
                    <a:pt x="375" y="257"/>
                    <a:pt x="426" y="257"/>
                  </a:cubicBezTo>
                  <a:cubicBezTo>
                    <a:pt x="428" y="257"/>
                    <a:pt x="429" y="257"/>
                    <a:pt x="431" y="257"/>
                  </a:cubicBezTo>
                  <a:lnTo>
                    <a:pt x="483" y="257"/>
                  </a:lnTo>
                  <a:cubicBezTo>
                    <a:pt x="382" y="309"/>
                    <a:pt x="209" y="407"/>
                    <a:pt x="233" y="407"/>
                  </a:cubicBezTo>
                  <a:cubicBezTo>
                    <a:pt x="235" y="407"/>
                    <a:pt x="237" y="407"/>
                    <a:pt x="240" y="406"/>
                  </a:cubicBezTo>
                  <a:cubicBezTo>
                    <a:pt x="321" y="406"/>
                    <a:pt x="389" y="364"/>
                    <a:pt x="389" y="364"/>
                  </a:cubicBezTo>
                  <a:lnTo>
                    <a:pt x="389" y="364"/>
                  </a:lnTo>
                  <a:cubicBezTo>
                    <a:pt x="389" y="364"/>
                    <a:pt x="97" y="556"/>
                    <a:pt x="129" y="556"/>
                  </a:cubicBezTo>
                  <a:cubicBezTo>
                    <a:pt x="130" y="556"/>
                    <a:pt x="131" y="555"/>
                    <a:pt x="133" y="555"/>
                  </a:cubicBezTo>
                  <a:cubicBezTo>
                    <a:pt x="188" y="542"/>
                    <a:pt x="564" y="270"/>
                    <a:pt x="564" y="270"/>
                  </a:cubicBezTo>
                  <a:lnTo>
                    <a:pt x="564" y="270"/>
                  </a:lnTo>
                  <a:cubicBezTo>
                    <a:pt x="564" y="270"/>
                    <a:pt x="446" y="412"/>
                    <a:pt x="491" y="412"/>
                  </a:cubicBezTo>
                  <a:cubicBezTo>
                    <a:pt x="496" y="412"/>
                    <a:pt x="503" y="410"/>
                    <a:pt x="512" y="406"/>
                  </a:cubicBezTo>
                  <a:cubicBezTo>
                    <a:pt x="538" y="380"/>
                    <a:pt x="580" y="351"/>
                    <a:pt x="619" y="312"/>
                  </a:cubicBezTo>
                  <a:lnTo>
                    <a:pt x="619" y="312"/>
                  </a:lnTo>
                  <a:cubicBezTo>
                    <a:pt x="593" y="338"/>
                    <a:pt x="580" y="364"/>
                    <a:pt x="564" y="380"/>
                  </a:cubicBezTo>
                  <a:cubicBezTo>
                    <a:pt x="431" y="461"/>
                    <a:pt x="240" y="594"/>
                    <a:pt x="308" y="594"/>
                  </a:cubicBezTo>
                  <a:cubicBezTo>
                    <a:pt x="376" y="568"/>
                    <a:pt x="457" y="500"/>
                    <a:pt x="470" y="487"/>
                  </a:cubicBezTo>
                  <a:lnTo>
                    <a:pt x="470" y="487"/>
                  </a:lnTo>
                  <a:cubicBezTo>
                    <a:pt x="432" y="525"/>
                    <a:pt x="0" y="932"/>
                    <a:pt x="22" y="932"/>
                  </a:cubicBezTo>
                  <a:cubicBezTo>
                    <a:pt x="23" y="932"/>
                    <a:pt x="24" y="932"/>
                    <a:pt x="26" y="931"/>
                  </a:cubicBezTo>
                  <a:cubicBezTo>
                    <a:pt x="94" y="905"/>
                    <a:pt x="457" y="568"/>
                    <a:pt x="457" y="568"/>
                  </a:cubicBezTo>
                  <a:lnTo>
                    <a:pt x="457" y="568"/>
                  </a:lnTo>
                  <a:cubicBezTo>
                    <a:pt x="457" y="568"/>
                    <a:pt x="305" y="802"/>
                    <a:pt x="316" y="802"/>
                  </a:cubicBezTo>
                  <a:cubicBezTo>
                    <a:pt x="317" y="802"/>
                    <a:pt x="318" y="801"/>
                    <a:pt x="321" y="798"/>
                  </a:cubicBezTo>
                  <a:cubicBezTo>
                    <a:pt x="350" y="769"/>
                    <a:pt x="483" y="607"/>
                    <a:pt x="525" y="526"/>
                  </a:cubicBezTo>
                  <a:lnTo>
                    <a:pt x="525" y="526"/>
                  </a:lnTo>
                  <a:cubicBezTo>
                    <a:pt x="512" y="555"/>
                    <a:pt x="512" y="594"/>
                    <a:pt x="512" y="594"/>
                  </a:cubicBezTo>
                  <a:cubicBezTo>
                    <a:pt x="564" y="594"/>
                    <a:pt x="661" y="500"/>
                    <a:pt x="661" y="500"/>
                  </a:cubicBezTo>
                  <a:lnTo>
                    <a:pt x="661" y="500"/>
                  </a:lnTo>
                  <a:cubicBezTo>
                    <a:pt x="661" y="500"/>
                    <a:pt x="384" y="975"/>
                    <a:pt x="413" y="975"/>
                  </a:cubicBezTo>
                  <a:cubicBezTo>
                    <a:pt x="414" y="975"/>
                    <a:pt x="416" y="974"/>
                    <a:pt x="418" y="973"/>
                  </a:cubicBezTo>
                  <a:cubicBezTo>
                    <a:pt x="457" y="947"/>
                    <a:pt x="525" y="837"/>
                    <a:pt x="580" y="769"/>
                  </a:cubicBezTo>
                  <a:lnTo>
                    <a:pt x="580" y="769"/>
                  </a:lnTo>
                  <a:cubicBezTo>
                    <a:pt x="489" y="921"/>
                    <a:pt x="283" y="1289"/>
                    <a:pt x="302" y="1289"/>
                  </a:cubicBezTo>
                  <a:cubicBezTo>
                    <a:pt x="303" y="1289"/>
                    <a:pt x="305" y="1287"/>
                    <a:pt x="308" y="1284"/>
                  </a:cubicBezTo>
                  <a:cubicBezTo>
                    <a:pt x="389" y="1203"/>
                    <a:pt x="742" y="555"/>
                    <a:pt x="742" y="555"/>
                  </a:cubicBezTo>
                  <a:lnTo>
                    <a:pt x="742" y="555"/>
                  </a:lnTo>
                  <a:cubicBezTo>
                    <a:pt x="742" y="555"/>
                    <a:pt x="656" y="732"/>
                    <a:pt x="670" y="732"/>
                  </a:cubicBezTo>
                  <a:cubicBezTo>
                    <a:pt x="671" y="732"/>
                    <a:pt x="672" y="732"/>
                    <a:pt x="674" y="730"/>
                  </a:cubicBezTo>
                  <a:cubicBezTo>
                    <a:pt x="698" y="718"/>
                    <a:pt x="772" y="585"/>
                    <a:pt x="826" y="502"/>
                  </a:cubicBezTo>
                  <a:lnTo>
                    <a:pt x="826" y="502"/>
                  </a:lnTo>
                  <a:cubicBezTo>
                    <a:pt x="823" y="510"/>
                    <a:pt x="823" y="518"/>
                    <a:pt x="823" y="526"/>
                  </a:cubicBezTo>
                  <a:cubicBezTo>
                    <a:pt x="836" y="500"/>
                    <a:pt x="836" y="474"/>
                    <a:pt x="849" y="461"/>
                  </a:cubicBezTo>
                  <a:cubicBezTo>
                    <a:pt x="849" y="461"/>
                    <a:pt x="849" y="461"/>
                    <a:pt x="849" y="461"/>
                  </a:cubicBezTo>
                  <a:lnTo>
                    <a:pt x="849" y="461"/>
                  </a:lnTo>
                  <a:cubicBezTo>
                    <a:pt x="849" y="474"/>
                    <a:pt x="862" y="487"/>
                    <a:pt x="862" y="500"/>
                  </a:cubicBezTo>
                  <a:cubicBezTo>
                    <a:pt x="862" y="495"/>
                    <a:pt x="862" y="490"/>
                    <a:pt x="861" y="485"/>
                  </a:cubicBezTo>
                  <a:lnTo>
                    <a:pt x="861" y="485"/>
                  </a:lnTo>
                  <a:cubicBezTo>
                    <a:pt x="905" y="568"/>
                    <a:pt x="986" y="691"/>
                    <a:pt x="998" y="717"/>
                  </a:cubicBezTo>
                  <a:cubicBezTo>
                    <a:pt x="999" y="717"/>
                    <a:pt x="1000" y="718"/>
                    <a:pt x="1001" y="718"/>
                  </a:cubicBezTo>
                  <a:cubicBezTo>
                    <a:pt x="1031" y="718"/>
                    <a:pt x="943" y="542"/>
                    <a:pt x="943" y="542"/>
                  </a:cubicBezTo>
                  <a:lnTo>
                    <a:pt x="943" y="542"/>
                  </a:lnTo>
                  <a:cubicBezTo>
                    <a:pt x="943" y="542"/>
                    <a:pt x="1293" y="1190"/>
                    <a:pt x="1374" y="1255"/>
                  </a:cubicBezTo>
                  <a:cubicBezTo>
                    <a:pt x="1377" y="1258"/>
                    <a:pt x="1380" y="1260"/>
                    <a:pt x="1381" y="1260"/>
                  </a:cubicBezTo>
                  <a:cubicBezTo>
                    <a:pt x="1401" y="1260"/>
                    <a:pt x="1193" y="895"/>
                    <a:pt x="1105" y="743"/>
                  </a:cubicBezTo>
                  <a:lnTo>
                    <a:pt x="1105" y="743"/>
                  </a:lnTo>
                  <a:cubicBezTo>
                    <a:pt x="1147" y="811"/>
                    <a:pt x="1212" y="918"/>
                    <a:pt x="1254" y="960"/>
                  </a:cubicBezTo>
                  <a:cubicBezTo>
                    <a:pt x="1256" y="961"/>
                    <a:pt x="1258" y="962"/>
                    <a:pt x="1260" y="962"/>
                  </a:cubicBezTo>
                  <a:cubicBezTo>
                    <a:pt x="1301" y="962"/>
                    <a:pt x="1024" y="474"/>
                    <a:pt x="1024" y="474"/>
                  </a:cubicBezTo>
                  <a:lnTo>
                    <a:pt x="1024" y="474"/>
                  </a:lnTo>
                  <a:cubicBezTo>
                    <a:pt x="1024" y="474"/>
                    <a:pt x="1118" y="568"/>
                    <a:pt x="1160" y="581"/>
                  </a:cubicBezTo>
                  <a:lnTo>
                    <a:pt x="1173" y="568"/>
                  </a:lnTo>
                  <a:cubicBezTo>
                    <a:pt x="1173" y="568"/>
                    <a:pt x="1160" y="542"/>
                    <a:pt x="1160" y="513"/>
                  </a:cubicBezTo>
                  <a:lnTo>
                    <a:pt x="1160" y="513"/>
                  </a:lnTo>
                  <a:cubicBezTo>
                    <a:pt x="1199" y="581"/>
                    <a:pt x="1335" y="756"/>
                    <a:pt x="1361" y="785"/>
                  </a:cubicBezTo>
                  <a:cubicBezTo>
                    <a:pt x="1363" y="786"/>
                    <a:pt x="1364" y="787"/>
                    <a:pt x="1366" y="787"/>
                  </a:cubicBezTo>
                  <a:cubicBezTo>
                    <a:pt x="1387" y="787"/>
                    <a:pt x="1228" y="555"/>
                    <a:pt x="1228" y="555"/>
                  </a:cubicBezTo>
                  <a:lnTo>
                    <a:pt x="1228" y="555"/>
                  </a:lnTo>
                  <a:cubicBezTo>
                    <a:pt x="1228" y="555"/>
                    <a:pt x="1591" y="892"/>
                    <a:pt x="1659" y="918"/>
                  </a:cubicBezTo>
                  <a:cubicBezTo>
                    <a:pt x="1661" y="919"/>
                    <a:pt x="1662" y="919"/>
                    <a:pt x="1663" y="919"/>
                  </a:cubicBezTo>
                  <a:cubicBezTo>
                    <a:pt x="1685" y="919"/>
                    <a:pt x="1253" y="512"/>
                    <a:pt x="1212" y="474"/>
                  </a:cubicBezTo>
                  <a:lnTo>
                    <a:pt x="1212" y="474"/>
                  </a:lnTo>
                  <a:cubicBezTo>
                    <a:pt x="1228" y="487"/>
                    <a:pt x="1309" y="555"/>
                    <a:pt x="1374" y="568"/>
                  </a:cubicBezTo>
                  <a:cubicBezTo>
                    <a:pt x="1376" y="569"/>
                    <a:pt x="1378" y="569"/>
                    <a:pt x="1380" y="569"/>
                  </a:cubicBezTo>
                  <a:cubicBezTo>
                    <a:pt x="1413" y="569"/>
                    <a:pt x="1248" y="441"/>
                    <a:pt x="1131" y="364"/>
                  </a:cubicBezTo>
                  <a:cubicBezTo>
                    <a:pt x="1118" y="351"/>
                    <a:pt x="1118" y="351"/>
                    <a:pt x="1118" y="338"/>
                  </a:cubicBezTo>
                  <a:lnTo>
                    <a:pt x="1118" y="338"/>
                  </a:lnTo>
                  <a:cubicBezTo>
                    <a:pt x="1131" y="351"/>
                    <a:pt x="1160" y="364"/>
                    <a:pt x="1173" y="380"/>
                  </a:cubicBezTo>
                  <a:cubicBezTo>
                    <a:pt x="1182" y="384"/>
                    <a:pt x="1188" y="386"/>
                    <a:pt x="1192" y="386"/>
                  </a:cubicBezTo>
                  <a:cubicBezTo>
                    <a:pt x="1226" y="386"/>
                    <a:pt x="1118" y="257"/>
                    <a:pt x="1118" y="257"/>
                  </a:cubicBezTo>
                  <a:lnTo>
                    <a:pt x="1118" y="257"/>
                  </a:lnTo>
                  <a:cubicBezTo>
                    <a:pt x="1118" y="257"/>
                    <a:pt x="1497" y="526"/>
                    <a:pt x="1552" y="542"/>
                  </a:cubicBezTo>
                  <a:cubicBezTo>
                    <a:pt x="1553" y="542"/>
                    <a:pt x="1554" y="543"/>
                    <a:pt x="1555" y="543"/>
                  </a:cubicBezTo>
                  <a:cubicBezTo>
                    <a:pt x="1573" y="543"/>
                    <a:pt x="1293" y="351"/>
                    <a:pt x="1293" y="351"/>
                  </a:cubicBezTo>
                  <a:lnTo>
                    <a:pt x="1293" y="351"/>
                  </a:lnTo>
                  <a:cubicBezTo>
                    <a:pt x="1293" y="351"/>
                    <a:pt x="1361" y="380"/>
                    <a:pt x="1442" y="393"/>
                  </a:cubicBezTo>
                  <a:cubicBezTo>
                    <a:pt x="1445" y="394"/>
                    <a:pt x="1447" y="394"/>
                    <a:pt x="1449" y="394"/>
                  </a:cubicBezTo>
                  <a:cubicBezTo>
                    <a:pt x="1475" y="394"/>
                    <a:pt x="1319" y="305"/>
                    <a:pt x="1214" y="241"/>
                  </a:cubicBezTo>
                  <a:lnTo>
                    <a:pt x="1214" y="241"/>
                  </a:lnTo>
                  <a:cubicBezTo>
                    <a:pt x="1225" y="244"/>
                    <a:pt x="1237" y="244"/>
                    <a:pt x="1254" y="244"/>
                  </a:cubicBezTo>
                  <a:cubicBezTo>
                    <a:pt x="1335" y="244"/>
                    <a:pt x="888" y="1"/>
                    <a:pt x="888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4" name="Google Shape;714;p27"/>
            <p:cNvSpPr/>
            <p:nvPr/>
          </p:nvSpPr>
          <p:spPr>
            <a:xfrm>
              <a:off x="7500146" y="4426978"/>
              <a:ext cx="3974" cy="13835"/>
            </a:xfrm>
            <a:custGeom>
              <a:avLst/>
              <a:gdLst/>
              <a:ahLst/>
              <a:cxnLst/>
              <a:rect l="l" t="t" r="r" b="b"/>
              <a:pathLst>
                <a:path w="27" h="94" extrusionOk="0">
                  <a:moveTo>
                    <a:pt x="1" y="0"/>
                  </a:moveTo>
                  <a:cubicBezTo>
                    <a:pt x="14" y="55"/>
                    <a:pt x="14" y="94"/>
                    <a:pt x="27" y="94"/>
                  </a:cubicBezTo>
                  <a:cubicBezTo>
                    <a:pt x="27" y="94"/>
                    <a:pt x="14" y="55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5" name="Google Shape;715;p27"/>
            <p:cNvSpPr/>
            <p:nvPr/>
          </p:nvSpPr>
          <p:spPr>
            <a:xfrm>
              <a:off x="7456284" y="4377230"/>
              <a:ext cx="95525" cy="177947"/>
            </a:xfrm>
            <a:custGeom>
              <a:avLst/>
              <a:gdLst/>
              <a:ahLst/>
              <a:cxnLst/>
              <a:rect l="l" t="t" r="r" b="b"/>
              <a:pathLst>
                <a:path w="649" h="1209" extrusionOk="0">
                  <a:moveTo>
                    <a:pt x="299" y="487"/>
                  </a:moveTo>
                  <a:cubicBezTo>
                    <a:pt x="299" y="487"/>
                    <a:pt x="299" y="487"/>
                    <a:pt x="299" y="487"/>
                  </a:cubicBezTo>
                  <a:cubicBezTo>
                    <a:pt x="299" y="487"/>
                    <a:pt x="299" y="487"/>
                    <a:pt x="298" y="487"/>
                  </a:cubicBezTo>
                  <a:lnTo>
                    <a:pt x="298" y="487"/>
                  </a:lnTo>
                  <a:cubicBezTo>
                    <a:pt x="299" y="487"/>
                    <a:pt x="299" y="487"/>
                    <a:pt x="299" y="487"/>
                  </a:cubicBezTo>
                  <a:close/>
                  <a:moveTo>
                    <a:pt x="260" y="1"/>
                  </a:moveTo>
                  <a:lnTo>
                    <a:pt x="163" y="338"/>
                  </a:lnTo>
                  <a:lnTo>
                    <a:pt x="1" y="1041"/>
                  </a:lnTo>
                  <a:lnTo>
                    <a:pt x="231" y="445"/>
                  </a:lnTo>
                  <a:lnTo>
                    <a:pt x="231" y="445"/>
                  </a:lnTo>
                  <a:cubicBezTo>
                    <a:pt x="231" y="445"/>
                    <a:pt x="150" y="730"/>
                    <a:pt x="150" y="850"/>
                  </a:cubicBezTo>
                  <a:cubicBezTo>
                    <a:pt x="150" y="863"/>
                    <a:pt x="152" y="869"/>
                    <a:pt x="155" y="869"/>
                  </a:cubicBezTo>
                  <a:cubicBezTo>
                    <a:pt x="179" y="869"/>
                    <a:pt x="282" y="530"/>
                    <a:pt x="297" y="490"/>
                  </a:cubicBezTo>
                  <a:lnTo>
                    <a:pt x="297" y="490"/>
                  </a:lnTo>
                  <a:cubicBezTo>
                    <a:pt x="282" y="544"/>
                    <a:pt x="225" y="1209"/>
                    <a:pt x="241" y="1209"/>
                  </a:cubicBezTo>
                  <a:cubicBezTo>
                    <a:pt x="242" y="1209"/>
                    <a:pt x="243" y="1207"/>
                    <a:pt x="244" y="1203"/>
                  </a:cubicBezTo>
                  <a:cubicBezTo>
                    <a:pt x="260" y="1122"/>
                    <a:pt x="312" y="542"/>
                    <a:pt x="312" y="542"/>
                  </a:cubicBezTo>
                  <a:cubicBezTo>
                    <a:pt x="312" y="542"/>
                    <a:pt x="422" y="905"/>
                    <a:pt x="448" y="931"/>
                  </a:cubicBezTo>
                  <a:cubicBezTo>
                    <a:pt x="449" y="932"/>
                    <a:pt x="450" y="932"/>
                    <a:pt x="450" y="932"/>
                  </a:cubicBezTo>
                  <a:cubicBezTo>
                    <a:pt x="468" y="932"/>
                    <a:pt x="380" y="526"/>
                    <a:pt x="380" y="526"/>
                  </a:cubicBezTo>
                  <a:lnTo>
                    <a:pt x="380" y="526"/>
                  </a:lnTo>
                  <a:cubicBezTo>
                    <a:pt x="380" y="526"/>
                    <a:pt x="610" y="1028"/>
                    <a:pt x="623" y="1028"/>
                  </a:cubicBezTo>
                  <a:cubicBezTo>
                    <a:pt x="649" y="1028"/>
                    <a:pt x="260" y="1"/>
                    <a:pt x="26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6" name="Google Shape;716;p27"/>
            <p:cNvSpPr/>
            <p:nvPr/>
          </p:nvSpPr>
          <p:spPr>
            <a:xfrm>
              <a:off x="7467470" y="4273758"/>
              <a:ext cx="58581" cy="33117"/>
            </a:xfrm>
            <a:custGeom>
              <a:avLst/>
              <a:gdLst/>
              <a:ahLst/>
              <a:cxnLst/>
              <a:rect l="l" t="t" r="r" b="b"/>
              <a:pathLst>
                <a:path w="398" h="225" extrusionOk="0">
                  <a:moveTo>
                    <a:pt x="89" y="82"/>
                  </a:moveTo>
                  <a:cubicBezTo>
                    <a:pt x="88" y="82"/>
                    <a:pt x="87" y="82"/>
                    <a:pt x="87" y="82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7" y="83"/>
                    <a:pt x="89" y="82"/>
                  </a:cubicBezTo>
                  <a:close/>
                  <a:moveTo>
                    <a:pt x="210" y="1"/>
                  </a:moveTo>
                  <a:cubicBezTo>
                    <a:pt x="210" y="1"/>
                    <a:pt x="108" y="71"/>
                    <a:pt x="89" y="82"/>
                  </a:cubicBezTo>
                  <a:lnTo>
                    <a:pt x="89" y="82"/>
                  </a:lnTo>
                  <a:cubicBezTo>
                    <a:pt x="109" y="80"/>
                    <a:pt x="184" y="56"/>
                    <a:pt x="184" y="56"/>
                  </a:cubicBezTo>
                  <a:lnTo>
                    <a:pt x="184" y="56"/>
                  </a:lnTo>
                  <a:cubicBezTo>
                    <a:pt x="184" y="56"/>
                    <a:pt x="0" y="164"/>
                    <a:pt x="17" y="164"/>
                  </a:cubicBezTo>
                  <a:cubicBezTo>
                    <a:pt x="18" y="164"/>
                    <a:pt x="20" y="164"/>
                    <a:pt x="22" y="163"/>
                  </a:cubicBezTo>
                  <a:cubicBezTo>
                    <a:pt x="48" y="150"/>
                    <a:pt x="168" y="111"/>
                    <a:pt x="168" y="111"/>
                  </a:cubicBezTo>
                  <a:lnTo>
                    <a:pt x="168" y="111"/>
                  </a:lnTo>
                  <a:cubicBezTo>
                    <a:pt x="168" y="111"/>
                    <a:pt x="1" y="225"/>
                    <a:pt x="18" y="225"/>
                  </a:cubicBezTo>
                  <a:cubicBezTo>
                    <a:pt x="20" y="225"/>
                    <a:pt x="25" y="223"/>
                    <a:pt x="35" y="218"/>
                  </a:cubicBezTo>
                  <a:cubicBezTo>
                    <a:pt x="103" y="192"/>
                    <a:pt x="223" y="111"/>
                    <a:pt x="223" y="111"/>
                  </a:cubicBezTo>
                  <a:cubicBezTo>
                    <a:pt x="223" y="111"/>
                    <a:pt x="367" y="206"/>
                    <a:pt x="383" y="206"/>
                  </a:cubicBezTo>
                  <a:cubicBezTo>
                    <a:pt x="384" y="206"/>
                    <a:pt x="385" y="206"/>
                    <a:pt x="385" y="205"/>
                  </a:cubicBezTo>
                  <a:cubicBezTo>
                    <a:pt x="398" y="205"/>
                    <a:pt x="249" y="95"/>
                    <a:pt x="249" y="95"/>
                  </a:cubicBezTo>
                  <a:lnTo>
                    <a:pt x="249" y="95"/>
                  </a:lnTo>
                  <a:cubicBezTo>
                    <a:pt x="249" y="95"/>
                    <a:pt x="341" y="127"/>
                    <a:pt x="366" y="127"/>
                  </a:cubicBezTo>
                  <a:cubicBezTo>
                    <a:pt x="370" y="127"/>
                    <a:pt x="372" y="126"/>
                    <a:pt x="372" y="124"/>
                  </a:cubicBezTo>
                  <a:cubicBezTo>
                    <a:pt x="372" y="114"/>
                    <a:pt x="317" y="95"/>
                    <a:pt x="291" y="86"/>
                  </a:cubicBezTo>
                  <a:lnTo>
                    <a:pt x="291" y="86"/>
                  </a:lnTo>
                  <a:cubicBezTo>
                    <a:pt x="304" y="90"/>
                    <a:pt x="323" y="95"/>
                    <a:pt x="338" y="95"/>
                  </a:cubicBezTo>
                  <a:cubicBezTo>
                    <a:pt x="350" y="95"/>
                    <a:pt x="359" y="92"/>
                    <a:pt x="359" y="82"/>
                  </a:cubicBezTo>
                  <a:cubicBezTo>
                    <a:pt x="346" y="69"/>
                    <a:pt x="210" y="1"/>
                    <a:pt x="21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7" name="Google Shape;717;p27"/>
            <p:cNvSpPr/>
            <p:nvPr/>
          </p:nvSpPr>
          <p:spPr>
            <a:xfrm>
              <a:off x="7309391" y="4433160"/>
              <a:ext cx="2061" cy="7654"/>
            </a:xfrm>
            <a:custGeom>
              <a:avLst/>
              <a:gdLst/>
              <a:ahLst/>
              <a:cxnLst/>
              <a:rect l="l" t="t" r="r" b="b"/>
              <a:pathLst>
                <a:path w="14" h="52" extrusionOk="0">
                  <a:moveTo>
                    <a:pt x="1" y="52"/>
                  </a:moveTo>
                  <a:cubicBezTo>
                    <a:pt x="1" y="52"/>
                    <a:pt x="1" y="26"/>
                    <a:pt x="14" y="0"/>
                  </a:cubicBezTo>
                  <a:cubicBezTo>
                    <a:pt x="1" y="26"/>
                    <a:pt x="1" y="52"/>
                    <a:pt x="1" y="52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8" name="Google Shape;718;p27"/>
            <p:cNvSpPr/>
            <p:nvPr/>
          </p:nvSpPr>
          <p:spPr>
            <a:xfrm>
              <a:off x="7246542" y="4391065"/>
              <a:ext cx="133793" cy="104060"/>
            </a:xfrm>
            <a:custGeom>
              <a:avLst/>
              <a:gdLst/>
              <a:ahLst/>
              <a:cxnLst/>
              <a:rect l="l" t="t" r="r" b="b"/>
              <a:pathLst>
                <a:path w="909" h="707" extrusionOk="0">
                  <a:moveTo>
                    <a:pt x="334" y="176"/>
                  </a:moveTo>
                  <a:lnTo>
                    <a:pt x="334" y="176"/>
                  </a:lnTo>
                  <a:cubicBezTo>
                    <a:pt x="322" y="188"/>
                    <a:pt x="311" y="202"/>
                    <a:pt x="297" y="205"/>
                  </a:cubicBezTo>
                  <a:lnTo>
                    <a:pt x="297" y="205"/>
                  </a:lnTo>
                  <a:cubicBezTo>
                    <a:pt x="308" y="195"/>
                    <a:pt x="320" y="183"/>
                    <a:pt x="334" y="176"/>
                  </a:cubicBezTo>
                  <a:close/>
                  <a:moveTo>
                    <a:pt x="496" y="150"/>
                  </a:moveTo>
                  <a:cubicBezTo>
                    <a:pt x="522" y="189"/>
                    <a:pt x="577" y="257"/>
                    <a:pt x="603" y="286"/>
                  </a:cubicBezTo>
                  <a:cubicBezTo>
                    <a:pt x="564" y="244"/>
                    <a:pt x="496" y="189"/>
                    <a:pt x="470" y="176"/>
                  </a:cubicBezTo>
                  <a:lnTo>
                    <a:pt x="470" y="163"/>
                  </a:lnTo>
                  <a:cubicBezTo>
                    <a:pt x="483" y="176"/>
                    <a:pt x="509" y="176"/>
                    <a:pt x="509" y="189"/>
                  </a:cubicBezTo>
                  <a:cubicBezTo>
                    <a:pt x="512" y="192"/>
                    <a:pt x="513" y="194"/>
                    <a:pt x="514" y="194"/>
                  </a:cubicBezTo>
                  <a:cubicBezTo>
                    <a:pt x="517" y="194"/>
                    <a:pt x="506" y="171"/>
                    <a:pt x="496" y="150"/>
                  </a:cubicBezTo>
                  <a:close/>
                  <a:moveTo>
                    <a:pt x="415" y="163"/>
                  </a:moveTo>
                  <a:lnTo>
                    <a:pt x="415" y="163"/>
                  </a:lnTo>
                  <a:cubicBezTo>
                    <a:pt x="393" y="185"/>
                    <a:pt x="379" y="208"/>
                    <a:pt x="383" y="208"/>
                  </a:cubicBezTo>
                  <a:cubicBezTo>
                    <a:pt x="384" y="208"/>
                    <a:pt x="386" y="207"/>
                    <a:pt x="389" y="205"/>
                  </a:cubicBezTo>
                  <a:cubicBezTo>
                    <a:pt x="402" y="189"/>
                    <a:pt x="415" y="189"/>
                    <a:pt x="428" y="176"/>
                  </a:cubicBezTo>
                  <a:lnTo>
                    <a:pt x="428" y="189"/>
                  </a:lnTo>
                  <a:cubicBezTo>
                    <a:pt x="402" y="205"/>
                    <a:pt x="334" y="257"/>
                    <a:pt x="308" y="299"/>
                  </a:cubicBezTo>
                  <a:cubicBezTo>
                    <a:pt x="334" y="257"/>
                    <a:pt x="373" y="205"/>
                    <a:pt x="415" y="163"/>
                  </a:cubicBezTo>
                  <a:close/>
                  <a:moveTo>
                    <a:pt x="483" y="1"/>
                  </a:moveTo>
                  <a:cubicBezTo>
                    <a:pt x="483" y="1"/>
                    <a:pt x="185" y="150"/>
                    <a:pt x="227" y="150"/>
                  </a:cubicBezTo>
                  <a:cubicBezTo>
                    <a:pt x="230" y="150"/>
                    <a:pt x="232" y="150"/>
                    <a:pt x="234" y="150"/>
                  </a:cubicBezTo>
                  <a:lnTo>
                    <a:pt x="234" y="150"/>
                  </a:lnTo>
                  <a:cubicBezTo>
                    <a:pt x="177" y="187"/>
                    <a:pt x="95" y="231"/>
                    <a:pt x="130" y="231"/>
                  </a:cubicBezTo>
                  <a:cubicBezTo>
                    <a:pt x="172" y="218"/>
                    <a:pt x="198" y="205"/>
                    <a:pt x="198" y="205"/>
                  </a:cubicBezTo>
                  <a:lnTo>
                    <a:pt x="198" y="205"/>
                  </a:lnTo>
                  <a:cubicBezTo>
                    <a:pt x="198" y="205"/>
                    <a:pt x="36" y="312"/>
                    <a:pt x="65" y="312"/>
                  </a:cubicBezTo>
                  <a:cubicBezTo>
                    <a:pt x="91" y="299"/>
                    <a:pt x="292" y="150"/>
                    <a:pt x="292" y="150"/>
                  </a:cubicBezTo>
                  <a:lnTo>
                    <a:pt x="292" y="150"/>
                  </a:lnTo>
                  <a:cubicBezTo>
                    <a:pt x="292" y="150"/>
                    <a:pt x="242" y="223"/>
                    <a:pt x="256" y="223"/>
                  </a:cubicBezTo>
                  <a:cubicBezTo>
                    <a:pt x="258" y="223"/>
                    <a:pt x="261" y="221"/>
                    <a:pt x="266" y="218"/>
                  </a:cubicBezTo>
                  <a:cubicBezTo>
                    <a:pt x="270" y="218"/>
                    <a:pt x="274" y="217"/>
                    <a:pt x="278" y="216"/>
                  </a:cubicBezTo>
                  <a:lnTo>
                    <a:pt x="278" y="216"/>
                  </a:lnTo>
                  <a:cubicBezTo>
                    <a:pt x="215" y="266"/>
                    <a:pt x="132" y="325"/>
                    <a:pt x="159" y="325"/>
                  </a:cubicBezTo>
                  <a:cubicBezTo>
                    <a:pt x="194" y="313"/>
                    <a:pt x="231" y="292"/>
                    <a:pt x="248" y="276"/>
                  </a:cubicBezTo>
                  <a:lnTo>
                    <a:pt x="248" y="276"/>
                  </a:lnTo>
                  <a:cubicBezTo>
                    <a:pt x="205" y="320"/>
                    <a:pt x="1" y="514"/>
                    <a:pt x="8" y="514"/>
                  </a:cubicBezTo>
                  <a:cubicBezTo>
                    <a:pt x="9" y="514"/>
                    <a:pt x="9" y="513"/>
                    <a:pt x="10" y="513"/>
                  </a:cubicBezTo>
                  <a:cubicBezTo>
                    <a:pt x="36" y="500"/>
                    <a:pt x="240" y="312"/>
                    <a:pt x="240" y="312"/>
                  </a:cubicBezTo>
                  <a:lnTo>
                    <a:pt x="240" y="312"/>
                  </a:lnTo>
                  <a:cubicBezTo>
                    <a:pt x="240" y="312"/>
                    <a:pt x="154" y="449"/>
                    <a:pt x="169" y="449"/>
                  </a:cubicBezTo>
                  <a:cubicBezTo>
                    <a:pt x="170" y="449"/>
                    <a:pt x="171" y="449"/>
                    <a:pt x="172" y="448"/>
                  </a:cubicBezTo>
                  <a:cubicBezTo>
                    <a:pt x="185" y="419"/>
                    <a:pt x="253" y="338"/>
                    <a:pt x="279" y="299"/>
                  </a:cubicBezTo>
                  <a:lnTo>
                    <a:pt x="279" y="299"/>
                  </a:lnTo>
                  <a:cubicBezTo>
                    <a:pt x="279" y="312"/>
                    <a:pt x="266" y="325"/>
                    <a:pt x="266" y="325"/>
                  </a:cubicBezTo>
                  <a:lnTo>
                    <a:pt x="279" y="325"/>
                  </a:lnTo>
                  <a:cubicBezTo>
                    <a:pt x="292" y="325"/>
                    <a:pt x="347" y="270"/>
                    <a:pt x="347" y="270"/>
                  </a:cubicBezTo>
                  <a:lnTo>
                    <a:pt x="347" y="270"/>
                  </a:lnTo>
                  <a:cubicBezTo>
                    <a:pt x="347" y="270"/>
                    <a:pt x="192" y="542"/>
                    <a:pt x="225" y="542"/>
                  </a:cubicBezTo>
                  <a:cubicBezTo>
                    <a:pt x="225" y="542"/>
                    <a:pt x="226" y="542"/>
                    <a:pt x="227" y="542"/>
                  </a:cubicBezTo>
                  <a:cubicBezTo>
                    <a:pt x="240" y="513"/>
                    <a:pt x="279" y="461"/>
                    <a:pt x="308" y="419"/>
                  </a:cubicBezTo>
                  <a:lnTo>
                    <a:pt x="308" y="419"/>
                  </a:lnTo>
                  <a:cubicBezTo>
                    <a:pt x="256" y="508"/>
                    <a:pt x="143" y="706"/>
                    <a:pt x="156" y="706"/>
                  </a:cubicBezTo>
                  <a:cubicBezTo>
                    <a:pt x="156" y="706"/>
                    <a:pt x="157" y="705"/>
                    <a:pt x="159" y="704"/>
                  </a:cubicBezTo>
                  <a:cubicBezTo>
                    <a:pt x="198" y="662"/>
                    <a:pt x="389" y="312"/>
                    <a:pt x="389" y="312"/>
                  </a:cubicBezTo>
                  <a:lnTo>
                    <a:pt x="389" y="312"/>
                  </a:lnTo>
                  <a:cubicBezTo>
                    <a:pt x="389" y="312"/>
                    <a:pt x="352" y="407"/>
                    <a:pt x="358" y="407"/>
                  </a:cubicBezTo>
                  <a:cubicBezTo>
                    <a:pt x="359" y="407"/>
                    <a:pt x="359" y="407"/>
                    <a:pt x="360" y="406"/>
                  </a:cubicBezTo>
                  <a:cubicBezTo>
                    <a:pt x="373" y="393"/>
                    <a:pt x="415" y="312"/>
                    <a:pt x="441" y="270"/>
                  </a:cubicBezTo>
                  <a:lnTo>
                    <a:pt x="441" y="244"/>
                  </a:lnTo>
                  <a:cubicBezTo>
                    <a:pt x="454" y="231"/>
                    <a:pt x="454" y="231"/>
                    <a:pt x="454" y="218"/>
                  </a:cubicBezTo>
                  <a:lnTo>
                    <a:pt x="454" y="244"/>
                  </a:lnTo>
                  <a:cubicBezTo>
                    <a:pt x="454" y="257"/>
                    <a:pt x="441" y="257"/>
                    <a:pt x="441" y="270"/>
                  </a:cubicBezTo>
                  <a:lnTo>
                    <a:pt x="441" y="286"/>
                  </a:lnTo>
                  <a:cubicBezTo>
                    <a:pt x="441" y="270"/>
                    <a:pt x="454" y="257"/>
                    <a:pt x="454" y="257"/>
                  </a:cubicBezTo>
                  <a:cubicBezTo>
                    <a:pt x="483" y="299"/>
                    <a:pt x="522" y="380"/>
                    <a:pt x="535" y="393"/>
                  </a:cubicBezTo>
                  <a:cubicBezTo>
                    <a:pt x="536" y="394"/>
                    <a:pt x="537" y="394"/>
                    <a:pt x="537" y="394"/>
                  </a:cubicBezTo>
                  <a:cubicBezTo>
                    <a:pt x="546" y="394"/>
                    <a:pt x="509" y="299"/>
                    <a:pt x="509" y="299"/>
                  </a:cubicBezTo>
                  <a:lnTo>
                    <a:pt x="509" y="299"/>
                  </a:lnTo>
                  <a:cubicBezTo>
                    <a:pt x="509" y="299"/>
                    <a:pt x="697" y="649"/>
                    <a:pt x="739" y="691"/>
                  </a:cubicBezTo>
                  <a:cubicBezTo>
                    <a:pt x="740" y="693"/>
                    <a:pt x="741" y="693"/>
                    <a:pt x="742" y="693"/>
                  </a:cubicBezTo>
                  <a:cubicBezTo>
                    <a:pt x="750" y="693"/>
                    <a:pt x="680" y="564"/>
                    <a:pt x="632" y="468"/>
                  </a:cubicBezTo>
                  <a:lnTo>
                    <a:pt x="632" y="468"/>
                  </a:lnTo>
                  <a:cubicBezTo>
                    <a:pt x="649" y="495"/>
                    <a:pt x="669" y="520"/>
                    <a:pt x="684" y="529"/>
                  </a:cubicBezTo>
                  <a:cubicBezTo>
                    <a:pt x="685" y="530"/>
                    <a:pt x="686" y="531"/>
                    <a:pt x="687" y="531"/>
                  </a:cubicBezTo>
                  <a:cubicBezTo>
                    <a:pt x="700" y="531"/>
                    <a:pt x="551" y="257"/>
                    <a:pt x="551" y="257"/>
                  </a:cubicBezTo>
                  <a:lnTo>
                    <a:pt x="551" y="257"/>
                  </a:lnTo>
                  <a:cubicBezTo>
                    <a:pt x="551" y="257"/>
                    <a:pt x="603" y="312"/>
                    <a:pt x="632" y="325"/>
                  </a:cubicBezTo>
                  <a:lnTo>
                    <a:pt x="632" y="312"/>
                  </a:lnTo>
                  <a:cubicBezTo>
                    <a:pt x="632" y="312"/>
                    <a:pt x="632" y="310"/>
                    <a:pt x="631" y="306"/>
                  </a:cubicBezTo>
                  <a:lnTo>
                    <a:pt x="631" y="306"/>
                  </a:lnTo>
                  <a:cubicBezTo>
                    <a:pt x="664" y="351"/>
                    <a:pt x="717" y="421"/>
                    <a:pt x="739" y="432"/>
                  </a:cubicBezTo>
                  <a:cubicBezTo>
                    <a:pt x="740" y="433"/>
                    <a:pt x="740" y="433"/>
                    <a:pt x="740" y="433"/>
                  </a:cubicBezTo>
                  <a:cubicBezTo>
                    <a:pt x="742" y="433"/>
                    <a:pt x="658" y="312"/>
                    <a:pt x="658" y="312"/>
                  </a:cubicBezTo>
                  <a:lnTo>
                    <a:pt x="658" y="312"/>
                  </a:lnTo>
                  <a:cubicBezTo>
                    <a:pt x="658" y="312"/>
                    <a:pt x="859" y="487"/>
                    <a:pt x="888" y="500"/>
                  </a:cubicBezTo>
                  <a:cubicBezTo>
                    <a:pt x="889" y="500"/>
                    <a:pt x="890" y="500"/>
                    <a:pt x="891" y="500"/>
                  </a:cubicBezTo>
                  <a:cubicBezTo>
                    <a:pt x="908" y="500"/>
                    <a:pt x="761" y="367"/>
                    <a:pt x="692" y="296"/>
                  </a:cubicBezTo>
                  <a:lnTo>
                    <a:pt x="692" y="296"/>
                  </a:lnTo>
                  <a:cubicBezTo>
                    <a:pt x="706" y="305"/>
                    <a:pt x="722" y="312"/>
                    <a:pt x="739" y="312"/>
                  </a:cubicBezTo>
                  <a:cubicBezTo>
                    <a:pt x="742" y="313"/>
                    <a:pt x="744" y="313"/>
                    <a:pt x="745" y="313"/>
                  </a:cubicBezTo>
                  <a:cubicBezTo>
                    <a:pt x="762" y="313"/>
                    <a:pt x="666" y="241"/>
                    <a:pt x="603" y="205"/>
                  </a:cubicBezTo>
                  <a:lnTo>
                    <a:pt x="603" y="189"/>
                  </a:lnTo>
                  <a:cubicBezTo>
                    <a:pt x="603" y="205"/>
                    <a:pt x="616" y="205"/>
                    <a:pt x="632" y="218"/>
                  </a:cubicBezTo>
                  <a:cubicBezTo>
                    <a:pt x="635" y="219"/>
                    <a:pt x="638" y="219"/>
                    <a:pt x="640" y="219"/>
                  </a:cubicBezTo>
                  <a:cubicBezTo>
                    <a:pt x="674" y="219"/>
                    <a:pt x="603" y="137"/>
                    <a:pt x="603" y="137"/>
                  </a:cubicBezTo>
                  <a:lnTo>
                    <a:pt x="603" y="137"/>
                  </a:lnTo>
                  <a:cubicBezTo>
                    <a:pt x="603" y="137"/>
                    <a:pt x="807" y="286"/>
                    <a:pt x="833" y="299"/>
                  </a:cubicBezTo>
                  <a:cubicBezTo>
                    <a:pt x="858" y="299"/>
                    <a:pt x="705" y="195"/>
                    <a:pt x="697" y="189"/>
                  </a:cubicBezTo>
                  <a:lnTo>
                    <a:pt x="697" y="189"/>
                  </a:lnTo>
                  <a:cubicBezTo>
                    <a:pt x="701" y="192"/>
                    <a:pt x="741" y="218"/>
                    <a:pt x="778" y="218"/>
                  </a:cubicBezTo>
                  <a:cubicBezTo>
                    <a:pt x="807" y="218"/>
                    <a:pt x="697" y="163"/>
                    <a:pt x="645" y="137"/>
                  </a:cubicBezTo>
                  <a:lnTo>
                    <a:pt x="671" y="137"/>
                  </a:lnTo>
                  <a:cubicBezTo>
                    <a:pt x="713" y="137"/>
                    <a:pt x="483" y="1"/>
                    <a:pt x="483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9" name="Google Shape;719;p27"/>
            <p:cNvSpPr/>
            <p:nvPr/>
          </p:nvSpPr>
          <p:spPr>
            <a:xfrm>
              <a:off x="7313218" y="4433160"/>
              <a:ext cx="4563" cy="5740"/>
            </a:xfrm>
            <a:custGeom>
              <a:avLst/>
              <a:gdLst/>
              <a:ahLst/>
              <a:cxnLst/>
              <a:rect l="l" t="t" r="r" b="b"/>
              <a:pathLst>
                <a:path w="31" h="39" extrusionOk="0">
                  <a:moveTo>
                    <a:pt x="1" y="0"/>
                  </a:moveTo>
                  <a:lnTo>
                    <a:pt x="1" y="0"/>
                  </a:lnTo>
                  <a:cubicBezTo>
                    <a:pt x="17" y="26"/>
                    <a:pt x="17" y="39"/>
                    <a:pt x="17" y="39"/>
                  </a:cubicBezTo>
                  <a:cubicBezTo>
                    <a:pt x="30" y="39"/>
                    <a:pt x="17" y="13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0" name="Google Shape;720;p27"/>
            <p:cNvSpPr/>
            <p:nvPr/>
          </p:nvSpPr>
          <p:spPr>
            <a:xfrm>
              <a:off x="7307478" y="4460831"/>
              <a:ext cx="3974" cy="8242"/>
            </a:xfrm>
            <a:custGeom>
              <a:avLst/>
              <a:gdLst/>
              <a:ahLst/>
              <a:cxnLst/>
              <a:rect l="l" t="t" r="r" b="b"/>
              <a:pathLst>
                <a:path w="27" h="56" extrusionOk="0">
                  <a:moveTo>
                    <a:pt x="27" y="0"/>
                  </a:moveTo>
                  <a:lnTo>
                    <a:pt x="27" y="0"/>
                  </a:lnTo>
                  <a:cubicBezTo>
                    <a:pt x="14" y="26"/>
                    <a:pt x="1" y="55"/>
                    <a:pt x="1" y="55"/>
                  </a:cubicBezTo>
                  <a:cubicBezTo>
                    <a:pt x="14" y="55"/>
                    <a:pt x="14" y="26"/>
                    <a:pt x="27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1" name="Google Shape;721;p27"/>
            <p:cNvSpPr/>
            <p:nvPr/>
          </p:nvSpPr>
          <p:spPr>
            <a:xfrm>
              <a:off x="7226524" y="4406814"/>
              <a:ext cx="172209" cy="130112"/>
            </a:xfrm>
            <a:custGeom>
              <a:avLst/>
              <a:gdLst/>
              <a:ahLst/>
              <a:cxnLst/>
              <a:rect l="l" t="t" r="r" b="b"/>
              <a:pathLst>
                <a:path w="1170" h="884" extrusionOk="0">
                  <a:moveTo>
                    <a:pt x="404" y="250"/>
                  </a:moveTo>
                  <a:lnTo>
                    <a:pt x="404" y="250"/>
                  </a:lnTo>
                  <a:cubicBezTo>
                    <a:pt x="399" y="255"/>
                    <a:pt x="395" y="259"/>
                    <a:pt x="391" y="260"/>
                  </a:cubicBezTo>
                  <a:lnTo>
                    <a:pt x="391" y="260"/>
                  </a:lnTo>
                  <a:cubicBezTo>
                    <a:pt x="395" y="257"/>
                    <a:pt x="399" y="254"/>
                    <a:pt x="404" y="250"/>
                  </a:cubicBezTo>
                  <a:close/>
                  <a:moveTo>
                    <a:pt x="590" y="312"/>
                  </a:moveTo>
                  <a:lnTo>
                    <a:pt x="590" y="312"/>
                  </a:lnTo>
                  <a:cubicBezTo>
                    <a:pt x="587" y="315"/>
                    <a:pt x="585" y="317"/>
                    <a:pt x="583" y="321"/>
                  </a:cubicBezTo>
                  <a:lnTo>
                    <a:pt x="583" y="321"/>
                  </a:lnTo>
                  <a:cubicBezTo>
                    <a:pt x="587" y="315"/>
                    <a:pt x="590" y="312"/>
                    <a:pt x="590" y="312"/>
                  </a:cubicBezTo>
                  <a:close/>
                  <a:moveTo>
                    <a:pt x="590" y="312"/>
                  </a:moveTo>
                  <a:cubicBezTo>
                    <a:pt x="590" y="325"/>
                    <a:pt x="590" y="341"/>
                    <a:pt x="606" y="354"/>
                  </a:cubicBezTo>
                  <a:cubicBezTo>
                    <a:pt x="606" y="341"/>
                    <a:pt x="590" y="325"/>
                    <a:pt x="590" y="312"/>
                  </a:cubicBezTo>
                  <a:close/>
                  <a:moveTo>
                    <a:pt x="632" y="192"/>
                  </a:moveTo>
                  <a:cubicBezTo>
                    <a:pt x="687" y="244"/>
                    <a:pt x="739" y="312"/>
                    <a:pt x="781" y="354"/>
                  </a:cubicBezTo>
                  <a:cubicBezTo>
                    <a:pt x="726" y="312"/>
                    <a:pt x="645" y="231"/>
                    <a:pt x="619" y="218"/>
                  </a:cubicBezTo>
                  <a:lnTo>
                    <a:pt x="619" y="205"/>
                  </a:lnTo>
                  <a:cubicBezTo>
                    <a:pt x="632" y="218"/>
                    <a:pt x="658" y="231"/>
                    <a:pt x="671" y="244"/>
                  </a:cubicBezTo>
                  <a:cubicBezTo>
                    <a:pt x="671" y="244"/>
                    <a:pt x="658" y="218"/>
                    <a:pt x="632" y="192"/>
                  </a:cubicBezTo>
                  <a:close/>
                  <a:moveTo>
                    <a:pt x="538" y="205"/>
                  </a:moveTo>
                  <a:cubicBezTo>
                    <a:pt x="509" y="244"/>
                    <a:pt x="496" y="260"/>
                    <a:pt x="509" y="260"/>
                  </a:cubicBezTo>
                  <a:cubicBezTo>
                    <a:pt x="525" y="244"/>
                    <a:pt x="538" y="231"/>
                    <a:pt x="551" y="231"/>
                  </a:cubicBezTo>
                  <a:cubicBezTo>
                    <a:pt x="525" y="260"/>
                    <a:pt x="444" y="325"/>
                    <a:pt x="402" y="367"/>
                  </a:cubicBezTo>
                  <a:cubicBezTo>
                    <a:pt x="428" y="325"/>
                    <a:pt x="496" y="260"/>
                    <a:pt x="538" y="205"/>
                  </a:cubicBezTo>
                  <a:close/>
                  <a:moveTo>
                    <a:pt x="583" y="321"/>
                  </a:moveTo>
                  <a:cubicBezTo>
                    <a:pt x="580" y="326"/>
                    <a:pt x="577" y="333"/>
                    <a:pt x="577" y="341"/>
                  </a:cubicBezTo>
                  <a:lnTo>
                    <a:pt x="577" y="367"/>
                  </a:lnTo>
                  <a:cubicBezTo>
                    <a:pt x="577" y="347"/>
                    <a:pt x="577" y="332"/>
                    <a:pt x="583" y="321"/>
                  </a:cubicBezTo>
                  <a:close/>
                  <a:moveTo>
                    <a:pt x="619" y="1"/>
                  </a:moveTo>
                  <a:cubicBezTo>
                    <a:pt x="619" y="1"/>
                    <a:pt x="277" y="180"/>
                    <a:pt x="304" y="180"/>
                  </a:cubicBezTo>
                  <a:cubicBezTo>
                    <a:pt x="305" y="180"/>
                    <a:pt x="306" y="179"/>
                    <a:pt x="308" y="179"/>
                  </a:cubicBezTo>
                  <a:lnTo>
                    <a:pt x="334" y="179"/>
                  </a:lnTo>
                  <a:cubicBezTo>
                    <a:pt x="266" y="218"/>
                    <a:pt x="133" y="286"/>
                    <a:pt x="172" y="286"/>
                  </a:cubicBezTo>
                  <a:cubicBezTo>
                    <a:pt x="227" y="273"/>
                    <a:pt x="266" y="260"/>
                    <a:pt x="266" y="260"/>
                  </a:cubicBezTo>
                  <a:lnTo>
                    <a:pt x="266" y="260"/>
                  </a:lnTo>
                  <a:cubicBezTo>
                    <a:pt x="266" y="260"/>
                    <a:pt x="83" y="381"/>
                    <a:pt x="100" y="381"/>
                  </a:cubicBezTo>
                  <a:cubicBezTo>
                    <a:pt x="101" y="381"/>
                    <a:pt x="102" y="381"/>
                    <a:pt x="104" y="380"/>
                  </a:cubicBezTo>
                  <a:cubicBezTo>
                    <a:pt x="133" y="380"/>
                    <a:pt x="389" y="192"/>
                    <a:pt x="389" y="192"/>
                  </a:cubicBezTo>
                  <a:lnTo>
                    <a:pt x="389" y="192"/>
                  </a:lnTo>
                  <a:cubicBezTo>
                    <a:pt x="389" y="192"/>
                    <a:pt x="319" y="281"/>
                    <a:pt x="343" y="281"/>
                  </a:cubicBezTo>
                  <a:cubicBezTo>
                    <a:pt x="347" y="281"/>
                    <a:pt x="354" y="278"/>
                    <a:pt x="363" y="273"/>
                  </a:cubicBezTo>
                  <a:cubicBezTo>
                    <a:pt x="367" y="273"/>
                    <a:pt x="375" y="270"/>
                    <a:pt x="384" y="264"/>
                  </a:cubicBezTo>
                  <a:lnTo>
                    <a:pt x="384" y="264"/>
                  </a:lnTo>
                  <a:cubicBezTo>
                    <a:pt x="308" y="324"/>
                    <a:pt x="192" y="408"/>
                    <a:pt x="207" y="408"/>
                  </a:cubicBezTo>
                  <a:cubicBezTo>
                    <a:pt x="209" y="408"/>
                    <a:pt x="211" y="407"/>
                    <a:pt x="214" y="406"/>
                  </a:cubicBezTo>
                  <a:cubicBezTo>
                    <a:pt x="266" y="393"/>
                    <a:pt x="321" y="354"/>
                    <a:pt x="334" y="341"/>
                  </a:cubicBezTo>
                  <a:lnTo>
                    <a:pt x="334" y="341"/>
                  </a:lnTo>
                  <a:cubicBezTo>
                    <a:pt x="309" y="366"/>
                    <a:pt x="1" y="650"/>
                    <a:pt x="21" y="650"/>
                  </a:cubicBezTo>
                  <a:cubicBezTo>
                    <a:pt x="21" y="650"/>
                    <a:pt x="22" y="649"/>
                    <a:pt x="23" y="649"/>
                  </a:cubicBezTo>
                  <a:cubicBezTo>
                    <a:pt x="65" y="623"/>
                    <a:pt x="321" y="393"/>
                    <a:pt x="321" y="393"/>
                  </a:cubicBezTo>
                  <a:lnTo>
                    <a:pt x="321" y="393"/>
                  </a:lnTo>
                  <a:cubicBezTo>
                    <a:pt x="321" y="393"/>
                    <a:pt x="217" y="558"/>
                    <a:pt x="224" y="558"/>
                  </a:cubicBezTo>
                  <a:cubicBezTo>
                    <a:pt x="224" y="558"/>
                    <a:pt x="225" y="557"/>
                    <a:pt x="227" y="555"/>
                  </a:cubicBezTo>
                  <a:cubicBezTo>
                    <a:pt x="252" y="530"/>
                    <a:pt x="328" y="430"/>
                    <a:pt x="371" y="373"/>
                  </a:cubicBezTo>
                  <a:lnTo>
                    <a:pt x="371" y="373"/>
                  </a:lnTo>
                  <a:cubicBezTo>
                    <a:pt x="363" y="387"/>
                    <a:pt x="363" y="406"/>
                    <a:pt x="363" y="406"/>
                  </a:cubicBezTo>
                  <a:lnTo>
                    <a:pt x="363" y="422"/>
                  </a:lnTo>
                  <a:cubicBezTo>
                    <a:pt x="389" y="406"/>
                    <a:pt x="457" y="341"/>
                    <a:pt x="457" y="341"/>
                  </a:cubicBezTo>
                  <a:lnTo>
                    <a:pt x="457" y="341"/>
                  </a:lnTo>
                  <a:cubicBezTo>
                    <a:pt x="457" y="341"/>
                    <a:pt x="267" y="679"/>
                    <a:pt x="292" y="679"/>
                  </a:cubicBezTo>
                  <a:cubicBezTo>
                    <a:pt x="292" y="679"/>
                    <a:pt x="294" y="679"/>
                    <a:pt x="295" y="678"/>
                  </a:cubicBezTo>
                  <a:cubicBezTo>
                    <a:pt x="311" y="660"/>
                    <a:pt x="340" y="627"/>
                    <a:pt x="365" y="591"/>
                  </a:cubicBezTo>
                  <a:lnTo>
                    <a:pt x="365" y="591"/>
                  </a:lnTo>
                  <a:cubicBezTo>
                    <a:pt x="297" y="708"/>
                    <a:pt x="207" y="883"/>
                    <a:pt x="221" y="883"/>
                  </a:cubicBezTo>
                  <a:cubicBezTo>
                    <a:pt x="222" y="883"/>
                    <a:pt x="224" y="882"/>
                    <a:pt x="227" y="879"/>
                  </a:cubicBezTo>
                  <a:cubicBezTo>
                    <a:pt x="282" y="827"/>
                    <a:pt x="509" y="380"/>
                    <a:pt x="509" y="380"/>
                  </a:cubicBezTo>
                  <a:lnTo>
                    <a:pt x="509" y="380"/>
                  </a:lnTo>
                  <a:cubicBezTo>
                    <a:pt x="509" y="380"/>
                    <a:pt x="462" y="504"/>
                    <a:pt x="469" y="504"/>
                  </a:cubicBezTo>
                  <a:cubicBezTo>
                    <a:pt x="469" y="504"/>
                    <a:pt x="469" y="504"/>
                    <a:pt x="470" y="503"/>
                  </a:cubicBezTo>
                  <a:cubicBezTo>
                    <a:pt x="496" y="503"/>
                    <a:pt x="551" y="393"/>
                    <a:pt x="577" y="341"/>
                  </a:cubicBezTo>
                  <a:lnTo>
                    <a:pt x="577" y="299"/>
                  </a:lnTo>
                  <a:cubicBezTo>
                    <a:pt x="590" y="286"/>
                    <a:pt x="590" y="286"/>
                    <a:pt x="590" y="273"/>
                  </a:cubicBezTo>
                  <a:lnTo>
                    <a:pt x="590" y="299"/>
                  </a:lnTo>
                  <a:lnTo>
                    <a:pt x="590" y="312"/>
                  </a:lnTo>
                  <a:cubicBezTo>
                    <a:pt x="619" y="380"/>
                    <a:pt x="687" y="474"/>
                    <a:pt x="700" y="487"/>
                  </a:cubicBezTo>
                  <a:cubicBezTo>
                    <a:pt x="701" y="488"/>
                    <a:pt x="703" y="488"/>
                    <a:pt x="704" y="488"/>
                  </a:cubicBezTo>
                  <a:cubicBezTo>
                    <a:pt x="718" y="488"/>
                    <a:pt x="658" y="367"/>
                    <a:pt x="658" y="367"/>
                  </a:cubicBezTo>
                  <a:lnTo>
                    <a:pt x="658" y="367"/>
                  </a:lnTo>
                  <a:cubicBezTo>
                    <a:pt x="658" y="367"/>
                    <a:pt x="901" y="811"/>
                    <a:pt x="956" y="866"/>
                  </a:cubicBezTo>
                  <a:cubicBezTo>
                    <a:pt x="959" y="869"/>
                    <a:pt x="960" y="870"/>
                    <a:pt x="961" y="870"/>
                  </a:cubicBezTo>
                  <a:cubicBezTo>
                    <a:pt x="972" y="870"/>
                    <a:pt x="865" y="680"/>
                    <a:pt x="797" y="564"/>
                  </a:cubicBezTo>
                  <a:lnTo>
                    <a:pt x="797" y="564"/>
                  </a:lnTo>
                  <a:cubicBezTo>
                    <a:pt x="824" y="604"/>
                    <a:pt x="857" y="644"/>
                    <a:pt x="875" y="665"/>
                  </a:cubicBezTo>
                  <a:cubicBezTo>
                    <a:pt x="876" y="666"/>
                    <a:pt x="877" y="666"/>
                    <a:pt x="878" y="666"/>
                  </a:cubicBezTo>
                  <a:cubicBezTo>
                    <a:pt x="900" y="666"/>
                    <a:pt x="713" y="325"/>
                    <a:pt x="713" y="325"/>
                  </a:cubicBezTo>
                  <a:lnTo>
                    <a:pt x="713" y="325"/>
                  </a:lnTo>
                  <a:cubicBezTo>
                    <a:pt x="713" y="325"/>
                    <a:pt x="781" y="393"/>
                    <a:pt x="807" y="406"/>
                  </a:cubicBezTo>
                  <a:lnTo>
                    <a:pt x="807" y="393"/>
                  </a:lnTo>
                  <a:cubicBezTo>
                    <a:pt x="820" y="393"/>
                    <a:pt x="807" y="367"/>
                    <a:pt x="807" y="354"/>
                  </a:cubicBezTo>
                  <a:lnTo>
                    <a:pt x="807" y="354"/>
                  </a:lnTo>
                  <a:cubicBezTo>
                    <a:pt x="833" y="406"/>
                    <a:pt x="930" y="516"/>
                    <a:pt x="943" y="542"/>
                  </a:cubicBezTo>
                  <a:cubicBezTo>
                    <a:pt x="945" y="544"/>
                    <a:pt x="946" y="544"/>
                    <a:pt x="946" y="544"/>
                  </a:cubicBezTo>
                  <a:cubicBezTo>
                    <a:pt x="954" y="544"/>
                    <a:pt x="849" y="380"/>
                    <a:pt x="849" y="380"/>
                  </a:cubicBezTo>
                  <a:lnTo>
                    <a:pt x="849" y="380"/>
                  </a:lnTo>
                  <a:cubicBezTo>
                    <a:pt x="849" y="380"/>
                    <a:pt x="1105" y="610"/>
                    <a:pt x="1144" y="636"/>
                  </a:cubicBezTo>
                  <a:cubicBezTo>
                    <a:pt x="1145" y="636"/>
                    <a:pt x="1146" y="636"/>
                    <a:pt x="1146" y="636"/>
                  </a:cubicBezTo>
                  <a:cubicBezTo>
                    <a:pt x="1169" y="636"/>
                    <a:pt x="944" y="420"/>
                    <a:pt x="859" y="347"/>
                  </a:cubicBezTo>
                  <a:lnTo>
                    <a:pt x="859" y="347"/>
                  </a:lnTo>
                  <a:cubicBezTo>
                    <a:pt x="884" y="364"/>
                    <a:pt x="919" y="384"/>
                    <a:pt x="956" y="393"/>
                  </a:cubicBezTo>
                  <a:cubicBezTo>
                    <a:pt x="958" y="394"/>
                    <a:pt x="960" y="394"/>
                    <a:pt x="961" y="394"/>
                  </a:cubicBezTo>
                  <a:cubicBezTo>
                    <a:pt x="980" y="394"/>
                    <a:pt x="869" y="308"/>
                    <a:pt x="781" y="244"/>
                  </a:cubicBezTo>
                  <a:lnTo>
                    <a:pt x="781" y="231"/>
                  </a:lnTo>
                  <a:lnTo>
                    <a:pt x="807" y="260"/>
                  </a:lnTo>
                  <a:cubicBezTo>
                    <a:pt x="816" y="265"/>
                    <a:pt x="823" y="268"/>
                    <a:pt x="827" y="268"/>
                  </a:cubicBezTo>
                  <a:cubicBezTo>
                    <a:pt x="851" y="268"/>
                    <a:pt x="781" y="179"/>
                    <a:pt x="781" y="179"/>
                  </a:cubicBezTo>
                  <a:lnTo>
                    <a:pt x="781" y="179"/>
                  </a:lnTo>
                  <a:cubicBezTo>
                    <a:pt x="781" y="179"/>
                    <a:pt x="1037" y="367"/>
                    <a:pt x="1076" y="367"/>
                  </a:cubicBezTo>
                  <a:cubicBezTo>
                    <a:pt x="1077" y="368"/>
                    <a:pt x="1078" y="368"/>
                    <a:pt x="1078" y="368"/>
                  </a:cubicBezTo>
                  <a:cubicBezTo>
                    <a:pt x="1087" y="368"/>
                    <a:pt x="901" y="244"/>
                    <a:pt x="901" y="244"/>
                  </a:cubicBezTo>
                  <a:lnTo>
                    <a:pt x="901" y="244"/>
                  </a:lnTo>
                  <a:cubicBezTo>
                    <a:pt x="901" y="244"/>
                    <a:pt x="943" y="260"/>
                    <a:pt x="995" y="273"/>
                  </a:cubicBezTo>
                  <a:cubicBezTo>
                    <a:pt x="1037" y="273"/>
                    <a:pt x="901" y="205"/>
                    <a:pt x="833" y="163"/>
                  </a:cubicBezTo>
                  <a:lnTo>
                    <a:pt x="875" y="163"/>
                  </a:lnTo>
                  <a:cubicBezTo>
                    <a:pt x="877" y="164"/>
                    <a:pt x="879" y="164"/>
                    <a:pt x="880" y="164"/>
                  </a:cubicBezTo>
                  <a:cubicBezTo>
                    <a:pt x="904" y="164"/>
                    <a:pt x="619" y="1"/>
                    <a:pt x="61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2" name="Google Shape;722;p27"/>
            <p:cNvSpPr/>
            <p:nvPr/>
          </p:nvSpPr>
          <p:spPr>
            <a:xfrm>
              <a:off x="7315720" y="4458917"/>
              <a:ext cx="2061" cy="7654"/>
            </a:xfrm>
            <a:custGeom>
              <a:avLst/>
              <a:gdLst/>
              <a:ahLst/>
              <a:cxnLst/>
              <a:rect l="l" t="t" r="r" b="b"/>
              <a:pathLst>
                <a:path w="14" h="52" extrusionOk="0">
                  <a:moveTo>
                    <a:pt x="0" y="0"/>
                  </a:moveTo>
                  <a:cubicBezTo>
                    <a:pt x="0" y="26"/>
                    <a:pt x="13" y="52"/>
                    <a:pt x="13" y="52"/>
                  </a:cubicBezTo>
                  <a:cubicBezTo>
                    <a:pt x="13" y="52"/>
                    <a:pt x="0" y="26"/>
                    <a:pt x="0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3" name="Google Shape;723;p27"/>
            <p:cNvSpPr/>
            <p:nvPr/>
          </p:nvSpPr>
          <p:spPr>
            <a:xfrm>
              <a:off x="7306153" y="4504692"/>
              <a:ext cx="3385" cy="10156"/>
            </a:xfrm>
            <a:custGeom>
              <a:avLst/>
              <a:gdLst/>
              <a:ahLst/>
              <a:cxnLst/>
              <a:rect l="l" t="t" r="r" b="b"/>
              <a:pathLst>
                <a:path w="23" h="69" extrusionOk="0">
                  <a:moveTo>
                    <a:pt x="23" y="0"/>
                  </a:moveTo>
                  <a:lnTo>
                    <a:pt x="23" y="0"/>
                  </a:lnTo>
                  <a:cubicBezTo>
                    <a:pt x="12" y="33"/>
                    <a:pt x="1" y="68"/>
                    <a:pt x="6" y="68"/>
                  </a:cubicBezTo>
                  <a:cubicBezTo>
                    <a:pt x="7" y="68"/>
                    <a:pt x="8" y="67"/>
                    <a:pt x="10" y="65"/>
                  </a:cubicBezTo>
                  <a:cubicBezTo>
                    <a:pt x="10" y="65"/>
                    <a:pt x="10" y="39"/>
                    <a:pt x="23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4" name="Google Shape;724;p27"/>
            <p:cNvSpPr/>
            <p:nvPr/>
          </p:nvSpPr>
          <p:spPr>
            <a:xfrm>
              <a:off x="7206065" y="4438753"/>
              <a:ext cx="212833" cy="162198"/>
            </a:xfrm>
            <a:custGeom>
              <a:avLst/>
              <a:gdLst/>
              <a:ahLst/>
              <a:cxnLst/>
              <a:rect l="l" t="t" r="r" b="b"/>
              <a:pathLst>
                <a:path w="1446" h="1102" extrusionOk="0">
                  <a:moveTo>
                    <a:pt x="716" y="367"/>
                  </a:moveTo>
                  <a:cubicBezTo>
                    <a:pt x="716" y="367"/>
                    <a:pt x="716" y="380"/>
                    <a:pt x="729" y="380"/>
                  </a:cubicBezTo>
                  <a:cubicBezTo>
                    <a:pt x="729" y="367"/>
                    <a:pt x="716" y="367"/>
                    <a:pt x="716" y="367"/>
                  </a:cubicBezTo>
                  <a:close/>
                  <a:moveTo>
                    <a:pt x="731" y="402"/>
                  </a:moveTo>
                  <a:cubicBezTo>
                    <a:pt x="733" y="410"/>
                    <a:pt x="737" y="420"/>
                    <a:pt x="745" y="432"/>
                  </a:cubicBezTo>
                  <a:cubicBezTo>
                    <a:pt x="745" y="422"/>
                    <a:pt x="736" y="412"/>
                    <a:pt x="731" y="402"/>
                  </a:cubicBezTo>
                  <a:close/>
                  <a:moveTo>
                    <a:pt x="784" y="231"/>
                  </a:moveTo>
                  <a:cubicBezTo>
                    <a:pt x="839" y="299"/>
                    <a:pt x="920" y="380"/>
                    <a:pt x="959" y="432"/>
                  </a:cubicBezTo>
                  <a:cubicBezTo>
                    <a:pt x="891" y="380"/>
                    <a:pt x="784" y="286"/>
                    <a:pt x="758" y="257"/>
                  </a:cubicBezTo>
                  <a:cubicBezTo>
                    <a:pt x="771" y="257"/>
                    <a:pt x="810" y="270"/>
                    <a:pt x="826" y="299"/>
                  </a:cubicBezTo>
                  <a:cubicBezTo>
                    <a:pt x="839" y="299"/>
                    <a:pt x="810" y="270"/>
                    <a:pt x="784" y="231"/>
                  </a:cubicBezTo>
                  <a:close/>
                  <a:moveTo>
                    <a:pt x="664" y="244"/>
                  </a:moveTo>
                  <a:lnTo>
                    <a:pt x="664" y="244"/>
                  </a:lnTo>
                  <a:cubicBezTo>
                    <a:pt x="639" y="280"/>
                    <a:pt x="616" y="315"/>
                    <a:pt x="619" y="315"/>
                  </a:cubicBezTo>
                  <a:cubicBezTo>
                    <a:pt x="619" y="315"/>
                    <a:pt x="620" y="314"/>
                    <a:pt x="622" y="312"/>
                  </a:cubicBezTo>
                  <a:cubicBezTo>
                    <a:pt x="635" y="299"/>
                    <a:pt x="664" y="286"/>
                    <a:pt x="677" y="270"/>
                  </a:cubicBezTo>
                  <a:lnTo>
                    <a:pt x="690" y="270"/>
                  </a:lnTo>
                  <a:cubicBezTo>
                    <a:pt x="648" y="312"/>
                    <a:pt x="541" y="393"/>
                    <a:pt x="486" y="461"/>
                  </a:cubicBezTo>
                  <a:cubicBezTo>
                    <a:pt x="528" y="406"/>
                    <a:pt x="596" y="312"/>
                    <a:pt x="664" y="244"/>
                  </a:cubicBezTo>
                  <a:close/>
                  <a:moveTo>
                    <a:pt x="1174" y="660"/>
                  </a:moveTo>
                  <a:lnTo>
                    <a:pt x="1174" y="660"/>
                  </a:lnTo>
                  <a:cubicBezTo>
                    <a:pt x="1177" y="665"/>
                    <a:pt x="1179" y="667"/>
                    <a:pt x="1179" y="667"/>
                  </a:cubicBezTo>
                  <a:cubicBezTo>
                    <a:pt x="1179" y="667"/>
                    <a:pt x="1178" y="665"/>
                    <a:pt x="1176" y="662"/>
                  </a:cubicBezTo>
                  <a:cubicBezTo>
                    <a:pt x="1175" y="661"/>
                    <a:pt x="1175" y="661"/>
                    <a:pt x="1174" y="660"/>
                  </a:cubicBezTo>
                  <a:close/>
                  <a:moveTo>
                    <a:pt x="771" y="1"/>
                  </a:moveTo>
                  <a:cubicBezTo>
                    <a:pt x="771" y="1"/>
                    <a:pt x="323" y="219"/>
                    <a:pt x="362" y="219"/>
                  </a:cubicBezTo>
                  <a:cubicBezTo>
                    <a:pt x="363" y="219"/>
                    <a:pt x="364" y="218"/>
                    <a:pt x="366" y="218"/>
                  </a:cubicBezTo>
                  <a:cubicBezTo>
                    <a:pt x="373" y="218"/>
                    <a:pt x="381" y="218"/>
                    <a:pt x="388" y="216"/>
                  </a:cubicBezTo>
                  <a:lnTo>
                    <a:pt x="388" y="216"/>
                  </a:lnTo>
                  <a:cubicBezTo>
                    <a:pt x="304" y="269"/>
                    <a:pt x="165" y="351"/>
                    <a:pt x="204" y="351"/>
                  </a:cubicBezTo>
                  <a:cubicBezTo>
                    <a:pt x="272" y="338"/>
                    <a:pt x="324" y="312"/>
                    <a:pt x="324" y="312"/>
                  </a:cubicBezTo>
                  <a:lnTo>
                    <a:pt x="324" y="312"/>
                  </a:lnTo>
                  <a:cubicBezTo>
                    <a:pt x="324" y="312"/>
                    <a:pt x="86" y="475"/>
                    <a:pt x="107" y="475"/>
                  </a:cubicBezTo>
                  <a:cubicBezTo>
                    <a:pt x="107" y="475"/>
                    <a:pt x="109" y="474"/>
                    <a:pt x="110" y="474"/>
                  </a:cubicBezTo>
                  <a:cubicBezTo>
                    <a:pt x="149" y="461"/>
                    <a:pt x="486" y="231"/>
                    <a:pt x="486" y="231"/>
                  </a:cubicBezTo>
                  <a:lnTo>
                    <a:pt x="486" y="231"/>
                  </a:lnTo>
                  <a:cubicBezTo>
                    <a:pt x="486" y="231"/>
                    <a:pt x="394" y="345"/>
                    <a:pt x="417" y="345"/>
                  </a:cubicBezTo>
                  <a:cubicBezTo>
                    <a:pt x="420" y="345"/>
                    <a:pt x="426" y="343"/>
                    <a:pt x="434" y="338"/>
                  </a:cubicBezTo>
                  <a:cubicBezTo>
                    <a:pt x="460" y="325"/>
                    <a:pt x="502" y="299"/>
                    <a:pt x="528" y="257"/>
                  </a:cubicBezTo>
                  <a:lnTo>
                    <a:pt x="528" y="257"/>
                  </a:lnTo>
                  <a:cubicBezTo>
                    <a:pt x="515" y="286"/>
                    <a:pt x="486" y="312"/>
                    <a:pt x="486" y="312"/>
                  </a:cubicBezTo>
                  <a:cubicBezTo>
                    <a:pt x="372" y="389"/>
                    <a:pt x="220" y="501"/>
                    <a:pt x="252" y="501"/>
                  </a:cubicBezTo>
                  <a:cubicBezTo>
                    <a:pt x="254" y="501"/>
                    <a:pt x="256" y="501"/>
                    <a:pt x="259" y="500"/>
                  </a:cubicBezTo>
                  <a:cubicBezTo>
                    <a:pt x="308" y="490"/>
                    <a:pt x="358" y="457"/>
                    <a:pt x="386" y="435"/>
                  </a:cubicBezTo>
                  <a:lnTo>
                    <a:pt x="386" y="435"/>
                  </a:lnTo>
                  <a:cubicBezTo>
                    <a:pt x="301" y="511"/>
                    <a:pt x="1" y="799"/>
                    <a:pt x="13" y="799"/>
                  </a:cubicBezTo>
                  <a:cubicBezTo>
                    <a:pt x="14" y="799"/>
                    <a:pt x="15" y="799"/>
                    <a:pt x="16" y="798"/>
                  </a:cubicBezTo>
                  <a:cubicBezTo>
                    <a:pt x="68" y="785"/>
                    <a:pt x="379" y="487"/>
                    <a:pt x="379" y="487"/>
                  </a:cubicBezTo>
                  <a:lnTo>
                    <a:pt x="379" y="487"/>
                  </a:lnTo>
                  <a:cubicBezTo>
                    <a:pt x="379" y="487"/>
                    <a:pt x="257" y="693"/>
                    <a:pt x="269" y="693"/>
                  </a:cubicBezTo>
                  <a:cubicBezTo>
                    <a:pt x="269" y="693"/>
                    <a:pt x="270" y="692"/>
                    <a:pt x="272" y="691"/>
                  </a:cubicBezTo>
                  <a:cubicBezTo>
                    <a:pt x="298" y="662"/>
                    <a:pt x="405" y="513"/>
                    <a:pt x="447" y="448"/>
                  </a:cubicBezTo>
                  <a:lnTo>
                    <a:pt x="447" y="448"/>
                  </a:lnTo>
                  <a:cubicBezTo>
                    <a:pt x="447" y="474"/>
                    <a:pt x="434" y="500"/>
                    <a:pt x="447" y="500"/>
                  </a:cubicBezTo>
                  <a:lnTo>
                    <a:pt x="447" y="513"/>
                  </a:lnTo>
                  <a:cubicBezTo>
                    <a:pt x="473" y="500"/>
                    <a:pt x="567" y="419"/>
                    <a:pt x="567" y="419"/>
                  </a:cubicBezTo>
                  <a:lnTo>
                    <a:pt x="567" y="419"/>
                  </a:lnTo>
                  <a:cubicBezTo>
                    <a:pt x="567" y="419"/>
                    <a:pt x="333" y="840"/>
                    <a:pt x="360" y="840"/>
                  </a:cubicBezTo>
                  <a:cubicBezTo>
                    <a:pt x="362" y="840"/>
                    <a:pt x="364" y="839"/>
                    <a:pt x="366" y="837"/>
                  </a:cubicBezTo>
                  <a:cubicBezTo>
                    <a:pt x="392" y="811"/>
                    <a:pt x="447" y="717"/>
                    <a:pt x="486" y="649"/>
                  </a:cubicBezTo>
                  <a:lnTo>
                    <a:pt x="486" y="649"/>
                  </a:lnTo>
                  <a:cubicBezTo>
                    <a:pt x="410" y="788"/>
                    <a:pt x="242" y="1101"/>
                    <a:pt x="264" y="1101"/>
                  </a:cubicBezTo>
                  <a:cubicBezTo>
                    <a:pt x="266" y="1101"/>
                    <a:pt x="268" y="1100"/>
                    <a:pt x="272" y="1096"/>
                  </a:cubicBezTo>
                  <a:cubicBezTo>
                    <a:pt x="324" y="1041"/>
                    <a:pt x="635" y="474"/>
                    <a:pt x="635" y="474"/>
                  </a:cubicBezTo>
                  <a:lnTo>
                    <a:pt x="635" y="474"/>
                  </a:lnTo>
                  <a:cubicBezTo>
                    <a:pt x="635" y="474"/>
                    <a:pt x="560" y="624"/>
                    <a:pt x="580" y="624"/>
                  </a:cubicBezTo>
                  <a:cubicBezTo>
                    <a:pt x="581" y="624"/>
                    <a:pt x="582" y="624"/>
                    <a:pt x="583" y="623"/>
                  </a:cubicBezTo>
                  <a:cubicBezTo>
                    <a:pt x="607" y="611"/>
                    <a:pt x="665" y="498"/>
                    <a:pt x="704" y="426"/>
                  </a:cubicBezTo>
                  <a:lnTo>
                    <a:pt x="704" y="426"/>
                  </a:lnTo>
                  <a:cubicBezTo>
                    <a:pt x="703" y="433"/>
                    <a:pt x="703" y="440"/>
                    <a:pt x="703" y="448"/>
                  </a:cubicBezTo>
                  <a:cubicBezTo>
                    <a:pt x="716" y="419"/>
                    <a:pt x="716" y="406"/>
                    <a:pt x="729" y="380"/>
                  </a:cubicBezTo>
                  <a:lnTo>
                    <a:pt x="729" y="380"/>
                  </a:lnTo>
                  <a:cubicBezTo>
                    <a:pt x="716" y="393"/>
                    <a:pt x="716" y="393"/>
                    <a:pt x="716" y="406"/>
                  </a:cubicBezTo>
                  <a:lnTo>
                    <a:pt x="716" y="367"/>
                  </a:lnTo>
                  <a:cubicBezTo>
                    <a:pt x="716" y="351"/>
                    <a:pt x="716" y="338"/>
                    <a:pt x="729" y="338"/>
                  </a:cubicBezTo>
                  <a:lnTo>
                    <a:pt x="729" y="367"/>
                  </a:lnTo>
                  <a:lnTo>
                    <a:pt x="729" y="380"/>
                  </a:lnTo>
                  <a:cubicBezTo>
                    <a:pt x="729" y="385"/>
                    <a:pt x="729" y="389"/>
                    <a:pt x="730" y="394"/>
                  </a:cubicBezTo>
                  <a:lnTo>
                    <a:pt x="730" y="394"/>
                  </a:lnTo>
                  <a:cubicBezTo>
                    <a:pt x="729" y="394"/>
                    <a:pt x="729" y="393"/>
                    <a:pt x="729" y="393"/>
                  </a:cubicBezTo>
                  <a:lnTo>
                    <a:pt x="729" y="393"/>
                  </a:lnTo>
                  <a:cubicBezTo>
                    <a:pt x="729" y="396"/>
                    <a:pt x="730" y="399"/>
                    <a:pt x="731" y="402"/>
                  </a:cubicBezTo>
                  <a:lnTo>
                    <a:pt x="731" y="402"/>
                  </a:lnTo>
                  <a:cubicBezTo>
                    <a:pt x="730" y="399"/>
                    <a:pt x="730" y="397"/>
                    <a:pt x="730" y="394"/>
                  </a:cubicBezTo>
                  <a:lnTo>
                    <a:pt x="730" y="394"/>
                  </a:lnTo>
                  <a:cubicBezTo>
                    <a:pt x="772" y="462"/>
                    <a:pt x="839" y="594"/>
                    <a:pt x="865" y="610"/>
                  </a:cubicBezTo>
                  <a:cubicBezTo>
                    <a:pt x="866" y="611"/>
                    <a:pt x="867" y="611"/>
                    <a:pt x="867" y="611"/>
                  </a:cubicBezTo>
                  <a:cubicBezTo>
                    <a:pt x="885" y="611"/>
                    <a:pt x="810" y="461"/>
                    <a:pt x="810" y="461"/>
                  </a:cubicBezTo>
                  <a:lnTo>
                    <a:pt x="810" y="461"/>
                  </a:lnTo>
                  <a:cubicBezTo>
                    <a:pt x="810" y="461"/>
                    <a:pt x="1108" y="1015"/>
                    <a:pt x="1176" y="1080"/>
                  </a:cubicBezTo>
                  <a:cubicBezTo>
                    <a:pt x="1179" y="1082"/>
                    <a:pt x="1181" y="1083"/>
                    <a:pt x="1183" y="1083"/>
                  </a:cubicBezTo>
                  <a:cubicBezTo>
                    <a:pt x="1204" y="1083"/>
                    <a:pt x="1105" y="894"/>
                    <a:pt x="1023" y="748"/>
                  </a:cubicBezTo>
                  <a:lnTo>
                    <a:pt x="1023" y="748"/>
                  </a:lnTo>
                  <a:cubicBezTo>
                    <a:pt x="1046" y="780"/>
                    <a:pt x="1068" y="805"/>
                    <a:pt x="1082" y="811"/>
                  </a:cubicBezTo>
                  <a:cubicBezTo>
                    <a:pt x="1084" y="813"/>
                    <a:pt x="1086" y="814"/>
                    <a:pt x="1087" y="814"/>
                  </a:cubicBezTo>
                  <a:cubicBezTo>
                    <a:pt x="1111" y="814"/>
                    <a:pt x="878" y="406"/>
                    <a:pt x="878" y="406"/>
                  </a:cubicBezTo>
                  <a:lnTo>
                    <a:pt x="878" y="406"/>
                  </a:lnTo>
                  <a:cubicBezTo>
                    <a:pt x="878" y="406"/>
                    <a:pt x="959" y="487"/>
                    <a:pt x="1001" y="487"/>
                  </a:cubicBezTo>
                  <a:cubicBezTo>
                    <a:pt x="1014" y="487"/>
                    <a:pt x="1001" y="461"/>
                    <a:pt x="1001" y="432"/>
                  </a:cubicBezTo>
                  <a:lnTo>
                    <a:pt x="1001" y="432"/>
                  </a:lnTo>
                  <a:cubicBezTo>
                    <a:pt x="1039" y="498"/>
                    <a:pt x="1145" y="630"/>
                    <a:pt x="1174" y="660"/>
                  </a:cubicBezTo>
                  <a:lnTo>
                    <a:pt x="1174" y="660"/>
                  </a:lnTo>
                  <a:cubicBezTo>
                    <a:pt x="1151" y="625"/>
                    <a:pt x="1053" y="474"/>
                    <a:pt x="1053" y="474"/>
                  </a:cubicBezTo>
                  <a:lnTo>
                    <a:pt x="1053" y="474"/>
                  </a:lnTo>
                  <a:cubicBezTo>
                    <a:pt x="1053" y="474"/>
                    <a:pt x="1377" y="756"/>
                    <a:pt x="1419" y="785"/>
                  </a:cubicBezTo>
                  <a:cubicBezTo>
                    <a:pt x="1421" y="786"/>
                    <a:pt x="1422" y="786"/>
                    <a:pt x="1423" y="786"/>
                  </a:cubicBezTo>
                  <a:cubicBezTo>
                    <a:pt x="1446" y="786"/>
                    <a:pt x="1154" y="501"/>
                    <a:pt x="1063" y="415"/>
                  </a:cubicBezTo>
                  <a:lnTo>
                    <a:pt x="1063" y="415"/>
                  </a:lnTo>
                  <a:cubicBezTo>
                    <a:pt x="1091" y="440"/>
                    <a:pt x="1140" y="478"/>
                    <a:pt x="1189" y="487"/>
                  </a:cubicBezTo>
                  <a:cubicBezTo>
                    <a:pt x="1231" y="487"/>
                    <a:pt x="1082" y="380"/>
                    <a:pt x="972" y="299"/>
                  </a:cubicBezTo>
                  <a:cubicBezTo>
                    <a:pt x="972" y="299"/>
                    <a:pt x="959" y="299"/>
                    <a:pt x="959" y="286"/>
                  </a:cubicBezTo>
                  <a:lnTo>
                    <a:pt x="959" y="286"/>
                  </a:lnTo>
                  <a:cubicBezTo>
                    <a:pt x="972" y="299"/>
                    <a:pt x="1001" y="312"/>
                    <a:pt x="1014" y="325"/>
                  </a:cubicBezTo>
                  <a:cubicBezTo>
                    <a:pt x="1020" y="327"/>
                    <a:pt x="1024" y="328"/>
                    <a:pt x="1027" y="328"/>
                  </a:cubicBezTo>
                  <a:cubicBezTo>
                    <a:pt x="1063" y="328"/>
                    <a:pt x="959" y="205"/>
                    <a:pt x="959" y="205"/>
                  </a:cubicBezTo>
                  <a:lnTo>
                    <a:pt x="959" y="205"/>
                  </a:lnTo>
                  <a:cubicBezTo>
                    <a:pt x="959" y="205"/>
                    <a:pt x="1296" y="448"/>
                    <a:pt x="1338" y="461"/>
                  </a:cubicBezTo>
                  <a:cubicBezTo>
                    <a:pt x="1339" y="461"/>
                    <a:pt x="1340" y="462"/>
                    <a:pt x="1341" y="462"/>
                  </a:cubicBezTo>
                  <a:cubicBezTo>
                    <a:pt x="1360" y="462"/>
                    <a:pt x="1121" y="286"/>
                    <a:pt x="1121" y="286"/>
                  </a:cubicBezTo>
                  <a:lnTo>
                    <a:pt x="1121" y="286"/>
                  </a:lnTo>
                  <a:cubicBezTo>
                    <a:pt x="1121" y="286"/>
                    <a:pt x="1176" y="325"/>
                    <a:pt x="1244" y="325"/>
                  </a:cubicBezTo>
                  <a:cubicBezTo>
                    <a:pt x="1246" y="326"/>
                    <a:pt x="1248" y="326"/>
                    <a:pt x="1249" y="326"/>
                  </a:cubicBezTo>
                  <a:cubicBezTo>
                    <a:pt x="1263" y="326"/>
                    <a:pt x="1116" y="240"/>
                    <a:pt x="1040" y="189"/>
                  </a:cubicBezTo>
                  <a:lnTo>
                    <a:pt x="1040" y="189"/>
                  </a:lnTo>
                  <a:cubicBezTo>
                    <a:pt x="1040" y="189"/>
                    <a:pt x="1069" y="205"/>
                    <a:pt x="1082" y="205"/>
                  </a:cubicBezTo>
                  <a:cubicBezTo>
                    <a:pt x="1150" y="205"/>
                    <a:pt x="771" y="1"/>
                    <a:pt x="77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5" name="Google Shape;725;p27"/>
            <p:cNvSpPr/>
            <p:nvPr/>
          </p:nvSpPr>
          <p:spPr>
            <a:xfrm>
              <a:off x="7315720" y="4502190"/>
              <a:ext cx="3827" cy="10156"/>
            </a:xfrm>
            <a:custGeom>
              <a:avLst/>
              <a:gdLst/>
              <a:ahLst/>
              <a:cxnLst/>
              <a:rect l="l" t="t" r="r" b="b"/>
              <a:pathLst>
                <a:path w="26" h="69" extrusionOk="0">
                  <a:moveTo>
                    <a:pt x="0" y="1"/>
                  </a:moveTo>
                  <a:cubicBezTo>
                    <a:pt x="0" y="43"/>
                    <a:pt x="13" y="69"/>
                    <a:pt x="13" y="69"/>
                  </a:cubicBezTo>
                  <a:cubicBezTo>
                    <a:pt x="26" y="69"/>
                    <a:pt x="13" y="43"/>
                    <a:pt x="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6" name="Google Shape;726;p27"/>
            <p:cNvSpPr/>
            <p:nvPr/>
          </p:nvSpPr>
          <p:spPr>
            <a:xfrm>
              <a:off x="7305711" y="4532215"/>
              <a:ext cx="3827" cy="12364"/>
            </a:xfrm>
            <a:custGeom>
              <a:avLst/>
              <a:gdLst/>
              <a:ahLst/>
              <a:cxnLst/>
              <a:rect l="l" t="t" r="r" b="b"/>
              <a:pathLst>
                <a:path w="26" h="84" extrusionOk="0">
                  <a:moveTo>
                    <a:pt x="26" y="1"/>
                  </a:moveTo>
                  <a:cubicBezTo>
                    <a:pt x="16" y="32"/>
                    <a:pt x="6" y="72"/>
                    <a:pt x="2" y="82"/>
                  </a:cubicBezTo>
                  <a:lnTo>
                    <a:pt x="2" y="82"/>
                  </a:lnTo>
                  <a:cubicBezTo>
                    <a:pt x="13" y="80"/>
                    <a:pt x="14" y="54"/>
                    <a:pt x="26" y="1"/>
                  </a:cubicBezTo>
                  <a:close/>
                  <a:moveTo>
                    <a:pt x="2" y="82"/>
                  </a:moveTo>
                  <a:cubicBezTo>
                    <a:pt x="1" y="82"/>
                    <a:pt x="1" y="82"/>
                    <a:pt x="0" y="82"/>
                  </a:cubicBezTo>
                  <a:cubicBezTo>
                    <a:pt x="0" y="83"/>
                    <a:pt x="0" y="84"/>
                    <a:pt x="0" y="84"/>
                  </a:cubicBezTo>
                  <a:cubicBezTo>
                    <a:pt x="1" y="84"/>
                    <a:pt x="1" y="83"/>
                    <a:pt x="2" y="82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7" name="Google Shape;727;p27"/>
            <p:cNvSpPr/>
            <p:nvPr/>
          </p:nvSpPr>
          <p:spPr>
            <a:xfrm>
              <a:off x="7188550" y="4454502"/>
              <a:ext cx="248305" cy="189869"/>
            </a:xfrm>
            <a:custGeom>
              <a:avLst/>
              <a:gdLst/>
              <a:ahLst/>
              <a:cxnLst/>
              <a:rect l="l" t="t" r="r" b="b"/>
              <a:pathLst>
                <a:path w="1687" h="1290" extrusionOk="0">
                  <a:moveTo>
                    <a:pt x="835" y="435"/>
                  </a:moveTo>
                  <a:cubicBezTo>
                    <a:pt x="835" y="448"/>
                    <a:pt x="835" y="448"/>
                    <a:pt x="848" y="448"/>
                  </a:cubicBezTo>
                  <a:lnTo>
                    <a:pt x="835" y="435"/>
                  </a:lnTo>
                  <a:close/>
                  <a:moveTo>
                    <a:pt x="848" y="406"/>
                  </a:moveTo>
                  <a:lnTo>
                    <a:pt x="848" y="435"/>
                  </a:lnTo>
                  <a:lnTo>
                    <a:pt x="848" y="448"/>
                  </a:lnTo>
                  <a:cubicBezTo>
                    <a:pt x="835" y="461"/>
                    <a:pt x="835" y="474"/>
                    <a:pt x="835" y="487"/>
                  </a:cubicBezTo>
                  <a:lnTo>
                    <a:pt x="835" y="435"/>
                  </a:lnTo>
                  <a:cubicBezTo>
                    <a:pt x="835" y="422"/>
                    <a:pt x="835" y="406"/>
                    <a:pt x="848" y="406"/>
                  </a:cubicBezTo>
                  <a:close/>
                  <a:moveTo>
                    <a:pt x="916" y="273"/>
                  </a:moveTo>
                  <a:lnTo>
                    <a:pt x="916" y="273"/>
                  </a:lnTo>
                  <a:cubicBezTo>
                    <a:pt x="984" y="354"/>
                    <a:pt x="1065" y="461"/>
                    <a:pt x="1120" y="516"/>
                  </a:cubicBezTo>
                  <a:cubicBezTo>
                    <a:pt x="1039" y="448"/>
                    <a:pt x="916" y="341"/>
                    <a:pt x="877" y="312"/>
                  </a:cubicBezTo>
                  <a:lnTo>
                    <a:pt x="890" y="299"/>
                  </a:lnTo>
                  <a:cubicBezTo>
                    <a:pt x="903" y="312"/>
                    <a:pt x="945" y="325"/>
                    <a:pt x="958" y="354"/>
                  </a:cubicBezTo>
                  <a:cubicBezTo>
                    <a:pt x="960" y="356"/>
                    <a:pt x="961" y="356"/>
                    <a:pt x="961" y="356"/>
                  </a:cubicBezTo>
                  <a:cubicBezTo>
                    <a:pt x="964" y="356"/>
                    <a:pt x="941" y="318"/>
                    <a:pt x="916" y="273"/>
                  </a:cubicBezTo>
                  <a:close/>
                  <a:moveTo>
                    <a:pt x="767" y="299"/>
                  </a:moveTo>
                  <a:lnTo>
                    <a:pt x="767" y="299"/>
                  </a:lnTo>
                  <a:cubicBezTo>
                    <a:pt x="744" y="335"/>
                    <a:pt x="722" y="370"/>
                    <a:pt x="725" y="370"/>
                  </a:cubicBezTo>
                  <a:cubicBezTo>
                    <a:pt x="725" y="370"/>
                    <a:pt x="726" y="369"/>
                    <a:pt x="728" y="367"/>
                  </a:cubicBezTo>
                  <a:cubicBezTo>
                    <a:pt x="741" y="354"/>
                    <a:pt x="767" y="341"/>
                    <a:pt x="796" y="325"/>
                  </a:cubicBezTo>
                  <a:lnTo>
                    <a:pt x="796" y="325"/>
                  </a:lnTo>
                  <a:cubicBezTo>
                    <a:pt x="754" y="367"/>
                    <a:pt x="634" y="474"/>
                    <a:pt x="566" y="542"/>
                  </a:cubicBezTo>
                  <a:cubicBezTo>
                    <a:pt x="621" y="474"/>
                    <a:pt x="702" y="380"/>
                    <a:pt x="767" y="299"/>
                  </a:cubicBezTo>
                  <a:close/>
                  <a:moveTo>
                    <a:pt x="890" y="1"/>
                  </a:moveTo>
                  <a:cubicBezTo>
                    <a:pt x="890" y="1"/>
                    <a:pt x="349" y="273"/>
                    <a:pt x="430" y="273"/>
                  </a:cubicBezTo>
                  <a:cubicBezTo>
                    <a:pt x="443" y="260"/>
                    <a:pt x="472" y="260"/>
                    <a:pt x="485" y="260"/>
                  </a:cubicBezTo>
                  <a:cubicBezTo>
                    <a:pt x="385" y="308"/>
                    <a:pt x="212" y="407"/>
                    <a:pt x="234" y="407"/>
                  </a:cubicBezTo>
                  <a:cubicBezTo>
                    <a:pt x="236" y="407"/>
                    <a:pt x="238" y="407"/>
                    <a:pt x="242" y="406"/>
                  </a:cubicBezTo>
                  <a:cubicBezTo>
                    <a:pt x="323" y="406"/>
                    <a:pt x="391" y="367"/>
                    <a:pt x="391" y="367"/>
                  </a:cubicBezTo>
                  <a:lnTo>
                    <a:pt x="391" y="367"/>
                  </a:lnTo>
                  <a:cubicBezTo>
                    <a:pt x="391" y="367"/>
                    <a:pt x="99" y="556"/>
                    <a:pt x="131" y="556"/>
                  </a:cubicBezTo>
                  <a:cubicBezTo>
                    <a:pt x="132" y="556"/>
                    <a:pt x="133" y="555"/>
                    <a:pt x="135" y="555"/>
                  </a:cubicBezTo>
                  <a:cubicBezTo>
                    <a:pt x="187" y="542"/>
                    <a:pt x="566" y="273"/>
                    <a:pt x="566" y="273"/>
                  </a:cubicBezTo>
                  <a:lnTo>
                    <a:pt x="566" y="273"/>
                  </a:lnTo>
                  <a:cubicBezTo>
                    <a:pt x="566" y="273"/>
                    <a:pt x="447" y="412"/>
                    <a:pt x="489" y="412"/>
                  </a:cubicBezTo>
                  <a:cubicBezTo>
                    <a:pt x="494" y="412"/>
                    <a:pt x="501" y="410"/>
                    <a:pt x="511" y="406"/>
                  </a:cubicBezTo>
                  <a:cubicBezTo>
                    <a:pt x="540" y="380"/>
                    <a:pt x="579" y="354"/>
                    <a:pt x="621" y="312"/>
                  </a:cubicBezTo>
                  <a:lnTo>
                    <a:pt x="621" y="312"/>
                  </a:lnTo>
                  <a:cubicBezTo>
                    <a:pt x="592" y="341"/>
                    <a:pt x="579" y="367"/>
                    <a:pt x="566" y="380"/>
                  </a:cubicBezTo>
                  <a:cubicBezTo>
                    <a:pt x="430" y="461"/>
                    <a:pt x="242" y="597"/>
                    <a:pt x="310" y="597"/>
                  </a:cubicBezTo>
                  <a:cubicBezTo>
                    <a:pt x="366" y="573"/>
                    <a:pt x="430" y="525"/>
                    <a:pt x="459" y="500"/>
                  </a:cubicBezTo>
                  <a:lnTo>
                    <a:pt x="459" y="500"/>
                  </a:lnTo>
                  <a:cubicBezTo>
                    <a:pt x="376" y="582"/>
                    <a:pt x="0" y="948"/>
                    <a:pt x="22" y="948"/>
                  </a:cubicBezTo>
                  <a:cubicBezTo>
                    <a:pt x="22" y="948"/>
                    <a:pt x="23" y="948"/>
                    <a:pt x="25" y="947"/>
                  </a:cubicBezTo>
                  <a:cubicBezTo>
                    <a:pt x="93" y="908"/>
                    <a:pt x="459" y="568"/>
                    <a:pt x="459" y="568"/>
                  </a:cubicBezTo>
                  <a:lnTo>
                    <a:pt x="459" y="568"/>
                  </a:lnTo>
                  <a:cubicBezTo>
                    <a:pt x="459" y="568"/>
                    <a:pt x="306" y="802"/>
                    <a:pt x="317" y="802"/>
                  </a:cubicBezTo>
                  <a:cubicBezTo>
                    <a:pt x="318" y="802"/>
                    <a:pt x="320" y="801"/>
                    <a:pt x="323" y="798"/>
                  </a:cubicBezTo>
                  <a:cubicBezTo>
                    <a:pt x="349" y="772"/>
                    <a:pt x="483" y="612"/>
                    <a:pt x="523" y="531"/>
                  </a:cubicBezTo>
                  <a:lnTo>
                    <a:pt x="523" y="531"/>
                  </a:lnTo>
                  <a:cubicBezTo>
                    <a:pt x="511" y="557"/>
                    <a:pt x="511" y="597"/>
                    <a:pt x="511" y="597"/>
                  </a:cubicBezTo>
                  <a:cubicBezTo>
                    <a:pt x="566" y="597"/>
                    <a:pt x="660" y="503"/>
                    <a:pt x="660" y="503"/>
                  </a:cubicBezTo>
                  <a:lnTo>
                    <a:pt x="660" y="503"/>
                  </a:lnTo>
                  <a:cubicBezTo>
                    <a:pt x="660" y="503"/>
                    <a:pt x="385" y="975"/>
                    <a:pt x="412" y="975"/>
                  </a:cubicBezTo>
                  <a:cubicBezTo>
                    <a:pt x="413" y="975"/>
                    <a:pt x="415" y="975"/>
                    <a:pt x="417" y="973"/>
                  </a:cubicBezTo>
                  <a:cubicBezTo>
                    <a:pt x="459" y="947"/>
                    <a:pt x="524" y="840"/>
                    <a:pt x="579" y="772"/>
                  </a:cubicBezTo>
                  <a:lnTo>
                    <a:pt x="579" y="772"/>
                  </a:lnTo>
                  <a:cubicBezTo>
                    <a:pt x="491" y="924"/>
                    <a:pt x="283" y="1289"/>
                    <a:pt x="303" y="1289"/>
                  </a:cubicBezTo>
                  <a:cubicBezTo>
                    <a:pt x="304" y="1289"/>
                    <a:pt x="307" y="1287"/>
                    <a:pt x="310" y="1284"/>
                  </a:cubicBezTo>
                  <a:cubicBezTo>
                    <a:pt x="391" y="1203"/>
                    <a:pt x="741" y="555"/>
                    <a:pt x="741" y="555"/>
                  </a:cubicBezTo>
                  <a:lnTo>
                    <a:pt x="741" y="555"/>
                  </a:lnTo>
                  <a:cubicBezTo>
                    <a:pt x="741" y="555"/>
                    <a:pt x="659" y="733"/>
                    <a:pt x="669" y="733"/>
                  </a:cubicBezTo>
                  <a:cubicBezTo>
                    <a:pt x="670" y="733"/>
                    <a:pt x="671" y="732"/>
                    <a:pt x="673" y="730"/>
                  </a:cubicBezTo>
                  <a:cubicBezTo>
                    <a:pt x="701" y="718"/>
                    <a:pt x="775" y="582"/>
                    <a:pt x="827" y="500"/>
                  </a:cubicBezTo>
                  <a:lnTo>
                    <a:pt x="827" y="500"/>
                  </a:lnTo>
                  <a:cubicBezTo>
                    <a:pt x="822" y="510"/>
                    <a:pt x="822" y="520"/>
                    <a:pt x="822" y="529"/>
                  </a:cubicBezTo>
                  <a:cubicBezTo>
                    <a:pt x="835" y="503"/>
                    <a:pt x="835" y="474"/>
                    <a:pt x="848" y="461"/>
                  </a:cubicBezTo>
                  <a:cubicBezTo>
                    <a:pt x="848" y="461"/>
                    <a:pt x="848" y="461"/>
                    <a:pt x="848" y="461"/>
                  </a:cubicBezTo>
                  <a:lnTo>
                    <a:pt x="848" y="461"/>
                  </a:lnTo>
                  <a:cubicBezTo>
                    <a:pt x="848" y="474"/>
                    <a:pt x="864" y="487"/>
                    <a:pt x="864" y="503"/>
                  </a:cubicBezTo>
                  <a:cubicBezTo>
                    <a:pt x="864" y="499"/>
                    <a:pt x="864" y="494"/>
                    <a:pt x="864" y="490"/>
                  </a:cubicBezTo>
                  <a:lnTo>
                    <a:pt x="864" y="490"/>
                  </a:lnTo>
                  <a:cubicBezTo>
                    <a:pt x="910" y="574"/>
                    <a:pt x="985" y="694"/>
                    <a:pt x="997" y="717"/>
                  </a:cubicBezTo>
                  <a:cubicBezTo>
                    <a:pt x="998" y="717"/>
                    <a:pt x="1000" y="718"/>
                    <a:pt x="1001" y="718"/>
                  </a:cubicBezTo>
                  <a:cubicBezTo>
                    <a:pt x="1033" y="718"/>
                    <a:pt x="945" y="542"/>
                    <a:pt x="945" y="542"/>
                  </a:cubicBezTo>
                  <a:lnTo>
                    <a:pt x="945" y="542"/>
                  </a:lnTo>
                  <a:cubicBezTo>
                    <a:pt x="945" y="542"/>
                    <a:pt x="1295" y="1190"/>
                    <a:pt x="1376" y="1258"/>
                  </a:cubicBezTo>
                  <a:cubicBezTo>
                    <a:pt x="1379" y="1261"/>
                    <a:pt x="1382" y="1263"/>
                    <a:pt x="1383" y="1263"/>
                  </a:cubicBezTo>
                  <a:cubicBezTo>
                    <a:pt x="1403" y="1263"/>
                    <a:pt x="1195" y="898"/>
                    <a:pt x="1107" y="746"/>
                  </a:cubicBezTo>
                  <a:lnTo>
                    <a:pt x="1107" y="746"/>
                  </a:lnTo>
                  <a:cubicBezTo>
                    <a:pt x="1146" y="811"/>
                    <a:pt x="1214" y="921"/>
                    <a:pt x="1253" y="960"/>
                  </a:cubicBezTo>
                  <a:cubicBezTo>
                    <a:pt x="1255" y="962"/>
                    <a:pt x="1258" y="962"/>
                    <a:pt x="1259" y="962"/>
                  </a:cubicBezTo>
                  <a:cubicBezTo>
                    <a:pt x="1299" y="962"/>
                    <a:pt x="1026" y="474"/>
                    <a:pt x="1026" y="474"/>
                  </a:cubicBezTo>
                  <a:lnTo>
                    <a:pt x="1026" y="474"/>
                  </a:lnTo>
                  <a:cubicBezTo>
                    <a:pt x="1026" y="474"/>
                    <a:pt x="1120" y="568"/>
                    <a:pt x="1159" y="584"/>
                  </a:cubicBezTo>
                  <a:lnTo>
                    <a:pt x="1172" y="568"/>
                  </a:lnTo>
                  <a:cubicBezTo>
                    <a:pt x="1172" y="568"/>
                    <a:pt x="1159" y="542"/>
                    <a:pt x="1159" y="516"/>
                  </a:cubicBezTo>
                  <a:lnTo>
                    <a:pt x="1159" y="516"/>
                  </a:lnTo>
                  <a:cubicBezTo>
                    <a:pt x="1201" y="584"/>
                    <a:pt x="1334" y="759"/>
                    <a:pt x="1363" y="785"/>
                  </a:cubicBezTo>
                  <a:cubicBezTo>
                    <a:pt x="1365" y="786"/>
                    <a:pt x="1366" y="787"/>
                    <a:pt x="1367" y="787"/>
                  </a:cubicBezTo>
                  <a:cubicBezTo>
                    <a:pt x="1385" y="787"/>
                    <a:pt x="1227" y="555"/>
                    <a:pt x="1227" y="555"/>
                  </a:cubicBezTo>
                  <a:lnTo>
                    <a:pt x="1227" y="555"/>
                  </a:lnTo>
                  <a:cubicBezTo>
                    <a:pt x="1227" y="555"/>
                    <a:pt x="1593" y="892"/>
                    <a:pt x="1658" y="921"/>
                  </a:cubicBezTo>
                  <a:cubicBezTo>
                    <a:pt x="1659" y="922"/>
                    <a:pt x="1661" y="922"/>
                    <a:pt x="1661" y="922"/>
                  </a:cubicBezTo>
                  <a:cubicBezTo>
                    <a:pt x="1686" y="922"/>
                    <a:pt x="1252" y="515"/>
                    <a:pt x="1214" y="474"/>
                  </a:cubicBezTo>
                  <a:lnTo>
                    <a:pt x="1214" y="474"/>
                  </a:lnTo>
                  <a:cubicBezTo>
                    <a:pt x="1227" y="487"/>
                    <a:pt x="1308" y="555"/>
                    <a:pt x="1376" y="568"/>
                  </a:cubicBezTo>
                  <a:cubicBezTo>
                    <a:pt x="1379" y="569"/>
                    <a:pt x="1381" y="569"/>
                    <a:pt x="1383" y="569"/>
                  </a:cubicBezTo>
                  <a:cubicBezTo>
                    <a:pt x="1412" y="569"/>
                    <a:pt x="1246" y="444"/>
                    <a:pt x="1133" y="367"/>
                  </a:cubicBezTo>
                  <a:cubicBezTo>
                    <a:pt x="1120" y="354"/>
                    <a:pt x="1120" y="354"/>
                    <a:pt x="1120" y="341"/>
                  </a:cubicBezTo>
                  <a:lnTo>
                    <a:pt x="1120" y="341"/>
                  </a:lnTo>
                  <a:cubicBezTo>
                    <a:pt x="1133" y="354"/>
                    <a:pt x="1159" y="367"/>
                    <a:pt x="1172" y="380"/>
                  </a:cubicBezTo>
                  <a:cubicBezTo>
                    <a:pt x="1181" y="385"/>
                    <a:pt x="1188" y="387"/>
                    <a:pt x="1192" y="387"/>
                  </a:cubicBezTo>
                  <a:cubicBezTo>
                    <a:pt x="1224" y="387"/>
                    <a:pt x="1120" y="260"/>
                    <a:pt x="1120" y="260"/>
                  </a:cubicBezTo>
                  <a:lnTo>
                    <a:pt x="1120" y="260"/>
                  </a:lnTo>
                  <a:cubicBezTo>
                    <a:pt x="1120" y="260"/>
                    <a:pt x="1496" y="529"/>
                    <a:pt x="1551" y="542"/>
                  </a:cubicBezTo>
                  <a:cubicBezTo>
                    <a:pt x="1552" y="542"/>
                    <a:pt x="1553" y="543"/>
                    <a:pt x="1554" y="543"/>
                  </a:cubicBezTo>
                  <a:cubicBezTo>
                    <a:pt x="1575" y="543"/>
                    <a:pt x="1295" y="354"/>
                    <a:pt x="1295" y="354"/>
                  </a:cubicBezTo>
                  <a:lnTo>
                    <a:pt x="1295" y="354"/>
                  </a:lnTo>
                  <a:cubicBezTo>
                    <a:pt x="1295" y="354"/>
                    <a:pt x="1363" y="380"/>
                    <a:pt x="1444" y="393"/>
                  </a:cubicBezTo>
                  <a:cubicBezTo>
                    <a:pt x="1447" y="394"/>
                    <a:pt x="1449" y="394"/>
                    <a:pt x="1451" y="394"/>
                  </a:cubicBezTo>
                  <a:cubicBezTo>
                    <a:pt x="1474" y="394"/>
                    <a:pt x="1319" y="305"/>
                    <a:pt x="1217" y="241"/>
                  </a:cubicBezTo>
                  <a:lnTo>
                    <a:pt x="1217" y="241"/>
                  </a:lnTo>
                  <a:cubicBezTo>
                    <a:pt x="1226" y="244"/>
                    <a:pt x="1237" y="244"/>
                    <a:pt x="1253" y="244"/>
                  </a:cubicBezTo>
                  <a:cubicBezTo>
                    <a:pt x="1334" y="244"/>
                    <a:pt x="890" y="1"/>
                    <a:pt x="89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8" name="Google Shape;728;p27"/>
            <p:cNvSpPr/>
            <p:nvPr/>
          </p:nvSpPr>
          <p:spPr>
            <a:xfrm>
              <a:off x="7315720" y="4528536"/>
              <a:ext cx="3827" cy="13983"/>
            </a:xfrm>
            <a:custGeom>
              <a:avLst/>
              <a:gdLst/>
              <a:ahLst/>
              <a:cxnLst/>
              <a:rect l="l" t="t" r="r" b="b"/>
              <a:pathLst>
                <a:path w="26" h="95" extrusionOk="0">
                  <a:moveTo>
                    <a:pt x="0" y="0"/>
                  </a:moveTo>
                  <a:lnTo>
                    <a:pt x="0" y="0"/>
                  </a:lnTo>
                  <a:cubicBezTo>
                    <a:pt x="13" y="52"/>
                    <a:pt x="13" y="94"/>
                    <a:pt x="26" y="94"/>
                  </a:cubicBezTo>
                  <a:cubicBezTo>
                    <a:pt x="26" y="94"/>
                    <a:pt x="13" y="52"/>
                    <a:pt x="0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9" name="Google Shape;729;p27"/>
            <p:cNvSpPr/>
            <p:nvPr/>
          </p:nvSpPr>
          <p:spPr>
            <a:xfrm>
              <a:off x="7271711" y="4478346"/>
              <a:ext cx="95525" cy="177947"/>
            </a:xfrm>
            <a:custGeom>
              <a:avLst/>
              <a:gdLst/>
              <a:ahLst/>
              <a:cxnLst/>
              <a:rect l="l" t="t" r="r" b="b"/>
              <a:pathLst>
                <a:path w="649" h="1209" extrusionOk="0">
                  <a:moveTo>
                    <a:pt x="257" y="1"/>
                  </a:moveTo>
                  <a:lnTo>
                    <a:pt x="163" y="341"/>
                  </a:lnTo>
                  <a:lnTo>
                    <a:pt x="1" y="1041"/>
                  </a:lnTo>
                  <a:lnTo>
                    <a:pt x="231" y="448"/>
                  </a:lnTo>
                  <a:lnTo>
                    <a:pt x="231" y="448"/>
                  </a:lnTo>
                  <a:cubicBezTo>
                    <a:pt x="231" y="448"/>
                    <a:pt x="150" y="730"/>
                    <a:pt x="150" y="853"/>
                  </a:cubicBezTo>
                  <a:cubicBezTo>
                    <a:pt x="150" y="866"/>
                    <a:pt x="152" y="872"/>
                    <a:pt x="155" y="872"/>
                  </a:cubicBezTo>
                  <a:cubicBezTo>
                    <a:pt x="181" y="872"/>
                    <a:pt x="299" y="487"/>
                    <a:pt x="299" y="487"/>
                  </a:cubicBezTo>
                  <a:lnTo>
                    <a:pt x="299" y="487"/>
                  </a:lnTo>
                  <a:cubicBezTo>
                    <a:pt x="299" y="487"/>
                    <a:pt x="226" y="1209"/>
                    <a:pt x="241" y="1209"/>
                  </a:cubicBezTo>
                  <a:cubicBezTo>
                    <a:pt x="242" y="1209"/>
                    <a:pt x="243" y="1207"/>
                    <a:pt x="244" y="1203"/>
                  </a:cubicBezTo>
                  <a:cubicBezTo>
                    <a:pt x="257" y="1122"/>
                    <a:pt x="312" y="542"/>
                    <a:pt x="312" y="542"/>
                  </a:cubicBezTo>
                  <a:cubicBezTo>
                    <a:pt x="312" y="542"/>
                    <a:pt x="419" y="908"/>
                    <a:pt x="445" y="934"/>
                  </a:cubicBezTo>
                  <a:cubicBezTo>
                    <a:pt x="446" y="935"/>
                    <a:pt x="446" y="935"/>
                    <a:pt x="447" y="935"/>
                  </a:cubicBezTo>
                  <a:cubicBezTo>
                    <a:pt x="469" y="935"/>
                    <a:pt x="380" y="529"/>
                    <a:pt x="380" y="529"/>
                  </a:cubicBezTo>
                  <a:lnTo>
                    <a:pt x="380" y="529"/>
                  </a:lnTo>
                  <a:cubicBezTo>
                    <a:pt x="380" y="529"/>
                    <a:pt x="607" y="1028"/>
                    <a:pt x="623" y="1028"/>
                  </a:cubicBezTo>
                  <a:cubicBezTo>
                    <a:pt x="649" y="1028"/>
                    <a:pt x="257" y="1"/>
                    <a:pt x="257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0" name="Google Shape;730;p27"/>
            <p:cNvSpPr/>
            <p:nvPr/>
          </p:nvSpPr>
          <p:spPr>
            <a:xfrm>
              <a:off x="7282750" y="4375463"/>
              <a:ext cx="58728" cy="32675"/>
            </a:xfrm>
            <a:custGeom>
              <a:avLst/>
              <a:gdLst/>
              <a:ahLst/>
              <a:cxnLst/>
              <a:rect l="l" t="t" r="r" b="b"/>
              <a:pathLst>
                <a:path w="399" h="222" extrusionOk="0">
                  <a:moveTo>
                    <a:pt x="90" y="81"/>
                  </a:moveTo>
                  <a:cubicBezTo>
                    <a:pt x="89" y="81"/>
                    <a:pt x="89" y="81"/>
                    <a:pt x="88" y="81"/>
                  </a:cubicBezTo>
                  <a:cubicBezTo>
                    <a:pt x="87" y="82"/>
                    <a:pt x="87" y="82"/>
                    <a:pt x="87" y="82"/>
                  </a:cubicBezTo>
                  <a:cubicBezTo>
                    <a:pt x="88" y="82"/>
                    <a:pt x="89" y="82"/>
                    <a:pt x="90" y="81"/>
                  </a:cubicBezTo>
                  <a:close/>
                  <a:moveTo>
                    <a:pt x="208" y="0"/>
                  </a:moveTo>
                  <a:cubicBezTo>
                    <a:pt x="208" y="0"/>
                    <a:pt x="109" y="70"/>
                    <a:pt x="90" y="81"/>
                  </a:cubicBezTo>
                  <a:lnTo>
                    <a:pt x="90" y="81"/>
                  </a:lnTo>
                  <a:cubicBezTo>
                    <a:pt x="108" y="78"/>
                    <a:pt x="182" y="52"/>
                    <a:pt x="182" y="52"/>
                  </a:cubicBezTo>
                  <a:lnTo>
                    <a:pt x="182" y="52"/>
                  </a:lnTo>
                  <a:cubicBezTo>
                    <a:pt x="182" y="52"/>
                    <a:pt x="1" y="163"/>
                    <a:pt x="16" y="163"/>
                  </a:cubicBezTo>
                  <a:cubicBezTo>
                    <a:pt x="17" y="163"/>
                    <a:pt x="18" y="163"/>
                    <a:pt x="20" y="162"/>
                  </a:cubicBezTo>
                  <a:cubicBezTo>
                    <a:pt x="46" y="149"/>
                    <a:pt x="169" y="107"/>
                    <a:pt x="169" y="107"/>
                  </a:cubicBezTo>
                  <a:lnTo>
                    <a:pt x="169" y="107"/>
                  </a:lnTo>
                  <a:cubicBezTo>
                    <a:pt x="169" y="107"/>
                    <a:pt x="2" y="221"/>
                    <a:pt x="16" y="221"/>
                  </a:cubicBezTo>
                  <a:cubicBezTo>
                    <a:pt x="17" y="221"/>
                    <a:pt x="23" y="219"/>
                    <a:pt x="33" y="214"/>
                  </a:cubicBezTo>
                  <a:cubicBezTo>
                    <a:pt x="101" y="188"/>
                    <a:pt x="224" y="107"/>
                    <a:pt x="224" y="107"/>
                  </a:cubicBezTo>
                  <a:cubicBezTo>
                    <a:pt x="224" y="107"/>
                    <a:pt x="368" y="202"/>
                    <a:pt x="385" y="202"/>
                  </a:cubicBezTo>
                  <a:cubicBezTo>
                    <a:pt x="386" y="202"/>
                    <a:pt x="386" y="202"/>
                    <a:pt x="386" y="201"/>
                  </a:cubicBezTo>
                  <a:cubicBezTo>
                    <a:pt x="399" y="201"/>
                    <a:pt x="250" y="94"/>
                    <a:pt x="250" y="94"/>
                  </a:cubicBezTo>
                  <a:lnTo>
                    <a:pt x="250" y="94"/>
                  </a:lnTo>
                  <a:cubicBezTo>
                    <a:pt x="250" y="94"/>
                    <a:pt x="338" y="123"/>
                    <a:pt x="363" y="123"/>
                  </a:cubicBezTo>
                  <a:cubicBezTo>
                    <a:pt x="367" y="123"/>
                    <a:pt x="370" y="122"/>
                    <a:pt x="370" y="120"/>
                  </a:cubicBezTo>
                  <a:cubicBezTo>
                    <a:pt x="370" y="110"/>
                    <a:pt x="314" y="92"/>
                    <a:pt x="288" y="85"/>
                  </a:cubicBezTo>
                  <a:lnTo>
                    <a:pt x="288" y="85"/>
                  </a:lnTo>
                  <a:cubicBezTo>
                    <a:pt x="301" y="88"/>
                    <a:pt x="321" y="93"/>
                    <a:pt x="336" y="93"/>
                  </a:cubicBezTo>
                  <a:cubicBezTo>
                    <a:pt x="348" y="93"/>
                    <a:pt x="357" y="90"/>
                    <a:pt x="357" y="81"/>
                  </a:cubicBezTo>
                  <a:cubicBezTo>
                    <a:pt x="344" y="68"/>
                    <a:pt x="208" y="0"/>
                    <a:pt x="2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1" name="Google Shape;731;p27"/>
            <p:cNvSpPr/>
            <p:nvPr/>
          </p:nvSpPr>
          <p:spPr>
            <a:xfrm>
              <a:off x="7104800" y="4668214"/>
              <a:ext cx="815419" cy="33264"/>
            </a:xfrm>
            <a:custGeom>
              <a:avLst/>
              <a:gdLst/>
              <a:ahLst/>
              <a:cxnLst/>
              <a:rect l="l" t="t" r="r" b="b"/>
              <a:pathLst>
                <a:path w="5540" h="226" extrusionOk="0">
                  <a:moveTo>
                    <a:pt x="4403" y="0"/>
                  </a:moveTo>
                  <a:cubicBezTo>
                    <a:pt x="3103" y="0"/>
                    <a:pt x="1148" y="36"/>
                    <a:pt x="1148" y="36"/>
                  </a:cubicBezTo>
                  <a:cubicBezTo>
                    <a:pt x="1148" y="36"/>
                    <a:pt x="1" y="88"/>
                    <a:pt x="69" y="130"/>
                  </a:cubicBezTo>
                  <a:cubicBezTo>
                    <a:pt x="92" y="143"/>
                    <a:pt x="212" y="147"/>
                    <a:pt x="361" y="147"/>
                  </a:cubicBezTo>
                  <a:cubicBezTo>
                    <a:pt x="644" y="147"/>
                    <a:pt x="1033" y="132"/>
                    <a:pt x="1076" y="130"/>
                  </a:cubicBezTo>
                  <a:lnTo>
                    <a:pt x="1076" y="130"/>
                  </a:lnTo>
                  <a:cubicBezTo>
                    <a:pt x="1037" y="132"/>
                    <a:pt x="734" y="146"/>
                    <a:pt x="798" y="198"/>
                  </a:cubicBezTo>
                  <a:cubicBezTo>
                    <a:pt x="822" y="218"/>
                    <a:pt x="1237" y="225"/>
                    <a:pt x="1809" y="225"/>
                  </a:cubicBezTo>
                  <a:cubicBezTo>
                    <a:pt x="3172" y="225"/>
                    <a:pt x="5428" y="185"/>
                    <a:pt x="5428" y="185"/>
                  </a:cubicBezTo>
                  <a:cubicBezTo>
                    <a:pt x="5428" y="185"/>
                    <a:pt x="4592" y="117"/>
                    <a:pt x="4754" y="88"/>
                  </a:cubicBezTo>
                  <a:cubicBezTo>
                    <a:pt x="4784" y="83"/>
                    <a:pt x="4828" y="82"/>
                    <a:pt x="4881" y="82"/>
                  </a:cubicBezTo>
                  <a:cubicBezTo>
                    <a:pt x="4986" y="82"/>
                    <a:pt x="5124" y="88"/>
                    <a:pt x="5246" y="88"/>
                  </a:cubicBezTo>
                  <a:cubicBezTo>
                    <a:pt x="5397" y="88"/>
                    <a:pt x="5523" y="78"/>
                    <a:pt x="5535" y="36"/>
                  </a:cubicBezTo>
                  <a:cubicBezTo>
                    <a:pt x="5539" y="9"/>
                    <a:pt x="5053" y="0"/>
                    <a:pt x="4403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2" name="Google Shape;732;p27"/>
            <p:cNvSpPr/>
            <p:nvPr/>
          </p:nvSpPr>
          <p:spPr>
            <a:xfrm>
              <a:off x="7178247" y="4544137"/>
              <a:ext cx="107447" cy="137029"/>
            </a:xfrm>
            <a:custGeom>
              <a:avLst/>
              <a:gdLst/>
              <a:ahLst/>
              <a:cxnLst/>
              <a:rect l="l" t="t" r="r" b="b"/>
              <a:pathLst>
                <a:path w="730" h="931" extrusionOk="0">
                  <a:moveTo>
                    <a:pt x="270" y="1"/>
                  </a:moveTo>
                  <a:cubicBezTo>
                    <a:pt x="270" y="1"/>
                    <a:pt x="56" y="137"/>
                    <a:pt x="1" y="432"/>
                  </a:cubicBezTo>
                  <a:lnTo>
                    <a:pt x="1" y="931"/>
                  </a:lnTo>
                  <a:lnTo>
                    <a:pt x="730" y="931"/>
                  </a:lnTo>
                  <a:lnTo>
                    <a:pt x="730" y="351"/>
                  </a:lnTo>
                  <a:cubicBezTo>
                    <a:pt x="662" y="244"/>
                    <a:pt x="474" y="1"/>
                    <a:pt x="270" y="1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3" name="Google Shape;733;p27"/>
            <p:cNvSpPr/>
            <p:nvPr/>
          </p:nvSpPr>
          <p:spPr>
            <a:xfrm>
              <a:off x="7285547" y="4595652"/>
              <a:ext cx="3974" cy="85514"/>
            </a:xfrm>
            <a:custGeom>
              <a:avLst/>
              <a:gdLst/>
              <a:ahLst/>
              <a:cxnLst/>
              <a:rect l="l" t="t" r="r" b="b"/>
              <a:pathLst>
                <a:path w="27" h="581" extrusionOk="0">
                  <a:moveTo>
                    <a:pt x="1" y="1"/>
                  </a:moveTo>
                  <a:lnTo>
                    <a:pt x="1" y="581"/>
                  </a:lnTo>
                  <a:lnTo>
                    <a:pt x="27" y="581"/>
                  </a:lnTo>
                  <a:lnTo>
                    <a:pt x="27" y="43"/>
                  </a:lnTo>
                  <a:cubicBezTo>
                    <a:pt x="27" y="43"/>
                    <a:pt x="27" y="30"/>
                    <a:pt x="1" y="1"/>
                  </a:cubicBezTo>
                  <a:close/>
                </a:path>
              </a:pathLst>
            </a:custGeom>
            <a:solidFill>
              <a:srgbClr val="C5C6C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4" name="Google Shape;734;p27"/>
            <p:cNvSpPr/>
            <p:nvPr/>
          </p:nvSpPr>
          <p:spPr>
            <a:xfrm>
              <a:off x="7289373" y="4578137"/>
              <a:ext cx="139387" cy="103029"/>
            </a:xfrm>
            <a:custGeom>
              <a:avLst/>
              <a:gdLst/>
              <a:ahLst/>
              <a:cxnLst/>
              <a:rect l="l" t="t" r="r" b="b"/>
              <a:pathLst>
                <a:path w="947" h="700" extrusionOk="0">
                  <a:moveTo>
                    <a:pt x="380" y="0"/>
                  </a:moveTo>
                  <a:lnTo>
                    <a:pt x="1" y="133"/>
                  </a:lnTo>
                  <a:lnTo>
                    <a:pt x="1" y="700"/>
                  </a:lnTo>
                  <a:lnTo>
                    <a:pt x="947" y="700"/>
                  </a:lnTo>
                  <a:lnTo>
                    <a:pt x="947" y="201"/>
                  </a:lnTo>
                  <a:lnTo>
                    <a:pt x="380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5" name="Google Shape;735;p27"/>
            <p:cNvSpPr/>
            <p:nvPr/>
          </p:nvSpPr>
          <p:spPr>
            <a:xfrm>
              <a:off x="7178247" y="4540458"/>
              <a:ext cx="254340" cy="67264"/>
            </a:xfrm>
            <a:custGeom>
              <a:avLst/>
              <a:gdLst/>
              <a:ahLst/>
              <a:cxnLst/>
              <a:rect l="l" t="t" r="r" b="b"/>
              <a:pathLst>
                <a:path w="1728" h="457" extrusionOk="0">
                  <a:moveTo>
                    <a:pt x="312" y="0"/>
                  </a:moveTo>
                  <a:cubicBezTo>
                    <a:pt x="312" y="0"/>
                    <a:pt x="56" y="120"/>
                    <a:pt x="1" y="457"/>
                  </a:cubicBezTo>
                  <a:cubicBezTo>
                    <a:pt x="1" y="457"/>
                    <a:pt x="108" y="81"/>
                    <a:pt x="312" y="39"/>
                  </a:cubicBezTo>
                  <a:cubicBezTo>
                    <a:pt x="312" y="39"/>
                    <a:pt x="380" y="39"/>
                    <a:pt x="461" y="94"/>
                  </a:cubicBezTo>
                  <a:cubicBezTo>
                    <a:pt x="513" y="120"/>
                    <a:pt x="581" y="175"/>
                    <a:pt x="623" y="256"/>
                  </a:cubicBezTo>
                  <a:cubicBezTo>
                    <a:pt x="662" y="308"/>
                    <a:pt x="691" y="376"/>
                    <a:pt x="704" y="457"/>
                  </a:cubicBezTo>
                  <a:lnTo>
                    <a:pt x="1728" y="457"/>
                  </a:lnTo>
                  <a:cubicBezTo>
                    <a:pt x="1728" y="457"/>
                    <a:pt x="1728" y="363"/>
                    <a:pt x="1676" y="256"/>
                  </a:cubicBezTo>
                  <a:cubicBezTo>
                    <a:pt x="1663" y="201"/>
                    <a:pt x="1621" y="146"/>
                    <a:pt x="1566" y="107"/>
                  </a:cubicBezTo>
                  <a:cubicBezTo>
                    <a:pt x="1540" y="65"/>
                    <a:pt x="1485" y="39"/>
                    <a:pt x="1433" y="26"/>
                  </a:cubicBezTo>
                  <a:lnTo>
                    <a:pt x="312" y="0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6" name="Google Shape;736;p27"/>
            <p:cNvSpPr/>
            <p:nvPr/>
          </p:nvSpPr>
          <p:spPr>
            <a:xfrm>
              <a:off x="7200178" y="4637747"/>
              <a:ext cx="51663" cy="43420"/>
            </a:xfrm>
            <a:custGeom>
              <a:avLst/>
              <a:gdLst/>
              <a:ahLst/>
              <a:cxnLst/>
              <a:rect l="l" t="t" r="r" b="b"/>
              <a:pathLst>
                <a:path w="351" h="295" extrusionOk="0">
                  <a:moveTo>
                    <a:pt x="1" y="0"/>
                  </a:moveTo>
                  <a:lnTo>
                    <a:pt x="1" y="295"/>
                  </a:lnTo>
                  <a:lnTo>
                    <a:pt x="351" y="295"/>
                  </a:lnTo>
                  <a:lnTo>
                    <a:pt x="351" y="0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7" name="Google Shape;737;p27"/>
            <p:cNvSpPr/>
            <p:nvPr/>
          </p:nvSpPr>
          <p:spPr>
            <a:xfrm>
              <a:off x="7222256" y="4637747"/>
              <a:ext cx="1913" cy="43420"/>
            </a:xfrm>
            <a:custGeom>
              <a:avLst/>
              <a:gdLst/>
              <a:ahLst/>
              <a:cxnLst/>
              <a:rect l="l" t="t" r="r" b="b"/>
              <a:pathLst>
                <a:path w="13" h="295" extrusionOk="0">
                  <a:moveTo>
                    <a:pt x="0" y="0"/>
                  </a:moveTo>
                  <a:lnTo>
                    <a:pt x="0" y="295"/>
                  </a:lnTo>
                  <a:lnTo>
                    <a:pt x="13" y="295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8" name="Google Shape;738;p27"/>
            <p:cNvSpPr/>
            <p:nvPr/>
          </p:nvSpPr>
          <p:spPr>
            <a:xfrm>
              <a:off x="7379011" y="4414909"/>
              <a:ext cx="208565" cy="266258"/>
            </a:xfrm>
            <a:custGeom>
              <a:avLst/>
              <a:gdLst/>
              <a:ahLst/>
              <a:cxnLst/>
              <a:rect l="l" t="t" r="r" b="b"/>
              <a:pathLst>
                <a:path w="1417" h="1809" extrusionOk="0">
                  <a:moveTo>
                    <a:pt x="528" y="1"/>
                  </a:moveTo>
                  <a:cubicBezTo>
                    <a:pt x="523" y="1"/>
                    <a:pt x="518" y="1"/>
                    <a:pt x="513" y="1"/>
                  </a:cubicBezTo>
                  <a:cubicBezTo>
                    <a:pt x="513" y="1"/>
                    <a:pt x="95" y="270"/>
                    <a:pt x="1" y="853"/>
                  </a:cubicBezTo>
                  <a:lnTo>
                    <a:pt x="1" y="1809"/>
                  </a:lnTo>
                  <a:lnTo>
                    <a:pt x="1417" y="1809"/>
                  </a:lnTo>
                  <a:lnTo>
                    <a:pt x="1417" y="691"/>
                  </a:lnTo>
                  <a:cubicBezTo>
                    <a:pt x="1286" y="490"/>
                    <a:pt x="915" y="1"/>
                    <a:pt x="528" y="1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9" name="Google Shape;739;p27"/>
            <p:cNvSpPr/>
            <p:nvPr/>
          </p:nvSpPr>
          <p:spPr>
            <a:xfrm>
              <a:off x="7587428" y="4516614"/>
              <a:ext cx="8243" cy="164553"/>
            </a:xfrm>
            <a:custGeom>
              <a:avLst/>
              <a:gdLst/>
              <a:ahLst/>
              <a:cxnLst/>
              <a:rect l="l" t="t" r="r" b="b"/>
              <a:pathLst>
                <a:path w="56" h="1118" extrusionOk="0">
                  <a:moveTo>
                    <a:pt x="1" y="0"/>
                  </a:moveTo>
                  <a:lnTo>
                    <a:pt x="1" y="1118"/>
                  </a:lnTo>
                  <a:lnTo>
                    <a:pt x="56" y="1118"/>
                  </a:lnTo>
                  <a:lnTo>
                    <a:pt x="56" y="65"/>
                  </a:lnTo>
                  <a:cubicBezTo>
                    <a:pt x="56" y="65"/>
                    <a:pt x="43" y="39"/>
                    <a:pt x="1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0" name="Google Shape;740;p27"/>
            <p:cNvSpPr/>
            <p:nvPr/>
          </p:nvSpPr>
          <p:spPr>
            <a:xfrm>
              <a:off x="7595523" y="4480848"/>
              <a:ext cx="268764" cy="200319"/>
            </a:xfrm>
            <a:custGeom>
              <a:avLst/>
              <a:gdLst/>
              <a:ahLst/>
              <a:cxnLst/>
              <a:rect l="l" t="t" r="r" b="b"/>
              <a:pathLst>
                <a:path w="1826" h="1361" extrusionOk="0">
                  <a:moveTo>
                    <a:pt x="743" y="0"/>
                  </a:moveTo>
                  <a:lnTo>
                    <a:pt x="1" y="282"/>
                  </a:lnTo>
                  <a:lnTo>
                    <a:pt x="1" y="1361"/>
                  </a:lnTo>
                  <a:lnTo>
                    <a:pt x="1825" y="1361"/>
                  </a:lnTo>
                  <a:lnTo>
                    <a:pt x="1825" y="405"/>
                  </a:lnTo>
                  <a:lnTo>
                    <a:pt x="743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1" name="Google Shape;741;p27"/>
            <p:cNvSpPr/>
            <p:nvPr/>
          </p:nvSpPr>
          <p:spPr>
            <a:xfrm>
              <a:off x="7375331" y="4406814"/>
              <a:ext cx="498377" cy="133791"/>
            </a:xfrm>
            <a:custGeom>
              <a:avLst/>
              <a:gdLst/>
              <a:ahLst/>
              <a:cxnLst/>
              <a:rect l="l" t="t" r="r" b="b"/>
              <a:pathLst>
                <a:path w="3386" h="909" extrusionOk="0">
                  <a:moveTo>
                    <a:pt x="606" y="1"/>
                  </a:moveTo>
                  <a:cubicBezTo>
                    <a:pt x="606" y="1"/>
                    <a:pt x="133" y="244"/>
                    <a:pt x="0" y="908"/>
                  </a:cubicBezTo>
                  <a:lnTo>
                    <a:pt x="26" y="908"/>
                  </a:lnTo>
                  <a:cubicBezTo>
                    <a:pt x="26" y="908"/>
                    <a:pt x="214" y="163"/>
                    <a:pt x="606" y="82"/>
                  </a:cubicBezTo>
                  <a:cubicBezTo>
                    <a:pt x="606" y="82"/>
                    <a:pt x="742" y="82"/>
                    <a:pt x="917" y="179"/>
                  </a:cubicBezTo>
                  <a:cubicBezTo>
                    <a:pt x="1024" y="244"/>
                    <a:pt x="1134" y="341"/>
                    <a:pt x="1228" y="503"/>
                  </a:cubicBezTo>
                  <a:cubicBezTo>
                    <a:pt x="1296" y="610"/>
                    <a:pt x="1348" y="746"/>
                    <a:pt x="1390" y="908"/>
                  </a:cubicBezTo>
                  <a:lnTo>
                    <a:pt x="3373" y="908"/>
                  </a:lnTo>
                  <a:cubicBezTo>
                    <a:pt x="3373" y="908"/>
                    <a:pt x="3386" y="717"/>
                    <a:pt x="3292" y="516"/>
                  </a:cubicBezTo>
                  <a:cubicBezTo>
                    <a:pt x="3240" y="406"/>
                    <a:pt x="3172" y="312"/>
                    <a:pt x="3078" y="218"/>
                  </a:cubicBezTo>
                  <a:cubicBezTo>
                    <a:pt x="3010" y="150"/>
                    <a:pt x="2916" y="98"/>
                    <a:pt x="2819" y="56"/>
                  </a:cubicBezTo>
                  <a:lnTo>
                    <a:pt x="606" y="1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2" name="Google Shape;742;p27"/>
            <p:cNvSpPr/>
            <p:nvPr/>
          </p:nvSpPr>
          <p:spPr>
            <a:xfrm>
              <a:off x="7418604" y="4597565"/>
              <a:ext cx="101707" cy="83601"/>
            </a:xfrm>
            <a:custGeom>
              <a:avLst/>
              <a:gdLst/>
              <a:ahLst/>
              <a:cxnLst/>
              <a:rect l="l" t="t" r="r" b="b"/>
              <a:pathLst>
                <a:path w="691" h="568" extrusionOk="0">
                  <a:moveTo>
                    <a:pt x="1" y="1"/>
                  </a:moveTo>
                  <a:lnTo>
                    <a:pt x="1" y="568"/>
                  </a:lnTo>
                  <a:lnTo>
                    <a:pt x="691" y="568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3" name="Google Shape;743;p27"/>
            <p:cNvSpPr/>
            <p:nvPr/>
          </p:nvSpPr>
          <p:spPr>
            <a:xfrm>
              <a:off x="7464379" y="4597565"/>
              <a:ext cx="2061" cy="83601"/>
            </a:xfrm>
            <a:custGeom>
              <a:avLst/>
              <a:gdLst/>
              <a:ahLst/>
              <a:cxnLst/>
              <a:rect l="l" t="t" r="r" b="b"/>
              <a:pathLst>
                <a:path w="14" h="568" extrusionOk="0">
                  <a:moveTo>
                    <a:pt x="1" y="1"/>
                  </a:moveTo>
                  <a:lnTo>
                    <a:pt x="1" y="568"/>
                  </a:lnTo>
                  <a:lnTo>
                    <a:pt x="14" y="568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4" name="Google Shape;744;p27"/>
            <p:cNvSpPr/>
            <p:nvPr/>
          </p:nvSpPr>
          <p:spPr>
            <a:xfrm>
              <a:off x="7828374" y="4559886"/>
              <a:ext cx="133057" cy="159549"/>
            </a:xfrm>
            <a:custGeom>
              <a:avLst/>
              <a:gdLst/>
              <a:ahLst/>
              <a:cxnLst/>
              <a:rect l="l" t="t" r="r" b="b"/>
              <a:pathLst>
                <a:path w="904" h="1084" extrusionOk="0">
                  <a:moveTo>
                    <a:pt x="862" y="338"/>
                  </a:moveTo>
                  <a:cubicBezTo>
                    <a:pt x="836" y="338"/>
                    <a:pt x="810" y="367"/>
                    <a:pt x="810" y="393"/>
                  </a:cubicBezTo>
                  <a:cubicBezTo>
                    <a:pt x="810" y="406"/>
                    <a:pt x="823" y="419"/>
                    <a:pt x="836" y="435"/>
                  </a:cubicBezTo>
                  <a:lnTo>
                    <a:pt x="862" y="435"/>
                  </a:lnTo>
                  <a:cubicBezTo>
                    <a:pt x="891" y="435"/>
                    <a:pt x="904" y="419"/>
                    <a:pt x="904" y="393"/>
                  </a:cubicBezTo>
                  <a:cubicBezTo>
                    <a:pt x="904" y="367"/>
                    <a:pt x="891" y="338"/>
                    <a:pt x="862" y="338"/>
                  </a:cubicBezTo>
                  <a:close/>
                  <a:moveTo>
                    <a:pt x="486" y="1"/>
                  </a:moveTo>
                  <a:cubicBezTo>
                    <a:pt x="350" y="1"/>
                    <a:pt x="227" y="124"/>
                    <a:pt x="227" y="273"/>
                  </a:cubicBezTo>
                  <a:cubicBezTo>
                    <a:pt x="227" y="406"/>
                    <a:pt x="324" y="516"/>
                    <a:pt x="457" y="529"/>
                  </a:cubicBezTo>
                  <a:lnTo>
                    <a:pt x="457" y="678"/>
                  </a:lnTo>
                  <a:lnTo>
                    <a:pt x="405" y="623"/>
                  </a:lnTo>
                  <a:lnTo>
                    <a:pt x="405" y="568"/>
                  </a:lnTo>
                  <a:lnTo>
                    <a:pt x="389" y="568"/>
                  </a:lnTo>
                  <a:lnTo>
                    <a:pt x="389" y="662"/>
                  </a:lnTo>
                  <a:lnTo>
                    <a:pt x="282" y="555"/>
                  </a:lnTo>
                  <a:lnTo>
                    <a:pt x="282" y="529"/>
                  </a:lnTo>
                  <a:cubicBezTo>
                    <a:pt x="282" y="461"/>
                    <a:pt x="243" y="419"/>
                    <a:pt x="188" y="419"/>
                  </a:cubicBezTo>
                  <a:cubicBezTo>
                    <a:pt x="146" y="419"/>
                    <a:pt x="107" y="448"/>
                    <a:pt x="94" y="474"/>
                  </a:cubicBezTo>
                  <a:lnTo>
                    <a:pt x="65" y="474"/>
                  </a:lnTo>
                  <a:cubicBezTo>
                    <a:pt x="26" y="474"/>
                    <a:pt x="0" y="500"/>
                    <a:pt x="0" y="542"/>
                  </a:cubicBezTo>
                  <a:cubicBezTo>
                    <a:pt x="0" y="581"/>
                    <a:pt x="26" y="623"/>
                    <a:pt x="65" y="623"/>
                  </a:cubicBezTo>
                  <a:cubicBezTo>
                    <a:pt x="94" y="623"/>
                    <a:pt x="107" y="610"/>
                    <a:pt x="120" y="597"/>
                  </a:cubicBezTo>
                  <a:cubicBezTo>
                    <a:pt x="133" y="610"/>
                    <a:pt x="162" y="623"/>
                    <a:pt x="188" y="623"/>
                  </a:cubicBezTo>
                  <a:cubicBezTo>
                    <a:pt x="214" y="623"/>
                    <a:pt x="243" y="610"/>
                    <a:pt x="269" y="581"/>
                  </a:cubicBezTo>
                  <a:lnTo>
                    <a:pt x="457" y="730"/>
                  </a:lnTo>
                  <a:lnTo>
                    <a:pt x="457" y="1083"/>
                  </a:lnTo>
                  <a:lnTo>
                    <a:pt x="525" y="1083"/>
                  </a:lnTo>
                  <a:lnTo>
                    <a:pt x="525" y="691"/>
                  </a:lnTo>
                  <a:lnTo>
                    <a:pt x="567" y="678"/>
                  </a:lnTo>
                  <a:lnTo>
                    <a:pt x="606" y="691"/>
                  </a:lnTo>
                  <a:lnTo>
                    <a:pt x="619" y="678"/>
                  </a:lnTo>
                  <a:lnTo>
                    <a:pt x="593" y="662"/>
                  </a:lnTo>
                  <a:lnTo>
                    <a:pt x="742" y="581"/>
                  </a:lnTo>
                  <a:cubicBezTo>
                    <a:pt x="755" y="610"/>
                    <a:pt x="781" y="623"/>
                    <a:pt x="810" y="623"/>
                  </a:cubicBezTo>
                  <a:cubicBezTo>
                    <a:pt x="862" y="623"/>
                    <a:pt x="904" y="581"/>
                    <a:pt x="904" y="529"/>
                  </a:cubicBezTo>
                  <a:cubicBezTo>
                    <a:pt x="904" y="487"/>
                    <a:pt x="875" y="448"/>
                    <a:pt x="836" y="435"/>
                  </a:cubicBezTo>
                  <a:lnTo>
                    <a:pt x="810" y="435"/>
                  </a:lnTo>
                  <a:cubicBezTo>
                    <a:pt x="768" y="435"/>
                    <a:pt x="729" y="474"/>
                    <a:pt x="729" y="529"/>
                  </a:cubicBezTo>
                  <a:lnTo>
                    <a:pt x="729" y="555"/>
                  </a:lnTo>
                  <a:lnTo>
                    <a:pt x="619" y="610"/>
                  </a:lnTo>
                  <a:lnTo>
                    <a:pt x="632" y="542"/>
                  </a:lnTo>
                  <a:lnTo>
                    <a:pt x="606" y="542"/>
                  </a:lnTo>
                  <a:lnTo>
                    <a:pt x="606" y="610"/>
                  </a:lnTo>
                  <a:lnTo>
                    <a:pt x="525" y="636"/>
                  </a:lnTo>
                  <a:lnTo>
                    <a:pt x="525" y="529"/>
                  </a:lnTo>
                  <a:cubicBezTo>
                    <a:pt x="661" y="500"/>
                    <a:pt x="755" y="393"/>
                    <a:pt x="755" y="273"/>
                  </a:cubicBezTo>
                  <a:cubicBezTo>
                    <a:pt x="755" y="124"/>
                    <a:pt x="632" y="1"/>
                    <a:pt x="48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5" name="Google Shape;745;p27"/>
            <p:cNvSpPr/>
            <p:nvPr/>
          </p:nvSpPr>
          <p:spPr>
            <a:xfrm>
              <a:off x="5379910" y="4673513"/>
              <a:ext cx="1665427" cy="22078"/>
            </a:xfrm>
            <a:custGeom>
              <a:avLst/>
              <a:gdLst/>
              <a:ahLst/>
              <a:cxnLst/>
              <a:rect l="l" t="t" r="r" b="b"/>
              <a:pathLst>
                <a:path w="11315" h="150" extrusionOk="0">
                  <a:moveTo>
                    <a:pt x="892" y="0"/>
                  </a:moveTo>
                  <a:lnTo>
                    <a:pt x="1" y="149"/>
                  </a:lnTo>
                  <a:lnTo>
                    <a:pt x="10787" y="149"/>
                  </a:lnTo>
                  <a:lnTo>
                    <a:pt x="1131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6" name="Google Shape;746;p27"/>
            <p:cNvSpPr/>
            <p:nvPr/>
          </p:nvSpPr>
          <p:spPr>
            <a:xfrm>
              <a:off x="5536812" y="4639513"/>
              <a:ext cx="1600222" cy="22225"/>
            </a:xfrm>
            <a:custGeom>
              <a:avLst/>
              <a:gdLst/>
              <a:ahLst/>
              <a:cxnLst/>
              <a:rect l="l" t="t" r="r" b="b"/>
              <a:pathLst>
                <a:path w="10872" h="151" extrusionOk="0">
                  <a:moveTo>
                    <a:pt x="908" y="1"/>
                  </a:moveTo>
                  <a:lnTo>
                    <a:pt x="1" y="150"/>
                  </a:lnTo>
                  <a:lnTo>
                    <a:pt x="10343" y="150"/>
                  </a:lnTo>
                  <a:lnTo>
                    <a:pt x="10871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7" name="Google Shape;747;p27"/>
            <p:cNvSpPr/>
            <p:nvPr/>
          </p:nvSpPr>
          <p:spPr>
            <a:xfrm>
              <a:off x="7581688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8" name="Google Shape;748;p27"/>
            <p:cNvSpPr/>
            <p:nvPr/>
          </p:nvSpPr>
          <p:spPr>
            <a:xfrm>
              <a:off x="7571679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9" name="Google Shape;749;p27"/>
            <p:cNvSpPr/>
            <p:nvPr/>
          </p:nvSpPr>
          <p:spPr>
            <a:xfrm>
              <a:off x="7561670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0" name="Google Shape;750;p27"/>
            <p:cNvSpPr/>
            <p:nvPr/>
          </p:nvSpPr>
          <p:spPr>
            <a:xfrm>
              <a:off x="7551662" y="4685435"/>
              <a:ext cx="4416" cy="17662"/>
            </a:xfrm>
            <a:custGeom>
              <a:avLst/>
              <a:gdLst/>
              <a:ahLst/>
              <a:cxnLst/>
              <a:rect l="l" t="t" r="r" b="b"/>
              <a:pathLst>
                <a:path w="30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1" name="Google Shape;751;p27"/>
            <p:cNvSpPr/>
            <p:nvPr/>
          </p:nvSpPr>
          <p:spPr>
            <a:xfrm>
              <a:off x="7542242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2" name="Google Shape;752;p27"/>
            <p:cNvSpPr/>
            <p:nvPr/>
          </p:nvSpPr>
          <p:spPr>
            <a:xfrm>
              <a:off x="7533999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3" name="Google Shape;753;p27"/>
            <p:cNvSpPr/>
            <p:nvPr/>
          </p:nvSpPr>
          <p:spPr>
            <a:xfrm>
              <a:off x="7523990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4" name="Google Shape;754;p27"/>
            <p:cNvSpPr/>
            <p:nvPr/>
          </p:nvSpPr>
          <p:spPr>
            <a:xfrm>
              <a:off x="7513982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5" name="Google Shape;755;p27"/>
            <p:cNvSpPr/>
            <p:nvPr/>
          </p:nvSpPr>
          <p:spPr>
            <a:xfrm>
              <a:off x="7503973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6" name="Google Shape;756;p27"/>
            <p:cNvSpPr/>
            <p:nvPr/>
          </p:nvSpPr>
          <p:spPr>
            <a:xfrm>
              <a:off x="7494553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7" name="Google Shape;757;p27"/>
            <p:cNvSpPr/>
            <p:nvPr/>
          </p:nvSpPr>
          <p:spPr>
            <a:xfrm>
              <a:off x="7484544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8" name="Google Shape;758;p27"/>
            <p:cNvSpPr/>
            <p:nvPr/>
          </p:nvSpPr>
          <p:spPr>
            <a:xfrm>
              <a:off x="7474388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9" name="Google Shape;759;p27"/>
            <p:cNvSpPr/>
            <p:nvPr/>
          </p:nvSpPr>
          <p:spPr>
            <a:xfrm>
              <a:off x="7464379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0" name="Google Shape;760;p27"/>
            <p:cNvSpPr/>
            <p:nvPr/>
          </p:nvSpPr>
          <p:spPr>
            <a:xfrm>
              <a:off x="7454371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1" name="Google Shape;761;p27"/>
            <p:cNvSpPr/>
            <p:nvPr/>
          </p:nvSpPr>
          <p:spPr>
            <a:xfrm>
              <a:off x="7444362" y="4685435"/>
              <a:ext cx="4416" cy="17662"/>
            </a:xfrm>
            <a:custGeom>
              <a:avLst/>
              <a:gdLst/>
              <a:ahLst/>
              <a:cxnLst/>
              <a:rect l="l" t="t" r="r" b="b"/>
              <a:pathLst>
                <a:path w="30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2" name="Google Shape;762;p27"/>
            <p:cNvSpPr/>
            <p:nvPr/>
          </p:nvSpPr>
          <p:spPr>
            <a:xfrm>
              <a:off x="7436855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3" name="Google Shape;763;p27"/>
            <p:cNvSpPr/>
            <p:nvPr/>
          </p:nvSpPr>
          <p:spPr>
            <a:xfrm>
              <a:off x="7426699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4" name="Google Shape;764;p27"/>
            <p:cNvSpPr/>
            <p:nvPr/>
          </p:nvSpPr>
          <p:spPr>
            <a:xfrm>
              <a:off x="7416691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5" name="Google Shape;765;p27"/>
            <p:cNvSpPr/>
            <p:nvPr/>
          </p:nvSpPr>
          <p:spPr>
            <a:xfrm>
              <a:off x="7406682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6" name="Google Shape;766;p27"/>
            <p:cNvSpPr/>
            <p:nvPr/>
          </p:nvSpPr>
          <p:spPr>
            <a:xfrm>
              <a:off x="7396673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7" name="Google Shape;767;p27"/>
            <p:cNvSpPr/>
            <p:nvPr/>
          </p:nvSpPr>
          <p:spPr>
            <a:xfrm>
              <a:off x="7387253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8" name="Google Shape;768;p27"/>
            <p:cNvSpPr/>
            <p:nvPr/>
          </p:nvSpPr>
          <p:spPr>
            <a:xfrm>
              <a:off x="7377244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9" name="Google Shape;769;p27"/>
            <p:cNvSpPr/>
            <p:nvPr/>
          </p:nvSpPr>
          <p:spPr>
            <a:xfrm>
              <a:off x="7367088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0" name="Google Shape;770;p27"/>
            <p:cNvSpPr/>
            <p:nvPr/>
          </p:nvSpPr>
          <p:spPr>
            <a:xfrm>
              <a:off x="7357080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1" name="Google Shape;771;p27"/>
            <p:cNvSpPr/>
            <p:nvPr/>
          </p:nvSpPr>
          <p:spPr>
            <a:xfrm>
              <a:off x="7348984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2" name="Google Shape;772;p27"/>
            <p:cNvSpPr/>
            <p:nvPr/>
          </p:nvSpPr>
          <p:spPr>
            <a:xfrm>
              <a:off x="733956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3" name="Google Shape;773;p27"/>
            <p:cNvSpPr/>
            <p:nvPr/>
          </p:nvSpPr>
          <p:spPr>
            <a:xfrm>
              <a:off x="7329556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4" name="Google Shape;774;p27"/>
            <p:cNvSpPr/>
            <p:nvPr/>
          </p:nvSpPr>
          <p:spPr>
            <a:xfrm>
              <a:off x="7319400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5" name="Google Shape;775;p27"/>
            <p:cNvSpPr/>
            <p:nvPr/>
          </p:nvSpPr>
          <p:spPr>
            <a:xfrm>
              <a:off x="7309391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6" name="Google Shape;776;p27"/>
            <p:cNvSpPr/>
            <p:nvPr/>
          </p:nvSpPr>
          <p:spPr>
            <a:xfrm>
              <a:off x="7299382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7" name="Google Shape;777;p27"/>
            <p:cNvSpPr/>
            <p:nvPr/>
          </p:nvSpPr>
          <p:spPr>
            <a:xfrm>
              <a:off x="7289373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8" name="Google Shape;778;p27"/>
            <p:cNvSpPr/>
            <p:nvPr/>
          </p:nvSpPr>
          <p:spPr>
            <a:xfrm>
              <a:off x="7279953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9" name="Google Shape;779;p27"/>
            <p:cNvSpPr/>
            <p:nvPr/>
          </p:nvSpPr>
          <p:spPr>
            <a:xfrm>
              <a:off x="7269945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0" name="Google Shape;780;p27"/>
            <p:cNvSpPr/>
            <p:nvPr/>
          </p:nvSpPr>
          <p:spPr>
            <a:xfrm>
              <a:off x="7261702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1" name="Google Shape;781;p27"/>
            <p:cNvSpPr/>
            <p:nvPr/>
          </p:nvSpPr>
          <p:spPr>
            <a:xfrm>
              <a:off x="7251693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2" name="Google Shape;782;p27"/>
            <p:cNvSpPr/>
            <p:nvPr/>
          </p:nvSpPr>
          <p:spPr>
            <a:xfrm>
              <a:off x="7241685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3" name="Google Shape;783;p27"/>
            <p:cNvSpPr/>
            <p:nvPr/>
          </p:nvSpPr>
          <p:spPr>
            <a:xfrm>
              <a:off x="7232265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4" name="Google Shape;784;p27"/>
            <p:cNvSpPr/>
            <p:nvPr/>
          </p:nvSpPr>
          <p:spPr>
            <a:xfrm>
              <a:off x="7222256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5" name="Google Shape;785;p27"/>
            <p:cNvSpPr/>
            <p:nvPr/>
          </p:nvSpPr>
          <p:spPr>
            <a:xfrm>
              <a:off x="7212100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6" name="Google Shape;786;p27"/>
            <p:cNvSpPr/>
            <p:nvPr/>
          </p:nvSpPr>
          <p:spPr>
            <a:xfrm>
              <a:off x="7202091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7" name="Google Shape;787;p27"/>
            <p:cNvSpPr/>
            <p:nvPr/>
          </p:nvSpPr>
          <p:spPr>
            <a:xfrm>
              <a:off x="7192083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8" name="Google Shape;788;p27"/>
            <p:cNvSpPr/>
            <p:nvPr/>
          </p:nvSpPr>
          <p:spPr>
            <a:xfrm>
              <a:off x="7182074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9" name="Google Shape;789;p27"/>
            <p:cNvSpPr/>
            <p:nvPr/>
          </p:nvSpPr>
          <p:spPr>
            <a:xfrm>
              <a:off x="7172654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0" name="Google Shape;790;p27"/>
            <p:cNvSpPr/>
            <p:nvPr/>
          </p:nvSpPr>
          <p:spPr>
            <a:xfrm>
              <a:off x="7164411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1" name="Google Shape;791;p27"/>
            <p:cNvSpPr/>
            <p:nvPr/>
          </p:nvSpPr>
          <p:spPr>
            <a:xfrm>
              <a:off x="7154403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2" name="Google Shape;792;p27"/>
            <p:cNvSpPr/>
            <p:nvPr/>
          </p:nvSpPr>
          <p:spPr>
            <a:xfrm>
              <a:off x="714439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3" name="Google Shape;793;p27"/>
            <p:cNvSpPr/>
            <p:nvPr/>
          </p:nvSpPr>
          <p:spPr>
            <a:xfrm>
              <a:off x="7134385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4" name="Google Shape;794;p27"/>
            <p:cNvSpPr/>
            <p:nvPr/>
          </p:nvSpPr>
          <p:spPr>
            <a:xfrm>
              <a:off x="7124965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5" name="Google Shape;795;p27"/>
            <p:cNvSpPr/>
            <p:nvPr/>
          </p:nvSpPr>
          <p:spPr>
            <a:xfrm>
              <a:off x="7114956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6" name="Google Shape;796;p27"/>
            <p:cNvSpPr/>
            <p:nvPr/>
          </p:nvSpPr>
          <p:spPr>
            <a:xfrm>
              <a:off x="7104800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7" name="Google Shape;797;p27"/>
            <p:cNvSpPr/>
            <p:nvPr/>
          </p:nvSpPr>
          <p:spPr>
            <a:xfrm>
              <a:off x="7094792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8" name="Google Shape;798;p27"/>
            <p:cNvSpPr/>
            <p:nvPr/>
          </p:nvSpPr>
          <p:spPr>
            <a:xfrm>
              <a:off x="7084783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9" name="Google Shape;799;p27"/>
            <p:cNvSpPr/>
            <p:nvPr/>
          </p:nvSpPr>
          <p:spPr>
            <a:xfrm>
              <a:off x="707727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0" name="Google Shape;800;p27"/>
            <p:cNvSpPr/>
            <p:nvPr/>
          </p:nvSpPr>
          <p:spPr>
            <a:xfrm>
              <a:off x="7067268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1" name="Google Shape;801;p27"/>
            <p:cNvSpPr/>
            <p:nvPr/>
          </p:nvSpPr>
          <p:spPr>
            <a:xfrm>
              <a:off x="7057112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2" name="Google Shape;802;p27"/>
            <p:cNvSpPr/>
            <p:nvPr/>
          </p:nvSpPr>
          <p:spPr>
            <a:xfrm>
              <a:off x="7047103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3" name="Google Shape;803;p27"/>
            <p:cNvSpPr/>
            <p:nvPr/>
          </p:nvSpPr>
          <p:spPr>
            <a:xfrm>
              <a:off x="703709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4" name="Google Shape;804;p27"/>
            <p:cNvSpPr/>
            <p:nvPr/>
          </p:nvSpPr>
          <p:spPr>
            <a:xfrm>
              <a:off x="7027085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5" name="Google Shape;805;p27"/>
            <p:cNvSpPr/>
            <p:nvPr/>
          </p:nvSpPr>
          <p:spPr>
            <a:xfrm>
              <a:off x="7017665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6" name="Google Shape;806;p27"/>
            <p:cNvSpPr/>
            <p:nvPr/>
          </p:nvSpPr>
          <p:spPr>
            <a:xfrm>
              <a:off x="7007657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7" name="Google Shape;807;p27"/>
            <p:cNvSpPr/>
            <p:nvPr/>
          </p:nvSpPr>
          <p:spPr>
            <a:xfrm>
              <a:off x="6997501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8" name="Google Shape;808;p27"/>
            <p:cNvSpPr/>
            <p:nvPr/>
          </p:nvSpPr>
          <p:spPr>
            <a:xfrm>
              <a:off x="6987492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9" name="Google Shape;809;p27"/>
            <p:cNvSpPr/>
            <p:nvPr/>
          </p:nvSpPr>
          <p:spPr>
            <a:xfrm>
              <a:off x="6979397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0" name="Google Shape;810;p27"/>
            <p:cNvSpPr/>
            <p:nvPr/>
          </p:nvSpPr>
          <p:spPr>
            <a:xfrm>
              <a:off x="696997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1" name="Google Shape;811;p27"/>
            <p:cNvSpPr/>
            <p:nvPr/>
          </p:nvSpPr>
          <p:spPr>
            <a:xfrm>
              <a:off x="6959968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2" name="Google Shape;812;p27"/>
            <p:cNvSpPr/>
            <p:nvPr/>
          </p:nvSpPr>
          <p:spPr>
            <a:xfrm>
              <a:off x="6949812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3" name="Google Shape;813;p27"/>
            <p:cNvSpPr/>
            <p:nvPr/>
          </p:nvSpPr>
          <p:spPr>
            <a:xfrm>
              <a:off x="6939803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4" name="Google Shape;814;p27"/>
            <p:cNvSpPr/>
            <p:nvPr/>
          </p:nvSpPr>
          <p:spPr>
            <a:xfrm>
              <a:off x="6929794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5" name="Google Shape;815;p27"/>
            <p:cNvSpPr/>
            <p:nvPr/>
          </p:nvSpPr>
          <p:spPr>
            <a:xfrm>
              <a:off x="6919786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6" name="Google Shape;816;p27"/>
            <p:cNvSpPr/>
            <p:nvPr/>
          </p:nvSpPr>
          <p:spPr>
            <a:xfrm>
              <a:off x="6910366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7" name="Google Shape;817;p27"/>
            <p:cNvSpPr/>
            <p:nvPr/>
          </p:nvSpPr>
          <p:spPr>
            <a:xfrm>
              <a:off x="6900357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8" name="Google Shape;818;p27"/>
            <p:cNvSpPr/>
            <p:nvPr/>
          </p:nvSpPr>
          <p:spPr>
            <a:xfrm>
              <a:off x="689211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9" name="Google Shape;819;p27"/>
            <p:cNvSpPr/>
            <p:nvPr/>
          </p:nvSpPr>
          <p:spPr>
            <a:xfrm>
              <a:off x="688210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0" name="Google Shape;820;p27"/>
            <p:cNvSpPr/>
            <p:nvPr/>
          </p:nvSpPr>
          <p:spPr>
            <a:xfrm>
              <a:off x="6872097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1" name="Google Shape;821;p27"/>
            <p:cNvSpPr/>
            <p:nvPr/>
          </p:nvSpPr>
          <p:spPr>
            <a:xfrm>
              <a:off x="686267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2" name="Google Shape;822;p27"/>
            <p:cNvSpPr/>
            <p:nvPr/>
          </p:nvSpPr>
          <p:spPr>
            <a:xfrm>
              <a:off x="6852668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3" name="Google Shape;823;p27"/>
            <p:cNvSpPr/>
            <p:nvPr/>
          </p:nvSpPr>
          <p:spPr>
            <a:xfrm>
              <a:off x="6842512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4" name="Google Shape;824;p27"/>
            <p:cNvSpPr/>
            <p:nvPr/>
          </p:nvSpPr>
          <p:spPr>
            <a:xfrm>
              <a:off x="6832503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5" name="Google Shape;825;p27"/>
            <p:cNvSpPr/>
            <p:nvPr/>
          </p:nvSpPr>
          <p:spPr>
            <a:xfrm>
              <a:off x="6822495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6" name="Google Shape;826;p27"/>
            <p:cNvSpPr/>
            <p:nvPr/>
          </p:nvSpPr>
          <p:spPr>
            <a:xfrm>
              <a:off x="6812486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7" name="Google Shape;827;p27"/>
            <p:cNvSpPr/>
            <p:nvPr/>
          </p:nvSpPr>
          <p:spPr>
            <a:xfrm>
              <a:off x="6803066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8" name="Google Shape;828;p27"/>
            <p:cNvSpPr/>
            <p:nvPr/>
          </p:nvSpPr>
          <p:spPr>
            <a:xfrm>
              <a:off x="6794823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9" name="Google Shape;829;p27"/>
            <p:cNvSpPr/>
            <p:nvPr/>
          </p:nvSpPr>
          <p:spPr>
            <a:xfrm>
              <a:off x="6784815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0" name="Google Shape;830;p27"/>
            <p:cNvSpPr/>
            <p:nvPr/>
          </p:nvSpPr>
          <p:spPr>
            <a:xfrm>
              <a:off x="677480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1" name="Google Shape;831;p27"/>
            <p:cNvSpPr/>
            <p:nvPr/>
          </p:nvSpPr>
          <p:spPr>
            <a:xfrm>
              <a:off x="6764797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2" name="Google Shape;832;p27"/>
            <p:cNvSpPr/>
            <p:nvPr/>
          </p:nvSpPr>
          <p:spPr>
            <a:xfrm>
              <a:off x="675537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3" name="Google Shape;833;p27"/>
            <p:cNvSpPr/>
            <p:nvPr/>
          </p:nvSpPr>
          <p:spPr>
            <a:xfrm>
              <a:off x="6745368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4" name="Google Shape;834;p27"/>
            <p:cNvSpPr/>
            <p:nvPr/>
          </p:nvSpPr>
          <p:spPr>
            <a:xfrm>
              <a:off x="6735213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5" name="Google Shape;835;p27"/>
            <p:cNvSpPr/>
            <p:nvPr/>
          </p:nvSpPr>
          <p:spPr>
            <a:xfrm>
              <a:off x="6725204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6" name="Google Shape;836;p27"/>
            <p:cNvSpPr/>
            <p:nvPr/>
          </p:nvSpPr>
          <p:spPr>
            <a:xfrm>
              <a:off x="6715195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7" name="Google Shape;837;p27"/>
            <p:cNvSpPr/>
            <p:nvPr/>
          </p:nvSpPr>
          <p:spPr>
            <a:xfrm>
              <a:off x="6707688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8" name="Google Shape;838;p27"/>
            <p:cNvSpPr/>
            <p:nvPr/>
          </p:nvSpPr>
          <p:spPr>
            <a:xfrm>
              <a:off x="6697680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9" name="Google Shape;839;p27"/>
            <p:cNvSpPr/>
            <p:nvPr/>
          </p:nvSpPr>
          <p:spPr>
            <a:xfrm>
              <a:off x="668752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0" name="Google Shape;840;p27"/>
            <p:cNvSpPr/>
            <p:nvPr/>
          </p:nvSpPr>
          <p:spPr>
            <a:xfrm>
              <a:off x="6677515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1" name="Google Shape;841;p27"/>
            <p:cNvSpPr/>
            <p:nvPr/>
          </p:nvSpPr>
          <p:spPr>
            <a:xfrm>
              <a:off x="666750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2" name="Google Shape;842;p27"/>
            <p:cNvSpPr/>
            <p:nvPr/>
          </p:nvSpPr>
          <p:spPr>
            <a:xfrm>
              <a:off x="6657498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3" name="Google Shape;843;p27"/>
            <p:cNvSpPr/>
            <p:nvPr/>
          </p:nvSpPr>
          <p:spPr>
            <a:xfrm>
              <a:off x="6648078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4" name="Google Shape;844;p27"/>
            <p:cNvSpPr/>
            <p:nvPr/>
          </p:nvSpPr>
          <p:spPr>
            <a:xfrm>
              <a:off x="6638069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5" name="Google Shape;845;p27"/>
            <p:cNvSpPr/>
            <p:nvPr/>
          </p:nvSpPr>
          <p:spPr>
            <a:xfrm>
              <a:off x="6627913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6" name="Google Shape;846;p27"/>
            <p:cNvSpPr/>
            <p:nvPr/>
          </p:nvSpPr>
          <p:spPr>
            <a:xfrm>
              <a:off x="6617904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7" name="Google Shape;847;p27"/>
            <p:cNvSpPr/>
            <p:nvPr/>
          </p:nvSpPr>
          <p:spPr>
            <a:xfrm>
              <a:off x="6609809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8" name="Google Shape;848;p27"/>
            <p:cNvSpPr/>
            <p:nvPr/>
          </p:nvSpPr>
          <p:spPr>
            <a:xfrm>
              <a:off x="6600389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9" name="Google Shape;849;p27"/>
            <p:cNvSpPr/>
            <p:nvPr/>
          </p:nvSpPr>
          <p:spPr>
            <a:xfrm>
              <a:off x="6590380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0" name="Google Shape;850;p27"/>
            <p:cNvSpPr/>
            <p:nvPr/>
          </p:nvSpPr>
          <p:spPr>
            <a:xfrm>
              <a:off x="658022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1" name="Google Shape;851;p27"/>
            <p:cNvSpPr/>
            <p:nvPr/>
          </p:nvSpPr>
          <p:spPr>
            <a:xfrm>
              <a:off x="6570215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2" name="Google Shape;852;p27"/>
            <p:cNvSpPr/>
            <p:nvPr/>
          </p:nvSpPr>
          <p:spPr>
            <a:xfrm>
              <a:off x="6560207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3" name="Google Shape;853;p27"/>
            <p:cNvSpPr/>
            <p:nvPr/>
          </p:nvSpPr>
          <p:spPr>
            <a:xfrm>
              <a:off x="6550198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4" name="Google Shape;854;p27"/>
            <p:cNvSpPr/>
            <p:nvPr/>
          </p:nvSpPr>
          <p:spPr>
            <a:xfrm>
              <a:off x="6540778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5" name="Google Shape;855;p27"/>
            <p:cNvSpPr/>
            <p:nvPr/>
          </p:nvSpPr>
          <p:spPr>
            <a:xfrm>
              <a:off x="6530769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6" name="Google Shape;856;p27"/>
            <p:cNvSpPr/>
            <p:nvPr/>
          </p:nvSpPr>
          <p:spPr>
            <a:xfrm>
              <a:off x="652252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7" name="Google Shape;857;p27"/>
            <p:cNvSpPr/>
            <p:nvPr/>
          </p:nvSpPr>
          <p:spPr>
            <a:xfrm>
              <a:off x="6512518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8" name="Google Shape;858;p27"/>
            <p:cNvSpPr/>
            <p:nvPr/>
          </p:nvSpPr>
          <p:spPr>
            <a:xfrm>
              <a:off x="6502509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9" name="Google Shape;859;p27"/>
            <p:cNvSpPr/>
            <p:nvPr/>
          </p:nvSpPr>
          <p:spPr>
            <a:xfrm>
              <a:off x="6493089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0" name="Google Shape;860;p27"/>
            <p:cNvSpPr/>
            <p:nvPr/>
          </p:nvSpPr>
          <p:spPr>
            <a:xfrm>
              <a:off x="6483080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1" name="Google Shape;861;p27"/>
            <p:cNvSpPr/>
            <p:nvPr/>
          </p:nvSpPr>
          <p:spPr>
            <a:xfrm>
              <a:off x="6472924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2" name="Google Shape;862;p27"/>
            <p:cNvSpPr/>
            <p:nvPr/>
          </p:nvSpPr>
          <p:spPr>
            <a:xfrm>
              <a:off x="6462916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3" name="Google Shape;863;p27"/>
            <p:cNvSpPr/>
            <p:nvPr/>
          </p:nvSpPr>
          <p:spPr>
            <a:xfrm>
              <a:off x="6452907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4" name="Google Shape;864;p27"/>
            <p:cNvSpPr/>
            <p:nvPr/>
          </p:nvSpPr>
          <p:spPr>
            <a:xfrm>
              <a:off x="6442898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5" name="Google Shape;865;p27"/>
            <p:cNvSpPr/>
            <p:nvPr/>
          </p:nvSpPr>
          <p:spPr>
            <a:xfrm>
              <a:off x="6435392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6" name="Google Shape;866;p27"/>
            <p:cNvSpPr/>
            <p:nvPr/>
          </p:nvSpPr>
          <p:spPr>
            <a:xfrm>
              <a:off x="642523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7" name="Google Shape;867;p27"/>
            <p:cNvSpPr/>
            <p:nvPr/>
          </p:nvSpPr>
          <p:spPr>
            <a:xfrm>
              <a:off x="641522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8" name="Google Shape;868;p27"/>
            <p:cNvSpPr/>
            <p:nvPr/>
          </p:nvSpPr>
          <p:spPr>
            <a:xfrm>
              <a:off x="6405218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9" name="Google Shape;869;p27"/>
            <p:cNvSpPr/>
            <p:nvPr/>
          </p:nvSpPr>
          <p:spPr>
            <a:xfrm>
              <a:off x="6395209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0" name="Google Shape;870;p27"/>
            <p:cNvSpPr/>
            <p:nvPr/>
          </p:nvSpPr>
          <p:spPr>
            <a:xfrm>
              <a:off x="6385789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1" name="Google Shape;871;p27"/>
            <p:cNvSpPr/>
            <p:nvPr/>
          </p:nvSpPr>
          <p:spPr>
            <a:xfrm>
              <a:off x="6375781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2" name="Google Shape;872;p27"/>
            <p:cNvSpPr/>
            <p:nvPr/>
          </p:nvSpPr>
          <p:spPr>
            <a:xfrm>
              <a:off x="6365625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3" name="Google Shape;873;p27"/>
            <p:cNvSpPr/>
            <p:nvPr/>
          </p:nvSpPr>
          <p:spPr>
            <a:xfrm>
              <a:off x="6355616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4" name="Google Shape;874;p27"/>
            <p:cNvSpPr/>
            <p:nvPr/>
          </p:nvSpPr>
          <p:spPr>
            <a:xfrm>
              <a:off x="6345607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5" name="Google Shape;875;p27"/>
            <p:cNvSpPr/>
            <p:nvPr/>
          </p:nvSpPr>
          <p:spPr>
            <a:xfrm>
              <a:off x="6338101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6" name="Google Shape;876;p27"/>
            <p:cNvSpPr/>
            <p:nvPr/>
          </p:nvSpPr>
          <p:spPr>
            <a:xfrm>
              <a:off x="6328092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7" name="Google Shape;877;p27"/>
            <p:cNvSpPr/>
            <p:nvPr/>
          </p:nvSpPr>
          <p:spPr>
            <a:xfrm>
              <a:off x="631793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8" name="Google Shape;878;p27"/>
            <p:cNvSpPr/>
            <p:nvPr/>
          </p:nvSpPr>
          <p:spPr>
            <a:xfrm>
              <a:off x="630792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9" name="Google Shape;879;p27"/>
            <p:cNvSpPr/>
            <p:nvPr/>
          </p:nvSpPr>
          <p:spPr>
            <a:xfrm>
              <a:off x="6297918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0" name="Google Shape;880;p27"/>
            <p:cNvSpPr/>
            <p:nvPr/>
          </p:nvSpPr>
          <p:spPr>
            <a:xfrm>
              <a:off x="6287910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1" name="Google Shape;881;p27"/>
            <p:cNvSpPr/>
            <p:nvPr/>
          </p:nvSpPr>
          <p:spPr>
            <a:xfrm>
              <a:off x="6278490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2" name="Google Shape;882;p27"/>
            <p:cNvSpPr/>
            <p:nvPr/>
          </p:nvSpPr>
          <p:spPr>
            <a:xfrm>
              <a:off x="6268481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3" name="Google Shape;883;p27"/>
            <p:cNvSpPr/>
            <p:nvPr/>
          </p:nvSpPr>
          <p:spPr>
            <a:xfrm>
              <a:off x="6258325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4" name="Google Shape;884;p27"/>
            <p:cNvSpPr/>
            <p:nvPr/>
          </p:nvSpPr>
          <p:spPr>
            <a:xfrm>
              <a:off x="6250230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5" name="Google Shape;885;p27"/>
            <p:cNvSpPr/>
            <p:nvPr/>
          </p:nvSpPr>
          <p:spPr>
            <a:xfrm>
              <a:off x="6240221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886" name="Google Shape;886;p27"/>
          <p:cNvSpPr txBox="1">
            <a:spLocks noGrp="1"/>
          </p:cNvSpPr>
          <p:nvPr>
            <p:ph type="title"/>
          </p:nvPr>
        </p:nvSpPr>
        <p:spPr>
          <a:xfrm>
            <a:off x="4224000" y="2862833"/>
            <a:ext cx="3744000" cy="74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887" name="Google Shape;887;p27"/>
          <p:cNvSpPr txBox="1">
            <a:spLocks noGrp="1"/>
          </p:cNvSpPr>
          <p:nvPr>
            <p:ph type="body" idx="1"/>
          </p:nvPr>
        </p:nvSpPr>
        <p:spPr>
          <a:xfrm>
            <a:off x="4224000" y="3579660"/>
            <a:ext cx="3744000" cy="9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>
                <a:solidFill>
                  <a:schemeClr val="dk1"/>
                </a:solidFill>
              </a:defRPr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9pPr>
          </a:lstStyle>
          <a:p>
            <a:endParaRPr/>
          </a:p>
        </p:txBody>
      </p:sp>
      <p:sp>
        <p:nvSpPr>
          <p:cNvPr id="888" name="Google Shape;888;p27"/>
          <p:cNvSpPr txBox="1">
            <a:spLocks noGrp="1"/>
          </p:cNvSpPr>
          <p:nvPr>
            <p:ph type="title" idx="2" hasCustomPrompt="1"/>
          </p:nvPr>
        </p:nvSpPr>
        <p:spPr>
          <a:xfrm>
            <a:off x="4224000" y="1446500"/>
            <a:ext cx="3744000" cy="9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8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38270260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2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2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06E9206-D2D6-4057-92D4-39C87A03E66D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39673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">
  <p:cSld name="Numbers and text"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p28"/>
          <p:cNvSpPr/>
          <p:nvPr/>
        </p:nvSpPr>
        <p:spPr>
          <a:xfrm>
            <a:off x="8469765" y="787467"/>
            <a:ext cx="1563220" cy="1526859"/>
          </a:xfrm>
          <a:custGeom>
            <a:avLst/>
            <a:gdLst/>
            <a:ahLst/>
            <a:cxnLst/>
            <a:rect l="l" t="t" r="r" b="b"/>
            <a:pathLst>
              <a:path w="8723" h="8706" extrusionOk="0">
                <a:moveTo>
                  <a:pt x="4362" y="0"/>
                </a:moveTo>
                <a:cubicBezTo>
                  <a:pt x="1961" y="0"/>
                  <a:pt x="1" y="1944"/>
                  <a:pt x="1" y="4345"/>
                </a:cubicBezTo>
                <a:cubicBezTo>
                  <a:pt x="1" y="6749"/>
                  <a:pt x="1961" y="8706"/>
                  <a:pt x="4362" y="8706"/>
                </a:cubicBezTo>
                <a:cubicBezTo>
                  <a:pt x="6766" y="8706"/>
                  <a:pt x="8723" y="6749"/>
                  <a:pt x="8723" y="4345"/>
                </a:cubicBezTo>
                <a:cubicBezTo>
                  <a:pt x="8723" y="1944"/>
                  <a:pt x="6766" y="0"/>
                  <a:pt x="4362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1" name="Google Shape;891;p28"/>
          <p:cNvSpPr/>
          <p:nvPr/>
        </p:nvSpPr>
        <p:spPr>
          <a:xfrm>
            <a:off x="-1132534" y="-505933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2" name="Google Shape;892;p28"/>
          <p:cNvSpPr/>
          <p:nvPr/>
        </p:nvSpPr>
        <p:spPr>
          <a:xfrm>
            <a:off x="-287301" y="3645607"/>
            <a:ext cx="2945241" cy="1889959"/>
          </a:xfrm>
          <a:custGeom>
            <a:avLst/>
            <a:gdLst/>
            <a:ahLst/>
            <a:cxnLst/>
            <a:rect l="l" t="t" r="r" b="b"/>
            <a:pathLst>
              <a:path w="9746" h="6254" extrusionOk="0">
                <a:moveTo>
                  <a:pt x="0" y="1"/>
                </a:moveTo>
                <a:lnTo>
                  <a:pt x="0" y="6092"/>
                </a:lnTo>
                <a:cubicBezTo>
                  <a:pt x="39" y="6131"/>
                  <a:pt x="94" y="6157"/>
                  <a:pt x="162" y="6186"/>
                </a:cubicBezTo>
                <a:cubicBezTo>
                  <a:pt x="282" y="6238"/>
                  <a:pt x="405" y="6254"/>
                  <a:pt x="541" y="6254"/>
                </a:cubicBezTo>
                <a:cubicBezTo>
                  <a:pt x="849" y="6254"/>
                  <a:pt x="1160" y="6092"/>
                  <a:pt x="1335" y="5833"/>
                </a:cubicBezTo>
                <a:cubicBezTo>
                  <a:pt x="1371" y="6021"/>
                  <a:pt x="1570" y="6139"/>
                  <a:pt x="1763" y="6139"/>
                </a:cubicBezTo>
                <a:cubicBezTo>
                  <a:pt x="1792" y="6139"/>
                  <a:pt x="1822" y="6136"/>
                  <a:pt x="1850" y="6131"/>
                </a:cubicBezTo>
                <a:cubicBezTo>
                  <a:pt x="2064" y="6076"/>
                  <a:pt x="2242" y="5930"/>
                  <a:pt x="2388" y="5781"/>
                </a:cubicBezTo>
                <a:cubicBezTo>
                  <a:pt x="2709" y="6054"/>
                  <a:pt x="3132" y="6222"/>
                  <a:pt x="3560" y="6222"/>
                </a:cubicBezTo>
                <a:cubicBezTo>
                  <a:pt x="3619" y="6222"/>
                  <a:pt x="3679" y="6219"/>
                  <a:pt x="3739" y="6212"/>
                </a:cubicBezTo>
                <a:cubicBezTo>
                  <a:pt x="4225" y="6173"/>
                  <a:pt x="4685" y="5930"/>
                  <a:pt x="4980" y="5551"/>
                </a:cubicBezTo>
                <a:cubicBezTo>
                  <a:pt x="5085" y="5759"/>
                  <a:pt x="5328" y="5857"/>
                  <a:pt x="5556" y="5857"/>
                </a:cubicBezTo>
                <a:cubicBezTo>
                  <a:pt x="5595" y="5857"/>
                  <a:pt x="5633" y="5855"/>
                  <a:pt x="5670" y="5849"/>
                </a:cubicBezTo>
                <a:cubicBezTo>
                  <a:pt x="5939" y="5807"/>
                  <a:pt x="6169" y="5658"/>
                  <a:pt x="6399" y="5509"/>
                </a:cubicBezTo>
                <a:cubicBezTo>
                  <a:pt x="6464" y="5683"/>
                  <a:pt x="6653" y="5781"/>
                  <a:pt x="6838" y="5781"/>
                </a:cubicBezTo>
                <a:cubicBezTo>
                  <a:pt x="6955" y="5781"/>
                  <a:pt x="7071" y="5742"/>
                  <a:pt x="7154" y="5658"/>
                </a:cubicBezTo>
                <a:cubicBezTo>
                  <a:pt x="7291" y="5764"/>
                  <a:pt x="7465" y="5815"/>
                  <a:pt x="7640" y="5815"/>
                </a:cubicBezTo>
                <a:cubicBezTo>
                  <a:pt x="7844" y="5815"/>
                  <a:pt x="8049" y="5744"/>
                  <a:pt x="8194" y="5606"/>
                </a:cubicBezTo>
                <a:cubicBezTo>
                  <a:pt x="8274" y="5684"/>
                  <a:pt x="8385" y="5725"/>
                  <a:pt x="8496" y="5725"/>
                </a:cubicBezTo>
                <a:cubicBezTo>
                  <a:pt x="8591" y="5725"/>
                  <a:pt x="8686" y="5695"/>
                  <a:pt x="8761" y="5632"/>
                </a:cubicBezTo>
                <a:cubicBezTo>
                  <a:pt x="8798" y="5704"/>
                  <a:pt x="8883" y="5727"/>
                  <a:pt x="8971" y="5727"/>
                </a:cubicBezTo>
                <a:cubicBezTo>
                  <a:pt x="9014" y="5727"/>
                  <a:pt x="9058" y="5721"/>
                  <a:pt x="9098" y="5713"/>
                </a:cubicBezTo>
                <a:cubicBezTo>
                  <a:pt x="9260" y="5700"/>
                  <a:pt x="9435" y="5671"/>
                  <a:pt x="9597" y="5645"/>
                </a:cubicBezTo>
                <a:cubicBezTo>
                  <a:pt x="9626" y="5645"/>
                  <a:pt x="9652" y="5632"/>
                  <a:pt x="9678" y="5619"/>
                </a:cubicBezTo>
                <a:cubicBezTo>
                  <a:pt x="9746" y="5551"/>
                  <a:pt x="9626" y="5457"/>
                  <a:pt x="9532" y="5457"/>
                </a:cubicBezTo>
                <a:cubicBezTo>
                  <a:pt x="9435" y="5457"/>
                  <a:pt x="9328" y="5483"/>
                  <a:pt x="9247" y="5538"/>
                </a:cubicBezTo>
                <a:cubicBezTo>
                  <a:pt x="9227" y="5452"/>
                  <a:pt x="9148" y="5402"/>
                  <a:pt x="9070" y="5402"/>
                </a:cubicBezTo>
                <a:cubicBezTo>
                  <a:pt x="9047" y="5402"/>
                  <a:pt x="9025" y="5406"/>
                  <a:pt x="9004" y="5415"/>
                </a:cubicBezTo>
                <a:cubicBezTo>
                  <a:pt x="8978" y="5444"/>
                  <a:pt x="8949" y="5457"/>
                  <a:pt x="8923" y="5470"/>
                </a:cubicBezTo>
                <a:cubicBezTo>
                  <a:pt x="8916" y="5471"/>
                  <a:pt x="8910" y="5472"/>
                  <a:pt x="8903" y="5472"/>
                </a:cubicBezTo>
                <a:cubicBezTo>
                  <a:pt x="8833" y="5472"/>
                  <a:pt x="8783" y="5410"/>
                  <a:pt x="8735" y="5363"/>
                </a:cubicBezTo>
                <a:cubicBezTo>
                  <a:pt x="8599" y="5201"/>
                  <a:pt x="8437" y="5065"/>
                  <a:pt x="8236" y="5010"/>
                </a:cubicBezTo>
                <a:cubicBezTo>
                  <a:pt x="8180" y="4996"/>
                  <a:pt x="8123" y="4988"/>
                  <a:pt x="8066" y="4988"/>
                </a:cubicBezTo>
                <a:cubicBezTo>
                  <a:pt x="7913" y="4988"/>
                  <a:pt x="7761" y="5041"/>
                  <a:pt x="7653" y="5159"/>
                </a:cubicBezTo>
                <a:cubicBezTo>
                  <a:pt x="7721" y="5078"/>
                  <a:pt x="7303" y="4848"/>
                  <a:pt x="7248" y="4835"/>
                </a:cubicBezTo>
                <a:cubicBezTo>
                  <a:pt x="7178" y="4810"/>
                  <a:pt x="7108" y="4795"/>
                  <a:pt x="7040" y="4795"/>
                </a:cubicBezTo>
                <a:cubicBezTo>
                  <a:pt x="6927" y="4795"/>
                  <a:pt x="6821" y="4835"/>
                  <a:pt x="6736" y="4929"/>
                </a:cubicBezTo>
                <a:cubicBezTo>
                  <a:pt x="6655" y="4537"/>
                  <a:pt x="6344" y="4200"/>
                  <a:pt x="5952" y="4106"/>
                </a:cubicBezTo>
                <a:cubicBezTo>
                  <a:pt x="5874" y="4087"/>
                  <a:pt x="5794" y="4078"/>
                  <a:pt x="5714" y="4078"/>
                </a:cubicBezTo>
                <a:cubicBezTo>
                  <a:pt x="5392" y="4078"/>
                  <a:pt x="5067" y="4223"/>
                  <a:pt x="4873" y="4472"/>
                </a:cubicBezTo>
                <a:cubicBezTo>
                  <a:pt x="4873" y="4275"/>
                  <a:pt x="4674" y="4135"/>
                  <a:pt x="4483" y="4135"/>
                </a:cubicBezTo>
                <a:cubicBezTo>
                  <a:pt x="4410" y="4135"/>
                  <a:pt x="4339" y="4155"/>
                  <a:pt x="4280" y="4200"/>
                </a:cubicBezTo>
                <a:cubicBezTo>
                  <a:pt x="4307" y="3976"/>
                  <a:pt x="4076" y="3810"/>
                  <a:pt x="3865" y="3810"/>
                </a:cubicBezTo>
                <a:cubicBezTo>
                  <a:pt x="3771" y="3810"/>
                  <a:pt x="3681" y="3843"/>
                  <a:pt x="3619" y="3918"/>
                </a:cubicBezTo>
                <a:cubicBezTo>
                  <a:pt x="3765" y="3458"/>
                  <a:pt x="3551" y="2904"/>
                  <a:pt x="3133" y="2690"/>
                </a:cubicBezTo>
                <a:cubicBezTo>
                  <a:pt x="2993" y="2620"/>
                  <a:pt x="2838" y="2587"/>
                  <a:pt x="2683" y="2587"/>
                </a:cubicBezTo>
                <a:cubicBezTo>
                  <a:pt x="2358" y="2587"/>
                  <a:pt x="2032" y="2734"/>
                  <a:pt x="1850" y="2998"/>
                </a:cubicBezTo>
                <a:cubicBezTo>
                  <a:pt x="1837" y="2674"/>
                  <a:pt x="1837" y="2337"/>
                  <a:pt x="1675" y="2055"/>
                </a:cubicBezTo>
                <a:cubicBezTo>
                  <a:pt x="1540" y="1839"/>
                  <a:pt x="1299" y="1679"/>
                  <a:pt x="1060" y="1679"/>
                </a:cubicBezTo>
                <a:cubicBezTo>
                  <a:pt x="984" y="1679"/>
                  <a:pt x="908" y="1695"/>
                  <a:pt x="836" y="1731"/>
                </a:cubicBezTo>
                <a:cubicBezTo>
                  <a:pt x="983" y="1498"/>
                  <a:pt x="753" y="1153"/>
                  <a:pt x="486" y="1153"/>
                </a:cubicBezTo>
                <a:cubicBezTo>
                  <a:pt x="459" y="1153"/>
                  <a:pt x="432" y="1157"/>
                  <a:pt x="405" y="1164"/>
                </a:cubicBezTo>
                <a:cubicBezTo>
                  <a:pt x="593" y="1109"/>
                  <a:pt x="486" y="584"/>
                  <a:pt x="431" y="474"/>
                </a:cubicBezTo>
                <a:cubicBezTo>
                  <a:pt x="350" y="260"/>
                  <a:pt x="188" y="98"/>
                  <a:pt x="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3" name="Google Shape;893;p28"/>
          <p:cNvSpPr/>
          <p:nvPr/>
        </p:nvSpPr>
        <p:spPr>
          <a:xfrm>
            <a:off x="8156693" y="444452"/>
            <a:ext cx="4035276" cy="1851277"/>
          </a:xfrm>
          <a:custGeom>
            <a:avLst/>
            <a:gdLst/>
            <a:ahLst/>
            <a:cxnLst/>
            <a:rect l="l" t="t" r="r" b="b"/>
            <a:pathLst>
              <a:path w="13353" h="6126" extrusionOk="0">
                <a:moveTo>
                  <a:pt x="13095" y="1"/>
                </a:moveTo>
                <a:cubicBezTo>
                  <a:pt x="13024" y="1"/>
                  <a:pt x="12953" y="8"/>
                  <a:pt x="12880" y="21"/>
                </a:cubicBezTo>
                <a:cubicBezTo>
                  <a:pt x="12313" y="102"/>
                  <a:pt x="11921" y="588"/>
                  <a:pt x="11840" y="1139"/>
                </a:cubicBezTo>
                <a:cubicBezTo>
                  <a:pt x="11652" y="925"/>
                  <a:pt x="11302" y="750"/>
                  <a:pt x="11017" y="750"/>
                </a:cubicBezTo>
                <a:cubicBezTo>
                  <a:pt x="11003" y="749"/>
                  <a:pt x="10989" y="748"/>
                  <a:pt x="10975" y="748"/>
                </a:cubicBezTo>
                <a:cubicBezTo>
                  <a:pt x="10799" y="748"/>
                  <a:pt x="10615" y="841"/>
                  <a:pt x="10492" y="964"/>
                </a:cubicBezTo>
                <a:cubicBezTo>
                  <a:pt x="10343" y="1113"/>
                  <a:pt x="10275" y="1317"/>
                  <a:pt x="10288" y="1518"/>
                </a:cubicBezTo>
                <a:cubicBezTo>
                  <a:pt x="10211" y="1506"/>
                  <a:pt x="10129" y="1493"/>
                  <a:pt x="10048" y="1493"/>
                </a:cubicBezTo>
                <a:cubicBezTo>
                  <a:pt x="9957" y="1493"/>
                  <a:pt x="9868" y="1509"/>
                  <a:pt x="9789" y="1560"/>
                </a:cubicBezTo>
                <a:cubicBezTo>
                  <a:pt x="9666" y="1654"/>
                  <a:pt x="9614" y="1816"/>
                  <a:pt x="9666" y="1965"/>
                </a:cubicBezTo>
                <a:cubicBezTo>
                  <a:pt x="9465" y="1774"/>
                  <a:pt x="9180" y="1654"/>
                  <a:pt x="8911" y="1654"/>
                </a:cubicBezTo>
                <a:cubicBezTo>
                  <a:pt x="8629" y="1654"/>
                  <a:pt x="8344" y="1803"/>
                  <a:pt x="8195" y="2030"/>
                </a:cubicBezTo>
                <a:cubicBezTo>
                  <a:pt x="8114" y="2153"/>
                  <a:pt x="8075" y="2302"/>
                  <a:pt x="8033" y="2451"/>
                </a:cubicBezTo>
                <a:cubicBezTo>
                  <a:pt x="7981" y="2678"/>
                  <a:pt x="8020" y="2882"/>
                  <a:pt x="8007" y="3112"/>
                </a:cubicBezTo>
                <a:cubicBezTo>
                  <a:pt x="7888" y="3061"/>
                  <a:pt x="7763" y="3015"/>
                  <a:pt x="7636" y="3015"/>
                </a:cubicBezTo>
                <a:cubicBezTo>
                  <a:pt x="7562" y="3015"/>
                  <a:pt x="7488" y="3030"/>
                  <a:pt x="7414" y="3070"/>
                </a:cubicBezTo>
                <a:cubicBezTo>
                  <a:pt x="7210" y="3164"/>
                  <a:pt x="7090" y="3368"/>
                  <a:pt x="7074" y="3585"/>
                </a:cubicBezTo>
                <a:cubicBezTo>
                  <a:pt x="6891" y="3395"/>
                  <a:pt x="6691" y="3317"/>
                  <a:pt x="6491" y="3317"/>
                </a:cubicBezTo>
                <a:cubicBezTo>
                  <a:pt x="5877" y="3317"/>
                  <a:pt x="5255" y="4053"/>
                  <a:pt x="5091" y="4583"/>
                </a:cubicBezTo>
                <a:cubicBezTo>
                  <a:pt x="4916" y="4366"/>
                  <a:pt x="4699" y="4152"/>
                  <a:pt x="4417" y="4110"/>
                </a:cubicBezTo>
                <a:cubicBezTo>
                  <a:pt x="4396" y="4107"/>
                  <a:pt x="4374" y="4106"/>
                  <a:pt x="4352" y="4106"/>
                </a:cubicBezTo>
                <a:cubicBezTo>
                  <a:pt x="4085" y="4106"/>
                  <a:pt x="3813" y="4319"/>
                  <a:pt x="3876" y="4583"/>
                </a:cubicBezTo>
                <a:cubicBezTo>
                  <a:pt x="3687" y="4484"/>
                  <a:pt x="3490" y="4393"/>
                  <a:pt x="3289" y="4393"/>
                </a:cubicBezTo>
                <a:cubicBezTo>
                  <a:pt x="3273" y="4393"/>
                  <a:pt x="3257" y="4394"/>
                  <a:pt x="3241" y="4395"/>
                </a:cubicBezTo>
                <a:cubicBezTo>
                  <a:pt x="2972" y="4421"/>
                  <a:pt x="2849" y="4609"/>
                  <a:pt x="2755" y="4826"/>
                </a:cubicBezTo>
                <a:cubicBezTo>
                  <a:pt x="2679" y="4710"/>
                  <a:pt x="2540" y="4643"/>
                  <a:pt x="2403" y="4643"/>
                </a:cubicBezTo>
                <a:cubicBezTo>
                  <a:pt x="2348" y="4643"/>
                  <a:pt x="2293" y="4654"/>
                  <a:pt x="2243" y="4677"/>
                </a:cubicBezTo>
                <a:cubicBezTo>
                  <a:pt x="2052" y="4745"/>
                  <a:pt x="1932" y="4933"/>
                  <a:pt x="1919" y="5137"/>
                </a:cubicBezTo>
                <a:cubicBezTo>
                  <a:pt x="1878" y="5027"/>
                  <a:pt x="1766" y="4961"/>
                  <a:pt x="1650" y="4961"/>
                </a:cubicBezTo>
                <a:cubicBezTo>
                  <a:pt x="1608" y="4961"/>
                  <a:pt x="1566" y="4970"/>
                  <a:pt x="1527" y="4988"/>
                </a:cubicBezTo>
                <a:cubicBezTo>
                  <a:pt x="1378" y="5043"/>
                  <a:pt x="1297" y="5189"/>
                  <a:pt x="1271" y="5351"/>
                </a:cubicBezTo>
                <a:cubicBezTo>
                  <a:pt x="1189" y="5294"/>
                  <a:pt x="1103" y="5258"/>
                  <a:pt x="1015" y="5258"/>
                </a:cubicBezTo>
                <a:cubicBezTo>
                  <a:pt x="956" y="5258"/>
                  <a:pt x="897" y="5274"/>
                  <a:pt x="837" y="5312"/>
                </a:cubicBezTo>
                <a:cubicBezTo>
                  <a:pt x="798" y="5351"/>
                  <a:pt x="743" y="5406"/>
                  <a:pt x="691" y="5432"/>
                </a:cubicBezTo>
                <a:cubicBezTo>
                  <a:pt x="623" y="5461"/>
                  <a:pt x="542" y="5461"/>
                  <a:pt x="474" y="5461"/>
                </a:cubicBezTo>
                <a:lnTo>
                  <a:pt x="43" y="5461"/>
                </a:lnTo>
                <a:cubicBezTo>
                  <a:pt x="1" y="5513"/>
                  <a:pt x="69" y="5581"/>
                  <a:pt x="137" y="5610"/>
                </a:cubicBezTo>
                <a:cubicBezTo>
                  <a:pt x="284" y="5676"/>
                  <a:pt x="459" y="5710"/>
                  <a:pt x="636" y="5710"/>
                </a:cubicBezTo>
                <a:cubicBezTo>
                  <a:pt x="813" y="5710"/>
                  <a:pt x="992" y="5676"/>
                  <a:pt x="1148" y="5610"/>
                </a:cubicBezTo>
                <a:cubicBezTo>
                  <a:pt x="1221" y="5677"/>
                  <a:pt x="1320" y="5708"/>
                  <a:pt x="1422" y="5708"/>
                </a:cubicBezTo>
                <a:cubicBezTo>
                  <a:pt x="1588" y="5708"/>
                  <a:pt x="1762" y="5625"/>
                  <a:pt x="1838" y="5474"/>
                </a:cubicBezTo>
                <a:cubicBezTo>
                  <a:pt x="1917" y="5516"/>
                  <a:pt x="2010" y="5537"/>
                  <a:pt x="2104" y="5537"/>
                </a:cubicBezTo>
                <a:cubicBezTo>
                  <a:pt x="2219" y="5537"/>
                  <a:pt x="2335" y="5507"/>
                  <a:pt x="2431" y="5448"/>
                </a:cubicBezTo>
                <a:cubicBezTo>
                  <a:pt x="2623" y="5738"/>
                  <a:pt x="2969" y="5948"/>
                  <a:pt x="3307" y="5948"/>
                </a:cubicBezTo>
                <a:cubicBezTo>
                  <a:pt x="3517" y="5948"/>
                  <a:pt x="3724" y="5867"/>
                  <a:pt x="3889" y="5675"/>
                </a:cubicBezTo>
                <a:cubicBezTo>
                  <a:pt x="3955" y="5950"/>
                  <a:pt x="4250" y="6126"/>
                  <a:pt x="4540" y="6126"/>
                </a:cubicBezTo>
                <a:cubicBezTo>
                  <a:pt x="4608" y="6126"/>
                  <a:pt x="4676" y="6116"/>
                  <a:pt x="4741" y="6096"/>
                </a:cubicBezTo>
                <a:cubicBezTo>
                  <a:pt x="5078" y="5999"/>
                  <a:pt x="5308" y="5662"/>
                  <a:pt x="5373" y="5325"/>
                </a:cubicBezTo>
                <a:lnTo>
                  <a:pt x="5373" y="5325"/>
                </a:lnTo>
                <a:cubicBezTo>
                  <a:pt x="5334" y="5529"/>
                  <a:pt x="6037" y="5756"/>
                  <a:pt x="6157" y="5785"/>
                </a:cubicBezTo>
                <a:cubicBezTo>
                  <a:pt x="6211" y="5792"/>
                  <a:pt x="6262" y="5796"/>
                  <a:pt x="6313" y="5796"/>
                </a:cubicBezTo>
                <a:cubicBezTo>
                  <a:pt x="6617" y="5796"/>
                  <a:pt x="6866" y="5672"/>
                  <a:pt x="7155" y="5555"/>
                </a:cubicBezTo>
                <a:cubicBezTo>
                  <a:pt x="7171" y="5662"/>
                  <a:pt x="7252" y="5772"/>
                  <a:pt x="7359" y="5798"/>
                </a:cubicBezTo>
                <a:cubicBezTo>
                  <a:pt x="7381" y="5803"/>
                  <a:pt x="7403" y="5806"/>
                  <a:pt x="7426" y="5806"/>
                </a:cubicBezTo>
                <a:cubicBezTo>
                  <a:pt x="7514" y="5806"/>
                  <a:pt x="7603" y="5766"/>
                  <a:pt x="7657" y="5691"/>
                </a:cubicBezTo>
                <a:cubicBezTo>
                  <a:pt x="7777" y="5853"/>
                  <a:pt x="7981" y="5947"/>
                  <a:pt x="8182" y="5973"/>
                </a:cubicBezTo>
                <a:cubicBezTo>
                  <a:pt x="8219" y="5978"/>
                  <a:pt x="8255" y="5980"/>
                  <a:pt x="8293" y="5980"/>
                </a:cubicBezTo>
                <a:cubicBezTo>
                  <a:pt x="8462" y="5980"/>
                  <a:pt x="8634" y="5935"/>
                  <a:pt x="8791" y="5879"/>
                </a:cubicBezTo>
                <a:cubicBezTo>
                  <a:pt x="9128" y="5772"/>
                  <a:pt x="9504" y="5568"/>
                  <a:pt x="9763" y="5325"/>
                </a:cubicBezTo>
                <a:cubicBezTo>
                  <a:pt x="9883" y="5662"/>
                  <a:pt x="10233" y="5905"/>
                  <a:pt x="10599" y="5905"/>
                </a:cubicBezTo>
                <a:cubicBezTo>
                  <a:pt x="10608" y="5905"/>
                  <a:pt x="10617" y="5905"/>
                  <a:pt x="10627" y="5905"/>
                </a:cubicBezTo>
                <a:cubicBezTo>
                  <a:pt x="10980" y="5905"/>
                  <a:pt x="11331" y="5666"/>
                  <a:pt x="11464" y="5338"/>
                </a:cubicBezTo>
                <a:cubicBezTo>
                  <a:pt x="11477" y="5649"/>
                  <a:pt x="11720" y="5934"/>
                  <a:pt x="12015" y="5999"/>
                </a:cubicBezTo>
                <a:cubicBezTo>
                  <a:pt x="12055" y="6006"/>
                  <a:pt x="12097" y="6009"/>
                  <a:pt x="12138" y="6009"/>
                </a:cubicBezTo>
                <a:cubicBezTo>
                  <a:pt x="12411" y="6009"/>
                  <a:pt x="12681" y="5855"/>
                  <a:pt x="12799" y="5610"/>
                </a:cubicBezTo>
                <a:cubicBezTo>
                  <a:pt x="12922" y="5811"/>
                  <a:pt x="13123" y="5960"/>
                  <a:pt x="13353" y="6054"/>
                </a:cubicBezTo>
                <a:lnTo>
                  <a:pt x="13353" y="34"/>
                </a:lnTo>
                <a:cubicBezTo>
                  <a:pt x="13265" y="11"/>
                  <a:pt x="13180" y="1"/>
                  <a:pt x="13095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4" name="Google Shape;894;p28"/>
          <p:cNvSpPr/>
          <p:nvPr/>
        </p:nvSpPr>
        <p:spPr>
          <a:xfrm>
            <a:off x="5593845" y="4995200"/>
            <a:ext cx="6725079" cy="566761"/>
          </a:xfrm>
          <a:custGeom>
            <a:avLst/>
            <a:gdLst/>
            <a:ahLst/>
            <a:cxnLst/>
            <a:rect l="l" t="t" r="r" b="b"/>
            <a:pathLst>
              <a:path w="27784" h="3594" extrusionOk="0">
                <a:moveTo>
                  <a:pt x="27784" y="1"/>
                </a:moveTo>
                <a:cubicBezTo>
                  <a:pt x="13745" y="218"/>
                  <a:pt x="1" y="3432"/>
                  <a:pt x="1" y="3432"/>
                </a:cubicBezTo>
                <a:lnTo>
                  <a:pt x="21061" y="3552"/>
                </a:lnTo>
                <a:lnTo>
                  <a:pt x="27784" y="3594"/>
                </a:lnTo>
                <a:lnTo>
                  <a:pt x="27784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5" name="Google Shape;895;p28"/>
          <p:cNvSpPr/>
          <p:nvPr/>
        </p:nvSpPr>
        <p:spPr>
          <a:xfrm>
            <a:off x="-65195" y="4995205"/>
            <a:ext cx="12384144" cy="1394827"/>
          </a:xfrm>
          <a:custGeom>
            <a:avLst/>
            <a:gdLst/>
            <a:ahLst/>
            <a:cxnLst/>
            <a:rect l="l" t="t" r="r" b="b"/>
            <a:pathLst>
              <a:path w="45536" h="8845" extrusionOk="0">
                <a:moveTo>
                  <a:pt x="10609" y="1"/>
                </a:moveTo>
                <a:cubicBezTo>
                  <a:pt x="2565" y="1"/>
                  <a:pt x="1" y="719"/>
                  <a:pt x="1" y="719"/>
                </a:cubicBezTo>
                <a:lnTo>
                  <a:pt x="1" y="8845"/>
                </a:lnTo>
                <a:lnTo>
                  <a:pt x="45536" y="8845"/>
                </a:lnTo>
                <a:lnTo>
                  <a:pt x="45536" y="3230"/>
                </a:lnTo>
                <a:cubicBezTo>
                  <a:pt x="44954" y="3336"/>
                  <a:pt x="44228" y="3384"/>
                  <a:pt x="43384" y="3384"/>
                </a:cubicBezTo>
                <a:cubicBezTo>
                  <a:pt x="36402" y="3384"/>
                  <a:pt x="21312" y="137"/>
                  <a:pt x="12676" y="16"/>
                </a:cubicBezTo>
                <a:cubicBezTo>
                  <a:pt x="11950" y="6"/>
                  <a:pt x="11262" y="1"/>
                  <a:pt x="106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6" name="Google Shape;896;p28"/>
          <p:cNvSpPr/>
          <p:nvPr/>
        </p:nvSpPr>
        <p:spPr>
          <a:xfrm>
            <a:off x="4951" y="5418021"/>
            <a:ext cx="11325455" cy="826331"/>
          </a:xfrm>
          <a:custGeom>
            <a:avLst/>
            <a:gdLst/>
            <a:ahLst/>
            <a:cxnLst/>
            <a:rect l="l" t="t" r="r" b="b"/>
            <a:pathLst>
              <a:path w="46790" h="3483" extrusionOk="0">
                <a:moveTo>
                  <a:pt x="24123" y="0"/>
                </a:moveTo>
                <a:cubicBezTo>
                  <a:pt x="12297" y="0"/>
                  <a:pt x="1" y="1740"/>
                  <a:pt x="1" y="1740"/>
                </a:cubicBezTo>
                <a:lnTo>
                  <a:pt x="1" y="3483"/>
                </a:lnTo>
                <a:lnTo>
                  <a:pt x="46790" y="3483"/>
                </a:lnTo>
                <a:lnTo>
                  <a:pt x="46790" y="2388"/>
                </a:lnTo>
                <a:cubicBezTo>
                  <a:pt x="46790" y="2388"/>
                  <a:pt x="35949" y="0"/>
                  <a:pt x="24123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7" name="Google Shape;897;p28"/>
          <p:cNvSpPr/>
          <p:nvPr/>
        </p:nvSpPr>
        <p:spPr>
          <a:xfrm>
            <a:off x="-65194" y="5535571"/>
            <a:ext cx="12384175" cy="1322444"/>
          </a:xfrm>
          <a:custGeom>
            <a:avLst/>
            <a:gdLst/>
            <a:ahLst/>
            <a:cxnLst/>
            <a:rect l="l" t="t" r="r" b="b"/>
            <a:pathLst>
              <a:path w="51164" h="8386" extrusionOk="0">
                <a:moveTo>
                  <a:pt x="51164" y="1"/>
                </a:moveTo>
                <a:cubicBezTo>
                  <a:pt x="51164" y="1"/>
                  <a:pt x="12488" y="1783"/>
                  <a:pt x="1" y="4579"/>
                </a:cubicBezTo>
                <a:lnTo>
                  <a:pt x="1" y="8386"/>
                </a:lnTo>
                <a:lnTo>
                  <a:pt x="51164" y="8386"/>
                </a:lnTo>
                <a:lnTo>
                  <a:pt x="51164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8" name="Google Shape;898;p28"/>
          <p:cNvSpPr/>
          <p:nvPr/>
        </p:nvSpPr>
        <p:spPr>
          <a:xfrm>
            <a:off x="-65200" y="6031671"/>
            <a:ext cx="12384175" cy="826341"/>
          </a:xfrm>
          <a:custGeom>
            <a:avLst/>
            <a:gdLst/>
            <a:ahLst/>
            <a:cxnLst/>
            <a:rect l="l" t="t" r="r" b="b"/>
            <a:pathLst>
              <a:path w="51164" h="7555" extrusionOk="0">
                <a:moveTo>
                  <a:pt x="7656" y="1"/>
                </a:moveTo>
                <a:cubicBezTo>
                  <a:pt x="2876" y="1"/>
                  <a:pt x="1" y="385"/>
                  <a:pt x="1" y="385"/>
                </a:cubicBezTo>
                <a:lnTo>
                  <a:pt x="1" y="7555"/>
                </a:lnTo>
                <a:lnTo>
                  <a:pt x="51164" y="7555"/>
                </a:lnTo>
                <a:lnTo>
                  <a:pt x="51164" y="3249"/>
                </a:lnTo>
                <a:cubicBezTo>
                  <a:pt x="49225" y="3578"/>
                  <a:pt x="47012" y="3826"/>
                  <a:pt x="44108" y="3826"/>
                </a:cubicBezTo>
                <a:cubicBezTo>
                  <a:pt x="39852" y="3826"/>
                  <a:pt x="34112" y="3292"/>
                  <a:pt x="25581" y="1694"/>
                </a:cubicBezTo>
                <a:cubicBezTo>
                  <a:pt x="18442" y="347"/>
                  <a:pt x="12191" y="1"/>
                  <a:pt x="765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9" name="Google Shape;899;p28"/>
          <p:cNvSpPr txBox="1">
            <a:spLocks noGrp="1"/>
          </p:cNvSpPr>
          <p:nvPr>
            <p:ph type="title" hasCustomPrompt="1"/>
          </p:nvPr>
        </p:nvSpPr>
        <p:spPr>
          <a:xfrm>
            <a:off x="960096" y="1155867"/>
            <a:ext cx="6018000" cy="138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2pPr>
            <a:lvl3pPr lvl="2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3pPr>
            <a:lvl4pPr lvl="3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4pPr>
            <a:lvl5pPr lvl="4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5pPr>
            <a:lvl6pPr lvl="5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6pPr>
            <a:lvl7pPr lvl="6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7pPr>
            <a:lvl8pPr lvl="7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8pPr>
            <a:lvl9pPr lvl="8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900" name="Google Shape;900;p28"/>
          <p:cNvSpPr txBox="1">
            <a:spLocks noGrp="1"/>
          </p:cNvSpPr>
          <p:nvPr>
            <p:ph type="subTitle" idx="1"/>
          </p:nvPr>
        </p:nvSpPr>
        <p:spPr>
          <a:xfrm>
            <a:off x="960032" y="2335133"/>
            <a:ext cx="6018000" cy="57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9pPr>
          </a:lstStyle>
          <a:p>
            <a:endParaRPr/>
          </a:p>
        </p:txBody>
      </p:sp>
      <p:sp>
        <p:nvSpPr>
          <p:cNvPr id="901" name="Google Shape;901;p28"/>
          <p:cNvSpPr txBox="1">
            <a:spLocks noGrp="1"/>
          </p:cNvSpPr>
          <p:nvPr>
            <p:ph type="title" idx="2" hasCustomPrompt="1"/>
          </p:nvPr>
        </p:nvSpPr>
        <p:spPr>
          <a:xfrm>
            <a:off x="960175" y="3047349"/>
            <a:ext cx="6018000" cy="138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2pPr>
            <a:lvl3pPr lvl="2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3pPr>
            <a:lvl4pPr lvl="3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4pPr>
            <a:lvl5pPr lvl="4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5pPr>
            <a:lvl6pPr lvl="5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6pPr>
            <a:lvl7pPr lvl="6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7pPr>
            <a:lvl8pPr lvl="7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8pPr>
            <a:lvl9pPr lvl="8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902" name="Google Shape;902;p28"/>
          <p:cNvSpPr txBox="1">
            <a:spLocks noGrp="1"/>
          </p:cNvSpPr>
          <p:nvPr>
            <p:ph type="subTitle" idx="3"/>
          </p:nvPr>
        </p:nvSpPr>
        <p:spPr>
          <a:xfrm>
            <a:off x="960000" y="4226617"/>
            <a:ext cx="6018000" cy="57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6781694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" name="Google Shape;904;p29"/>
          <p:cNvSpPr/>
          <p:nvPr/>
        </p:nvSpPr>
        <p:spPr>
          <a:xfrm flipH="1">
            <a:off x="65" y="4683734"/>
            <a:ext cx="5317036" cy="2140793"/>
          </a:xfrm>
          <a:custGeom>
            <a:avLst/>
            <a:gdLst/>
            <a:ahLst/>
            <a:cxnLst/>
            <a:rect l="l" t="t" r="r" b="b"/>
            <a:pathLst>
              <a:path w="32291" h="10923" extrusionOk="0">
                <a:moveTo>
                  <a:pt x="32291" y="1"/>
                </a:moveTo>
                <a:cubicBezTo>
                  <a:pt x="31915" y="189"/>
                  <a:pt x="31293" y="432"/>
                  <a:pt x="30509" y="542"/>
                </a:cubicBezTo>
                <a:cubicBezTo>
                  <a:pt x="29229" y="704"/>
                  <a:pt x="28795" y="1109"/>
                  <a:pt x="27797" y="1352"/>
                </a:cubicBezTo>
                <a:cubicBezTo>
                  <a:pt x="27649" y="1387"/>
                  <a:pt x="27508" y="1402"/>
                  <a:pt x="27371" y="1402"/>
                </a:cubicBezTo>
                <a:cubicBezTo>
                  <a:pt x="26657" y="1402"/>
                  <a:pt x="26030" y="1004"/>
                  <a:pt x="25053" y="1004"/>
                </a:cubicBezTo>
                <a:cubicBezTo>
                  <a:pt x="24922" y="1004"/>
                  <a:pt x="24783" y="1012"/>
                  <a:pt x="24638" y="1028"/>
                </a:cubicBezTo>
                <a:cubicBezTo>
                  <a:pt x="23206" y="1190"/>
                  <a:pt x="23491" y="1676"/>
                  <a:pt x="21492" y="1757"/>
                </a:cubicBezTo>
                <a:cubicBezTo>
                  <a:pt x="19480" y="1838"/>
                  <a:pt x="20345" y="2405"/>
                  <a:pt x="18197" y="2742"/>
                </a:cubicBezTo>
                <a:cubicBezTo>
                  <a:pt x="16039" y="3066"/>
                  <a:pt x="17186" y="3309"/>
                  <a:pt x="15903" y="3552"/>
                </a:cubicBezTo>
                <a:cubicBezTo>
                  <a:pt x="14607" y="3795"/>
                  <a:pt x="14607" y="4038"/>
                  <a:pt x="14040" y="4362"/>
                </a:cubicBezTo>
                <a:cubicBezTo>
                  <a:pt x="13909" y="4435"/>
                  <a:pt x="13771" y="4463"/>
                  <a:pt x="13611" y="4463"/>
                </a:cubicBezTo>
                <a:cubicBezTo>
                  <a:pt x="13111" y="4463"/>
                  <a:pt x="12398" y="4192"/>
                  <a:pt x="11017" y="4192"/>
                </a:cubicBezTo>
                <a:cubicBezTo>
                  <a:pt x="10884" y="4192"/>
                  <a:pt x="10745" y="4194"/>
                  <a:pt x="10599" y="4200"/>
                </a:cubicBezTo>
                <a:cubicBezTo>
                  <a:pt x="8451" y="4281"/>
                  <a:pt x="8020" y="5023"/>
                  <a:pt x="8020" y="5023"/>
                </a:cubicBezTo>
                <a:lnTo>
                  <a:pt x="7019" y="4767"/>
                </a:lnTo>
                <a:cubicBezTo>
                  <a:pt x="6852" y="4751"/>
                  <a:pt x="6696" y="4744"/>
                  <a:pt x="6550" y="4744"/>
                </a:cubicBezTo>
                <a:cubicBezTo>
                  <a:pt x="5178" y="4744"/>
                  <a:pt x="4628" y="5378"/>
                  <a:pt x="3727" y="5671"/>
                </a:cubicBezTo>
                <a:cubicBezTo>
                  <a:pt x="2713" y="5995"/>
                  <a:pt x="1" y="5995"/>
                  <a:pt x="1" y="5995"/>
                </a:cubicBezTo>
                <a:cubicBezTo>
                  <a:pt x="1" y="5995"/>
                  <a:pt x="1851" y="9073"/>
                  <a:pt x="3092" y="10923"/>
                </a:cubicBezTo>
                <a:lnTo>
                  <a:pt x="32291" y="10923"/>
                </a:lnTo>
                <a:lnTo>
                  <a:pt x="32291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5" name="Google Shape;905;p29"/>
          <p:cNvSpPr/>
          <p:nvPr/>
        </p:nvSpPr>
        <p:spPr>
          <a:xfrm flipH="1">
            <a:off x="8864984" y="4783301"/>
            <a:ext cx="3327017" cy="1997871"/>
          </a:xfrm>
          <a:custGeom>
            <a:avLst/>
            <a:gdLst/>
            <a:ahLst/>
            <a:cxnLst/>
            <a:rect l="l" t="t" r="r" b="b"/>
            <a:pathLst>
              <a:path w="18359" h="10906" extrusionOk="0">
                <a:moveTo>
                  <a:pt x="1" y="0"/>
                </a:moveTo>
                <a:lnTo>
                  <a:pt x="1" y="10906"/>
                </a:lnTo>
                <a:lnTo>
                  <a:pt x="16606" y="10906"/>
                </a:lnTo>
                <a:cubicBezTo>
                  <a:pt x="17306" y="9072"/>
                  <a:pt x="18359" y="5994"/>
                  <a:pt x="18359" y="5994"/>
                </a:cubicBezTo>
                <a:cubicBezTo>
                  <a:pt x="18359" y="5994"/>
                  <a:pt x="16820" y="5994"/>
                  <a:pt x="16240" y="5670"/>
                </a:cubicBezTo>
                <a:cubicBezTo>
                  <a:pt x="15727" y="5377"/>
                  <a:pt x="15413" y="4740"/>
                  <a:pt x="14640" y="4740"/>
                </a:cubicBezTo>
                <a:cubicBezTo>
                  <a:pt x="14557" y="4740"/>
                  <a:pt x="14470" y="4747"/>
                  <a:pt x="14377" y="4763"/>
                </a:cubicBezTo>
                <a:lnTo>
                  <a:pt x="13797" y="5006"/>
                </a:lnTo>
                <a:cubicBezTo>
                  <a:pt x="13797" y="5006"/>
                  <a:pt x="13554" y="4277"/>
                  <a:pt x="12339" y="4196"/>
                </a:cubicBezTo>
                <a:cubicBezTo>
                  <a:pt x="12272" y="4192"/>
                  <a:pt x="12208" y="4191"/>
                  <a:pt x="12146" y="4191"/>
                </a:cubicBezTo>
                <a:cubicBezTo>
                  <a:pt x="11730" y="4191"/>
                  <a:pt x="11411" y="4261"/>
                  <a:pt x="11166" y="4332"/>
                </a:cubicBezTo>
                <a:cubicBezTo>
                  <a:pt x="10937" y="4396"/>
                  <a:pt x="10767" y="4462"/>
                  <a:pt x="10627" y="4462"/>
                </a:cubicBezTo>
                <a:cubicBezTo>
                  <a:pt x="10535" y="4462"/>
                  <a:pt x="10456" y="4434"/>
                  <a:pt x="10382" y="4358"/>
                </a:cubicBezTo>
                <a:cubicBezTo>
                  <a:pt x="10058" y="4034"/>
                  <a:pt x="10058" y="3791"/>
                  <a:pt x="9316" y="3548"/>
                </a:cubicBezTo>
                <a:cubicBezTo>
                  <a:pt x="8587" y="3305"/>
                  <a:pt x="9235" y="3062"/>
                  <a:pt x="8020" y="2725"/>
                </a:cubicBezTo>
                <a:cubicBezTo>
                  <a:pt x="6792" y="2401"/>
                  <a:pt x="7278" y="1834"/>
                  <a:pt x="6144" y="1753"/>
                </a:cubicBezTo>
                <a:cubicBezTo>
                  <a:pt x="4994" y="1672"/>
                  <a:pt x="5156" y="1186"/>
                  <a:pt x="4346" y="1024"/>
                </a:cubicBezTo>
                <a:cubicBezTo>
                  <a:pt x="4259" y="1006"/>
                  <a:pt x="4178" y="998"/>
                  <a:pt x="4100" y="998"/>
                </a:cubicBezTo>
                <a:cubicBezTo>
                  <a:pt x="3826" y="998"/>
                  <a:pt x="3599" y="1095"/>
                  <a:pt x="3390" y="1199"/>
                </a:cubicBezTo>
                <a:cubicBezTo>
                  <a:pt x="3183" y="1297"/>
                  <a:pt x="2992" y="1396"/>
                  <a:pt x="2789" y="1396"/>
                </a:cubicBezTo>
                <a:cubicBezTo>
                  <a:pt x="2712" y="1396"/>
                  <a:pt x="2633" y="1382"/>
                  <a:pt x="2551" y="1348"/>
                </a:cubicBezTo>
                <a:cubicBezTo>
                  <a:pt x="1984" y="1105"/>
                  <a:pt x="1741" y="687"/>
                  <a:pt x="999" y="525"/>
                </a:cubicBezTo>
                <a:cubicBezTo>
                  <a:pt x="568" y="431"/>
                  <a:pt x="202" y="188"/>
                  <a:pt x="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6" name="Google Shape;906;p29"/>
          <p:cNvSpPr/>
          <p:nvPr/>
        </p:nvSpPr>
        <p:spPr>
          <a:xfrm flipH="1">
            <a:off x="34" y="5638961"/>
            <a:ext cx="12191948" cy="899905"/>
          </a:xfrm>
          <a:custGeom>
            <a:avLst/>
            <a:gdLst/>
            <a:ahLst/>
            <a:cxnLst/>
            <a:rect l="l" t="t" r="r" b="b"/>
            <a:pathLst>
              <a:path w="53351" h="10705" extrusionOk="0">
                <a:moveTo>
                  <a:pt x="1" y="0"/>
                </a:moveTo>
                <a:lnTo>
                  <a:pt x="1" y="10705"/>
                </a:lnTo>
                <a:lnTo>
                  <a:pt x="53351" y="6075"/>
                </a:lnTo>
                <a:lnTo>
                  <a:pt x="53351" y="431"/>
                </a:lnTo>
                <a:cubicBezTo>
                  <a:pt x="50211" y="280"/>
                  <a:pt x="46158" y="14"/>
                  <a:pt x="42519" y="14"/>
                </a:cubicBezTo>
                <a:cubicBezTo>
                  <a:pt x="40918" y="14"/>
                  <a:pt x="39398" y="65"/>
                  <a:pt x="38071" y="201"/>
                </a:cubicBezTo>
                <a:cubicBezTo>
                  <a:pt x="36591" y="351"/>
                  <a:pt x="33181" y="406"/>
                  <a:pt x="28961" y="406"/>
                </a:cubicBezTo>
                <a:cubicBezTo>
                  <a:pt x="18777" y="406"/>
                  <a:pt x="3875" y="85"/>
                  <a:pt x="1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7" name="Google Shape;907;p29"/>
          <p:cNvSpPr/>
          <p:nvPr/>
        </p:nvSpPr>
        <p:spPr>
          <a:xfrm flipH="1">
            <a:off x="8010244" y="5524523"/>
            <a:ext cx="4168037" cy="1347312"/>
          </a:xfrm>
          <a:custGeom>
            <a:avLst/>
            <a:gdLst/>
            <a:ahLst/>
            <a:cxnLst/>
            <a:rect l="l" t="t" r="r" b="b"/>
            <a:pathLst>
              <a:path w="18239" h="8318" extrusionOk="0">
                <a:moveTo>
                  <a:pt x="1" y="1"/>
                </a:moveTo>
                <a:lnTo>
                  <a:pt x="1" y="8318"/>
                </a:lnTo>
                <a:lnTo>
                  <a:pt x="13690" y="5279"/>
                </a:lnTo>
                <a:lnTo>
                  <a:pt x="4469" y="2917"/>
                </a:lnTo>
                <a:cubicBezTo>
                  <a:pt x="4469" y="2917"/>
                  <a:pt x="9883" y="2823"/>
                  <a:pt x="13959" y="2823"/>
                </a:cubicBezTo>
                <a:cubicBezTo>
                  <a:pt x="15997" y="2823"/>
                  <a:pt x="17711" y="2849"/>
                  <a:pt x="18239" y="2917"/>
                </a:cubicBezTo>
                <a:cubicBezTo>
                  <a:pt x="17131" y="2243"/>
                  <a:pt x="14594" y="1582"/>
                  <a:pt x="11704" y="1015"/>
                </a:cubicBezTo>
                <a:cubicBezTo>
                  <a:pt x="6737" y="380"/>
                  <a:pt x="2175" y="11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8" name="Google Shape;908;p29"/>
          <p:cNvSpPr/>
          <p:nvPr/>
        </p:nvSpPr>
        <p:spPr>
          <a:xfrm flipH="1">
            <a:off x="79" y="5752072"/>
            <a:ext cx="7793103" cy="1096349"/>
          </a:xfrm>
          <a:custGeom>
            <a:avLst/>
            <a:gdLst/>
            <a:ahLst/>
            <a:cxnLst/>
            <a:rect l="l" t="t" r="r" b="b"/>
            <a:pathLst>
              <a:path w="34102" h="12070" extrusionOk="0">
                <a:moveTo>
                  <a:pt x="34102" y="0"/>
                </a:moveTo>
                <a:cubicBezTo>
                  <a:pt x="29744" y="107"/>
                  <a:pt x="22224" y="862"/>
                  <a:pt x="15216" y="1889"/>
                </a:cubicBezTo>
                <a:cubicBezTo>
                  <a:pt x="5104" y="3373"/>
                  <a:pt x="1" y="4063"/>
                  <a:pt x="1" y="4063"/>
                </a:cubicBezTo>
                <a:lnTo>
                  <a:pt x="27152" y="12069"/>
                </a:lnTo>
                <a:lnTo>
                  <a:pt x="34102" y="12069"/>
                </a:lnTo>
                <a:lnTo>
                  <a:pt x="3410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9" name="Google Shape;909;p29"/>
          <p:cNvSpPr/>
          <p:nvPr/>
        </p:nvSpPr>
        <p:spPr>
          <a:xfrm flipH="1">
            <a:off x="80" y="5948501"/>
            <a:ext cx="7424613" cy="899940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10" name="Google Shape;910;p29"/>
          <p:cNvSpPr/>
          <p:nvPr/>
        </p:nvSpPr>
        <p:spPr>
          <a:xfrm flipH="1">
            <a:off x="34" y="5839530"/>
            <a:ext cx="12191948" cy="1008844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11" name="Google Shape;911;p29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12" name="Google Shape;912;p29"/>
          <p:cNvSpPr txBox="1">
            <a:spLocks noGrp="1"/>
          </p:cNvSpPr>
          <p:nvPr>
            <p:ph type="subTitle" idx="1"/>
          </p:nvPr>
        </p:nvSpPr>
        <p:spPr>
          <a:xfrm>
            <a:off x="2735047" y="2643419"/>
            <a:ext cx="3323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1158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913" name="Google Shape;913;p29"/>
          <p:cNvSpPr txBox="1">
            <a:spLocks noGrp="1"/>
          </p:cNvSpPr>
          <p:nvPr>
            <p:ph type="title" idx="2"/>
          </p:nvPr>
        </p:nvSpPr>
        <p:spPr>
          <a:xfrm>
            <a:off x="2734903" y="2020033"/>
            <a:ext cx="33236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914" name="Google Shape;914;p29"/>
          <p:cNvSpPr txBox="1">
            <a:spLocks noGrp="1"/>
          </p:cNvSpPr>
          <p:nvPr>
            <p:ph type="subTitle" idx="3"/>
          </p:nvPr>
        </p:nvSpPr>
        <p:spPr>
          <a:xfrm>
            <a:off x="7590015" y="2643419"/>
            <a:ext cx="3323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21902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915" name="Google Shape;915;p29"/>
          <p:cNvSpPr txBox="1">
            <a:spLocks noGrp="1"/>
          </p:cNvSpPr>
          <p:nvPr>
            <p:ph type="title" idx="4"/>
          </p:nvPr>
        </p:nvSpPr>
        <p:spPr>
          <a:xfrm>
            <a:off x="7589899" y="2020033"/>
            <a:ext cx="33236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916" name="Google Shape;916;p29"/>
          <p:cNvSpPr txBox="1">
            <a:spLocks noGrp="1"/>
          </p:cNvSpPr>
          <p:nvPr>
            <p:ph type="subTitle" idx="5"/>
          </p:nvPr>
        </p:nvSpPr>
        <p:spPr>
          <a:xfrm>
            <a:off x="2734884" y="4392400"/>
            <a:ext cx="3323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1158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917" name="Google Shape;917;p29"/>
          <p:cNvSpPr txBox="1">
            <a:spLocks noGrp="1"/>
          </p:cNvSpPr>
          <p:nvPr>
            <p:ph type="title" idx="6"/>
          </p:nvPr>
        </p:nvSpPr>
        <p:spPr>
          <a:xfrm>
            <a:off x="2734903" y="3768995"/>
            <a:ext cx="33236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918" name="Google Shape;918;p29"/>
          <p:cNvSpPr txBox="1">
            <a:spLocks noGrp="1"/>
          </p:cNvSpPr>
          <p:nvPr>
            <p:ph type="subTitle" idx="7"/>
          </p:nvPr>
        </p:nvSpPr>
        <p:spPr>
          <a:xfrm>
            <a:off x="7589817" y="4392400"/>
            <a:ext cx="3323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9810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919" name="Google Shape;919;p29"/>
          <p:cNvSpPr txBox="1">
            <a:spLocks noGrp="1"/>
          </p:cNvSpPr>
          <p:nvPr>
            <p:ph type="title" idx="8"/>
          </p:nvPr>
        </p:nvSpPr>
        <p:spPr>
          <a:xfrm>
            <a:off x="7589859" y="3768995"/>
            <a:ext cx="33236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317828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1">
  <p:cSld name="Title and text 1">
    <p:spTree>
      <p:nvGrpSpPr>
        <p:cNvPr id="1" name="Shape 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1" name="Google Shape;921;p30"/>
          <p:cNvGrpSpPr/>
          <p:nvPr/>
        </p:nvGrpSpPr>
        <p:grpSpPr>
          <a:xfrm>
            <a:off x="367" y="5412357"/>
            <a:ext cx="12223208" cy="1464784"/>
            <a:chOff x="271" y="2964551"/>
            <a:chExt cx="9167406" cy="2193229"/>
          </a:xfrm>
        </p:grpSpPr>
        <p:sp>
          <p:nvSpPr>
            <p:cNvPr id="922" name="Google Shape;922;p30"/>
            <p:cNvSpPr/>
            <p:nvPr/>
          </p:nvSpPr>
          <p:spPr>
            <a:xfrm>
              <a:off x="275" y="3538374"/>
              <a:ext cx="9167398" cy="1619406"/>
            </a:xfrm>
            <a:custGeom>
              <a:avLst/>
              <a:gdLst/>
              <a:ahLst/>
              <a:cxnLst/>
              <a:rect l="l" t="t" r="r" b="b"/>
              <a:pathLst>
                <a:path w="43860" h="10974" extrusionOk="0">
                  <a:moveTo>
                    <a:pt x="0" y="0"/>
                  </a:moveTo>
                  <a:lnTo>
                    <a:pt x="0" y="10974"/>
                  </a:lnTo>
                  <a:lnTo>
                    <a:pt x="43860" y="10974"/>
                  </a:lnTo>
                  <a:lnTo>
                    <a:pt x="43860" y="0"/>
                  </a:ln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3" name="Google Shape;923;p30"/>
            <p:cNvSpPr/>
            <p:nvPr/>
          </p:nvSpPr>
          <p:spPr>
            <a:xfrm>
              <a:off x="1413430" y="2964551"/>
              <a:ext cx="7754247" cy="680775"/>
            </a:xfrm>
            <a:custGeom>
              <a:avLst/>
              <a:gdLst/>
              <a:ahLst/>
              <a:cxnLst/>
              <a:rect l="l" t="t" r="r" b="b"/>
              <a:pathLst>
                <a:path w="37099" h="4687" extrusionOk="0">
                  <a:moveTo>
                    <a:pt x="29289" y="0"/>
                  </a:moveTo>
                  <a:cubicBezTo>
                    <a:pt x="28606" y="0"/>
                    <a:pt x="27911" y="10"/>
                    <a:pt x="27217" y="28"/>
                  </a:cubicBezTo>
                  <a:cubicBezTo>
                    <a:pt x="18981" y="245"/>
                    <a:pt x="8493" y="2688"/>
                    <a:pt x="1" y="4687"/>
                  </a:cubicBezTo>
                  <a:lnTo>
                    <a:pt x="37099" y="4687"/>
                  </a:lnTo>
                  <a:lnTo>
                    <a:pt x="37099" y="731"/>
                  </a:lnTo>
                  <a:cubicBezTo>
                    <a:pt x="35742" y="225"/>
                    <a:pt x="32651" y="0"/>
                    <a:pt x="2928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4" name="Google Shape;924;p30"/>
            <p:cNvSpPr/>
            <p:nvPr/>
          </p:nvSpPr>
          <p:spPr>
            <a:xfrm>
              <a:off x="271" y="3209866"/>
              <a:ext cx="4762825" cy="666541"/>
            </a:xfrm>
            <a:custGeom>
              <a:avLst/>
              <a:gdLst/>
              <a:ahLst/>
              <a:cxnLst/>
              <a:rect l="l" t="t" r="r" b="b"/>
              <a:pathLst>
                <a:path w="22787" h="4589" extrusionOk="0">
                  <a:moveTo>
                    <a:pt x="3161" y="1"/>
                  </a:moveTo>
                  <a:cubicBezTo>
                    <a:pt x="1090" y="1"/>
                    <a:pt x="0" y="199"/>
                    <a:pt x="0" y="199"/>
                  </a:cubicBezTo>
                  <a:lnTo>
                    <a:pt x="0" y="4589"/>
                  </a:lnTo>
                  <a:lnTo>
                    <a:pt x="22787" y="4589"/>
                  </a:lnTo>
                  <a:cubicBezTo>
                    <a:pt x="22787" y="4589"/>
                    <a:pt x="18128" y="2036"/>
                    <a:pt x="11029" y="766"/>
                  </a:cubicBezTo>
                  <a:cubicBezTo>
                    <a:pt x="7669" y="160"/>
                    <a:pt x="5020" y="1"/>
                    <a:pt x="316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5" name="Google Shape;925;p30"/>
            <p:cNvSpPr/>
            <p:nvPr/>
          </p:nvSpPr>
          <p:spPr>
            <a:xfrm>
              <a:off x="271" y="3612551"/>
              <a:ext cx="9167398" cy="362393"/>
            </a:xfrm>
            <a:custGeom>
              <a:avLst/>
              <a:gdLst/>
              <a:ahLst/>
              <a:cxnLst/>
              <a:rect l="l" t="t" r="r" b="b"/>
              <a:pathLst>
                <a:path w="43860" h="2495" extrusionOk="0">
                  <a:moveTo>
                    <a:pt x="0" y="0"/>
                  </a:moveTo>
                  <a:lnTo>
                    <a:pt x="0" y="512"/>
                  </a:lnTo>
                  <a:cubicBezTo>
                    <a:pt x="18857" y="538"/>
                    <a:pt x="31655" y="810"/>
                    <a:pt x="43860" y="2495"/>
                  </a:cubicBezTo>
                  <a:lnTo>
                    <a:pt x="4386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926" name="Google Shape;926;p30"/>
          <p:cNvGrpSpPr/>
          <p:nvPr/>
        </p:nvGrpSpPr>
        <p:grpSpPr>
          <a:xfrm>
            <a:off x="9618473" y="5301960"/>
            <a:ext cx="1777831" cy="1103969"/>
            <a:chOff x="6746800" y="2104200"/>
            <a:chExt cx="70575" cy="43825"/>
          </a:xfrm>
        </p:grpSpPr>
        <p:sp>
          <p:nvSpPr>
            <p:cNvPr id="927" name="Google Shape;927;p30"/>
            <p:cNvSpPr/>
            <p:nvPr/>
          </p:nvSpPr>
          <p:spPr>
            <a:xfrm>
              <a:off x="6796125" y="2117300"/>
              <a:ext cx="10150" cy="21650"/>
            </a:xfrm>
            <a:custGeom>
              <a:avLst/>
              <a:gdLst/>
              <a:ahLst/>
              <a:cxnLst/>
              <a:rect l="l" t="t" r="r" b="b"/>
              <a:pathLst>
                <a:path w="406" h="866" extrusionOk="0">
                  <a:moveTo>
                    <a:pt x="202" y="1"/>
                  </a:moveTo>
                  <a:cubicBezTo>
                    <a:pt x="202" y="1"/>
                    <a:pt x="176" y="95"/>
                    <a:pt x="133" y="218"/>
                  </a:cubicBezTo>
                  <a:lnTo>
                    <a:pt x="176" y="286"/>
                  </a:lnTo>
                  <a:lnTo>
                    <a:pt x="121" y="231"/>
                  </a:lnTo>
                  <a:cubicBezTo>
                    <a:pt x="108" y="286"/>
                    <a:pt x="95" y="338"/>
                    <a:pt x="82" y="393"/>
                  </a:cubicBezTo>
                  <a:lnTo>
                    <a:pt x="121" y="487"/>
                  </a:lnTo>
                  <a:lnTo>
                    <a:pt x="69" y="419"/>
                  </a:lnTo>
                  <a:cubicBezTo>
                    <a:pt x="27" y="542"/>
                    <a:pt x="1" y="649"/>
                    <a:pt x="1" y="675"/>
                  </a:cubicBezTo>
                  <a:cubicBezTo>
                    <a:pt x="1" y="730"/>
                    <a:pt x="150" y="837"/>
                    <a:pt x="150" y="837"/>
                  </a:cubicBezTo>
                  <a:lnTo>
                    <a:pt x="214" y="866"/>
                  </a:lnTo>
                  <a:lnTo>
                    <a:pt x="257" y="837"/>
                  </a:lnTo>
                  <a:cubicBezTo>
                    <a:pt x="257" y="837"/>
                    <a:pt x="406" y="730"/>
                    <a:pt x="406" y="675"/>
                  </a:cubicBezTo>
                  <a:cubicBezTo>
                    <a:pt x="406" y="662"/>
                    <a:pt x="376" y="568"/>
                    <a:pt x="351" y="487"/>
                  </a:cubicBezTo>
                  <a:lnTo>
                    <a:pt x="257" y="610"/>
                  </a:lnTo>
                  <a:lnTo>
                    <a:pt x="338" y="448"/>
                  </a:lnTo>
                  <a:cubicBezTo>
                    <a:pt x="283" y="257"/>
                    <a:pt x="202" y="1"/>
                    <a:pt x="202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8" name="Google Shape;928;p30"/>
            <p:cNvSpPr/>
            <p:nvPr/>
          </p:nvSpPr>
          <p:spPr>
            <a:xfrm>
              <a:off x="6801150" y="2127100"/>
              <a:ext cx="750" cy="12825"/>
            </a:xfrm>
            <a:custGeom>
              <a:avLst/>
              <a:gdLst/>
              <a:ahLst/>
              <a:cxnLst/>
              <a:rect l="l" t="t" r="r" b="b"/>
              <a:pathLst>
                <a:path w="30" h="513" extrusionOk="0">
                  <a:moveTo>
                    <a:pt x="1" y="1"/>
                  </a:moveTo>
                  <a:lnTo>
                    <a:pt x="1" y="513"/>
                  </a:lnTo>
                  <a:lnTo>
                    <a:pt x="30" y="51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9" name="Google Shape;929;p30"/>
            <p:cNvSpPr/>
            <p:nvPr/>
          </p:nvSpPr>
          <p:spPr>
            <a:xfrm>
              <a:off x="6797100" y="2139575"/>
              <a:ext cx="7150" cy="7800"/>
            </a:xfrm>
            <a:custGeom>
              <a:avLst/>
              <a:gdLst/>
              <a:ahLst/>
              <a:cxnLst/>
              <a:rect l="l" t="t" r="r" b="b"/>
              <a:pathLst>
                <a:path w="286" h="312" extrusionOk="0">
                  <a:moveTo>
                    <a:pt x="163" y="1"/>
                  </a:moveTo>
                  <a:cubicBezTo>
                    <a:pt x="137" y="1"/>
                    <a:pt x="69" y="1"/>
                    <a:pt x="56" y="14"/>
                  </a:cubicBezTo>
                  <a:cubicBezTo>
                    <a:pt x="43" y="14"/>
                    <a:pt x="1" y="270"/>
                    <a:pt x="1" y="312"/>
                  </a:cubicBezTo>
                  <a:cubicBezTo>
                    <a:pt x="13" y="312"/>
                    <a:pt x="256" y="82"/>
                    <a:pt x="286" y="56"/>
                  </a:cubicBezTo>
                  <a:cubicBezTo>
                    <a:pt x="273" y="43"/>
                    <a:pt x="218" y="14"/>
                    <a:pt x="192" y="1"/>
                  </a:cubicBezTo>
                  <a:lnTo>
                    <a:pt x="192" y="14"/>
                  </a:lnTo>
                  <a:lnTo>
                    <a:pt x="163" y="14"/>
                  </a:lnTo>
                  <a:lnTo>
                    <a:pt x="163" y="1"/>
                  </a:lnTo>
                  <a:close/>
                </a:path>
              </a:pathLst>
            </a:custGeom>
            <a:solidFill>
              <a:srgbClr val="3D7D40">
                <a:alpha val="513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0" name="Google Shape;930;p30"/>
            <p:cNvSpPr/>
            <p:nvPr/>
          </p:nvSpPr>
          <p:spPr>
            <a:xfrm>
              <a:off x="6801150" y="2139575"/>
              <a:ext cx="750" cy="350"/>
            </a:xfrm>
            <a:custGeom>
              <a:avLst/>
              <a:gdLst/>
              <a:ahLst/>
              <a:cxnLst/>
              <a:rect l="l" t="t" r="r" b="b"/>
              <a:pathLst>
                <a:path w="30" h="14" extrusionOk="0">
                  <a:moveTo>
                    <a:pt x="1" y="1"/>
                  </a:moveTo>
                  <a:lnTo>
                    <a:pt x="1" y="14"/>
                  </a:lnTo>
                  <a:lnTo>
                    <a:pt x="30" y="14"/>
                  </a:lnTo>
                  <a:lnTo>
                    <a:pt x="30" y="1"/>
                  </a:lnTo>
                  <a:close/>
                </a:path>
              </a:pathLst>
            </a:custGeom>
            <a:solidFill>
              <a:srgbClr val="4415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1" name="Google Shape;931;p30"/>
            <p:cNvSpPr/>
            <p:nvPr/>
          </p:nvSpPr>
          <p:spPr>
            <a:xfrm>
              <a:off x="6746800" y="2117300"/>
              <a:ext cx="10150" cy="21650"/>
            </a:xfrm>
            <a:custGeom>
              <a:avLst/>
              <a:gdLst/>
              <a:ahLst/>
              <a:cxnLst/>
              <a:rect l="l" t="t" r="r" b="b"/>
              <a:pathLst>
                <a:path w="406" h="866" extrusionOk="0">
                  <a:moveTo>
                    <a:pt x="205" y="1"/>
                  </a:moveTo>
                  <a:cubicBezTo>
                    <a:pt x="205" y="1"/>
                    <a:pt x="162" y="95"/>
                    <a:pt x="137" y="218"/>
                  </a:cubicBezTo>
                  <a:lnTo>
                    <a:pt x="179" y="286"/>
                  </a:lnTo>
                  <a:lnTo>
                    <a:pt x="124" y="231"/>
                  </a:lnTo>
                  <a:cubicBezTo>
                    <a:pt x="111" y="286"/>
                    <a:pt x="98" y="338"/>
                    <a:pt x="81" y="393"/>
                  </a:cubicBezTo>
                  <a:lnTo>
                    <a:pt x="124" y="487"/>
                  </a:lnTo>
                  <a:lnTo>
                    <a:pt x="69" y="419"/>
                  </a:lnTo>
                  <a:cubicBezTo>
                    <a:pt x="30" y="542"/>
                    <a:pt x="0" y="649"/>
                    <a:pt x="0" y="675"/>
                  </a:cubicBezTo>
                  <a:cubicBezTo>
                    <a:pt x="0" y="730"/>
                    <a:pt x="150" y="837"/>
                    <a:pt x="150" y="837"/>
                  </a:cubicBezTo>
                  <a:lnTo>
                    <a:pt x="218" y="866"/>
                  </a:lnTo>
                  <a:lnTo>
                    <a:pt x="243" y="837"/>
                  </a:lnTo>
                  <a:cubicBezTo>
                    <a:pt x="243" y="837"/>
                    <a:pt x="405" y="730"/>
                    <a:pt x="405" y="675"/>
                  </a:cubicBezTo>
                  <a:cubicBezTo>
                    <a:pt x="405" y="662"/>
                    <a:pt x="380" y="568"/>
                    <a:pt x="354" y="487"/>
                  </a:cubicBezTo>
                  <a:lnTo>
                    <a:pt x="260" y="610"/>
                  </a:lnTo>
                  <a:lnTo>
                    <a:pt x="341" y="448"/>
                  </a:lnTo>
                  <a:cubicBezTo>
                    <a:pt x="286" y="257"/>
                    <a:pt x="205" y="1"/>
                    <a:pt x="205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2" name="Google Shape;932;p30"/>
            <p:cNvSpPr/>
            <p:nvPr/>
          </p:nvSpPr>
          <p:spPr>
            <a:xfrm>
              <a:off x="6751900" y="2127100"/>
              <a:ext cx="675" cy="12825"/>
            </a:xfrm>
            <a:custGeom>
              <a:avLst/>
              <a:gdLst/>
              <a:ahLst/>
              <a:cxnLst/>
              <a:rect l="l" t="t" r="r" b="b"/>
              <a:pathLst>
                <a:path w="27" h="513" extrusionOk="0">
                  <a:moveTo>
                    <a:pt x="1" y="1"/>
                  </a:moveTo>
                  <a:lnTo>
                    <a:pt x="1" y="513"/>
                  </a:lnTo>
                  <a:lnTo>
                    <a:pt x="27" y="51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3" name="Google Shape;933;p30"/>
            <p:cNvSpPr/>
            <p:nvPr/>
          </p:nvSpPr>
          <p:spPr>
            <a:xfrm>
              <a:off x="6747850" y="2139575"/>
              <a:ext cx="7075" cy="7800"/>
            </a:xfrm>
            <a:custGeom>
              <a:avLst/>
              <a:gdLst/>
              <a:ahLst/>
              <a:cxnLst/>
              <a:rect l="l" t="t" r="r" b="b"/>
              <a:pathLst>
                <a:path w="283" h="312" extrusionOk="0">
                  <a:moveTo>
                    <a:pt x="163" y="1"/>
                  </a:moveTo>
                  <a:cubicBezTo>
                    <a:pt x="137" y="1"/>
                    <a:pt x="69" y="1"/>
                    <a:pt x="56" y="14"/>
                  </a:cubicBezTo>
                  <a:cubicBezTo>
                    <a:pt x="39" y="14"/>
                    <a:pt x="1" y="270"/>
                    <a:pt x="1" y="312"/>
                  </a:cubicBezTo>
                  <a:cubicBezTo>
                    <a:pt x="14" y="312"/>
                    <a:pt x="257" y="82"/>
                    <a:pt x="282" y="56"/>
                  </a:cubicBezTo>
                  <a:cubicBezTo>
                    <a:pt x="270" y="43"/>
                    <a:pt x="218" y="14"/>
                    <a:pt x="189" y="1"/>
                  </a:cubicBezTo>
                  <a:lnTo>
                    <a:pt x="189" y="14"/>
                  </a:lnTo>
                  <a:lnTo>
                    <a:pt x="163" y="14"/>
                  </a:lnTo>
                  <a:lnTo>
                    <a:pt x="163" y="1"/>
                  </a:lnTo>
                  <a:close/>
                </a:path>
              </a:pathLst>
            </a:custGeom>
            <a:solidFill>
              <a:srgbClr val="3D7D40">
                <a:alpha val="513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4" name="Google Shape;934;p30"/>
            <p:cNvSpPr/>
            <p:nvPr/>
          </p:nvSpPr>
          <p:spPr>
            <a:xfrm>
              <a:off x="6751900" y="2139575"/>
              <a:ext cx="675" cy="350"/>
            </a:xfrm>
            <a:custGeom>
              <a:avLst/>
              <a:gdLst/>
              <a:ahLst/>
              <a:cxnLst/>
              <a:rect l="l" t="t" r="r" b="b"/>
              <a:pathLst>
                <a:path w="27" h="14" extrusionOk="0">
                  <a:moveTo>
                    <a:pt x="1" y="1"/>
                  </a:moveTo>
                  <a:lnTo>
                    <a:pt x="1" y="14"/>
                  </a:lnTo>
                  <a:lnTo>
                    <a:pt x="27" y="14"/>
                  </a:lnTo>
                  <a:lnTo>
                    <a:pt x="27" y="1"/>
                  </a:lnTo>
                  <a:close/>
                </a:path>
              </a:pathLst>
            </a:custGeom>
            <a:solidFill>
              <a:srgbClr val="4415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5" name="Google Shape;935;p30"/>
            <p:cNvSpPr/>
            <p:nvPr/>
          </p:nvSpPr>
          <p:spPr>
            <a:xfrm>
              <a:off x="6811275" y="2129125"/>
              <a:ext cx="6100" cy="13575"/>
            </a:xfrm>
            <a:custGeom>
              <a:avLst/>
              <a:gdLst/>
              <a:ahLst/>
              <a:cxnLst/>
              <a:rect l="l" t="t" r="r" b="b"/>
              <a:pathLst>
                <a:path w="244" h="543" extrusionOk="0">
                  <a:moveTo>
                    <a:pt x="124" y="1"/>
                  </a:moveTo>
                  <a:cubicBezTo>
                    <a:pt x="124" y="1"/>
                    <a:pt x="111" y="69"/>
                    <a:pt x="82" y="137"/>
                  </a:cubicBezTo>
                  <a:lnTo>
                    <a:pt x="111" y="189"/>
                  </a:lnTo>
                  <a:lnTo>
                    <a:pt x="82" y="150"/>
                  </a:lnTo>
                  <a:cubicBezTo>
                    <a:pt x="69" y="176"/>
                    <a:pt x="56" y="218"/>
                    <a:pt x="43" y="244"/>
                  </a:cubicBezTo>
                  <a:lnTo>
                    <a:pt x="82" y="299"/>
                  </a:lnTo>
                  <a:lnTo>
                    <a:pt x="43" y="257"/>
                  </a:lnTo>
                  <a:cubicBezTo>
                    <a:pt x="13" y="338"/>
                    <a:pt x="1" y="406"/>
                    <a:pt x="1" y="432"/>
                  </a:cubicBezTo>
                  <a:cubicBezTo>
                    <a:pt x="1" y="461"/>
                    <a:pt x="94" y="526"/>
                    <a:pt x="94" y="526"/>
                  </a:cubicBezTo>
                  <a:lnTo>
                    <a:pt x="137" y="542"/>
                  </a:lnTo>
                  <a:lnTo>
                    <a:pt x="150" y="526"/>
                  </a:lnTo>
                  <a:cubicBezTo>
                    <a:pt x="150" y="526"/>
                    <a:pt x="244" y="461"/>
                    <a:pt x="244" y="432"/>
                  </a:cubicBezTo>
                  <a:cubicBezTo>
                    <a:pt x="244" y="419"/>
                    <a:pt x="231" y="364"/>
                    <a:pt x="218" y="299"/>
                  </a:cubicBezTo>
                  <a:lnTo>
                    <a:pt x="163" y="380"/>
                  </a:lnTo>
                  <a:lnTo>
                    <a:pt x="218" y="283"/>
                  </a:lnTo>
                  <a:cubicBezTo>
                    <a:pt x="175" y="163"/>
                    <a:pt x="124" y="1"/>
                    <a:pt x="124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6" name="Google Shape;936;p30"/>
            <p:cNvSpPr/>
            <p:nvPr/>
          </p:nvSpPr>
          <p:spPr>
            <a:xfrm>
              <a:off x="6814350" y="2135200"/>
              <a:ext cx="350" cy="8125"/>
            </a:xfrm>
            <a:custGeom>
              <a:avLst/>
              <a:gdLst/>
              <a:ahLst/>
              <a:cxnLst/>
              <a:rect l="l" t="t" r="r" b="b"/>
              <a:pathLst>
                <a:path w="14" h="325" extrusionOk="0">
                  <a:moveTo>
                    <a:pt x="1" y="1"/>
                  </a:moveTo>
                  <a:lnTo>
                    <a:pt x="1" y="325"/>
                  </a:lnTo>
                  <a:lnTo>
                    <a:pt x="14" y="32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7" name="Google Shape;937;p30"/>
            <p:cNvSpPr/>
            <p:nvPr/>
          </p:nvSpPr>
          <p:spPr>
            <a:xfrm>
              <a:off x="6812000" y="2142975"/>
              <a:ext cx="4400" cy="5050"/>
            </a:xfrm>
            <a:custGeom>
              <a:avLst/>
              <a:gdLst/>
              <a:ahLst/>
              <a:cxnLst/>
              <a:rect l="l" t="t" r="r" b="b"/>
              <a:pathLst>
                <a:path w="176" h="202" extrusionOk="0">
                  <a:moveTo>
                    <a:pt x="95" y="1"/>
                  </a:moveTo>
                  <a:cubicBezTo>
                    <a:pt x="82" y="1"/>
                    <a:pt x="40" y="14"/>
                    <a:pt x="27" y="14"/>
                  </a:cubicBezTo>
                  <a:cubicBezTo>
                    <a:pt x="27" y="14"/>
                    <a:pt x="1" y="176"/>
                    <a:pt x="1" y="202"/>
                  </a:cubicBezTo>
                  <a:cubicBezTo>
                    <a:pt x="1" y="202"/>
                    <a:pt x="163" y="53"/>
                    <a:pt x="176" y="40"/>
                  </a:cubicBezTo>
                  <a:cubicBezTo>
                    <a:pt x="176" y="27"/>
                    <a:pt x="134" y="14"/>
                    <a:pt x="108" y="14"/>
                  </a:cubicBezTo>
                  <a:lnTo>
                    <a:pt x="95" y="14"/>
                  </a:lnTo>
                  <a:lnTo>
                    <a:pt x="95" y="1"/>
                  </a:lnTo>
                  <a:close/>
                </a:path>
              </a:pathLst>
            </a:custGeom>
            <a:solidFill>
              <a:srgbClr val="3D7D40">
                <a:alpha val="513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8" name="Google Shape;938;p30"/>
            <p:cNvSpPr/>
            <p:nvPr/>
          </p:nvSpPr>
          <p:spPr>
            <a:xfrm>
              <a:off x="6814350" y="2142975"/>
              <a:ext cx="350" cy="350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cubicBezTo>
                    <a:pt x="14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415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9" name="Google Shape;939;p30"/>
            <p:cNvSpPr/>
            <p:nvPr/>
          </p:nvSpPr>
          <p:spPr>
            <a:xfrm>
              <a:off x="6781625" y="2119000"/>
              <a:ext cx="9750" cy="24650"/>
            </a:xfrm>
            <a:custGeom>
              <a:avLst/>
              <a:gdLst/>
              <a:ahLst/>
              <a:cxnLst/>
              <a:rect l="l" t="t" r="r" b="b"/>
              <a:pathLst>
                <a:path w="390" h="986" extrusionOk="0">
                  <a:moveTo>
                    <a:pt x="1" y="1"/>
                  </a:moveTo>
                  <a:lnTo>
                    <a:pt x="65" y="986"/>
                  </a:lnTo>
                  <a:lnTo>
                    <a:pt x="351" y="811"/>
                  </a:lnTo>
                  <a:lnTo>
                    <a:pt x="389" y="25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0" name="Google Shape;940;p30"/>
            <p:cNvSpPr/>
            <p:nvPr/>
          </p:nvSpPr>
          <p:spPr>
            <a:xfrm>
              <a:off x="6760000" y="2107825"/>
              <a:ext cx="24975" cy="35825"/>
            </a:xfrm>
            <a:custGeom>
              <a:avLst/>
              <a:gdLst/>
              <a:ahLst/>
              <a:cxnLst/>
              <a:rect l="l" t="t" r="r" b="b"/>
              <a:pathLst>
                <a:path w="999" h="1433" extrusionOk="0">
                  <a:moveTo>
                    <a:pt x="513" y="1"/>
                  </a:moveTo>
                  <a:lnTo>
                    <a:pt x="201" y="179"/>
                  </a:lnTo>
                  <a:lnTo>
                    <a:pt x="1" y="691"/>
                  </a:lnTo>
                  <a:lnTo>
                    <a:pt x="108" y="1407"/>
                  </a:lnTo>
                  <a:lnTo>
                    <a:pt x="930" y="1433"/>
                  </a:lnTo>
                  <a:lnTo>
                    <a:pt x="999" y="785"/>
                  </a:lnTo>
                  <a:lnTo>
                    <a:pt x="768" y="192"/>
                  </a:lnTo>
                  <a:lnTo>
                    <a:pt x="513" y="1"/>
                  </a:ln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1" name="Google Shape;941;p30"/>
            <p:cNvSpPr/>
            <p:nvPr/>
          </p:nvSpPr>
          <p:spPr>
            <a:xfrm>
              <a:off x="6771825" y="2104200"/>
              <a:ext cx="22625" cy="25925"/>
            </a:xfrm>
            <a:custGeom>
              <a:avLst/>
              <a:gdLst/>
              <a:ahLst/>
              <a:cxnLst/>
              <a:rect l="l" t="t" r="r" b="b"/>
              <a:pathLst>
                <a:path w="905" h="1037" extrusionOk="0">
                  <a:moveTo>
                    <a:pt x="351" y="0"/>
                  </a:moveTo>
                  <a:lnTo>
                    <a:pt x="1" y="39"/>
                  </a:lnTo>
                  <a:lnTo>
                    <a:pt x="40" y="146"/>
                  </a:lnTo>
                  <a:lnTo>
                    <a:pt x="364" y="418"/>
                  </a:lnTo>
                  <a:lnTo>
                    <a:pt x="581" y="1037"/>
                  </a:lnTo>
                  <a:lnTo>
                    <a:pt x="905" y="891"/>
                  </a:lnTo>
                  <a:lnTo>
                    <a:pt x="636" y="188"/>
                  </a:lnTo>
                  <a:lnTo>
                    <a:pt x="351" y="0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2" name="Google Shape;942;p30"/>
            <p:cNvSpPr/>
            <p:nvPr/>
          </p:nvSpPr>
          <p:spPr>
            <a:xfrm>
              <a:off x="6760000" y="2107825"/>
              <a:ext cx="24975" cy="22300"/>
            </a:xfrm>
            <a:custGeom>
              <a:avLst/>
              <a:gdLst/>
              <a:ahLst/>
              <a:cxnLst/>
              <a:rect l="l" t="t" r="r" b="b"/>
              <a:pathLst>
                <a:path w="999" h="892" extrusionOk="0">
                  <a:moveTo>
                    <a:pt x="513" y="1"/>
                  </a:moveTo>
                  <a:lnTo>
                    <a:pt x="201" y="179"/>
                  </a:lnTo>
                  <a:lnTo>
                    <a:pt x="1" y="691"/>
                  </a:lnTo>
                  <a:lnTo>
                    <a:pt x="27" y="892"/>
                  </a:lnTo>
                  <a:lnTo>
                    <a:pt x="282" y="273"/>
                  </a:lnTo>
                  <a:lnTo>
                    <a:pt x="513" y="124"/>
                  </a:lnTo>
                  <a:lnTo>
                    <a:pt x="743" y="231"/>
                  </a:lnTo>
                  <a:lnTo>
                    <a:pt x="999" y="785"/>
                  </a:lnTo>
                  <a:lnTo>
                    <a:pt x="768" y="192"/>
                  </a:lnTo>
                  <a:lnTo>
                    <a:pt x="513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3" name="Google Shape;943;p30"/>
            <p:cNvSpPr/>
            <p:nvPr/>
          </p:nvSpPr>
          <p:spPr>
            <a:xfrm>
              <a:off x="6764050" y="2112300"/>
              <a:ext cx="1725" cy="15475"/>
            </a:xfrm>
            <a:custGeom>
              <a:avLst/>
              <a:gdLst/>
              <a:ahLst/>
              <a:cxnLst/>
              <a:rect l="l" t="t" r="r" b="b"/>
              <a:pathLst>
                <a:path w="69" h="619" extrusionOk="0">
                  <a:moveTo>
                    <a:pt x="39" y="0"/>
                  </a:moveTo>
                  <a:lnTo>
                    <a:pt x="1" y="13"/>
                  </a:lnTo>
                  <a:cubicBezTo>
                    <a:pt x="1" y="39"/>
                    <a:pt x="39" y="619"/>
                    <a:pt x="39" y="619"/>
                  </a:cubicBezTo>
                  <a:lnTo>
                    <a:pt x="69" y="619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4" name="Google Shape;944;p30"/>
            <p:cNvSpPr/>
            <p:nvPr/>
          </p:nvSpPr>
          <p:spPr>
            <a:xfrm>
              <a:off x="6779925" y="2112300"/>
              <a:ext cx="2050" cy="15475"/>
            </a:xfrm>
            <a:custGeom>
              <a:avLst/>
              <a:gdLst/>
              <a:ahLst/>
              <a:cxnLst/>
              <a:rect l="l" t="t" r="r" b="b"/>
              <a:pathLst>
                <a:path w="82" h="619" extrusionOk="0">
                  <a:moveTo>
                    <a:pt x="27" y="0"/>
                  </a:moveTo>
                  <a:lnTo>
                    <a:pt x="1" y="619"/>
                  </a:lnTo>
                  <a:lnTo>
                    <a:pt x="27" y="619"/>
                  </a:lnTo>
                  <a:cubicBezTo>
                    <a:pt x="27" y="619"/>
                    <a:pt x="82" y="39"/>
                    <a:pt x="82" y="13"/>
                  </a:cubicBezTo>
                  <a:lnTo>
                    <a:pt x="27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5" name="Google Shape;945;p30"/>
            <p:cNvSpPr/>
            <p:nvPr/>
          </p:nvSpPr>
          <p:spPr>
            <a:xfrm>
              <a:off x="6769800" y="2109200"/>
              <a:ext cx="675" cy="18250"/>
            </a:xfrm>
            <a:custGeom>
              <a:avLst/>
              <a:gdLst/>
              <a:ahLst/>
              <a:cxnLst/>
              <a:rect l="l" t="t" r="r" b="b"/>
              <a:pathLst>
                <a:path w="27" h="730" extrusionOk="0">
                  <a:moveTo>
                    <a:pt x="27" y="1"/>
                  </a:moveTo>
                  <a:lnTo>
                    <a:pt x="14" y="56"/>
                  </a:lnTo>
                  <a:lnTo>
                    <a:pt x="1" y="717"/>
                  </a:lnTo>
                  <a:lnTo>
                    <a:pt x="27" y="730"/>
                  </a:lnTo>
                  <a:lnTo>
                    <a:pt x="2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6" name="Google Shape;946;p30"/>
            <p:cNvSpPr/>
            <p:nvPr/>
          </p:nvSpPr>
          <p:spPr>
            <a:xfrm>
              <a:off x="6775550" y="2109525"/>
              <a:ext cx="1000" cy="18250"/>
            </a:xfrm>
            <a:custGeom>
              <a:avLst/>
              <a:gdLst/>
              <a:ahLst/>
              <a:cxnLst/>
              <a:rect l="l" t="t" r="r" b="b"/>
              <a:pathLst>
                <a:path w="40" h="730" extrusionOk="0">
                  <a:moveTo>
                    <a:pt x="40" y="1"/>
                  </a:moveTo>
                  <a:lnTo>
                    <a:pt x="27" y="56"/>
                  </a:lnTo>
                  <a:lnTo>
                    <a:pt x="1" y="717"/>
                  </a:lnTo>
                  <a:lnTo>
                    <a:pt x="40" y="730"/>
                  </a:lnTo>
                  <a:lnTo>
                    <a:pt x="40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7" name="Google Shape;947;p30"/>
            <p:cNvSpPr/>
            <p:nvPr/>
          </p:nvSpPr>
          <p:spPr>
            <a:xfrm>
              <a:off x="6764375" y="2126775"/>
              <a:ext cx="16875" cy="16875"/>
            </a:xfrm>
            <a:custGeom>
              <a:avLst/>
              <a:gdLst/>
              <a:ahLst/>
              <a:cxnLst/>
              <a:rect l="l" t="t" r="r" b="b"/>
              <a:pathLst>
                <a:path w="675" h="675" extrusionOk="0">
                  <a:moveTo>
                    <a:pt x="1" y="1"/>
                  </a:moveTo>
                  <a:cubicBezTo>
                    <a:pt x="1" y="1"/>
                    <a:pt x="56" y="620"/>
                    <a:pt x="56" y="662"/>
                  </a:cubicBezTo>
                  <a:lnTo>
                    <a:pt x="623" y="675"/>
                  </a:lnTo>
                  <a:lnTo>
                    <a:pt x="674" y="1"/>
                  </a:lnTo>
                  <a:close/>
                </a:path>
              </a:pathLst>
            </a:custGeom>
            <a:solidFill>
              <a:srgbClr val="EADAD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8" name="Google Shape;948;p30"/>
            <p:cNvSpPr/>
            <p:nvPr/>
          </p:nvSpPr>
          <p:spPr>
            <a:xfrm>
              <a:off x="6766075" y="2128075"/>
              <a:ext cx="13550" cy="15575"/>
            </a:xfrm>
            <a:custGeom>
              <a:avLst/>
              <a:gdLst/>
              <a:ahLst/>
              <a:cxnLst/>
              <a:rect l="l" t="t" r="r" b="b"/>
              <a:pathLst>
                <a:path w="542" h="623" extrusionOk="0">
                  <a:moveTo>
                    <a:pt x="1" y="1"/>
                  </a:moveTo>
                  <a:cubicBezTo>
                    <a:pt x="1" y="1"/>
                    <a:pt x="39" y="584"/>
                    <a:pt x="39" y="610"/>
                  </a:cubicBezTo>
                  <a:lnTo>
                    <a:pt x="487" y="623"/>
                  </a:lnTo>
                  <a:lnTo>
                    <a:pt x="542" y="1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9" name="Google Shape;949;p30"/>
            <p:cNvSpPr/>
            <p:nvPr/>
          </p:nvSpPr>
          <p:spPr>
            <a:xfrm>
              <a:off x="6775550" y="2106850"/>
              <a:ext cx="9750" cy="3750"/>
            </a:xfrm>
            <a:custGeom>
              <a:avLst/>
              <a:gdLst/>
              <a:ahLst/>
              <a:cxnLst/>
              <a:rect l="l" t="t" r="r" b="b"/>
              <a:pathLst>
                <a:path w="390" h="150" extrusionOk="0">
                  <a:moveTo>
                    <a:pt x="351" y="1"/>
                  </a:moveTo>
                  <a:lnTo>
                    <a:pt x="1" y="137"/>
                  </a:lnTo>
                  <a:lnTo>
                    <a:pt x="27" y="150"/>
                  </a:lnTo>
                  <a:lnTo>
                    <a:pt x="389" y="14"/>
                  </a:lnTo>
                  <a:lnTo>
                    <a:pt x="351" y="1"/>
                  </a:lnTo>
                  <a:close/>
                </a:path>
              </a:pathLst>
            </a:custGeom>
            <a:solidFill>
              <a:srgbClr val="41AAA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0" name="Google Shape;950;p30"/>
            <p:cNvSpPr/>
            <p:nvPr/>
          </p:nvSpPr>
          <p:spPr>
            <a:xfrm>
              <a:off x="6780900" y="2111225"/>
              <a:ext cx="8125" cy="4075"/>
            </a:xfrm>
            <a:custGeom>
              <a:avLst/>
              <a:gdLst/>
              <a:ahLst/>
              <a:cxnLst/>
              <a:rect l="l" t="t" r="r" b="b"/>
              <a:pathLst>
                <a:path w="325" h="163" extrusionOk="0">
                  <a:moveTo>
                    <a:pt x="312" y="1"/>
                  </a:moveTo>
                  <a:lnTo>
                    <a:pt x="1" y="124"/>
                  </a:lnTo>
                  <a:lnTo>
                    <a:pt x="1" y="137"/>
                  </a:lnTo>
                  <a:lnTo>
                    <a:pt x="13" y="163"/>
                  </a:lnTo>
                  <a:lnTo>
                    <a:pt x="325" y="43"/>
                  </a:lnTo>
                  <a:lnTo>
                    <a:pt x="312" y="1"/>
                  </a:lnTo>
                  <a:close/>
                </a:path>
              </a:pathLst>
            </a:custGeom>
            <a:solidFill>
              <a:srgbClr val="41AAA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1" name="Google Shape;951;p30"/>
            <p:cNvSpPr/>
            <p:nvPr/>
          </p:nvSpPr>
          <p:spPr>
            <a:xfrm>
              <a:off x="6782925" y="2116975"/>
              <a:ext cx="8450" cy="4075"/>
            </a:xfrm>
            <a:custGeom>
              <a:avLst/>
              <a:gdLst/>
              <a:ahLst/>
              <a:cxnLst/>
              <a:rect l="l" t="t" r="r" b="b"/>
              <a:pathLst>
                <a:path w="338" h="163" extrusionOk="0">
                  <a:moveTo>
                    <a:pt x="325" y="1"/>
                  </a:moveTo>
                  <a:lnTo>
                    <a:pt x="1" y="137"/>
                  </a:lnTo>
                  <a:lnTo>
                    <a:pt x="13" y="163"/>
                  </a:lnTo>
                  <a:lnTo>
                    <a:pt x="337" y="40"/>
                  </a:lnTo>
                  <a:lnTo>
                    <a:pt x="325" y="1"/>
                  </a:lnTo>
                  <a:close/>
                </a:path>
              </a:pathLst>
            </a:custGeom>
            <a:solidFill>
              <a:srgbClr val="41AAA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2" name="Google Shape;952;p30"/>
            <p:cNvSpPr/>
            <p:nvPr/>
          </p:nvSpPr>
          <p:spPr>
            <a:xfrm>
              <a:off x="6784625" y="2122425"/>
              <a:ext cx="8775" cy="4075"/>
            </a:xfrm>
            <a:custGeom>
              <a:avLst/>
              <a:gdLst/>
              <a:ahLst/>
              <a:cxnLst/>
              <a:rect l="l" t="t" r="r" b="b"/>
              <a:pathLst>
                <a:path w="351" h="163" extrusionOk="0">
                  <a:moveTo>
                    <a:pt x="338" y="0"/>
                  </a:moveTo>
                  <a:lnTo>
                    <a:pt x="1" y="133"/>
                  </a:lnTo>
                  <a:lnTo>
                    <a:pt x="14" y="162"/>
                  </a:lnTo>
                  <a:lnTo>
                    <a:pt x="350" y="39"/>
                  </a:lnTo>
                  <a:lnTo>
                    <a:pt x="338" y="0"/>
                  </a:lnTo>
                  <a:close/>
                </a:path>
              </a:pathLst>
            </a:custGeom>
            <a:solidFill>
              <a:srgbClr val="41AAA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3" name="Google Shape;953;p30"/>
            <p:cNvSpPr/>
            <p:nvPr/>
          </p:nvSpPr>
          <p:spPr>
            <a:xfrm>
              <a:off x="6756925" y="2105150"/>
              <a:ext cx="31125" cy="24975"/>
            </a:xfrm>
            <a:custGeom>
              <a:avLst/>
              <a:gdLst/>
              <a:ahLst/>
              <a:cxnLst/>
              <a:rect l="l" t="t" r="r" b="b"/>
              <a:pathLst>
                <a:path w="1245" h="999" extrusionOk="0">
                  <a:moveTo>
                    <a:pt x="597" y="1"/>
                  </a:moveTo>
                  <a:lnTo>
                    <a:pt x="243" y="244"/>
                  </a:lnTo>
                  <a:lnTo>
                    <a:pt x="0" y="879"/>
                  </a:lnTo>
                  <a:cubicBezTo>
                    <a:pt x="17" y="879"/>
                    <a:pt x="81" y="905"/>
                    <a:pt x="81" y="905"/>
                  </a:cubicBezTo>
                  <a:lnTo>
                    <a:pt x="324" y="286"/>
                  </a:lnTo>
                  <a:lnTo>
                    <a:pt x="636" y="108"/>
                  </a:lnTo>
                  <a:lnTo>
                    <a:pt x="891" y="299"/>
                  </a:lnTo>
                  <a:lnTo>
                    <a:pt x="1177" y="999"/>
                  </a:lnTo>
                  <a:lnTo>
                    <a:pt x="1245" y="973"/>
                  </a:lnTo>
                  <a:lnTo>
                    <a:pt x="989" y="257"/>
                  </a:lnTo>
                  <a:lnTo>
                    <a:pt x="597" y="1"/>
                  </a:lnTo>
                  <a:close/>
                </a:path>
              </a:pathLst>
            </a:custGeom>
            <a:solidFill>
              <a:srgbClr val="41AAA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4" name="Google Shape;954;p30"/>
            <p:cNvSpPr/>
            <p:nvPr/>
          </p:nvSpPr>
          <p:spPr>
            <a:xfrm>
              <a:off x="6765025" y="2127100"/>
              <a:ext cx="14200" cy="16225"/>
            </a:xfrm>
            <a:custGeom>
              <a:avLst/>
              <a:gdLst/>
              <a:ahLst/>
              <a:cxnLst/>
              <a:rect l="l" t="t" r="r" b="b"/>
              <a:pathLst>
                <a:path w="568" h="649" extrusionOk="0">
                  <a:moveTo>
                    <a:pt x="81" y="1"/>
                  </a:moveTo>
                  <a:lnTo>
                    <a:pt x="0" y="27"/>
                  </a:lnTo>
                  <a:lnTo>
                    <a:pt x="555" y="649"/>
                  </a:lnTo>
                  <a:lnTo>
                    <a:pt x="567" y="581"/>
                  </a:lnTo>
                  <a:lnTo>
                    <a:pt x="81" y="1"/>
                  </a:lnTo>
                  <a:close/>
                </a:path>
              </a:pathLst>
            </a:custGeom>
            <a:solidFill>
              <a:srgbClr val="EADAD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5" name="Google Shape;955;p30"/>
            <p:cNvSpPr/>
            <p:nvPr/>
          </p:nvSpPr>
          <p:spPr>
            <a:xfrm>
              <a:off x="6766075" y="2127425"/>
              <a:ext cx="14525" cy="15900"/>
            </a:xfrm>
            <a:custGeom>
              <a:avLst/>
              <a:gdLst/>
              <a:ahLst/>
              <a:cxnLst/>
              <a:rect l="l" t="t" r="r" b="b"/>
              <a:pathLst>
                <a:path w="581" h="636" extrusionOk="0">
                  <a:moveTo>
                    <a:pt x="513" y="1"/>
                  </a:moveTo>
                  <a:lnTo>
                    <a:pt x="1" y="568"/>
                  </a:lnTo>
                  <a:lnTo>
                    <a:pt x="39" y="636"/>
                  </a:lnTo>
                  <a:lnTo>
                    <a:pt x="581" y="14"/>
                  </a:lnTo>
                  <a:lnTo>
                    <a:pt x="513" y="1"/>
                  </a:lnTo>
                  <a:close/>
                </a:path>
              </a:pathLst>
            </a:custGeom>
            <a:solidFill>
              <a:srgbClr val="EADAD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956" name="Google Shape;956;p30"/>
          <p:cNvSpPr txBox="1">
            <a:spLocks noGrp="1"/>
          </p:cNvSpPr>
          <p:nvPr>
            <p:ph type="title"/>
          </p:nvPr>
        </p:nvSpPr>
        <p:spPr>
          <a:xfrm>
            <a:off x="950967" y="2318651"/>
            <a:ext cx="4566000" cy="70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57" name="Google Shape;957;p30"/>
          <p:cNvSpPr txBox="1">
            <a:spLocks noGrp="1"/>
          </p:cNvSpPr>
          <p:nvPr>
            <p:ph type="subTitle" idx="1"/>
          </p:nvPr>
        </p:nvSpPr>
        <p:spPr>
          <a:xfrm>
            <a:off x="950967" y="3037741"/>
            <a:ext cx="4566000" cy="151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3333295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" name="Google Shape;959;p31"/>
          <p:cNvSpPr/>
          <p:nvPr/>
        </p:nvSpPr>
        <p:spPr>
          <a:xfrm>
            <a:off x="5120476" y="5840075"/>
            <a:ext cx="69539" cy="3304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0" name="Google Shape;960;p31"/>
          <p:cNvSpPr/>
          <p:nvPr/>
        </p:nvSpPr>
        <p:spPr>
          <a:xfrm>
            <a:off x="-67" y="5012699"/>
            <a:ext cx="12192064" cy="1814668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1" name="Google Shape;961;p31"/>
          <p:cNvSpPr/>
          <p:nvPr/>
        </p:nvSpPr>
        <p:spPr>
          <a:xfrm>
            <a:off x="4999801" y="5540001"/>
            <a:ext cx="7192180" cy="1317995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2" name="Google Shape;962;p31"/>
          <p:cNvSpPr/>
          <p:nvPr/>
        </p:nvSpPr>
        <p:spPr>
          <a:xfrm>
            <a:off x="-75" y="5504090"/>
            <a:ext cx="12192064" cy="1353911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3" name="Google Shape;963;p31"/>
          <p:cNvSpPr txBox="1">
            <a:spLocks noGrp="1"/>
          </p:cNvSpPr>
          <p:nvPr>
            <p:ph type="title"/>
          </p:nvPr>
        </p:nvSpPr>
        <p:spPr>
          <a:xfrm>
            <a:off x="950967" y="2301051"/>
            <a:ext cx="4030800" cy="69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64" name="Google Shape;964;p31"/>
          <p:cNvSpPr txBox="1">
            <a:spLocks noGrp="1"/>
          </p:cNvSpPr>
          <p:nvPr>
            <p:ph type="subTitle" idx="1"/>
          </p:nvPr>
        </p:nvSpPr>
        <p:spPr>
          <a:xfrm>
            <a:off x="950967" y="3020141"/>
            <a:ext cx="4666800" cy="15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832102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3">
  <p:cSld name="Title and text 3">
    <p:spTree>
      <p:nvGrpSpPr>
        <p:cNvPr id="1" name="Shape 9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" name="Google Shape;966;p32"/>
          <p:cNvSpPr/>
          <p:nvPr/>
        </p:nvSpPr>
        <p:spPr>
          <a:xfrm flipH="1">
            <a:off x="7144167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7" name="Google Shape;967;p32"/>
          <p:cNvSpPr/>
          <p:nvPr/>
        </p:nvSpPr>
        <p:spPr>
          <a:xfrm flipH="1">
            <a:off x="1990286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8" name="Google Shape;968;p32"/>
          <p:cNvSpPr/>
          <p:nvPr/>
        </p:nvSpPr>
        <p:spPr>
          <a:xfrm flipH="1">
            <a:off x="-16" y="5321402"/>
            <a:ext cx="12192016" cy="826665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9" name="Google Shape;969;p32"/>
          <p:cNvSpPr/>
          <p:nvPr/>
        </p:nvSpPr>
        <p:spPr>
          <a:xfrm flipH="1">
            <a:off x="17" y="5669032"/>
            <a:ext cx="12192016" cy="826673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70" name="Google Shape;970;p32"/>
          <p:cNvSpPr/>
          <p:nvPr/>
        </p:nvSpPr>
        <p:spPr>
          <a:xfrm flipH="1">
            <a:off x="25" y="5500935"/>
            <a:ext cx="7338209" cy="164847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71" name="Google Shape;971;p32"/>
          <p:cNvSpPr/>
          <p:nvPr/>
        </p:nvSpPr>
        <p:spPr>
          <a:xfrm flipH="1">
            <a:off x="242833" y="6092424"/>
            <a:ext cx="11949201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72" name="Google Shape;972;p32"/>
          <p:cNvSpPr/>
          <p:nvPr/>
        </p:nvSpPr>
        <p:spPr>
          <a:xfrm flipH="1">
            <a:off x="17" y="6392956"/>
            <a:ext cx="12192016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973" name="Google Shape;973;p32"/>
          <p:cNvGrpSpPr/>
          <p:nvPr/>
        </p:nvGrpSpPr>
        <p:grpSpPr>
          <a:xfrm>
            <a:off x="826834" y="4774934"/>
            <a:ext cx="1110233" cy="1362900"/>
            <a:chOff x="620125" y="3581200"/>
            <a:chExt cx="832675" cy="1022175"/>
          </a:xfrm>
        </p:grpSpPr>
        <p:sp>
          <p:nvSpPr>
            <p:cNvPr id="974" name="Google Shape;974;p32"/>
            <p:cNvSpPr/>
            <p:nvPr/>
          </p:nvSpPr>
          <p:spPr>
            <a:xfrm>
              <a:off x="1277069" y="4458809"/>
              <a:ext cx="78159" cy="144566"/>
            </a:xfrm>
            <a:custGeom>
              <a:avLst/>
              <a:gdLst/>
              <a:ahLst/>
              <a:cxnLst/>
              <a:rect l="l" t="t" r="r" b="b"/>
              <a:pathLst>
                <a:path w="306" h="566" extrusionOk="0">
                  <a:moveTo>
                    <a:pt x="166" y="1"/>
                  </a:moveTo>
                  <a:cubicBezTo>
                    <a:pt x="82" y="1"/>
                    <a:pt x="0" y="58"/>
                    <a:pt x="47" y="119"/>
                  </a:cubicBezTo>
                  <a:cubicBezTo>
                    <a:pt x="144" y="242"/>
                    <a:pt x="115" y="566"/>
                    <a:pt x="115" y="566"/>
                  </a:cubicBezTo>
                  <a:lnTo>
                    <a:pt x="238" y="566"/>
                  </a:lnTo>
                  <a:cubicBezTo>
                    <a:pt x="209" y="226"/>
                    <a:pt x="306" y="119"/>
                    <a:pt x="306" y="119"/>
                  </a:cubicBezTo>
                  <a:cubicBezTo>
                    <a:pt x="293" y="33"/>
                    <a:pt x="229" y="1"/>
                    <a:pt x="166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5" name="Google Shape;975;p32"/>
            <p:cNvSpPr/>
            <p:nvPr/>
          </p:nvSpPr>
          <p:spPr>
            <a:xfrm>
              <a:off x="1189460" y="3581455"/>
              <a:ext cx="263341" cy="958326"/>
            </a:xfrm>
            <a:custGeom>
              <a:avLst/>
              <a:gdLst/>
              <a:ahLst/>
              <a:cxnLst/>
              <a:rect l="l" t="t" r="r" b="b"/>
              <a:pathLst>
                <a:path w="1031" h="3752" extrusionOk="0">
                  <a:moveTo>
                    <a:pt x="524" y="0"/>
                  </a:moveTo>
                  <a:cubicBezTo>
                    <a:pt x="469" y="0"/>
                    <a:pt x="415" y="113"/>
                    <a:pt x="364" y="382"/>
                  </a:cubicBezTo>
                  <a:cubicBezTo>
                    <a:pt x="364" y="382"/>
                    <a:pt x="1" y="3418"/>
                    <a:pt x="257" y="3635"/>
                  </a:cubicBezTo>
                  <a:cubicBezTo>
                    <a:pt x="328" y="3702"/>
                    <a:pt x="437" y="3751"/>
                    <a:pt x="549" y="3751"/>
                  </a:cubicBezTo>
                  <a:cubicBezTo>
                    <a:pt x="754" y="3751"/>
                    <a:pt x="972" y="3586"/>
                    <a:pt x="999" y="3055"/>
                  </a:cubicBezTo>
                  <a:cubicBezTo>
                    <a:pt x="1031" y="2379"/>
                    <a:pt x="774" y="0"/>
                    <a:pt x="524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6" name="Google Shape;976;p32"/>
            <p:cNvSpPr/>
            <p:nvPr/>
          </p:nvSpPr>
          <p:spPr>
            <a:xfrm>
              <a:off x="1175412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8" y="0"/>
                  </a:moveTo>
                  <a:cubicBezTo>
                    <a:pt x="525" y="0"/>
                    <a:pt x="468" y="116"/>
                    <a:pt x="419" y="383"/>
                  </a:cubicBezTo>
                  <a:cubicBezTo>
                    <a:pt x="419" y="383"/>
                    <a:pt x="1" y="3218"/>
                    <a:pt x="312" y="3636"/>
                  </a:cubicBezTo>
                  <a:cubicBezTo>
                    <a:pt x="325" y="3662"/>
                    <a:pt x="364" y="3691"/>
                    <a:pt x="393" y="3704"/>
                  </a:cubicBezTo>
                  <a:cubicBezTo>
                    <a:pt x="244" y="3095"/>
                    <a:pt x="500" y="370"/>
                    <a:pt x="500" y="370"/>
                  </a:cubicBezTo>
                  <a:cubicBezTo>
                    <a:pt x="526" y="33"/>
                    <a:pt x="607" y="114"/>
                    <a:pt x="636" y="46"/>
                  </a:cubicBezTo>
                  <a:cubicBezTo>
                    <a:pt x="617" y="16"/>
                    <a:pt x="598" y="0"/>
                    <a:pt x="578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7" name="Google Shape;977;p32"/>
            <p:cNvSpPr/>
            <p:nvPr/>
          </p:nvSpPr>
          <p:spPr>
            <a:xfrm>
              <a:off x="1018838" y="4458809"/>
              <a:ext cx="77393" cy="144566"/>
            </a:xfrm>
            <a:custGeom>
              <a:avLst/>
              <a:gdLst/>
              <a:ahLst/>
              <a:cxnLst/>
              <a:rect l="l" t="t" r="r" b="b"/>
              <a:pathLst>
                <a:path w="303" h="566" extrusionOk="0">
                  <a:moveTo>
                    <a:pt x="166" y="1"/>
                  </a:moveTo>
                  <a:cubicBezTo>
                    <a:pt x="82" y="1"/>
                    <a:pt x="1" y="58"/>
                    <a:pt x="47" y="119"/>
                  </a:cubicBezTo>
                  <a:cubicBezTo>
                    <a:pt x="141" y="242"/>
                    <a:pt x="115" y="566"/>
                    <a:pt x="115" y="566"/>
                  </a:cubicBezTo>
                  <a:lnTo>
                    <a:pt x="235" y="566"/>
                  </a:lnTo>
                  <a:cubicBezTo>
                    <a:pt x="209" y="226"/>
                    <a:pt x="303" y="119"/>
                    <a:pt x="303" y="119"/>
                  </a:cubicBezTo>
                  <a:cubicBezTo>
                    <a:pt x="292" y="33"/>
                    <a:pt x="228" y="1"/>
                    <a:pt x="166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8" name="Google Shape;978;p32"/>
            <p:cNvSpPr/>
            <p:nvPr/>
          </p:nvSpPr>
          <p:spPr>
            <a:xfrm>
              <a:off x="927142" y="3581455"/>
              <a:ext cx="267427" cy="958326"/>
            </a:xfrm>
            <a:custGeom>
              <a:avLst/>
              <a:gdLst/>
              <a:ahLst/>
              <a:cxnLst/>
              <a:rect l="l" t="t" r="r" b="b"/>
              <a:pathLst>
                <a:path w="1047" h="3752" extrusionOk="0">
                  <a:moveTo>
                    <a:pt x="530" y="0"/>
                  </a:moveTo>
                  <a:cubicBezTo>
                    <a:pt x="473" y="0"/>
                    <a:pt x="417" y="113"/>
                    <a:pt x="364" y="382"/>
                  </a:cubicBezTo>
                  <a:cubicBezTo>
                    <a:pt x="364" y="382"/>
                    <a:pt x="1" y="3418"/>
                    <a:pt x="257" y="3635"/>
                  </a:cubicBezTo>
                  <a:cubicBezTo>
                    <a:pt x="334" y="3702"/>
                    <a:pt x="446" y="3751"/>
                    <a:pt x="561" y="3751"/>
                  </a:cubicBezTo>
                  <a:cubicBezTo>
                    <a:pt x="770" y="3751"/>
                    <a:pt x="987" y="3586"/>
                    <a:pt x="1012" y="3055"/>
                  </a:cubicBezTo>
                  <a:cubicBezTo>
                    <a:pt x="1046" y="2379"/>
                    <a:pt x="788" y="0"/>
                    <a:pt x="530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9" name="Google Shape;979;p32"/>
            <p:cNvSpPr/>
            <p:nvPr/>
          </p:nvSpPr>
          <p:spPr>
            <a:xfrm>
              <a:off x="916414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2" y="0"/>
                  </a:moveTo>
                  <a:cubicBezTo>
                    <a:pt x="517" y="0"/>
                    <a:pt x="465" y="116"/>
                    <a:pt x="406" y="383"/>
                  </a:cubicBezTo>
                  <a:cubicBezTo>
                    <a:pt x="406" y="383"/>
                    <a:pt x="1" y="3218"/>
                    <a:pt x="299" y="3636"/>
                  </a:cubicBezTo>
                  <a:cubicBezTo>
                    <a:pt x="325" y="3662"/>
                    <a:pt x="367" y="3691"/>
                    <a:pt x="393" y="3704"/>
                  </a:cubicBezTo>
                  <a:cubicBezTo>
                    <a:pt x="244" y="3095"/>
                    <a:pt x="487" y="370"/>
                    <a:pt x="487" y="370"/>
                  </a:cubicBezTo>
                  <a:cubicBezTo>
                    <a:pt x="529" y="33"/>
                    <a:pt x="610" y="114"/>
                    <a:pt x="636" y="46"/>
                  </a:cubicBezTo>
                  <a:cubicBezTo>
                    <a:pt x="614" y="16"/>
                    <a:pt x="593" y="0"/>
                    <a:pt x="572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0" name="Google Shape;980;p32"/>
            <p:cNvSpPr/>
            <p:nvPr/>
          </p:nvSpPr>
          <p:spPr>
            <a:xfrm>
              <a:off x="722549" y="4458809"/>
              <a:ext cx="77393" cy="144566"/>
            </a:xfrm>
            <a:custGeom>
              <a:avLst/>
              <a:gdLst/>
              <a:ahLst/>
              <a:cxnLst/>
              <a:rect l="l" t="t" r="r" b="b"/>
              <a:pathLst>
                <a:path w="303" h="566" extrusionOk="0">
                  <a:moveTo>
                    <a:pt x="164" y="1"/>
                  </a:moveTo>
                  <a:cubicBezTo>
                    <a:pt x="81" y="1"/>
                    <a:pt x="1" y="58"/>
                    <a:pt x="47" y="119"/>
                  </a:cubicBezTo>
                  <a:cubicBezTo>
                    <a:pt x="141" y="242"/>
                    <a:pt x="112" y="566"/>
                    <a:pt x="112" y="566"/>
                  </a:cubicBezTo>
                  <a:lnTo>
                    <a:pt x="235" y="566"/>
                  </a:lnTo>
                  <a:cubicBezTo>
                    <a:pt x="209" y="226"/>
                    <a:pt x="303" y="119"/>
                    <a:pt x="303" y="119"/>
                  </a:cubicBezTo>
                  <a:cubicBezTo>
                    <a:pt x="290" y="33"/>
                    <a:pt x="227" y="1"/>
                    <a:pt x="164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1" name="Google Shape;981;p32"/>
            <p:cNvSpPr/>
            <p:nvPr/>
          </p:nvSpPr>
          <p:spPr>
            <a:xfrm>
              <a:off x="630853" y="3581455"/>
              <a:ext cx="267427" cy="958326"/>
            </a:xfrm>
            <a:custGeom>
              <a:avLst/>
              <a:gdLst/>
              <a:ahLst/>
              <a:cxnLst/>
              <a:rect l="l" t="t" r="r" b="b"/>
              <a:pathLst>
                <a:path w="1047" h="3752" extrusionOk="0">
                  <a:moveTo>
                    <a:pt x="537" y="0"/>
                  </a:moveTo>
                  <a:cubicBezTo>
                    <a:pt x="482" y="0"/>
                    <a:pt x="428" y="113"/>
                    <a:pt x="377" y="382"/>
                  </a:cubicBezTo>
                  <a:cubicBezTo>
                    <a:pt x="377" y="382"/>
                    <a:pt x="1" y="3418"/>
                    <a:pt x="257" y="3635"/>
                  </a:cubicBezTo>
                  <a:cubicBezTo>
                    <a:pt x="333" y="3702"/>
                    <a:pt x="445" y="3751"/>
                    <a:pt x="560" y="3751"/>
                  </a:cubicBezTo>
                  <a:cubicBezTo>
                    <a:pt x="769" y="3751"/>
                    <a:pt x="987" y="3586"/>
                    <a:pt x="1012" y="3055"/>
                  </a:cubicBezTo>
                  <a:cubicBezTo>
                    <a:pt x="1046" y="2379"/>
                    <a:pt x="788" y="0"/>
                    <a:pt x="537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2" name="Google Shape;982;p32"/>
            <p:cNvSpPr/>
            <p:nvPr/>
          </p:nvSpPr>
          <p:spPr>
            <a:xfrm>
              <a:off x="620125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3" y="0"/>
                  </a:moveTo>
                  <a:cubicBezTo>
                    <a:pt x="518" y="0"/>
                    <a:pt x="468" y="116"/>
                    <a:pt x="419" y="383"/>
                  </a:cubicBezTo>
                  <a:cubicBezTo>
                    <a:pt x="419" y="383"/>
                    <a:pt x="1" y="3218"/>
                    <a:pt x="299" y="3636"/>
                  </a:cubicBezTo>
                  <a:cubicBezTo>
                    <a:pt x="325" y="3662"/>
                    <a:pt x="367" y="3691"/>
                    <a:pt x="393" y="3704"/>
                  </a:cubicBezTo>
                  <a:cubicBezTo>
                    <a:pt x="244" y="3095"/>
                    <a:pt x="500" y="370"/>
                    <a:pt x="500" y="370"/>
                  </a:cubicBezTo>
                  <a:cubicBezTo>
                    <a:pt x="529" y="33"/>
                    <a:pt x="610" y="114"/>
                    <a:pt x="636" y="46"/>
                  </a:cubicBezTo>
                  <a:cubicBezTo>
                    <a:pt x="614" y="16"/>
                    <a:pt x="593" y="0"/>
                    <a:pt x="573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983" name="Google Shape;983;p32"/>
          <p:cNvSpPr txBox="1">
            <a:spLocks noGrp="1"/>
          </p:cNvSpPr>
          <p:nvPr>
            <p:ph type="title"/>
          </p:nvPr>
        </p:nvSpPr>
        <p:spPr>
          <a:xfrm>
            <a:off x="7210067" y="2268051"/>
            <a:ext cx="4030800" cy="69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84" name="Google Shape;984;p32"/>
          <p:cNvSpPr txBox="1">
            <a:spLocks noGrp="1"/>
          </p:cNvSpPr>
          <p:nvPr>
            <p:ph type="subTitle" idx="1"/>
          </p:nvPr>
        </p:nvSpPr>
        <p:spPr>
          <a:xfrm>
            <a:off x="6756233" y="2987141"/>
            <a:ext cx="4484800" cy="161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8081428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3">
  <p:cSld name="1_Title and text 3">
    <p:spTree>
      <p:nvGrpSpPr>
        <p:cNvPr id="1" name="Shape 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" name="Google Shape;986;p33"/>
          <p:cNvSpPr/>
          <p:nvPr/>
        </p:nvSpPr>
        <p:spPr>
          <a:xfrm>
            <a:off x="781" y="3074325"/>
            <a:ext cx="12220029" cy="1679225"/>
          </a:xfrm>
          <a:custGeom>
            <a:avLst/>
            <a:gdLst/>
            <a:ahLst/>
            <a:cxnLst/>
            <a:rect l="l" t="t" r="r" b="b"/>
            <a:pathLst>
              <a:path w="51070" h="8953" extrusionOk="0">
                <a:moveTo>
                  <a:pt x="51070" y="1"/>
                </a:moveTo>
                <a:cubicBezTo>
                  <a:pt x="49881" y="56"/>
                  <a:pt x="49100" y="432"/>
                  <a:pt x="48371" y="513"/>
                </a:cubicBezTo>
                <a:cubicBezTo>
                  <a:pt x="47629" y="594"/>
                  <a:pt x="46547" y="756"/>
                  <a:pt x="45941" y="879"/>
                </a:cubicBezTo>
                <a:cubicBezTo>
                  <a:pt x="45332" y="986"/>
                  <a:pt x="46952" y="1744"/>
                  <a:pt x="46223" y="1932"/>
                </a:cubicBezTo>
                <a:cubicBezTo>
                  <a:pt x="45494" y="2107"/>
                  <a:pt x="44914" y="2512"/>
                  <a:pt x="44334" y="2878"/>
                </a:cubicBezTo>
                <a:cubicBezTo>
                  <a:pt x="44159" y="2985"/>
                  <a:pt x="44010" y="3024"/>
                  <a:pt x="43822" y="3024"/>
                </a:cubicBezTo>
                <a:cubicBezTo>
                  <a:pt x="43631" y="3024"/>
                  <a:pt x="43388" y="2985"/>
                  <a:pt x="42996" y="2959"/>
                </a:cubicBezTo>
                <a:cubicBezTo>
                  <a:pt x="42607" y="2917"/>
                  <a:pt x="42066" y="2878"/>
                  <a:pt x="41295" y="2878"/>
                </a:cubicBezTo>
                <a:lnTo>
                  <a:pt x="40945" y="2878"/>
                </a:lnTo>
                <a:cubicBezTo>
                  <a:pt x="38314" y="2917"/>
                  <a:pt x="39610" y="3983"/>
                  <a:pt x="39056" y="4038"/>
                </a:cubicBezTo>
                <a:cubicBezTo>
                  <a:pt x="38557" y="4093"/>
                  <a:pt x="38408" y="4537"/>
                  <a:pt x="37828" y="4537"/>
                </a:cubicBezTo>
                <a:cubicBezTo>
                  <a:pt x="37773" y="4537"/>
                  <a:pt x="37705" y="4537"/>
                  <a:pt x="37637" y="4524"/>
                </a:cubicBezTo>
                <a:cubicBezTo>
                  <a:pt x="37488" y="4511"/>
                  <a:pt x="37326" y="4498"/>
                  <a:pt x="37138" y="4498"/>
                </a:cubicBezTo>
                <a:cubicBezTo>
                  <a:pt x="36422" y="4498"/>
                  <a:pt x="35531" y="4673"/>
                  <a:pt x="35194" y="4997"/>
                </a:cubicBezTo>
                <a:cubicBezTo>
                  <a:pt x="35045" y="5146"/>
                  <a:pt x="34925" y="5185"/>
                  <a:pt x="34750" y="5185"/>
                </a:cubicBezTo>
                <a:cubicBezTo>
                  <a:pt x="34426" y="5185"/>
                  <a:pt x="33940" y="5010"/>
                  <a:pt x="32858" y="4997"/>
                </a:cubicBezTo>
                <a:lnTo>
                  <a:pt x="32832" y="4997"/>
                </a:lnTo>
                <a:cubicBezTo>
                  <a:pt x="32048" y="4997"/>
                  <a:pt x="31549" y="5308"/>
                  <a:pt x="31076" y="5616"/>
                </a:cubicBezTo>
                <a:cubicBezTo>
                  <a:pt x="30603" y="5927"/>
                  <a:pt x="30133" y="6238"/>
                  <a:pt x="29417" y="6238"/>
                </a:cubicBezTo>
                <a:lnTo>
                  <a:pt x="29307" y="6238"/>
                </a:lnTo>
                <a:cubicBezTo>
                  <a:pt x="27768" y="6170"/>
                  <a:pt x="25623" y="6225"/>
                  <a:pt x="24583" y="5940"/>
                </a:cubicBezTo>
                <a:cubicBezTo>
                  <a:pt x="23556" y="5671"/>
                  <a:pt x="23880" y="5240"/>
                  <a:pt x="23491" y="4997"/>
                </a:cubicBezTo>
                <a:cubicBezTo>
                  <a:pt x="23394" y="4942"/>
                  <a:pt x="23287" y="4929"/>
                  <a:pt x="23167" y="4929"/>
                </a:cubicBezTo>
                <a:cubicBezTo>
                  <a:pt x="23018" y="4929"/>
                  <a:pt x="22843" y="4955"/>
                  <a:pt x="22652" y="4984"/>
                </a:cubicBezTo>
                <a:cubicBezTo>
                  <a:pt x="22464" y="5023"/>
                  <a:pt x="22234" y="5049"/>
                  <a:pt x="21991" y="5049"/>
                </a:cubicBezTo>
                <a:cubicBezTo>
                  <a:pt x="21829" y="5049"/>
                  <a:pt x="21667" y="5036"/>
                  <a:pt x="21479" y="4997"/>
                </a:cubicBezTo>
                <a:cubicBezTo>
                  <a:pt x="20494" y="4822"/>
                  <a:pt x="18777" y="5130"/>
                  <a:pt x="18278" y="4469"/>
                </a:cubicBezTo>
                <a:cubicBezTo>
                  <a:pt x="17779" y="3821"/>
                  <a:pt x="14500" y="2836"/>
                  <a:pt x="12974" y="2619"/>
                </a:cubicBezTo>
                <a:cubicBezTo>
                  <a:pt x="11448" y="2405"/>
                  <a:pt x="11785" y="2593"/>
                  <a:pt x="11448" y="2405"/>
                </a:cubicBezTo>
                <a:cubicBezTo>
                  <a:pt x="11150" y="2214"/>
                  <a:pt x="11043" y="1919"/>
                  <a:pt x="9948" y="1919"/>
                </a:cubicBezTo>
                <a:cubicBezTo>
                  <a:pt x="9841" y="1919"/>
                  <a:pt x="9721" y="1919"/>
                  <a:pt x="9585" y="1932"/>
                </a:cubicBezTo>
                <a:lnTo>
                  <a:pt x="9397" y="1932"/>
                </a:lnTo>
                <a:cubicBezTo>
                  <a:pt x="8004" y="1932"/>
                  <a:pt x="6465" y="1122"/>
                  <a:pt x="4913" y="704"/>
                </a:cubicBezTo>
                <a:cubicBezTo>
                  <a:pt x="4375" y="568"/>
                  <a:pt x="3646" y="513"/>
                  <a:pt x="2930" y="513"/>
                </a:cubicBezTo>
                <a:cubicBezTo>
                  <a:pt x="1472" y="513"/>
                  <a:pt x="1" y="704"/>
                  <a:pt x="1" y="704"/>
                </a:cubicBezTo>
                <a:lnTo>
                  <a:pt x="14" y="3335"/>
                </a:lnTo>
                <a:cubicBezTo>
                  <a:pt x="121" y="3309"/>
                  <a:pt x="1012" y="3066"/>
                  <a:pt x="1524" y="3066"/>
                </a:cubicBezTo>
                <a:cubicBezTo>
                  <a:pt x="1647" y="3066"/>
                  <a:pt x="1741" y="3079"/>
                  <a:pt x="1809" y="3105"/>
                </a:cubicBezTo>
                <a:cubicBezTo>
                  <a:pt x="2201" y="3267"/>
                  <a:pt x="3105" y="3471"/>
                  <a:pt x="4213" y="3471"/>
                </a:cubicBezTo>
                <a:lnTo>
                  <a:pt x="4359" y="3471"/>
                </a:lnTo>
                <a:cubicBezTo>
                  <a:pt x="5143" y="3458"/>
                  <a:pt x="5467" y="3322"/>
                  <a:pt x="5710" y="3322"/>
                </a:cubicBezTo>
                <a:cubicBezTo>
                  <a:pt x="5846" y="3322"/>
                  <a:pt x="5953" y="3348"/>
                  <a:pt x="6089" y="3471"/>
                </a:cubicBezTo>
                <a:cubicBezTo>
                  <a:pt x="6452" y="3740"/>
                  <a:pt x="6507" y="3944"/>
                  <a:pt x="6967" y="3944"/>
                </a:cubicBezTo>
                <a:cubicBezTo>
                  <a:pt x="7032" y="3944"/>
                  <a:pt x="7100" y="3931"/>
                  <a:pt x="7194" y="3931"/>
                </a:cubicBezTo>
                <a:cubicBezTo>
                  <a:pt x="7871" y="3863"/>
                  <a:pt x="7453" y="3889"/>
                  <a:pt x="7871" y="3863"/>
                </a:cubicBezTo>
                <a:lnTo>
                  <a:pt x="7910" y="3863"/>
                </a:lnTo>
                <a:cubicBezTo>
                  <a:pt x="8302" y="3863"/>
                  <a:pt x="8613" y="4200"/>
                  <a:pt x="8613" y="4200"/>
                </a:cubicBezTo>
                <a:cubicBezTo>
                  <a:pt x="8613" y="4200"/>
                  <a:pt x="8963" y="4174"/>
                  <a:pt x="9287" y="4174"/>
                </a:cubicBezTo>
                <a:cubicBezTo>
                  <a:pt x="9449" y="4174"/>
                  <a:pt x="9611" y="4174"/>
                  <a:pt x="9721" y="4200"/>
                </a:cubicBezTo>
                <a:cubicBezTo>
                  <a:pt x="10045" y="4268"/>
                  <a:pt x="9436" y="4401"/>
                  <a:pt x="10314" y="4550"/>
                </a:cubicBezTo>
                <a:cubicBezTo>
                  <a:pt x="10476" y="4563"/>
                  <a:pt x="10612" y="4579"/>
                  <a:pt x="10732" y="4579"/>
                </a:cubicBezTo>
                <a:cubicBezTo>
                  <a:pt x="10949" y="4579"/>
                  <a:pt x="11124" y="4550"/>
                  <a:pt x="11286" y="4524"/>
                </a:cubicBezTo>
                <a:cubicBezTo>
                  <a:pt x="11435" y="4498"/>
                  <a:pt x="11568" y="4482"/>
                  <a:pt x="11691" y="4482"/>
                </a:cubicBezTo>
                <a:cubicBezTo>
                  <a:pt x="11798" y="4482"/>
                  <a:pt x="11908" y="4498"/>
                  <a:pt x="12002" y="4550"/>
                </a:cubicBezTo>
                <a:cubicBezTo>
                  <a:pt x="12420" y="4754"/>
                  <a:pt x="12770" y="5198"/>
                  <a:pt x="13512" y="5227"/>
                </a:cubicBezTo>
                <a:cubicBezTo>
                  <a:pt x="14270" y="5266"/>
                  <a:pt x="16052" y="5373"/>
                  <a:pt x="16010" y="5778"/>
                </a:cubicBezTo>
                <a:cubicBezTo>
                  <a:pt x="15984" y="6008"/>
                  <a:pt x="16295" y="6021"/>
                  <a:pt x="16645" y="6021"/>
                </a:cubicBezTo>
                <a:lnTo>
                  <a:pt x="16875" y="6021"/>
                </a:lnTo>
                <a:cubicBezTo>
                  <a:pt x="17092" y="6021"/>
                  <a:pt x="17280" y="6037"/>
                  <a:pt x="17400" y="6089"/>
                </a:cubicBezTo>
                <a:cubicBezTo>
                  <a:pt x="17740" y="6264"/>
                  <a:pt x="17860" y="6264"/>
                  <a:pt x="18482" y="6400"/>
                </a:cubicBezTo>
                <a:cubicBezTo>
                  <a:pt x="19101" y="6536"/>
                  <a:pt x="21709" y="6494"/>
                  <a:pt x="21450" y="6669"/>
                </a:cubicBezTo>
                <a:cubicBezTo>
                  <a:pt x="21207" y="6847"/>
                  <a:pt x="19506" y="6847"/>
                  <a:pt x="20426" y="6941"/>
                </a:cubicBezTo>
                <a:cubicBezTo>
                  <a:pt x="21343" y="7048"/>
                  <a:pt x="24029" y="7116"/>
                  <a:pt x="24016" y="7252"/>
                </a:cubicBezTo>
                <a:cubicBezTo>
                  <a:pt x="24003" y="7398"/>
                  <a:pt x="20533" y="7427"/>
                  <a:pt x="20426" y="7738"/>
                </a:cubicBezTo>
                <a:cubicBezTo>
                  <a:pt x="20332" y="8046"/>
                  <a:pt x="18333" y="8830"/>
                  <a:pt x="18482" y="8937"/>
                </a:cubicBezTo>
                <a:cubicBezTo>
                  <a:pt x="18482" y="8937"/>
                  <a:pt x="18495" y="8937"/>
                  <a:pt x="18508" y="8953"/>
                </a:cubicBezTo>
                <a:lnTo>
                  <a:pt x="28335" y="8953"/>
                </a:lnTo>
                <a:cubicBezTo>
                  <a:pt x="28445" y="8898"/>
                  <a:pt x="28565" y="8856"/>
                  <a:pt x="28675" y="8856"/>
                </a:cubicBezTo>
                <a:cubicBezTo>
                  <a:pt x="28889" y="8856"/>
                  <a:pt x="29485" y="8749"/>
                  <a:pt x="29997" y="8642"/>
                </a:cubicBezTo>
                <a:cubicBezTo>
                  <a:pt x="30509" y="8532"/>
                  <a:pt x="29942" y="8519"/>
                  <a:pt x="29997" y="8451"/>
                </a:cubicBezTo>
                <a:cubicBezTo>
                  <a:pt x="30052" y="8399"/>
                  <a:pt x="30658" y="8386"/>
                  <a:pt x="31131" y="8344"/>
                </a:cubicBezTo>
                <a:cubicBezTo>
                  <a:pt x="31591" y="8305"/>
                  <a:pt x="31429" y="8127"/>
                  <a:pt x="31468" y="8007"/>
                </a:cubicBezTo>
                <a:cubicBezTo>
                  <a:pt x="31481" y="7926"/>
                  <a:pt x="31818" y="7913"/>
                  <a:pt x="32184" y="7913"/>
                </a:cubicBezTo>
                <a:lnTo>
                  <a:pt x="32858" y="7913"/>
                </a:lnTo>
                <a:cubicBezTo>
                  <a:pt x="33305" y="7913"/>
                  <a:pt x="33263" y="7466"/>
                  <a:pt x="33454" y="7278"/>
                </a:cubicBezTo>
                <a:cubicBezTo>
                  <a:pt x="33506" y="7223"/>
                  <a:pt x="33600" y="7197"/>
                  <a:pt x="33697" y="7197"/>
                </a:cubicBezTo>
                <a:cubicBezTo>
                  <a:pt x="33791" y="7197"/>
                  <a:pt x="33911" y="7223"/>
                  <a:pt x="34034" y="7236"/>
                </a:cubicBezTo>
                <a:cubicBezTo>
                  <a:pt x="34154" y="7265"/>
                  <a:pt x="34277" y="7278"/>
                  <a:pt x="34384" y="7278"/>
                </a:cubicBezTo>
                <a:lnTo>
                  <a:pt x="34478" y="7278"/>
                </a:lnTo>
                <a:cubicBezTo>
                  <a:pt x="34844" y="7236"/>
                  <a:pt x="34951" y="7048"/>
                  <a:pt x="35450" y="6873"/>
                </a:cubicBezTo>
                <a:cubicBezTo>
                  <a:pt x="35573" y="6831"/>
                  <a:pt x="35693" y="6818"/>
                  <a:pt x="35816" y="6818"/>
                </a:cubicBezTo>
                <a:cubicBezTo>
                  <a:pt x="35949" y="6818"/>
                  <a:pt x="36098" y="6831"/>
                  <a:pt x="36234" y="6860"/>
                </a:cubicBezTo>
                <a:cubicBezTo>
                  <a:pt x="36354" y="6873"/>
                  <a:pt x="36490" y="6899"/>
                  <a:pt x="36613" y="6899"/>
                </a:cubicBezTo>
                <a:cubicBezTo>
                  <a:pt x="36678" y="6899"/>
                  <a:pt x="36746" y="6886"/>
                  <a:pt x="36814" y="6873"/>
                </a:cubicBezTo>
                <a:cubicBezTo>
                  <a:pt x="37206" y="6766"/>
                  <a:pt x="37812" y="6468"/>
                  <a:pt x="38204" y="6319"/>
                </a:cubicBezTo>
                <a:cubicBezTo>
                  <a:pt x="38314" y="6280"/>
                  <a:pt x="38421" y="6264"/>
                  <a:pt x="38515" y="6264"/>
                </a:cubicBezTo>
                <a:cubicBezTo>
                  <a:pt x="38622" y="6264"/>
                  <a:pt x="38719" y="6280"/>
                  <a:pt x="38826" y="6293"/>
                </a:cubicBezTo>
                <a:cubicBezTo>
                  <a:pt x="38933" y="6319"/>
                  <a:pt x="39056" y="6332"/>
                  <a:pt x="39176" y="6332"/>
                </a:cubicBezTo>
                <a:cubicBezTo>
                  <a:pt x="39244" y="6332"/>
                  <a:pt x="39299" y="6332"/>
                  <a:pt x="39367" y="6319"/>
                </a:cubicBezTo>
                <a:cubicBezTo>
                  <a:pt x="39853" y="6251"/>
                  <a:pt x="39960" y="6021"/>
                  <a:pt x="40258" y="5875"/>
                </a:cubicBezTo>
                <a:cubicBezTo>
                  <a:pt x="40352" y="5833"/>
                  <a:pt x="40433" y="5807"/>
                  <a:pt x="40527" y="5807"/>
                </a:cubicBezTo>
                <a:cubicBezTo>
                  <a:pt x="40608" y="5807"/>
                  <a:pt x="40702" y="5833"/>
                  <a:pt x="40809" y="5846"/>
                </a:cubicBezTo>
                <a:cubicBezTo>
                  <a:pt x="40919" y="5859"/>
                  <a:pt x="41039" y="5875"/>
                  <a:pt x="41175" y="5875"/>
                </a:cubicBezTo>
                <a:lnTo>
                  <a:pt x="41337" y="5875"/>
                </a:lnTo>
                <a:cubicBezTo>
                  <a:pt x="41849" y="5833"/>
                  <a:pt x="41891" y="5483"/>
                  <a:pt x="41972" y="5373"/>
                </a:cubicBezTo>
                <a:cubicBezTo>
                  <a:pt x="41998" y="5334"/>
                  <a:pt x="42186" y="5321"/>
                  <a:pt x="42429" y="5321"/>
                </a:cubicBezTo>
                <a:cubicBezTo>
                  <a:pt x="42795" y="5321"/>
                  <a:pt x="43255" y="5360"/>
                  <a:pt x="43511" y="5402"/>
                </a:cubicBezTo>
                <a:cubicBezTo>
                  <a:pt x="43550" y="5415"/>
                  <a:pt x="43579" y="5415"/>
                  <a:pt x="43618" y="5415"/>
                </a:cubicBezTo>
                <a:cubicBezTo>
                  <a:pt x="43955" y="5415"/>
                  <a:pt x="44240" y="5091"/>
                  <a:pt x="44360" y="5078"/>
                </a:cubicBezTo>
                <a:cubicBezTo>
                  <a:pt x="45144" y="4968"/>
                  <a:pt x="45102" y="4942"/>
                  <a:pt x="45455" y="4903"/>
                </a:cubicBezTo>
                <a:cubicBezTo>
                  <a:pt x="45805" y="4861"/>
                  <a:pt x="45264" y="4511"/>
                  <a:pt x="45455" y="4375"/>
                </a:cubicBezTo>
                <a:cubicBezTo>
                  <a:pt x="45643" y="4255"/>
                  <a:pt x="46495" y="4268"/>
                  <a:pt x="46819" y="4187"/>
                </a:cubicBezTo>
                <a:cubicBezTo>
                  <a:pt x="47143" y="4106"/>
                  <a:pt x="47412" y="3996"/>
                  <a:pt x="47561" y="3902"/>
                </a:cubicBezTo>
                <a:cubicBezTo>
                  <a:pt x="47613" y="3876"/>
                  <a:pt x="47668" y="3876"/>
                  <a:pt x="47749" y="3876"/>
                </a:cubicBezTo>
                <a:cubicBezTo>
                  <a:pt x="47830" y="3876"/>
                  <a:pt x="47924" y="3889"/>
                  <a:pt x="48034" y="3889"/>
                </a:cubicBezTo>
                <a:cubicBezTo>
                  <a:pt x="48128" y="3902"/>
                  <a:pt x="48248" y="3915"/>
                  <a:pt x="48371" y="3915"/>
                </a:cubicBezTo>
                <a:cubicBezTo>
                  <a:pt x="48410" y="3915"/>
                  <a:pt x="48452" y="3915"/>
                  <a:pt x="48478" y="3902"/>
                </a:cubicBezTo>
                <a:cubicBezTo>
                  <a:pt x="48896" y="3889"/>
                  <a:pt x="49045" y="3701"/>
                  <a:pt x="49518" y="3539"/>
                </a:cubicBezTo>
                <a:cubicBezTo>
                  <a:pt x="49829" y="3445"/>
                  <a:pt x="50367" y="3429"/>
                  <a:pt x="50733" y="3429"/>
                </a:cubicBezTo>
                <a:cubicBezTo>
                  <a:pt x="50934" y="3429"/>
                  <a:pt x="51070" y="3445"/>
                  <a:pt x="51070" y="3445"/>
                </a:cubicBezTo>
                <a:lnTo>
                  <a:pt x="51070" y="1"/>
                </a:ln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87" name="Google Shape;987;p33"/>
          <p:cNvSpPr/>
          <p:nvPr/>
        </p:nvSpPr>
        <p:spPr>
          <a:xfrm>
            <a:off x="782" y="3492305"/>
            <a:ext cx="5042569" cy="1086731"/>
          </a:xfrm>
          <a:custGeom>
            <a:avLst/>
            <a:gdLst/>
            <a:ahLst/>
            <a:cxnLst/>
            <a:rect l="l" t="t" r="r" b="b"/>
            <a:pathLst>
              <a:path w="21074" h="5794" extrusionOk="0">
                <a:moveTo>
                  <a:pt x="14" y="1"/>
                </a:moveTo>
                <a:cubicBezTo>
                  <a:pt x="1" y="1"/>
                  <a:pt x="1" y="14"/>
                  <a:pt x="1" y="14"/>
                </a:cubicBezTo>
                <a:lnTo>
                  <a:pt x="1" y="5794"/>
                </a:lnTo>
                <a:lnTo>
                  <a:pt x="21074" y="5794"/>
                </a:lnTo>
                <a:cubicBezTo>
                  <a:pt x="20721" y="5564"/>
                  <a:pt x="18793" y="5700"/>
                  <a:pt x="18508" y="5619"/>
                </a:cubicBezTo>
                <a:lnTo>
                  <a:pt x="27" y="5619"/>
                </a:lnTo>
                <a:lnTo>
                  <a:pt x="14" y="1"/>
                </a:lnTo>
                <a:close/>
              </a:path>
            </a:pathLst>
          </a:custGeom>
          <a:solidFill>
            <a:srgbClr val="ADF0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88" name="Google Shape;988;p33"/>
          <p:cNvSpPr/>
          <p:nvPr/>
        </p:nvSpPr>
        <p:spPr>
          <a:xfrm>
            <a:off x="3893" y="3649202"/>
            <a:ext cx="5746548" cy="1104353"/>
          </a:xfrm>
          <a:custGeom>
            <a:avLst/>
            <a:gdLst/>
            <a:ahLst/>
            <a:cxnLst/>
            <a:rect l="l" t="t" r="r" b="b"/>
            <a:pathLst>
              <a:path w="24016" h="5888" extrusionOk="0">
                <a:moveTo>
                  <a:pt x="1511" y="1"/>
                </a:moveTo>
                <a:cubicBezTo>
                  <a:pt x="999" y="1"/>
                  <a:pt x="108" y="244"/>
                  <a:pt x="1" y="270"/>
                </a:cubicBezTo>
                <a:lnTo>
                  <a:pt x="14" y="5888"/>
                </a:lnTo>
                <a:lnTo>
                  <a:pt x="18495" y="5888"/>
                </a:lnTo>
                <a:cubicBezTo>
                  <a:pt x="18482" y="5872"/>
                  <a:pt x="18469" y="5872"/>
                  <a:pt x="18469" y="5872"/>
                </a:cubicBezTo>
                <a:cubicBezTo>
                  <a:pt x="18320" y="5765"/>
                  <a:pt x="20319" y="4981"/>
                  <a:pt x="20413" y="4673"/>
                </a:cubicBezTo>
                <a:cubicBezTo>
                  <a:pt x="20520" y="4362"/>
                  <a:pt x="23990" y="4333"/>
                  <a:pt x="24003" y="4187"/>
                </a:cubicBezTo>
                <a:cubicBezTo>
                  <a:pt x="24016" y="4051"/>
                  <a:pt x="21330" y="3983"/>
                  <a:pt x="20413" y="3876"/>
                </a:cubicBezTo>
                <a:cubicBezTo>
                  <a:pt x="19493" y="3782"/>
                  <a:pt x="21194" y="3782"/>
                  <a:pt x="21437" y="3604"/>
                </a:cubicBezTo>
                <a:cubicBezTo>
                  <a:pt x="21696" y="3429"/>
                  <a:pt x="19088" y="3471"/>
                  <a:pt x="18469" y="3335"/>
                </a:cubicBezTo>
                <a:cubicBezTo>
                  <a:pt x="17847" y="3199"/>
                  <a:pt x="17727" y="3199"/>
                  <a:pt x="17387" y="3024"/>
                </a:cubicBezTo>
                <a:cubicBezTo>
                  <a:pt x="17267" y="2972"/>
                  <a:pt x="17079" y="2956"/>
                  <a:pt x="16862" y="2956"/>
                </a:cubicBezTo>
                <a:lnTo>
                  <a:pt x="16632" y="2956"/>
                </a:lnTo>
                <a:cubicBezTo>
                  <a:pt x="16282" y="2956"/>
                  <a:pt x="15971" y="2943"/>
                  <a:pt x="15997" y="2713"/>
                </a:cubicBezTo>
                <a:cubicBezTo>
                  <a:pt x="16039" y="2308"/>
                  <a:pt x="14257" y="2201"/>
                  <a:pt x="13499" y="2162"/>
                </a:cubicBezTo>
                <a:cubicBezTo>
                  <a:pt x="12757" y="2133"/>
                  <a:pt x="12407" y="1689"/>
                  <a:pt x="11989" y="1485"/>
                </a:cubicBezTo>
                <a:cubicBezTo>
                  <a:pt x="11895" y="1433"/>
                  <a:pt x="11785" y="1417"/>
                  <a:pt x="11678" y="1417"/>
                </a:cubicBezTo>
                <a:cubicBezTo>
                  <a:pt x="11555" y="1417"/>
                  <a:pt x="11422" y="1433"/>
                  <a:pt x="11273" y="1459"/>
                </a:cubicBezTo>
                <a:cubicBezTo>
                  <a:pt x="11111" y="1485"/>
                  <a:pt x="10936" y="1514"/>
                  <a:pt x="10719" y="1514"/>
                </a:cubicBezTo>
                <a:cubicBezTo>
                  <a:pt x="10599" y="1514"/>
                  <a:pt x="10463" y="1498"/>
                  <a:pt x="10301" y="1485"/>
                </a:cubicBezTo>
                <a:cubicBezTo>
                  <a:pt x="9423" y="1336"/>
                  <a:pt x="10032" y="1203"/>
                  <a:pt x="9708" y="1135"/>
                </a:cubicBezTo>
                <a:cubicBezTo>
                  <a:pt x="9598" y="1109"/>
                  <a:pt x="9436" y="1109"/>
                  <a:pt x="9274" y="1109"/>
                </a:cubicBezTo>
                <a:cubicBezTo>
                  <a:pt x="8950" y="1109"/>
                  <a:pt x="8600" y="1135"/>
                  <a:pt x="8600" y="1135"/>
                </a:cubicBezTo>
                <a:cubicBezTo>
                  <a:pt x="8600" y="1135"/>
                  <a:pt x="8289" y="798"/>
                  <a:pt x="7897" y="798"/>
                </a:cubicBezTo>
                <a:lnTo>
                  <a:pt x="7858" y="798"/>
                </a:lnTo>
                <a:cubicBezTo>
                  <a:pt x="7440" y="824"/>
                  <a:pt x="7858" y="798"/>
                  <a:pt x="7181" y="866"/>
                </a:cubicBezTo>
                <a:cubicBezTo>
                  <a:pt x="7087" y="866"/>
                  <a:pt x="7019" y="879"/>
                  <a:pt x="6954" y="879"/>
                </a:cubicBezTo>
                <a:cubicBezTo>
                  <a:pt x="6494" y="879"/>
                  <a:pt x="6439" y="675"/>
                  <a:pt x="6076" y="406"/>
                </a:cubicBezTo>
                <a:cubicBezTo>
                  <a:pt x="5940" y="283"/>
                  <a:pt x="5833" y="257"/>
                  <a:pt x="5697" y="257"/>
                </a:cubicBezTo>
                <a:cubicBezTo>
                  <a:pt x="5454" y="257"/>
                  <a:pt x="5130" y="393"/>
                  <a:pt x="4346" y="406"/>
                </a:cubicBezTo>
                <a:lnTo>
                  <a:pt x="4200" y="406"/>
                </a:lnTo>
                <a:cubicBezTo>
                  <a:pt x="3092" y="406"/>
                  <a:pt x="2188" y="202"/>
                  <a:pt x="1796" y="40"/>
                </a:cubicBezTo>
                <a:cubicBezTo>
                  <a:pt x="1728" y="14"/>
                  <a:pt x="1634" y="1"/>
                  <a:pt x="15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89" name="Google Shape;989;p33"/>
          <p:cNvSpPr/>
          <p:nvPr/>
        </p:nvSpPr>
        <p:spPr>
          <a:xfrm>
            <a:off x="6719284" y="4546216"/>
            <a:ext cx="5501507" cy="20069"/>
          </a:xfrm>
          <a:custGeom>
            <a:avLst/>
            <a:gdLst/>
            <a:ahLst/>
            <a:cxnLst/>
            <a:rect l="l" t="t" r="r" b="b"/>
            <a:pathLst>
              <a:path w="22992" h="107" extrusionOk="0">
                <a:moveTo>
                  <a:pt x="257" y="0"/>
                </a:moveTo>
                <a:cubicBezTo>
                  <a:pt x="111" y="52"/>
                  <a:pt x="1" y="107"/>
                  <a:pt x="1" y="107"/>
                </a:cubicBezTo>
                <a:lnTo>
                  <a:pt x="22992" y="107"/>
                </a:lnTo>
                <a:lnTo>
                  <a:pt x="22992" y="0"/>
                </a:lnTo>
                <a:close/>
              </a:path>
            </a:pathLst>
          </a:custGeom>
          <a:solidFill>
            <a:srgbClr val="ADF0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0" name="Google Shape;990;p33"/>
          <p:cNvSpPr/>
          <p:nvPr/>
        </p:nvSpPr>
        <p:spPr>
          <a:xfrm>
            <a:off x="6780541" y="3717287"/>
            <a:ext cx="5440271" cy="1036269"/>
          </a:xfrm>
          <a:custGeom>
            <a:avLst/>
            <a:gdLst/>
            <a:ahLst/>
            <a:cxnLst/>
            <a:rect l="l" t="t" r="r" b="b"/>
            <a:pathLst>
              <a:path w="22736" h="5525" extrusionOk="0">
                <a:moveTo>
                  <a:pt x="22399" y="1"/>
                </a:moveTo>
                <a:cubicBezTo>
                  <a:pt x="22033" y="1"/>
                  <a:pt x="21495" y="17"/>
                  <a:pt x="21184" y="111"/>
                </a:cubicBezTo>
                <a:cubicBezTo>
                  <a:pt x="20711" y="273"/>
                  <a:pt x="20562" y="461"/>
                  <a:pt x="20144" y="474"/>
                </a:cubicBezTo>
                <a:cubicBezTo>
                  <a:pt x="20118" y="487"/>
                  <a:pt x="20076" y="487"/>
                  <a:pt x="20037" y="487"/>
                </a:cubicBezTo>
                <a:cubicBezTo>
                  <a:pt x="19914" y="487"/>
                  <a:pt x="19794" y="474"/>
                  <a:pt x="19700" y="461"/>
                </a:cubicBezTo>
                <a:cubicBezTo>
                  <a:pt x="19590" y="461"/>
                  <a:pt x="19496" y="448"/>
                  <a:pt x="19415" y="448"/>
                </a:cubicBezTo>
                <a:cubicBezTo>
                  <a:pt x="19334" y="448"/>
                  <a:pt x="19279" y="448"/>
                  <a:pt x="19227" y="474"/>
                </a:cubicBezTo>
                <a:cubicBezTo>
                  <a:pt x="19078" y="568"/>
                  <a:pt x="18809" y="678"/>
                  <a:pt x="18485" y="759"/>
                </a:cubicBezTo>
                <a:cubicBezTo>
                  <a:pt x="18161" y="840"/>
                  <a:pt x="17309" y="827"/>
                  <a:pt x="17121" y="947"/>
                </a:cubicBezTo>
                <a:cubicBezTo>
                  <a:pt x="16930" y="1083"/>
                  <a:pt x="17471" y="1433"/>
                  <a:pt x="17121" y="1475"/>
                </a:cubicBezTo>
                <a:cubicBezTo>
                  <a:pt x="16768" y="1514"/>
                  <a:pt x="16810" y="1540"/>
                  <a:pt x="16026" y="1650"/>
                </a:cubicBezTo>
                <a:cubicBezTo>
                  <a:pt x="15906" y="1663"/>
                  <a:pt x="15621" y="1987"/>
                  <a:pt x="15284" y="1987"/>
                </a:cubicBezTo>
                <a:cubicBezTo>
                  <a:pt x="15245" y="1987"/>
                  <a:pt x="15216" y="1987"/>
                  <a:pt x="15177" y="1974"/>
                </a:cubicBezTo>
                <a:cubicBezTo>
                  <a:pt x="14921" y="1932"/>
                  <a:pt x="14461" y="1893"/>
                  <a:pt x="14095" y="1893"/>
                </a:cubicBezTo>
                <a:cubicBezTo>
                  <a:pt x="13852" y="1893"/>
                  <a:pt x="13664" y="1906"/>
                  <a:pt x="13638" y="1945"/>
                </a:cubicBezTo>
                <a:cubicBezTo>
                  <a:pt x="13557" y="2055"/>
                  <a:pt x="13515" y="2405"/>
                  <a:pt x="13003" y="2447"/>
                </a:cubicBezTo>
                <a:lnTo>
                  <a:pt x="12841" y="2447"/>
                </a:lnTo>
                <a:cubicBezTo>
                  <a:pt x="12705" y="2447"/>
                  <a:pt x="12585" y="2431"/>
                  <a:pt x="12475" y="2418"/>
                </a:cubicBezTo>
                <a:cubicBezTo>
                  <a:pt x="12368" y="2405"/>
                  <a:pt x="12274" y="2379"/>
                  <a:pt x="12193" y="2379"/>
                </a:cubicBezTo>
                <a:cubicBezTo>
                  <a:pt x="12099" y="2379"/>
                  <a:pt x="12018" y="2405"/>
                  <a:pt x="11924" y="2447"/>
                </a:cubicBezTo>
                <a:cubicBezTo>
                  <a:pt x="11626" y="2593"/>
                  <a:pt x="11519" y="2823"/>
                  <a:pt x="11033" y="2891"/>
                </a:cubicBezTo>
                <a:cubicBezTo>
                  <a:pt x="10965" y="2904"/>
                  <a:pt x="10910" y="2904"/>
                  <a:pt x="10842" y="2904"/>
                </a:cubicBezTo>
                <a:cubicBezTo>
                  <a:pt x="10722" y="2904"/>
                  <a:pt x="10599" y="2891"/>
                  <a:pt x="10492" y="2865"/>
                </a:cubicBezTo>
                <a:cubicBezTo>
                  <a:pt x="10385" y="2852"/>
                  <a:pt x="10288" y="2836"/>
                  <a:pt x="10181" y="2836"/>
                </a:cubicBezTo>
                <a:cubicBezTo>
                  <a:pt x="10087" y="2836"/>
                  <a:pt x="9980" y="2852"/>
                  <a:pt x="9870" y="2891"/>
                </a:cubicBezTo>
                <a:cubicBezTo>
                  <a:pt x="9478" y="3040"/>
                  <a:pt x="8872" y="3338"/>
                  <a:pt x="8480" y="3445"/>
                </a:cubicBezTo>
                <a:cubicBezTo>
                  <a:pt x="8412" y="3458"/>
                  <a:pt x="8344" y="3471"/>
                  <a:pt x="8279" y="3471"/>
                </a:cubicBezTo>
                <a:cubicBezTo>
                  <a:pt x="8156" y="3471"/>
                  <a:pt x="8020" y="3445"/>
                  <a:pt x="7900" y="3432"/>
                </a:cubicBezTo>
                <a:cubicBezTo>
                  <a:pt x="7764" y="3403"/>
                  <a:pt x="7615" y="3390"/>
                  <a:pt x="7482" y="3390"/>
                </a:cubicBezTo>
                <a:cubicBezTo>
                  <a:pt x="7359" y="3390"/>
                  <a:pt x="7239" y="3403"/>
                  <a:pt x="7116" y="3445"/>
                </a:cubicBezTo>
                <a:cubicBezTo>
                  <a:pt x="6617" y="3620"/>
                  <a:pt x="6510" y="3808"/>
                  <a:pt x="6144" y="3850"/>
                </a:cubicBezTo>
                <a:lnTo>
                  <a:pt x="6050" y="3850"/>
                </a:lnTo>
                <a:cubicBezTo>
                  <a:pt x="5943" y="3850"/>
                  <a:pt x="5820" y="3837"/>
                  <a:pt x="5700" y="3808"/>
                </a:cubicBezTo>
                <a:cubicBezTo>
                  <a:pt x="5577" y="3795"/>
                  <a:pt x="5457" y="3769"/>
                  <a:pt x="5363" y="3769"/>
                </a:cubicBezTo>
                <a:cubicBezTo>
                  <a:pt x="5266" y="3769"/>
                  <a:pt x="5172" y="3795"/>
                  <a:pt x="5120" y="3850"/>
                </a:cubicBezTo>
                <a:cubicBezTo>
                  <a:pt x="4929" y="4038"/>
                  <a:pt x="4971" y="4485"/>
                  <a:pt x="4524" y="4485"/>
                </a:cubicBezTo>
                <a:lnTo>
                  <a:pt x="3850" y="4485"/>
                </a:lnTo>
                <a:cubicBezTo>
                  <a:pt x="3484" y="4485"/>
                  <a:pt x="3147" y="4498"/>
                  <a:pt x="3134" y="4579"/>
                </a:cubicBezTo>
                <a:cubicBezTo>
                  <a:pt x="3095" y="4699"/>
                  <a:pt x="3257" y="4877"/>
                  <a:pt x="2797" y="4916"/>
                </a:cubicBezTo>
                <a:cubicBezTo>
                  <a:pt x="2324" y="4958"/>
                  <a:pt x="1718" y="4971"/>
                  <a:pt x="1663" y="5023"/>
                </a:cubicBezTo>
                <a:cubicBezTo>
                  <a:pt x="1608" y="5091"/>
                  <a:pt x="2175" y="5104"/>
                  <a:pt x="1663" y="5214"/>
                </a:cubicBezTo>
                <a:cubicBezTo>
                  <a:pt x="1151" y="5321"/>
                  <a:pt x="555" y="5428"/>
                  <a:pt x="341" y="5428"/>
                </a:cubicBezTo>
                <a:cubicBezTo>
                  <a:pt x="231" y="5428"/>
                  <a:pt x="111" y="5470"/>
                  <a:pt x="1" y="5525"/>
                </a:cubicBezTo>
                <a:lnTo>
                  <a:pt x="22736" y="5525"/>
                </a:lnTo>
                <a:lnTo>
                  <a:pt x="22736" y="17"/>
                </a:lnTo>
                <a:cubicBezTo>
                  <a:pt x="22736" y="17"/>
                  <a:pt x="22600" y="1"/>
                  <a:pt x="22399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1" name="Google Shape;991;p33"/>
          <p:cNvSpPr/>
          <p:nvPr/>
        </p:nvSpPr>
        <p:spPr>
          <a:xfrm>
            <a:off x="-1420751" y="1658449"/>
            <a:ext cx="5100732" cy="919044"/>
          </a:xfrm>
          <a:custGeom>
            <a:avLst/>
            <a:gdLst/>
            <a:ahLst/>
            <a:cxnLst/>
            <a:rect l="l" t="t" r="r" b="b"/>
            <a:pathLst>
              <a:path w="21317" h="4900" extrusionOk="0">
                <a:moveTo>
                  <a:pt x="1" y="1"/>
                </a:moveTo>
                <a:lnTo>
                  <a:pt x="1" y="4900"/>
                </a:lnTo>
                <a:cubicBezTo>
                  <a:pt x="876" y="4806"/>
                  <a:pt x="3225" y="4712"/>
                  <a:pt x="3889" y="4469"/>
                </a:cubicBezTo>
                <a:cubicBezTo>
                  <a:pt x="4550" y="4226"/>
                  <a:pt x="5995" y="4375"/>
                  <a:pt x="7194" y="4281"/>
                </a:cubicBezTo>
                <a:cubicBezTo>
                  <a:pt x="8396" y="4171"/>
                  <a:pt x="9504" y="3795"/>
                  <a:pt x="10327" y="3740"/>
                </a:cubicBezTo>
                <a:lnTo>
                  <a:pt x="10596" y="3740"/>
                </a:lnTo>
                <a:cubicBezTo>
                  <a:pt x="10813" y="3740"/>
                  <a:pt x="11001" y="3753"/>
                  <a:pt x="11205" y="3766"/>
                </a:cubicBezTo>
                <a:cubicBezTo>
                  <a:pt x="11406" y="3782"/>
                  <a:pt x="11636" y="3795"/>
                  <a:pt x="11921" y="3795"/>
                </a:cubicBezTo>
                <a:cubicBezTo>
                  <a:pt x="12190" y="3795"/>
                  <a:pt x="12514" y="3782"/>
                  <a:pt x="12945" y="3740"/>
                </a:cubicBezTo>
                <a:cubicBezTo>
                  <a:pt x="14458" y="3604"/>
                  <a:pt x="18129" y="3552"/>
                  <a:pt x="19049" y="3552"/>
                </a:cubicBezTo>
                <a:cubicBezTo>
                  <a:pt x="19979" y="3552"/>
                  <a:pt x="21317" y="3024"/>
                  <a:pt x="20303" y="2972"/>
                </a:cubicBezTo>
                <a:cubicBezTo>
                  <a:pt x="19305" y="2930"/>
                  <a:pt x="19305" y="2972"/>
                  <a:pt x="18482" y="2742"/>
                </a:cubicBezTo>
                <a:cubicBezTo>
                  <a:pt x="18226" y="2661"/>
                  <a:pt x="17886" y="2632"/>
                  <a:pt x="17523" y="2632"/>
                </a:cubicBezTo>
                <a:cubicBezTo>
                  <a:pt x="17131" y="2632"/>
                  <a:pt x="16713" y="2661"/>
                  <a:pt x="16308" y="2687"/>
                </a:cubicBezTo>
                <a:cubicBezTo>
                  <a:pt x="15903" y="2713"/>
                  <a:pt x="15511" y="2742"/>
                  <a:pt x="15187" y="2742"/>
                </a:cubicBezTo>
                <a:lnTo>
                  <a:pt x="14944" y="2742"/>
                </a:lnTo>
                <a:cubicBezTo>
                  <a:pt x="14014" y="2687"/>
                  <a:pt x="13447" y="2350"/>
                  <a:pt x="13690" y="2175"/>
                </a:cubicBezTo>
                <a:cubicBezTo>
                  <a:pt x="13946" y="1984"/>
                  <a:pt x="16538" y="1822"/>
                  <a:pt x="17549" y="1770"/>
                </a:cubicBezTo>
                <a:cubicBezTo>
                  <a:pt x="18550" y="1728"/>
                  <a:pt x="19386" y="1242"/>
                  <a:pt x="19911" y="1148"/>
                </a:cubicBezTo>
                <a:cubicBezTo>
                  <a:pt x="20141" y="1109"/>
                  <a:pt x="19927" y="1093"/>
                  <a:pt x="19603" y="1093"/>
                </a:cubicBezTo>
                <a:cubicBezTo>
                  <a:pt x="19182" y="1093"/>
                  <a:pt x="18563" y="1122"/>
                  <a:pt x="18482" y="1148"/>
                </a:cubicBezTo>
                <a:lnTo>
                  <a:pt x="18440" y="1148"/>
                </a:lnTo>
                <a:cubicBezTo>
                  <a:pt x="18184" y="1148"/>
                  <a:pt x="16833" y="717"/>
                  <a:pt x="16010" y="704"/>
                </a:cubicBezTo>
                <a:lnTo>
                  <a:pt x="15971" y="704"/>
                </a:lnTo>
                <a:cubicBezTo>
                  <a:pt x="15579" y="704"/>
                  <a:pt x="15323" y="769"/>
                  <a:pt x="15012" y="837"/>
                </a:cubicBezTo>
                <a:cubicBezTo>
                  <a:pt x="14701" y="905"/>
                  <a:pt x="14322" y="960"/>
                  <a:pt x="13690" y="960"/>
                </a:cubicBezTo>
                <a:lnTo>
                  <a:pt x="13366" y="960"/>
                </a:lnTo>
                <a:cubicBezTo>
                  <a:pt x="11772" y="905"/>
                  <a:pt x="12433" y="866"/>
                  <a:pt x="11772" y="730"/>
                </a:cubicBezTo>
                <a:cubicBezTo>
                  <a:pt x="11422" y="649"/>
                  <a:pt x="10962" y="623"/>
                  <a:pt x="10489" y="623"/>
                </a:cubicBezTo>
                <a:cubicBezTo>
                  <a:pt x="10084" y="623"/>
                  <a:pt x="9653" y="649"/>
                  <a:pt x="9261" y="704"/>
                </a:cubicBezTo>
                <a:cubicBezTo>
                  <a:pt x="9193" y="717"/>
                  <a:pt x="9112" y="730"/>
                  <a:pt x="9031" y="730"/>
                </a:cubicBezTo>
                <a:cubicBezTo>
                  <a:pt x="8315" y="730"/>
                  <a:pt x="7696" y="189"/>
                  <a:pt x="6345" y="189"/>
                </a:cubicBezTo>
                <a:cubicBezTo>
                  <a:pt x="4861" y="189"/>
                  <a:pt x="1" y="1"/>
                  <a:pt x="1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2" name="Google Shape;992;p33"/>
          <p:cNvSpPr/>
          <p:nvPr/>
        </p:nvSpPr>
        <p:spPr>
          <a:xfrm>
            <a:off x="781" y="4236551"/>
            <a:ext cx="7568400" cy="425764"/>
          </a:xfrm>
          <a:custGeom>
            <a:avLst/>
            <a:gdLst/>
            <a:ahLst/>
            <a:cxnLst/>
            <a:rect l="l" t="t" r="r" b="b"/>
            <a:pathLst>
              <a:path w="31630" h="2270" extrusionOk="0">
                <a:moveTo>
                  <a:pt x="15211" y="0"/>
                </a:moveTo>
                <a:cubicBezTo>
                  <a:pt x="9192" y="0"/>
                  <a:pt x="1" y="2270"/>
                  <a:pt x="1" y="2270"/>
                </a:cubicBezTo>
                <a:lnTo>
                  <a:pt x="31523" y="2270"/>
                </a:lnTo>
                <a:cubicBezTo>
                  <a:pt x="31630" y="2121"/>
                  <a:pt x="21641" y="70"/>
                  <a:pt x="15472" y="2"/>
                </a:cubicBezTo>
                <a:cubicBezTo>
                  <a:pt x="15386" y="1"/>
                  <a:pt x="15299" y="0"/>
                  <a:pt x="15211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3" name="Google Shape;993;p33"/>
          <p:cNvSpPr/>
          <p:nvPr/>
        </p:nvSpPr>
        <p:spPr>
          <a:xfrm>
            <a:off x="5259438" y="4236551"/>
            <a:ext cx="7006333" cy="425764"/>
          </a:xfrm>
          <a:custGeom>
            <a:avLst/>
            <a:gdLst/>
            <a:ahLst/>
            <a:cxnLst/>
            <a:rect l="l" t="t" r="r" b="b"/>
            <a:pathLst>
              <a:path w="29281" h="2270" extrusionOk="0">
                <a:moveTo>
                  <a:pt x="14071" y="0"/>
                </a:moveTo>
                <a:cubicBezTo>
                  <a:pt x="8512" y="0"/>
                  <a:pt x="1" y="2270"/>
                  <a:pt x="1" y="2270"/>
                </a:cubicBezTo>
                <a:lnTo>
                  <a:pt x="29187" y="2270"/>
                </a:lnTo>
                <a:cubicBezTo>
                  <a:pt x="29281" y="2121"/>
                  <a:pt x="20034" y="70"/>
                  <a:pt x="14312" y="2"/>
                </a:cubicBezTo>
                <a:cubicBezTo>
                  <a:pt x="14232" y="1"/>
                  <a:pt x="14152" y="0"/>
                  <a:pt x="14071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4" name="Google Shape;994;p33"/>
          <p:cNvSpPr/>
          <p:nvPr/>
        </p:nvSpPr>
        <p:spPr>
          <a:xfrm>
            <a:off x="1047392" y="4436681"/>
            <a:ext cx="11195872" cy="691727"/>
          </a:xfrm>
          <a:custGeom>
            <a:avLst/>
            <a:gdLst/>
            <a:ahLst/>
            <a:cxnLst/>
            <a:rect l="l" t="t" r="r" b="b"/>
            <a:pathLst>
              <a:path w="46790" h="3688" extrusionOk="0">
                <a:moveTo>
                  <a:pt x="24123" y="1"/>
                </a:moveTo>
                <a:cubicBezTo>
                  <a:pt x="12297" y="1"/>
                  <a:pt x="1" y="1838"/>
                  <a:pt x="1" y="1838"/>
                </a:cubicBezTo>
                <a:lnTo>
                  <a:pt x="1" y="3688"/>
                </a:lnTo>
                <a:lnTo>
                  <a:pt x="46790" y="3688"/>
                </a:lnTo>
                <a:lnTo>
                  <a:pt x="46790" y="2528"/>
                </a:lnTo>
                <a:cubicBezTo>
                  <a:pt x="46790" y="2528"/>
                  <a:pt x="35949" y="1"/>
                  <a:pt x="2412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5" name="Google Shape;995;p33"/>
          <p:cNvSpPr/>
          <p:nvPr/>
        </p:nvSpPr>
        <p:spPr>
          <a:xfrm>
            <a:off x="1047392" y="4485446"/>
            <a:ext cx="11195872" cy="653276"/>
          </a:xfrm>
          <a:custGeom>
            <a:avLst/>
            <a:gdLst/>
            <a:ahLst/>
            <a:cxnLst/>
            <a:rect l="l" t="t" r="r" b="b"/>
            <a:pathLst>
              <a:path w="46790" h="3483" extrusionOk="0">
                <a:moveTo>
                  <a:pt x="24123" y="0"/>
                </a:moveTo>
                <a:cubicBezTo>
                  <a:pt x="12297" y="0"/>
                  <a:pt x="1" y="1740"/>
                  <a:pt x="1" y="1740"/>
                </a:cubicBezTo>
                <a:lnTo>
                  <a:pt x="1" y="3483"/>
                </a:lnTo>
                <a:lnTo>
                  <a:pt x="46790" y="3483"/>
                </a:lnTo>
                <a:lnTo>
                  <a:pt x="46790" y="2388"/>
                </a:lnTo>
                <a:cubicBezTo>
                  <a:pt x="46790" y="2388"/>
                  <a:pt x="35949" y="0"/>
                  <a:pt x="2412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6" name="Google Shape;996;p33"/>
          <p:cNvSpPr/>
          <p:nvPr/>
        </p:nvSpPr>
        <p:spPr>
          <a:xfrm>
            <a:off x="781" y="4459375"/>
            <a:ext cx="10895816" cy="1658981"/>
          </a:xfrm>
          <a:custGeom>
            <a:avLst/>
            <a:gdLst/>
            <a:ahLst/>
            <a:cxnLst/>
            <a:rect l="l" t="t" r="r" b="b"/>
            <a:pathLst>
              <a:path w="45536" h="8845" extrusionOk="0">
                <a:moveTo>
                  <a:pt x="10609" y="1"/>
                </a:moveTo>
                <a:cubicBezTo>
                  <a:pt x="2565" y="1"/>
                  <a:pt x="1" y="719"/>
                  <a:pt x="1" y="719"/>
                </a:cubicBezTo>
                <a:lnTo>
                  <a:pt x="1" y="8845"/>
                </a:lnTo>
                <a:lnTo>
                  <a:pt x="45536" y="8845"/>
                </a:lnTo>
                <a:lnTo>
                  <a:pt x="45536" y="3230"/>
                </a:lnTo>
                <a:cubicBezTo>
                  <a:pt x="44954" y="3336"/>
                  <a:pt x="44228" y="3384"/>
                  <a:pt x="43384" y="3384"/>
                </a:cubicBezTo>
                <a:cubicBezTo>
                  <a:pt x="36402" y="3384"/>
                  <a:pt x="21312" y="137"/>
                  <a:pt x="12676" y="16"/>
                </a:cubicBezTo>
                <a:cubicBezTo>
                  <a:pt x="11950" y="6"/>
                  <a:pt x="11262" y="1"/>
                  <a:pt x="106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7" name="Google Shape;997;p33"/>
          <p:cNvSpPr/>
          <p:nvPr/>
        </p:nvSpPr>
        <p:spPr>
          <a:xfrm>
            <a:off x="782" y="4459750"/>
            <a:ext cx="2341585" cy="678972"/>
          </a:xfrm>
          <a:custGeom>
            <a:avLst/>
            <a:gdLst/>
            <a:ahLst/>
            <a:cxnLst/>
            <a:rect l="l" t="t" r="r" b="b"/>
            <a:pathLst>
              <a:path w="9786" h="3620" extrusionOk="0">
                <a:moveTo>
                  <a:pt x="9786" y="1"/>
                </a:moveTo>
                <a:cubicBezTo>
                  <a:pt x="8937" y="1"/>
                  <a:pt x="6789" y="56"/>
                  <a:pt x="6789" y="56"/>
                </a:cubicBezTo>
                <a:cubicBezTo>
                  <a:pt x="3455" y="986"/>
                  <a:pt x="1" y="3620"/>
                  <a:pt x="1" y="3620"/>
                </a:cubicBezTo>
                <a:lnTo>
                  <a:pt x="3403" y="3620"/>
                </a:lnTo>
                <a:cubicBezTo>
                  <a:pt x="6993" y="798"/>
                  <a:pt x="9786" y="1"/>
                  <a:pt x="9786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8" name="Google Shape;998;p33"/>
          <p:cNvSpPr/>
          <p:nvPr/>
        </p:nvSpPr>
        <p:spPr>
          <a:xfrm>
            <a:off x="1521885" y="4464627"/>
            <a:ext cx="2209743" cy="674096"/>
          </a:xfrm>
          <a:custGeom>
            <a:avLst/>
            <a:gdLst/>
            <a:ahLst/>
            <a:cxnLst/>
            <a:rect l="l" t="t" r="r" b="b"/>
            <a:pathLst>
              <a:path w="9235" h="3594" extrusionOk="0">
                <a:moveTo>
                  <a:pt x="7048" y="1"/>
                </a:moveTo>
                <a:cubicBezTo>
                  <a:pt x="3957" y="678"/>
                  <a:pt x="1" y="3594"/>
                  <a:pt x="1" y="3594"/>
                </a:cubicBezTo>
                <a:lnTo>
                  <a:pt x="3416" y="3594"/>
                </a:lnTo>
                <a:cubicBezTo>
                  <a:pt x="6131" y="1135"/>
                  <a:pt x="9235" y="124"/>
                  <a:pt x="9235" y="124"/>
                </a:cubicBezTo>
                <a:cubicBezTo>
                  <a:pt x="8723" y="82"/>
                  <a:pt x="7048" y="1"/>
                  <a:pt x="7048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9" name="Google Shape;999;p33"/>
          <p:cNvSpPr/>
          <p:nvPr/>
        </p:nvSpPr>
        <p:spPr>
          <a:xfrm>
            <a:off x="3104960" y="4546216"/>
            <a:ext cx="1944621" cy="592507"/>
          </a:xfrm>
          <a:custGeom>
            <a:avLst/>
            <a:gdLst/>
            <a:ahLst/>
            <a:cxnLst/>
            <a:rect l="l" t="t" r="r" b="b"/>
            <a:pathLst>
              <a:path w="8127" h="3159" extrusionOk="0">
                <a:moveTo>
                  <a:pt x="6047" y="0"/>
                </a:moveTo>
                <a:cubicBezTo>
                  <a:pt x="2969" y="823"/>
                  <a:pt x="1" y="3159"/>
                  <a:pt x="1" y="3159"/>
                </a:cubicBezTo>
                <a:lnTo>
                  <a:pt x="3092" y="3159"/>
                </a:lnTo>
                <a:cubicBezTo>
                  <a:pt x="5927" y="875"/>
                  <a:pt x="8127" y="243"/>
                  <a:pt x="8127" y="243"/>
                </a:cubicBezTo>
                <a:cubicBezTo>
                  <a:pt x="7359" y="146"/>
                  <a:pt x="6047" y="0"/>
                  <a:pt x="604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0" name="Google Shape;1000;p33"/>
          <p:cNvSpPr/>
          <p:nvPr/>
        </p:nvSpPr>
        <p:spPr>
          <a:xfrm>
            <a:off x="4897407" y="4677322"/>
            <a:ext cx="1541436" cy="461401"/>
          </a:xfrm>
          <a:custGeom>
            <a:avLst/>
            <a:gdLst/>
            <a:ahLst/>
            <a:cxnLst/>
            <a:rect l="l" t="t" r="r" b="b"/>
            <a:pathLst>
              <a:path w="6442" h="2460" extrusionOk="0">
                <a:moveTo>
                  <a:pt x="4281" y="1"/>
                </a:moveTo>
                <a:cubicBezTo>
                  <a:pt x="1501" y="1164"/>
                  <a:pt x="1" y="2460"/>
                  <a:pt x="1" y="2460"/>
                </a:cubicBezTo>
                <a:lnTo>
                  <a:pt x="3416" y="2460"/>
                </a:lnTo>
                <a:cubicBezTo>
                  <a:pt x="5496" y="662"/>
                  <a:pt x="6442" y="325"/>
                  <a:pt x="6442" y="325"/>
                </a:cubicBezTo>
                <a:cubicBezTo>
                  <a:pt x="5402" y="137"/>
                  <a:pt x="4281" y="1"/>
                  <a:pt x="428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1" name="Google Shape;1001;p33"/>
          <p:cNvSpPr/>
          <p:nvPr/>
        </p:nvSpPr>
        <p:spPr>
          <a:xfrm>
            <a:off x="781" y="4457311"/>
            <a:ext cx="7419568" cy="410384"/>
          </a:xfrm>
          <a:custGeom>
            <a:avLst/>
            <a:gdLst/>
            <a:ahLst/>
            <a:cxnLst/>
            <a:rect l="l" t="t" r="r" b="b"/>
            <a:pathLst>
              <a:path w="31008" h="2188" extrusionOk="0">
                <a:moveTo>
                  <a:pt x="10056" y="1"/>
                </a:moveTo>
                <a:cubicBezTo>
                  <a:pt x="6796" y="1"/>
                  <a:pt x="3184" y="185"/>
                  <a:pt x="1" y="730"/>
                </a:cubicBezTo>
                <a:lnTo>
                  <a:pt x="1" y="960"/>
                </a:lnTo>
                <a:cubicBezTo>
                  <a:pt x="1" y="960"/>
                  <a:pt x="3199" y="257"/>
                  <a:pt x="10476" y="150"/>
                </a:cubicBezTo>
                <a:cubicBezTo>
                  <a:pt x="10657" y="147"/>
                  <a:pt x="10842" y="146"/>
                  <a:pt x="11031" y="146"/>
                </a:cubicBezTo>
                <a:cubicBezTo>
                  <a:pt x="18370" y="146"/>
                  <a:pt x="30496" y="2188"/>
                  <a:pt x="30496" y="2188"/>
                </a:cubicBezTo>
                <a:lnTo>
                  <a:pt x="31008" y="2094"/>
                </a:lnTo>
                <a:cubicBezTo>
                  <a:pt x="31008" y="2094"/>
                  <a:pt x="20938" y="620"/>
                  <a:pt x="17037" y="283"/>
                </a:cubicBezTo>
                <a:cubicBezTo>
                  <a:pt x="15260" y="129"/>
                  <a:pt x="12781" y="1"/>
                  <a:pt x="10056" y="1"/>
                </a:cubicBezTo>
                <a:close/>
              </a:path>
            </a:pathLst>
          </a:custGeom>
          <a:solidFill>
            <a:srgbClr val="FFFAE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2" name="Google Shape;1002;p33"/>
          <p:cNvSpPr/>
          <p:nvPr/>
        </p:nvSpPr>
        <p:spPr>
          <a:xfrm>
            <a:off x="781" y="4879326"/>
            <a:ext cx="10895816" cy="730364"/>
          </a:xfrm>
          <a:custGeom>
            <a:avLst/>
            <a:gdLst/>
            <a:ahLst/>
            <a:cxnLst/>
            <a:rect l="l" t="t" r="r" b="b"/>
            <a:pathLst>
              <a:path w="45536" h="3894" extrusionOk="0">
                <a:moveTo>
                  <a:pt x="10726" y="0"/>
                </a:moveTo>
                <a:cubicBezTo>
                  <a:pt x="2590" y="0"/>
                  <a:pt x="1" y="314"/>
                  <a:pt x="1" y="314"/>
                </a:cubicBezTo>
                <a:lnTo>
                  <a:pt x="1" y="3894"/>
                </a:lnTo>
                <a:lnTo>
                  <a:pt x="45536" y="3894"/>
                </a:lnTo>
                <a:lnTo>
                  <a:pt x="45536" y="1422"/>
                </a:lnTo>
                <a:cubicBezTo>
                  <a:pt x="44956" y="1468"/>
                  <a:pt x="44232" y="1489"/>
                  <a:pt x="43390" y="1489"/>
                </a:cubicBezTo>
                <a:cubicBezTo>
                  <a:pt x="36411" y="1489"/>
                  <a:pt x="21315" y="64"/>
                  <a:pt x="12676" y="6"/>
                </a:cubicBezTo>
                <a:cubicBezTo>
                  <a:pt x="11993" y="2"/>
                  <a:pt x="11344" y="0"/>
                  <a:pt x="10726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3" name="Google Shape;1003;p33"/>
          <p:cNvSpPr/>
          <p:nvPr/>
        </p:nvSpPr>
        <p:spPr>
          <a:xfrm>
            <a:off x="5595147" y="4485446"/>
            <a:ext cx="6648132" cy="673345"/>
          </a:xfrm>
          <a:custGeom>
            <a:avLst/>
            <a:gdLst/>
            <a:ahLst/>
            <a:cxnLst/>
            <a:rect l="l" t="t" r="r" b="b"/>
            <a:pathLst>
              <a:path w="27784" h="3590" extrusionOk="0">
                <a:moveTo>
                  <a:pt x="27784" y="0"/>
                </a:moveTo>
                <a:cubicBezTo>
                  <a:pt x="13745" y="201"/>
                  <a:pt x="1" y="3415"/>
                  <a:pt x="1" y="3415"/>
                </a:cubicBezTo>
                <a:lnTo>
                  <a:pt x="21061" y="3548"/>
                </a:lnTo>
                <a:lnTo>
                  <a:pt x="27784" y="3590"/>
                </a:lnTo>
                <a:lnTo>
                  <a:pt x="27784" y="0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4" name="Google Shape;1004;p33"/>
          <p:cNvSpPr/>
          <p:nvPr/>
        </p:nvSpPr>
        <p:spPr>
          <a:xfrm>
            <a:off x="5595147" y="4662129"/>
            <a:ext cx="6648132" cy="674096"/>
          </a:xfrm>
          <a:custGeom>
            <a:avLst/>
            <a:gdLst/>
            <a:ahLst/>
            <a:cxnLst/>
            <a:rect l="l" t="t" r="r" b="b"/>
            <a:pathLst>
              <a:path w="27784" h="3594" extrusionOk="0">
                <a:moveTo>
                  <a:pt x="27784" y="1"/>
                </a:moveTo>
                <a:cubicBezTo>
                  <a:pt x="13745" y="218"/>
                  <a:pt x="1" y="3432"/>
                  <a:pt x="1" y="3432"/>
                </a:cubicBezTo>
                <a:lnTo>
                  <a:pt x="21061" y="3552"/>
                </a:lnTo>
                <a:lnTo>
                  <a:pt x="27784" y="3594"/>
                </a:lnTo>
                <a:lnTo>
                  <a:pt x="27784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5" name="Google Shape;1005;p33"/>
          <p:cNvSpPr/>
          <p:nvPr/>
        </p:nvSpPr>
        <p:spPr>
          <a:xfrm>
            <a:off x="781" y="5102525"/>
            <a:ext cx="12242480" cy="1755388"/>
          </a:xfrm>
          <a:custGeom>
            <a:avLst/>
            <a:gdLst/>
            <a:ahLst/>
            <a:cxnLst/>
            <a:rect l="l" t="t" r="r" b="b"/>
            <a:pathLst>
              <a:path w="51164" h="9359" extrusionOk="0">
                <a:moveTo>
                  <a:pt x="28954" y="0"/>
                </a:moveTo>
                <a:cubicBezTo>
                  <a:pt x="13795" y="0"/>
                  <a:pt x="1" y="193"/>
                  <a:pt x="1" y="193"/>
                </a:cubicBezTo>
                <a:lnTo>
                  <a:pt x="1" y="9359"/>
                </a:lnTo>
                <a:lnTo>
                  <a:pt x="51164" y="9359"/>
                </a:lnTo>
                <a:lnTo>
                  <a:pt x="51164" y="193"/>
                </a:lnTo>
                <a:cubicBezTo>
                  <a:pt x="44455" y="48"/>
                  <a:pt x="36534" y="0"/>
                  <a:pt x="28954" y="0"/>
                </a:cubicBezTo>
                <a:close/>
              </a:path>
            </a:pathLst>
          </a:custGeom>
          <a:solidFill>
            <a:srgbClr val="FFC6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6" name="Google Shape;1006;p33"/>
          <p:cNvSpPr/>
          <p:nvPr/>
        </p:nvSpPr>
        <p:spPr>
          <a:xfrm>
            <a:off x="781" y="5196681"/>
            <a:ext cx="12242480" cy="561935"/>
          </a:xfrm>
          <a:custGeom>
            <a:avLst/>
            <a:gdLst/>
            <a:ahLst/>
            <a:cxnLst/>
            <a:rect l="l" t="t" r="r" b="b"/>
            <a:pathLst>
              <a:path w="51164" h="2996" extrusionOk="0">
                <a:moveTo>
                  <a:pt x="28954" y="1"/>
                </a:moveTo>
                <a:cubicBezTo>
                  <a:pt x="13795" y="1"/>
                  <a:pt x="1" y="67"/>
                  <a:pt x="1" y="67"/>
                </a:cubicBezTo>
                <a:lnTo>
                  <a:pt x="1" y="2996"/>
                </a:lnTo>
                <a:lnTo>
                  <a:pt x="51164" y="2996"/>
                </a:lnTo>
                <a:lnTo>
                  <a:pt x="51164" y="67"/>
                </a:lnTo>
                <a:cubicBezTo>
                  <a:pt x="44455" y="17"/>
                  <a:pt x="36534" y="1"/>
                  <a:pt x="28954" y="1"/>
                </a:cubicBezTo>
                <a:close/>
              </a:path>
            </a:pathLst>
          </a:custGeom>
          <a:solidFill>
            <a:srgbClr val="FF8C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7" name="Google Shape;1007;p33"/>
          <p:cNvSpPr/>
          <p:nvPr/>
        </p:nvSpPr>
        <p:spPr>
          <a:xfrm>
            <a:off x="781" y="5285021"/>
            <a:ext cx="12242480" cy="1572891"/>
          </a:xfrm>
          <a:custGeom>
            <a:avLst/>
            <a:gdLst/>
            <a:ahLst/>
            <a:cxnLst/>
            <a:rect l="l" t="t" r="r" b="b"/>
            <a:pathLst>
              <a:path w="51164" h="8386" extrusionOk="0">
                <a:moveTo>
                  <a:pt x="51164" y="1"/>
                </a:moveTo>
                <a:cubicBezTo>
                  <a:pt x="51164" y="1"/>
                  <a:pt x="12488" y="1783"/>
                  <a:pt x="1" y="4579"/>
                </a:cubicBezTo>
                <a:lnTo>
                  <a:pt x="1" y="8386"/>
                </a:lnTo>
                <a:lnTo>
                  <a:pt x="51164" y="8386"/>
                </a:lnTo>
                <a:lnTo>
                  <a:pt x="51164" y="1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8" name="Google Shape;1008;p33"/>
          <p:cNvSpPr/>
          <p:nvPr/>
        </p:nvSpPr>
        <p:spPr>
          <a:xfrm>
            <a:off x="10563795" y="5013246"/>
            <a:ext cx="659215" cy="140671"/>
          </a:xfrm>
          <a:custGeom>
            <a:avLst/>
            <a:gdLst/>
            <a:ahLst/>
            <a:cxnLst/>
            <a:rect l="l" t="t" r="r" b="b"/>
            <a:pathLst>
              <a:path w="2755" h="750" extrusionOk="0">
                <a:moveTo>
                  <a:pt x="1395" y="1"/>
                </a:moveTo>
                <a:cubicBezTo>
                  <a:pt x="598" y="1"/>
                  <a:pt x="1" y="734"/>
                  <a:pt x="1" y="734"/>
                </a:cubicBezTo>
                <a:lnTo>
                  <a:pt x="2755" y="750"/>
                </a:lnTo>
                <a:cubicBezTo>
                  <a:pt x="2755" y="750"/>
                  <a:pt x="2525" y="167"/>
                  <a:pt x="1621" y="21"/>
                </a:cubicBezTo>
                <a:cubicBezTo>
                  <a:pt x="1544" y="7"/>
                  <a:pt x="1468" y="1"/>
                  <a:pt x="1395" y="1"/>
                </a:cubicBezTo>
                <a:close/>
              </a:path>
            </a:pathLst>
          </a:custGeom>
          <a:solidFill>
            <a:srgbClr val="FBB11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9" name="Google Shape;1009;p33"/>
          <p:cNvSpPr/>
          <p:nvPr/>
        </p:nvSpPr>
        <p:spPr>
          <a:xfrm>
            <a:off x="11080161" y="4960166"/>
            <a:ext cx="875523" cy="193751"/>
          </a:xfrm>
          <a:custGeom>
            <a:avLst/>
            <a:gdLst/>
            <a:ahLst/>
            <a:cxnLst/>
            <a:rect l="l" t="t" r="r" b="b"/>
            <a:pathLst>
              <a:path w="3659" h="1033" extrusionOk="0">
                <a:moveTo>
                  <a:pt x="1939" y="0"/>
                </a:moveTo>
                <a:cubicBezTo>
                  <a:pt x="757" y="0"/>
                  <a:pt x="1" y="1004"/>
                  <a:pt x="1" y="1004"/>
                </a:cubicBezTo>
                <a:lnTo>
                  <a:pt x="3659" y="1033"/>
                </a:lnTo>
                <a:cubicBezTo>
                  <a:pt x="3659" y="1033"/>
                  <a:pt x="3390" y="87"/>
                  <a:pt x="2094" y="6"/>
                </a:cubicBezTo>
                <a:cubicBezTo>
                  <a:pt x="2041" y="2"/>
                  <a:pt x="1990" y="0"/>
                  <a:pt x="1939" y="0"/>
                </a:cubicBezTo>
                <a:close/>
              </a:path>
            </a:pathLst>
          </a:custGeom>
          <a:solidFill>
            <a:srgbClr val="FBB11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0" name="Google Shape;1010;p33"/>
          <p:cNvSpPr/>
          <p:nvPr/>
        </p:nvSpPr>
        <p:spPr>
          <a:xfrm>
            <a:off x="11154578" y="5016246"/>
            <a:ext cx="717359" cy="137671"/>
          </a:xfrm>
          <a:custGeom>
            <a:avLst/>
            <a:gdLst/>
            <a:ahLst/>
            <a:cxnLst/>
            <a:rect l="l" t="t" r="r" b="b"/>
            <a:pathLst>
              <a:path w="2998" h="734" extrusionOk="0">
                <a:moveTo>
                  <a:pt x="1586" y="1"/>
                </a:moveTo>
                <a:cubicBezTo>
                  <a:pt x="619" y="1"/>
                  <a:pt x="1" y="718"/>
                  <a:pt x="1" y="718"/>
                </a:cubicBezTo>
                <a:lnTo>
                  <a:pt x="2998" y="734"/>
                </a:lnTo>
                <a:cubicBezTo>
                  <a:pt x="2998" y="734"/>
                  <a:pt x="2781" y="57"/>
                  <a:pt x="1715" y="5"/>
                </a:cubicBezTo>
                <a:cubicBezTo>
                  <a:pt x="1671" y="2"/>
                  <a:pt x="1628" y="1"/>
                  <a:pt x="1586" y="1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1" name="Google Shape;1011;p33"/>
          <p:cNvSpPr/>
          <p:nvPr/>
        </p:nvSpPr>
        <p:spPr>
          <a:xfrm>
            <a:off x="6215361" y="4999366"/>
            <a:ext cx="859969" cy="154551"/>
          </a:xfrm>
          <a:custGeom>
            <a:avLst/>
            <a:gdLst/>
            <a:ahLst/>
            <a:cxnLst/>
            <a:rect l="l" t="t" r="r" b="b"/>
            <a:pathLst>
              <a:path w="3594" h="824" extrusionOk="0">
                <a:moveTo>
                  <a:pt x="1950" y="0"/>
                </a:moveTo>
                <a:cubicBezTo>
                  <a:pt x="881" y="0"/>
                  <a:pt x="1" y="808"/>
                  <a:pt x="1" y="808"/>
                </a:cubicBezTo>
                <a:lnTo>
                  <a:pt x="3594" y="824"/>
                </a:lnTo>
                <a:cubicBezTo>
                  <a:pt x="3594" y="824"/>
                  <a:pt x="3377" y="147"/>
                  <a:pt x="2188" y="14"/>
                </a:cubicBezTo>
                <a:cubicBezTo>
                  <a:pt x="2108" y="5"/>
                  <a:pt x="2028" y="0"/>
                  <a:pt x="1950" y="0"/>
                </a:cubicBezTo>
                <a:close/>
              </a:path>
            </a:pathLst>
          </a:custGeom>
          <a:solidFill>
            <a:srgbClr val="FBB11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2" name="Google Shape;1012;p33"/>
          <p:cNvSpPr/>
          <p:nvPr/>
        </p:nvSpPr>
        <p:spPr>
          <a:xfrm>
            <a:off x="6932483" y="4948348"/>
            <a:ext cx="943717" cy="205568"/>
          </a:xfrm>
          <a:custGeom>
            <a:avLst/>
            <a:gdLst/>
            <a:ahLst/>
            <a:cxnLst/>
            <a:rect l="l" t="t" r="r" b="b"/>
            <a:pathLst>
              <a:path w="3944" h="1096" extrusionOk="0">
                <a:moveTo>
                  <a:pt x="2071" y="1"/>
                </a:moveTo>
                <a:cubicBezTo>
                  <a:pt x="814" y="1"/>
                  <a:pt x="1" y="1067"/>
                  <a:pt x="1" y="1067"/>
                </a:cubicBezTo>
                <a:lnTo>
                  <a:pt x="3944" y="1096"/>
                </a:lnTo>
                <a:cubicBezTo>
                  <a:pt x="3944" y="1096"/>
                  <a:pt x="3471" y="14"/>
                  <a:pt x="2094" y="1"/>
                </a:cubicBezTo>
                <a:cubicBezTo>
                  <a:pt x="2086" y="1"/>
                  <a:pt x="2079" y="1"/>
                  <a:pt x="2071" y="1"/>
                </a:cubicBezTo>
                <a:close/>
              </a:path>
            </a:pathLst>
          </a:custGeom>
          <a:solidFill>
            <a:srgbClr val="FBB11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3" name="Google Shape;1013;p33"/>
          <p:cNvSpPr/>
          <p:nvPr/>
        </p:nvSpPr>
        <p:spPr>
          <a:xfrm>
            <a:off x="9797860" y="5209623"/>
            <a:ext cx="875523" cy="123603"/>
          </a:xfrm>
          <a:custGeom>
            <a:avLst/>
            <a:gdLst/>
            <a:ahLst/>
            <a:cxnLst/>
            <a:rect l="l" t="t" r="r" b="b"/>
            <a:pathLst>
              <a:path w="3659" h="659" extrusionOk="0">
                <a:moveTo>
                  <a:pt x="1994" y="0"/>
                </a:moveTo>
                <a:cubicBezTo>
                  <a:pt x="896" y="0"/>
                  <a:pt x="1" y="659"/>
                  <a:pt x="1" y="659"/>
                </a:cubicBezTo>
                <a:lnTo>
                  <a:pt x="3659" y="659"/>
                </a:lnTo>
                <a:cubicBezTo>
                  <a:pt x="3659" y="659"/>
                  <a:pt x="3445" y="121"/>
                  <a:pt x="2230" y="11"/>
                </a:cubicBezTo>
                <a:cubicBezTo>
                  <a:pt x="2150" y="4"/>
                  <a:pt x="2072" y="0"/>
                  <a:pt x="1994" y="0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4" name="Google Shape;1014;p33"/>
          <p:cNvSpPr/>
          <p:nvPr/>
        </p:nvSpPr>
        <p:spPr>
          <a:xfrm>
            <a:off x="7103807" y="5037816"/>
            <a:ext cx="717359" cy="105784"/>
          </a:xfrm>
          <a:custGeom>
            <a:avLst/>
            <a:gdLst/>
            <a:ahLst/>
            <a:cxnLst/>
            <a:rect l="l" t="t" r="r" b="b"/>
            <a:pathLst>
              <a:path w="2998" h="564" extrusionOk="0">
                <a:moveTo>
                  <a:pt x="1640" y="1"/>
                </a:moveTo>
                <a:cubicBezTo>
                  <a:pt x="742" y="1"/>
                  <a:pt x="1" y="564"/>
                  <a:pt x="1" y="564"/>
                </a:cubicBezTo>
                <a:lnTo>
                  <a:pt x="2998" y="564"/>
                </a:lnTo>
                <a:cubicBezTo>
                  <a:pt x="2998" y="564"/>
                  <a:pt x="2823" y="104"/>
                  <a:pt x="1838" y="10"/>
                </a:cubicBezTo>
                <a:cubicBezTo>
                  <a:pt x="1771" y="4"/>
                  <a:pt x="1705" y="1"/>
                  <a:pt x="1640" y="1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5" name="Google Shape;1015;p33"/>
          <p:cNvSpPr/>
          <p:nvPr/>
        </p:nvSpPr>
        <p:spPr>
          <a:xfrm>
            <a:off x="6477372" y="5055634"/>
            <a:ext cx="507272" cy="87967"/>
          </a:xfrm>
          <a:custGeom>
            <a:avLst/>
            <a:gdLst/>
            <a:ahLst/>
            <a:cxnLst/>
            <a:rect l="l" t="t" r="r" b="b"/>
            <a:pathLst>
              <a:path w="2120" h="469" extrusionOk="0">
                <a:moveTo>
                  <a:pt x="1152" y="1"/>
                </a:moveTo>
                <a:cubicBezTo>
                  <a:pt x="514" y="1"/>
                  <a:pt x="1" y="469"/>
                  <a:pt x="1" y="469"/>
                </a:cubicBezTo>
                <a:lnTo>
                  <a:pt x="2120" y="469"/>
                </a:lnTo>
                <a:cubicBezTo>
                  <a:pt x="2120" y="469"/>
                  <a:pt x="1997" y="90"/>
                  <a:pt x="1297" y="9"/>
                </a:cubicBezTo>
                <a:cubicBezTo>
                  <a:pt x="1248" y="3"/>
                  <a:pt x="1199" y="1"/>
                  <a:pt x="1152" y="1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6" name="Google Shape;1016;p33"/>
          <p:cNvSpPr/>
          <p:nvPr/>
        </p:nvSpPr>
        <p:spPr>
          <a:xfrm>
            <a:off x="7543364" y="5032751"/>
            <a:ext cx="875523" cy="123603"/>
          </a:xfrm>
          <a:custGeom>
            <a:avLst/>
            <a:gdLst/>
            <a:ahLst/>
            <a:cxnLst/>
            <a:rect l="l" t="t" r="r" b="b"/>
            <a:pathLst>
              <a:path w="3659" h="659" extrusionOk="0">
                <a:moveTo>
                  <a:pt x="1996" y="0"/>
                </a:moveTo>
                <a:cubicBezTo>
                  <a:pt x="891" y="0"/>
                  <a:pt x="1" y="659"/>
                  <a:pt x="1" y="659"/>
                </a:cubicBezTo>
                <a:lnTo>
                  <a:pt x="3659" y="659"/>
                </a:lnTo>
                <a:cubicBezTo>
                  <a:pt x="3659" y="659"/>
                  <a:pt x="3442" y="118"/>
                  <a:pt x="2240" y="11"/>
                </a:cubicBezTo>
                <a:cubicBezTo>
                  <a:pt x="2157" y="3"/>
                  <a:pt x="2076" y="0"/>
                  <a:pt x="1996" y="0"/>
                </a:cubicBezTo>
                <a:close/>
              </a:path>
            </a:pathLst>
          </a:custGeom>
          <a:solidFill>
            <a:srgbClr val="FBB11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7" name="Google Shape;1017;p33"/>
          <p:cNvSpPr/>
          <p:nvPr/>
        </p:nvSpPr>
        <p:spPr>
          <a:xfrm>
            <a:off x="7775944" y="5439385"/>
            <a:ext cx="3074976" cy="869160"/>
          </a:xfrm>
          <a:custGeom>
            <a:avLst/>
            <a:gdLst/>
            <a:ahLst/>
            <a:cxnLst/>
            <a:rect l="l" t="t" r="r" b="b"/>
            <a:pathLst>
              <a:path w="12851" h="4634" extrusionOk="0">
                <a:moveTo>
                  <a:pt x="4009" y="1"/>
                </a:moveTo>
                <a:cubicBezTo>
                  <a:pt x="4009" y="1"/>
                  <a:pt x="2512" y="56"/>
                  <a:pt x="1" y="260"/>
                </a:cubicBezTo>
                <a:cubicBezTo>
                  <a:pt x="1" y="260"/>
                  <a:pt x="6170" y="1893"/>
                  <a:pt x="10045" y="4634"/>
                </a:cubicBezTo>
                <a:cubicBezTo>
                  <a:pt x="10045" y="4634"/>
                  <a:pt x="12339" y="4213"/>
                  <a:pt x="12851" y="4119"/>
                </a:cubicBezTo>
                <a:cubicBezTo>
                  <a:pt x="12851" y="4119"/>
                  <a:pt x="9815" y="1556"/>
                  <a:pt x="40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8" name="Google Shape;1018;p33"/>
          <p:cNvSpPr/>
          <p:nvPr/>
        </p:nvSpPr>
        <p:spPr>
          <a:xfrm>
            <a:off x="5869601" y="5545734"/>
            <a:ext cx="3178824" cy="826021"/>
          </a:xfrm>
          <a:custGeom>
            <a:avLst/>
            <a:gdLst/>
            <a:ahLst/>
            <a:cxnLst/>
            <a:rect l="l" t="t" r="r" b="b"/>
            <a:pathLst>
              <a:path w="13285" h="4404" extrusionOk="0">
                <a:moveTo>
                  <a:pt x="3662" y="1"/>
                </a:moveTo>
                <a:cubicBezTo>
                  <a:pt x="3662" y="1"/>
                  <a:pt x="785" y="163"/>
                  <a:pt x="1" y="286"/>
                </a:cubicBezTo>
                <a:cubicBezTo>
                  <a:pt x="1" y="286"/>
                  <a:pt x="7197" y="2123"/>
                  <a:pt x="10249" y="4404"/>
                </a:cubicBezTo>
                <a:cubicBezTo>
                  <a:pt x="10249" y="4404"/>
                  <a:pt x="12773" y="4229"/>
                  <a:pt x="13285" y="4132"/>
                </a:cubicBezTo>
                <a:cubicBezTo>
                  <a:pt x="13285" y="4132"/>
                  <a:pt x="9465" y="1556"/>
                  <a:pt x="3662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9" name="Google Shape;1019;p33"/>
          <p:cNvSpPr/>
          <p:nvPr/>
        </p:nvSpPr>
        <p:spPr>
          <a:xfrm>
            <a:off x="9742825" y="5343354"/>
            <a:ext cx="2500467" cy="982823"/>
          </a:xfrm>
          <a:custGeom>
            <a:avLst/>
            <a:gdLst/>
            <a:ahLst/>
            <a:cxnLst/>
            <a:rect l="l" t="t" r="r" b="b"/>
            <a:pathLst>
              <a:path w="10450" h="5240" extrusionOk="0">
                <a:moveTo>
                  <a:pt x="4566" y="1"/>
                </a:moveTo>
                <a:cubicBezTo>
                  <a:pt x="4566" y="1"/>
                  <a:pt x="2661" y="43"/>
                  <a:pt x="1" y="257"/>
                </a:cubicBezTo>
                <a:cubicBezTo>
                  <a:pt x="1" y="257"/>
                  <a:pt x="5227" y="1323"/>
                  <a:pt x="10450" y="5240"/>
                </a:cubicBezTo>
                <a:lnTo>
                  <a:pt x="9248" y="4307"/>
                </a:lnTo>
                <a:lnTo>
                  <a:pt x="10450" y="4443"/>
                </a:lnTo>
                <a:lnTo>
                  <a:pt x="10450" y="2593"/>
                </a:lnTo>
                <a:cubicBezTo>
                  <a:pt x="7482" y="743"/>
                  <a:pt x="4566" y="1"/>
                  <a:pt x="456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0" name="Google Shape;1020;p33"/>
          <p:cNvSpPr/>
          <p:nvPr/>
        </p:nvSpPr>
        <p:spPr>
          <a:xfrm>
            <a:off x="5385059" y="5285022"/>
            <a:ext cx="6858220" cy="385439"/>
          </a:xfrm>
          <a:custGeom>
            <a:avLst/>
            <a:gdLst/>
            <a:ahLst/>
            <a:cxnLst/>
            <a:rect l="l" t="t" r="r" b="b"/>
            <a:pathLst>
              <a:path w="28662" h="2055" extrusionOk="0">
                <a:moveTo>
                  <a:pt x="28662" y="1"/>
                </a:moveTo>
                <a:cubicBezTo>
                  <a:pt x="28662" y="1"/>
                  <a:pt x="21589" y="354"/>
                  <a:pt x="16486" y="678"/>
                </a:cubicBezTo>
                <a:cubicBezTo>
                  <a:pt x="11383" y="1002"/>
                  <a:pt x="908" y="1689"/>
                  <a:pt x="1" y="1838"/>
                </a:cubicBezTo>
                <a:cubicBezTo>
                  <a:pt x="1" y="1838"/>
                  <a:pt x="1122" y="2000"/>
                  <a:pt x="1488" y="2055"/>
                </a:cubicBezTo>
                <a:cubicBezTo>
                  <a:pt x="1488" y="2055"/>
                  <a:pt x="8360" y="1595"/>
                  <a:pt x="13071" y="1216"/>
                </a:cubicBezTo>
                <a:cubicBezTo>
                  <a:pt x="17782" y="840"/>
                  <a:pt x="28662" y="393"/>
                  <a:pt x="28662" y="393"/>
                </a:cubicBezTo>
                <a:lnTo>
                  <a:pt x="28662" y="1"/>
                </a:ln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1" name="Google Shape;1021;p33"/>
          <p:cNvSpPr/>
          <p:nvPr/>
        </p:nvSpPr>
        <p:spPr>
          <a:xfrm>
            <a:off x="781" y="5440885"/>
            <a:ext cx="12242480" cy="1417027"/>
          </a:xfrm>
          <a:custGeom>
            <a:avLst/>
            <a:gdLst/>
            <a:ahLst/>
            <a:cxnLst/>
            <a:rect l="l" t="t" r="r" b="b"/>
            <a:pathLst>
              <a:path w="51164" h="7555" extrusionOk="0">
                <a:moveTo>
                  <a:pt x="7656" y="1"/>
                </a:moveTo>
                <a:cubicBezTo>
                  <a:pt x="2876" y="1"/>
                  <a:pt x="1" y="385"/>
                  <a:pt x="1" y="385"/>
                </a:cubicBezTo>
                <a:lnTo>
                  <a:pt x="1" y="7555"/>
                </a:lnTo>
                <a:lnTo>
                  <a:pt x="51164" y="7555"/>
                </a:lnTo>
                <a:lnTo>
                  <a:pt x="51164" y="3249"/>
                </a:lnTo>
                <a:cubicBezTo>
                  <a:pt x="49225" y="3578"/>
                  <a:pt x="47012" y="3826"/>
                  <a:pt x="44108" y="3826"/>
                </a:cubicBezTo>
                <a:cubicBezTo>
                  <a:pt x="39852" y="3826"/>
                  <a:pt x="34112" y="3292"/>
                  <a:pt x="25581" y="1694"/>
                </a:cubicBezTo>
                <a:cubicBezTo>
                  <a:pt x="18442" y="347"/>
                  <a:pt x="12191" y="1"/>
                  <a:pt x="7656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2" name="Google Shape;1022;p33"/>
          <p:cNvSpPr/>
          <p:nvPr/>
        </p:nvSpPr>
        <p:spPr>
          <a:xfrm>
            <a:off x="781" y="5412190"/>
            <a:ext cx="12242480" cy="784569"/>
          </a:xfrm>
          <a:custGeom>
            <a:avLst/>
            <a:gdLst/>
            <a:ahLst/>
            <a:cxnLst/>
            <a:rect l="l" t="t" r="r" b="b"/>
            <a:pathLst>
              <a:path w="51164" h="4183" extrusionOk="0">
                <a:moveTo>
                  <a:pt x="7629" y="0"/>
                </a:moveTo>
                <a:cubicBezTo>
                  <a:pt x="4994" y="0"/>
                  <a:pt x="2508" y="145"/>
                  <a:pt x="1" y="431"/>
                </a:cubicBezTo>
                <a:lnTo>
                  <a:pt x="1" y="1105"/>
                </a:lnTo>
                <a:cubicBezTo>
                  <a:pt x="1" y="1105"/>
                  <a:pt x="4651" y="656"/>
                  <a:pt x="10046" y="656"/>
                </a:cubicBezTo>
                <a:cubicBezTo>
                  <a:pt x="12743" y="656"/>
                  <a:pt x="15627" y="768"/>
                  <a:pt x="18210" y="1105"/>
                </a:cubicBezTo>
                <a:cubicBezTo>
                  <a:pt x="24431" y="1920"/>
                  <a:pt x="37415" y="4183"/>
                  <a:pt x="45913" y="4183"/>
                </a:cubicBezTo>
                <a:cubicBezTo>
                  <a:pt x="47984" y="4183"/>
                  <a:pt x="49788" y="4049"/>
                  <a:pt x="51164" y="3726"/>
                </a:cubicBezTo>
                <a:lnTo>
                  <a:pt x="51164" y="3402"/>
                </a:lnTo>
                <a:cubicBezTo>
                  <a:pt x="51164" y="3402"/>
                  <a:pt x="49472" y="3778"/>
                  <a:pt x="45715" y="3778"/>
                </a:cubicBezTo>
                <a:cubicBezTo>
                  <a:pt x="42433" y="3778"/>
                  <a:pt x="37573" y="3491"/>
                  <a:pt x="30888" y="2414"/>
                </a:cubicBezTo>
                <a:cubicBezTo>
                  <a:pt x="20832" y="796"/>
                  <a:pt x="13818" y="0"/>
                  <a:pt x="7629" y="0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3" name="Google Shape;1023;p33"/>
          <p:cNvSpPr/>
          <p:nvPr/>
        </p:nvSpPr>
        <p:spPr>
          <a:xfrm>
            <a:off x="782" y="5452140"/>
            <a:ext cx="4661159" cy="1405773"/>
          </a:xfrm>
          <a:custGeom>
            <a:avLst/>
            <a:gdLst/>
            <a:ahLst/>
            <a:cxnLst/>
            <a:rect l="l" t="t" r="r" b="b"/>
            <a:pathLst>
              <a:path w="19480" h="7495" extrusionOk="0">
                <a:moveTo>
                  <a:pt x="13405" y="1"/>
                </a:moveTo>
                <a:cubicBezTo>
                  <a:pt x="4589" y="2282"/>
                  <a:pt x="1" y="7495"/>
                  <a:pt x="1" y="7495"/>
                </a:cubicBezTo>
                <a:lnTo>
                  <a:pt x="10058" y="7495"/>
                </a:lnTo>
                <a:cubicBezTo>
                  <a:pt x="13674" y="3121"/>
                  <a:pt x="19480" y="581"/>
                  <a:pt x="19480" y="581"/>
                </a:cubicBezTo>
                <a:cubicBezTo>
                  <a:pt x="17118" y="299"/>
                  <a:pt x="13405" y="1"/>
                  <a:pt x="13405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4" name="Google Shape;1024;p33"/>
          <p:cNvSpPr/>
          <p:nvPr/>
        </p:nvSpPr>
        <p:spPr>
          <a:xfrm>
            <a:off x="4429137" y="5761430"/>
            <a:ext cx="3750940" cy="1096484"/>
          </a:xfrm>
          <a:custGeom>
            <a:avLst/>
            <a:gdLst/>
            <a:ahLst/>
            <a:cxnLst/>
            <a:rect l="l" t="t" r="r" b="b"/>
            <a:pathLst>
              <a:path w="15676" h="5846" extrusionOk="0">
                <a:moveTo>
                  <a:pt x="8843" y="1"/>
                </a:moveTo>
                <a:cubicBezTo>
                  <a:pt x="2849" y="2321"/>
                  <a:pt x="1" y="5846"/>
                  <a:pt x="1" y="5846"/>
                </a:cubicBezTo>
                <a:lnTo>
                  <a:pt x="10071" y="5846"/>
                </a:lnTo>
                <a:cubicBezTo>
                  <a:pt x="13677" y="1472"/>
                  <a:pt x="15676" y="1025"/>
                  <a:pt x="15676" y="1025"/>
                </a:cubicBezTo>
                <a:cubicBezTo>
                  <a:pt x="13327" y="756"/>
                  <a:pt x="8843" y="1"/>
                  <a:pt x="8843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5" name="Google Shape;1025;p33"/>
          <p:cNvSpPr/>
          <p:nvPr/>
        </p:nvSpPr>
        <p:spPr>
          <a:xfrm>
            <a:off x="8512448" y="6082911"/>
            <a:ext cx="3443227" cy="775004"/>
          </a:xfrm>
          <a:custGeom>
            <a:avLst/>
            <a:gdLst/>
            <a:ahLst/>
            <a:cxnLst/>
            <a:rect l="l" t="t" r="r" b="b"/>
            <a:pathLst>
              <a:path w="14390" h="4132" extrusionOk="0">
                <a:moveTo>
                  <a:pt x="14390" y="1"/>
                </a:moveTo>
                <a:lnTo>
                  <a:pt x="14390" y="1"/>
                </a:lnTo>
                <a:cubicBezTo>
                  <a:pt x="13070" y="161"/>
                  <a:pt x="11559" y="209"/>
                  <a:pt x="10213" y="209"/>
                </a:cubicBezTo>
                <a:cubicBezTo>
                  <a:pt x="8146" y="209"/>
                  <a:pt x="6468" y="95"/>
                  <a:pt x="6468" y="95"/>
                </a:cubicBezTo>
                <a:cubicBezTo>
                  <a:pt x="2418" y="1647"/>
                  <a:pt x="1" y="4132"/>
                  <a:pt x="1" y="4132"/>
                </a:cubicBezTo>
                <a:lnTo>
                  <a:pt x="10058" y="4132"/>
                </a:lnTo>
                <a:cubicBezTo>
                  <a:pt x="12501" y="811"/>
                  <a:pt x="14389" y="1"/>
                  <a:pt x="14390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6" name="Google Shape;1026;p33"/>
          <p:cNvSpPr/>
          <p:nvPr/>
        </p:nvSpPr>
        <p:spPr>
          <a:xfrm>
            <a:off x="8784991" y="1703500"/>
            <a:ext cx="4416152" cy="749489"/>
          </a:xfrm>
          <a:custGeom>
            <a:avLst/>
            <a:gdLst/>
            <a:ahLst/>
            <a:cxnLst/>
            <a:rect l="l" t="t" r="r" b="b"/>
            <a:pathLst>
              <a:path w="18456" h="3996" extrusionOk="0">
                <a:moveTo>
                  <a:pt x="18456" y="1"/>
                </a:moveTo>
                <a:cubicBezTo>
                  <a:pt x="18456" y="1"/>
                  <a:pt x="17944" y="202"/>
                  <a:pt x="17607" y="202"/>
                </a:cubicBezTo>
                <a:lnTo>
                  <a:pt x="17241" y="202"/>
                </a:lnTo>
                <a:cubicBezTo>
                  <a:pt x="16324" y="202"/>
                  <a:pt x="13907" y="215"/>
                  <a:pt x="12828" y="474"/>
                </a:cubicBezTo>
                <a:cubicBezTo>
                  <a:pt x="11477" y="782"/>
                  <a:pt x="12543" y="701"/>
                  <a:pt x="11221" y="905"/>
                </a:cubicBezTo>
                <a:cubicBezTo>
                  <a:pt x="9912" y="1093"/>
                  <a:pt x="10019" y="1135"/>
                  <a:pt x="9358" y="1297"/>
                </a:cubicBezTo>
                <a:cubicBezTo>
                  <a:pt x="8681" y="1446"/>
                  <a:pt x="7926" y="1365"/>
                  <a:pt x="7184" y="1446"/>
                </a:cubicBezTo>
                <a:cubicBezTo>
                  <a:pt x="6442" y="1527"/>
                  <a:pt x="6562" y="1608"/>
                  <a:pt x="5888" y="1689"/>
                </a:cubicBezTo>
                <a:cubicBezTo>
                  <a:pt x="5279" y="1754"/>
                  <a:pt x="4793" y="1890"/>
                  <a:pt x="4200" y="1890"/>
                </a:cubicBezTo>
                <a:cubicBezTo>
                  <a:pt x="4132" y="1890"/>
                  <a:pt x="4064" y="1877"/>
                  <a:pt x="3983" y="1877"/>
                </a:cubicBezTo>
                <a:cubicBezTo>
                  <a:pt x="3782" y="1864"/>
                  <a:pt x="3432" y="1864"/>
                  <a:pt x="3027" y="1864"/>
                </a:cubicBezTo>
                <a:cubicBezTo>
                  <a:pt x="2094" y="1864"/>
                  <a:pt x="947" y="1890"/>
                  <a:pt x="947" y="1890"/>
                </a:cubicBezTo>
                <a:cubicBezTo>
                  <a:pt x="947" y="1890"/>
                  <a:pt x="1" y="2078"/>
                  <a:pt x="163" y="2078"/>
                </a:cubicBezTo>
                <a:lnTo>
                  <a:pt x="244" y="2078"/>
                </a:lnTo>
                <a:cubicBezTo>
                  <a:pt x="273" y="2065"/>
                  <a:pt x="312" y="2065"/>
                  <a:pt x="367" y="2065"/>
                </a:cubicBezTo>
                <a:cubicBezTo>
                  <a:pt x="853" y="2065"/>
                  <a:pt x="1906" y="2240"/>
                  <a:pt x="3228" y="2350"/>
                </a:cubicBezTo>
                <a:cubicBezTo>
                  <a:pt x="4673" y="2457"/>
                  <a:pt x="5010" y="2389"/>
                  <a:pt x="6306" y="2538"/>
                </a:cubicBezTo>
                <a:cubicBezTo>
                  <a:pt x="6468" y="2564"/>
                  <a:pt x="6643" y="2564"/>
                  <a:pt x="6818" y="2564"/>
                </a:cubicBezTo>
                <a:cubicBezTo>
                  <a:pt x="7210" y="2564"/>
                  <a:pt x="7602" y="2525"/>
                  <a:pt x="7994" y="2483"/>
                </a:cubicBezTo>
                <a:cubicBezTo>
                  <a:pt x="8386" y="2444"/>
                  <a:pt x="8778" y="2402"/>
                  <a:pt x="9128" y="2402"/>
                </a:cubicBezTo>
                <a:cubicBezTo>
                  <a:pt x="9465" y="2402"/>
                  <a:pt x="9789" y="2431"/>
                  <a:pt x="10074" y="2538"/>
                </a:cubicBezTo>
                <a:cubicBezTo>
                  <a:pt x="11140" y="2930"/>
                  <a:pt x="8924" y="2823"/>
                  <a:pt x="8872" y="2969"/>
                </a:cubicBezTo>
                <a:cubicBezTo>
                  <a:pt x="8817" y="3131"/>
                  <a:pt x="9815" y="3131"/>
                  <a:pt x="10680" y="3280"/>
                </a:cubicBezTo>
                <a:cubicBezTo>
                  <a:pt x="11545" y="3442"/>
                  <a:pt x="13703" y="3241"/>
                  <a:pt x="13920" y="3523"/>
                </a:cubicBezTo>
                <a:lnTo>
                  <a:pt x="14137" y="3795"/>
                </a:lnTo>
                <a:cubicBezTo>
                  <a:pt x="14137" y="3795"/>
                  <a:pt x="14461" y="3727"/>
                  <a:pt x="14811" y="3727"/>
                </a:cubicBezTo>
                <a:cubicBezTo>
                  <a:pt x="14986" y="3727"/>
                  <a:pt x="15148" y="3740"/>
                  <a:pt x="15297" y="3795"/>
                </a:cubicBezTo>
                <a:cubicBezTo>
                  <a:pt x="15702" y="3941"/>
                  <a:pt x="15472" y="3941"/>
                  <a:pt x="16162" y="3983"/>
                </a:cubicBezTo>
                <a:cubicBezTo>
                  <a:pt x="16214" y="3996"/>
                  <a:pt x="16269" y="3996"/>
                  <a:pt x="16324" y="3996"/>
                </a:cubicBezTo>
                <a:cubicBezTo>
                  <a:pt x="16619" y="3996"/>
                  <a:pt x="16930" y="3957"/>
                  <a:pt x="17186" y="3915"/>
                </a:cubicBezTo>
                <a:cubicBezTo>
                  <a:pt x="17445" y="3876"/>
                  <a:pt x="17659" y="3821"/>
                  <a:pt x="17769" y="3821"/>
                </a:cubicBezTo>
                <a:cubicBezTo>
                  <a:pt x="17795" y="3821"/>
                  <a:pt x="17808" y="3834"/>
                  <a:pt x="17821" y="3834"/>
                </a:cubicBezTo>
                <a:cubicBezTo>
                  <a:pt x="18012" y="3876"/>
                  <a:pt x="18456" y="3996"/>
                  <a:pt x="18456" y="3996"/>
                </a:cubicBezTo>
                <a:lnTo>
                  <a:pt x="18456" y="1"/>
                </a:ln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7" name="Google Shape;1027;p33"/>
          <p:cNvSpPr txBox="1">
            <a:spLocks noGrp="1"/>
          </p:cNvSpPr>
          <p:nvPr>
            <p:ph type="title"/>
          </p:nvPr>
        </p:nvSpPr>
        <p:spPr>
          <a:xfrm>
            <a:off x="3399200" y="987033"/>
            <a:ext cx="5393600" cy="178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12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1028" name="Google Shape;1028;p33"/>
          <p:cNvSpPr txBox="1">
            <a:spLocks noGrp="1"/>
          </p:cNvSpPr>
          <p:nvPr>
            <p:ph type="subTitle" idx="1"/>
          </p:nvPr>
        </p:nvSpPr>
        <p:spPr>
          <a:xfrm>
            <a:off x="3399200" y="2772233"/>
            <a:ext cx="5393600" cy="126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282625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1">
  <p:cSld name="Title and two columns 1">
    <p:spTree>
      <p:nvGrpSpPr>
        <p:cNvPr id="1" name="Shape 1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Google Shape;1030;p34"/>
          <p:cNvSpPr/>
          <p:nvPr/>
        </p:nvSpPr>
        <p:spPr>
          <a:xfrm>
            <a:off x="-94033" y="5285095"/>
            <a:ext cx="4435896" cy="678867"/>
          </a:xfrm>
          <a:custGeom>
            <a:avLst/>
            <a:gdLst/>
            <a:ahLst/>
            <a:cxnLst/>
            <a:rect l="l" t="t" r="r" b="b"/>
            <a:pathLst>
              <a:path w="31630" h="2270" extrusionOk="0">
                <a:moveTo>
                  <a:pt x="15211" y="0"/>
                </a:moveTo>
                <a:cubicBezTo>
                  <a:pt x="9192" y="0"/>
                  <a:pt x="1" y="2270"/>
                  <a:pt x="1" y="2270"/>
                </a:cubicBezTo>
                <a:lnTo>
                  <a:pt x="31523" y="2270"/>
                </a:lnTo>
                <a:cubicBezTo>
                  <a:pt x="31630" y="2121"/>
                  <a:pt x="21641" y="70"/>
                  <a:pt x="15472" y="2"/>
                </a:cubicBezTo>
                <a:cubicBezTo>
                  <a:pt x="15386" y="1"/>
                  <a:pt x="15299" y="0"/>
                  <a:pt x="1521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1" name="Google Shape;1031;p34"/>
          <p:cNvSpPr/>
          <p:nvPr/>
        </p:nvSpPr>
        <p:spPr>
          <a:xfrm>
            <a:off x="5928032" y="5271634"/>
            <a:ext cx="6263987" cy="1069404"/>
          </a:xfrm>
          <a:custGeom>
            <a:avLst/>
            <a:gdLst/>
            <a:ahLst/>
            <a:cxnLst/>
            <a:rect l="l" t="t" r="r" b="b"/>
            <a:pathLst>
              <a:path w="29281" h="2270" extrusionOk="0">
                <a:moveTo>
                  <a:pt x="14071" y="0"/>
                </a:moveTo>
                <a:cubicBezTo>
                  <a:pt x="8512" y="0"/>
                  <a:pt x="1" y="2270"/>
                  <a:pt x="1" y="2270"/>
                </a:cubicBezTo>
                <a:lnTo>
                  <a:pt x="29187" y="2270"/>
                </a:lnTo>
                <a:cubicBezTo>
                  <a:pt x="29281" y="2121"/>
                  <a:pt x="20034" y="70"/>
                  <a:pt x="14312" y="2"/>
                </a:cubicBezTo>
                <a:cubicBezTo>
                  <a:pt x="14232" y="1"/>
                  <a:pt x="14152" y="0"/>
                  <a:pt x="1407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2" name="Google Shape;1032;p34"/>
          <p:cNvSpPr/>
          <p:nvPr/>
        </p:nvSpPr>
        <p:spPr>
          <a:xfrm>
            <a:off x="-94033" y="5533637"/>
            <a:ext cx="12357408" cy="636793"/>
          </a:xfrm>
          <a:custGeom>
            <a:avLst/>
            <a:gdLst/>
            <a:ahLst/>
            <a:cxnLst/>
            <a:rect l="l" t="t" r="r" b="b"/>
            <a:pathLst>
              <a:path w="45536" h="8845" extrusionOk="0">
                <a:moveTo>
                  <a:pt x="10609" y="1"/>
                </a:moveTo>
                <a:cubicBezTo>
                  <a:pt x="2565" y="1"/>
                  <a:pt x="1" y="719"/>
                  <a:pt x="1" y="719"/>
                </a:cubicBezTo>
                <a:lnTo>
                  <a:pt x="1" y="8845"/>
                </a:lnTo>
                <a:lnTo>
                  <a:pt x="45536" y="8845"/>
                </a:lnTo>
                <a:lnTo>
                  <a:pt x="45536" y="3230"/>
                </a:lnTo>
                <a:cubicBezTo>
                  <a:pt x="44954" y="3336"/>
                  <a:pt x="44228" y="3384"/>
                  <a:pt x="43384" y="3384"/>
                </a:cubicBezTo>
                <a:cubicBezTo>
                  <a:pt x="36402" y="3384"/>
                  <a:pt x="21312" y="137"/>
                  <a:pt x="12676" y="16"/>
                </a:cubicBezTo>
                <a:cubicBezTo>
                  <a:pt x="11950" y="6"/>
                  <a:pt x="11262" y="1"/>
                  <a:pt x="106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3" name="Google Shape;1033;p34"/>
          <p:cNvSpPr/>
          <p:nvPr/>
        </p:nvSpPr>
        <p:spPr>
          <a:xfrm>
            <a:off x="5552813" y="5511976"/>
            <a:ext cx="6710484" cy="625859"/>
          </a:xfrm>
          <a:custGeom>
            <a:avLst/>
            <a:gdLst/>
            <a:ahLst/>
            <a:cxnLst/>
            <a:rect l="l" t="t" r="r" b="b"/>
            <a:pathLst>
              <a:path w="27784" h="3590" extrusionOk="0">
                <a:moveTo>
                  <a:pt x="27784" y="0"/>
                </a:moveTo>
                <a:cubicBezTo>
                  <a:pt x="13745" y="201"/>
                  <a:pt x="1" y="3415"/>
                  <a:pt x="1" y="3415"/>
                </a:cubicBezTo>
                <a:lnTo>
                  <a:pt x="21061" y="3548"/>
                </a:lnTo>
                <a:lnTo>
                  <a:pt x="27784" y="3590"/>
                </a:lnTo>
                <a:lnTo>
                  <a:pt x="2778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4" name="Google Shape;1034;p34"/>
          <p:cNvSpPr/>
          <p:nvPr/>
        </p:nvSpPr>
        <p:spPr>
          <a:xfrm>
            <a:off x="-94033" y="5926229"/>
            <a:ext cx="12357300" cy="931604"/>
          </a:xfrm>
          <a:custGeom>
            <a:avLst/>
            <a:gdLst/>
            <a:ahLst/>
            <a:cxnLst/>
            <a:rect l="l" t="t" r="r" b="b"/>
            <a:pathLst>
              <a:path w="51164" h="9359" extrusionOk="0">
                <a:moveTo>
                  <a:pt x="28954" y="0"/>
                </a:moveTo>
                <a:cubicBezTo>
                  <a:pt x="13795" y="0"/>
                  <a:pt x="1" y="193"/>
                  <a:pt x="1" y="193"/>
                </a:cubicBezTo>
                <a:lnTo>
                  <a:pt x="1" y="9359"/>
                </a:lnTo>
                <a:lnTo>
                  <a:pt x="51164" y="9359"/>
                </a:lnTo>
                <a:lnTo>
                  <a:pt x="51164" y="193"/>
                </a:lnTo>
                <a:cubicBezTo>
                  <a:pt x="44455" y="48"/>
                  <a:pt x="36534" y="0"/>
                  <a:pt x="28954" y="0"/>
                </a:cubicBezTo>
                <a:close/>
              </a:path>
            </a:pathLst>
          </a:custGeom>
          <a:solidFill>
            <a:srgbClr val="FFC6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5" name="Google Shape;1035;p34"/>
          <p:cNvSpPr/>
          <p:nvPr/>
        </p:nvSpPr>
        <p:spPr>
          <a:xfrm>
            <a:off x="-94033" y="5926229"/>
            <a:ext cx="12357300" cy="931599"/>
          </a:xfrm>
          <a:custGeom>
            <a:avLst/>
            <a:gdLst/>
            <a:ahLst/>
            <a:cxnLst/>
            <a:rect l="l" t="t" r="r" b="b"/>
            <a:pathLst>
              <a:path w="51164" h="8386" extrusionOk="0">
                <a:moveTo>
                  <a:pt x="51164" y="1"/>
                </a:moveTo>
                <a:cubicBezTo>
                  <a:pt x="51164" y="1"/>
                  <a:pt x="12488" y="1783"/>
                  <a:pt x="1" y="4579"/>
                </a:cubicBezTo>
                <a:lnTo>
                  <a:pt x="1" y="8386"/>
                </a:lnTo>
                <a:lnTo>
                  <a:pt x="51164" y="8386"/>
                </a:lnTo>
                <a:lnTo>
                  <a:pt x="51164" y="1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6" name="Google Shape;1036;p34"/>
          <p:cNvSpPr/>
          <p:nvPr/>
        </p:nvSpPr>
        <p:spPr>
          <a:xfrm>
            <a:off x="-94033" y="5926230"/>
            <a:ext cx="12357300" cy="931607"/>
          </a:xfrm>
          <a:custGeom>
            <a:avLst/>
            <a:gdLst/>
            <a:ahLst/>
            <a:cxnLst/>
            <a:rect l="l" t="t" r="r" b="b"/>
            <a:pathLst>
              <a:path w="51164" h="7555" extrusionOk="0">
                <a:moveTo>
                  <a:pt x="7656" y="1"/>
                </a:moveTo>
                <a:cubicBezTo>
                  <a:pt x="2876" y="1"/>
                  <a:pt x="1" y="385"/>
                  <a:pt x="1" y="385"/>
                </a:cubicBezTo>
                <a:lnTo>
                  <a:pt x="1" y="7555"/>
                </a:lnTo>
                <a:lnTo>
                  <a:pt x="51164" y="7555"/>
                </a:lnTo>
                <a:lnTo>
                  <a:pt x="51164" y="3249"/>
                </a:lnTo>
                <a:cubicBezTo>
                  <a:pt x="49225" y="3578"/>
                  <a:pt x="47012" y="3826"/>
                  <a:pt x="44108" y="3826"/>
                </a:cubicBezTo>
                <a:cubicBezTo>
                  <a:pt x="39852" y="3826"/>
                  <a:pt x="34112" y="3292"/>
                  <a:pt x="25581" y="1694"/>
                </a:cubicBezTo>
                <a:cubicBezTo>
                  <a:pt x="18442" y="347"/>
                  <a:pt x="12191" y="1"/>
                  <a:pt x="765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7" name="Google Shape;1037;p34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38" name="Google Shape;1038;p34"/>
          <p:cNvSpPr txBox="1">
            <a:spLocks noGrp="1"/>
          </p:cNvSpPr>
          <p:nvPr>
            <p:ph type="subTitle" idx="1"/>
          </p:nvPr>
        </p:nvSpPr>
        <p:spPr>
          <a:xfrm>
            <a:off x="960001" y="4200167"/>
            <a:ext cx="3008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39" name="Google Shape;1039;p34"/>
          <p:cNvSpPr txBox="1">
            <a:spLocks noGrp="1"/>
          </p:cNvSpPr>
          <p:nvPr>
            <p:ph type="title" idx="2"/>
          </p:nvPr>
        </p:nvSpPr>
        <p:spPr>
          <a:xfrm>
            <a:off x="960000" y="3587857"/>
            <a:ext cx="3008000" cy="50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1040" name="Google Shape;1040;p34"/>
          <p:cNvSpPr txBox="1">
            <a:spLocks noGrp="1"/>
          </p:cNvSpPr>
          <p:nvPr>
            <p:ph type="subTitle" idx="3"/>
          </p:nvPr>
        </p:nvSpPr>
        <p:spPr>
          <a:xfrm>
            <a:off x="8223801" y="4200167"/>
            <a:ext cx="3008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41" name="Google Shape;1041;p34"/>
          <p:cNvSpPr txBox="1">
            <a:spLocks noGrp="1"/>
          </p:cNvSpPr>
          <p:nvPr>
            <p:ph type="title" idx="4"/>
          </p:nvPr>
        </p:nvSpPr>
        <p:spPr>
          <a:xfrm>
            <a:off x="8223800" y="3587857"/>
            <a:ext cx="3008000" cy="50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1042" name="Google Shape;1042;p34"/>
          <p:cNvSpPr txBox="1">
            <a:spLocks noGrp="1"/>
          </p:cNvSpPr>
          <p:nvPr>
            <p:ph type="subTitle" idx="5"/>
          </p:nvPr>
        </p:nvSpPr>
        <p:spPr>
          <a:xfrm>
            <a:off x="4580668" y="4200167"/>
            <a:ext cx="3008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43" name="Google Shape;1043;p34"/>
          <p:cNvSpPr txBox="1">
            <a:spLocks noGrp="1"/>
          </p:cNvSpPr>
          <p:nvPr>
            <p:ph type="title" idx="6"/>
          </p:nvPr>
        </p:nvSpPr>
        <p:spPr>
          <a:xfrm>
            <a:off x="4580667" y="3587857"/>
            <a:ext cx="3008000" cy="50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1044" name="Google Shape;1044;p34"/>
          <p:cNvSpPr/>
          <p:nvPr/>
        </p:nvSpPr>
        <p:spPr>
          <a:xfrm>
            <a:off x="-1929768" y="-524600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45" name="Google Shape;1045;p34"/>
          <p:cNvSpPr/>
          <p:nvPr/>
        </p:nvSpPr>
        <p:spPr>
          <a:xfrm flipH="1">
            <a:off x="9653933" y="1430800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5074361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 1">
  <p:cSld name="Numbers and text  1">
    <p:spTree>
      <p:nvGrpSpPr>
        <p:cNvPr id="1" name="Shape 10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" name="Google Shape;1047;p35"/>
          <p:cNvSpPr/>
          <p:nvPr/>
        </p:nvSpPr>
        <p:spPr>
          <a:xfrm>
            <a:off x="10575134" y="632664"/>
            <a:ext cx="4209789" cy="2051293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48" name="Google Shape;1048;p35"/>
          <p:cNvSpPr/>
          <p:nvPr/>
        </p:nvSpPr>
        <p:spPr>
          <a:xfrm>
            <a:off x="-101575" y="5425674"/>
            <a:ext cx="12439612" cy="954023"/>
          </a:xfrm>
          <a:custGeom>
            <a:avLst/>
            <a:gdLst/>
            <a:ahLst/>
            <a:cxnLst/>
            <a:rect l="l" t="t" r="r" b="b"/>
            <a:pathLst>
              <a:path w="40501" h="7334" extrusionOk="0">
                <a:moveTo>
                  <a:pt x="24305" y="0"/>
                </a:moveTo>
                <a:cubicBezTo>
                  <a:pt x="24276" y="0"/>
                  <a:pt x="24248" y="1"/>
                  <a:pt x="24220" y="2"/>
                </a:cubicBezTo>
                <a:cubicBezTo>
                  <a:pt x="21521" y="112"/>
                  <a:pt x="16499" y="5296"/>
                  <a:pt x="15203" y="5672"/>
                </a:cubicBezTo>
                <a:cubicBezTo>
                  <a:pt x="15149" y="5687"/>
                  <a:pt x="15084" y="5695"/>
                  <a:pt x="15007" y="5695"/>
                </a:cubicBezTo>
                <a:cubicBezTo>
                  <a:pt x="14617" y="5695"/>
                  <a:pt x="13941" y="5504"/>
                  <a:pt x="13097" y="5199"/>
                </a:cubicBezTo>
                <a:cubicBezTo>
                  <a:pt x="11746" y="4687"/>
                  <a:pt x="9909" y="3903"/>
                  <a:pt x="8195" y="3190"/>
                </a:cubicBezTo>
                <a:cubicBezTo>
                  <a:pt x="6008" y="2244"/>
                  <a:pt x="4051" y="1392"/>
                  <a:pt x="3484" y="1366"/>
                </a:cubicBezTo>
                <a:lnTo>
                  <a:pt x="3429" y="1366"/>
                </a:lnTo>
                <a:cubicBezTo>
                  <a:pt x="2107" y="1379"/>
                  <a:pt x="1" y="4039"/>
                  <a:pt x="1" y="4039"/>
                </a:cubicBezTo>
                <a:lnTo>
                  <a:pt x="1" y="4619"/>
                </a:lnTo>
                <a:lnTo>
                  <a:pt x="1" y="4755"/>
                </a:lnTo>
                <a:lnTo>
                  <a:pt x="1" y="7292"/>
                </a:lnTo>
                <a:lnTo>
                  <a:pt x="529" y="7334"/>
                </a:lnTo>
                <a:lnTo>
                  <a:pt x="581" y="7292"/>
                </a:lnTo>
                <a:lnTo>
                  <a:pt x="40501" y="7292"/>
                </a:lnTo>
                <a:lnTo>
                  <a:pt x="40501" y="1029"/>
                </a:lnTo>
                <a:lnTo>
                  <a:pt x="40501" y="637"/>
                </a:lnTo>
                <a:lnTo>
                  <a:pt x="40501" y="355"/>
                </a:lnTo>
                <a:cubicBezTo>
                  <a:pt x="39069" y="650"/>
                  <a:pt x="39584" y="3971"/>
                  <a:pt x="36020" y="4405"/>
                </a:cubicBezTo>
                <a:cubicBezTo>
                  <a:pt x="35869" y="4423"/>
                  <a:pt x="35714" y="4432"/>
                  <a:pt x="35556" y="4432"/>
                </a:cubicBezTo>
                <a:cubicBezTo>
                  <a:pt x="34107" y="4432"/>
                  <a:pt x="32390" y="3688"/>
                  <a:pt x="30687" y="2811"/>
                </a:cubicBezTo>
                <a:cubicBezTo>
                  <a:pt x="29835" y="2338"/>
                  <a:pt x="28986" y="1865"/>
                  <a:pt x="28163" y="1447"/>
                </a:cubicBezTo>
                <a:cubicBezTo>
                  <a:pt x="26667" y="647"/>
                  <a:pt x="25297" y="0"/>
                  <a:pt x="24305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49" name="Google Shape;1049;p35"/>
          <p:cNvSpPr/>
          <p:nvPr/>
        </p:nvSpPr>
        <p:spPr>
          <a:xfrm>
            <a:off x="5122958" y="6141837"/>
            <a:ext cx="70951" cy="2328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0" name="Google Shape;1050;p35"/>
          <p:cNvSpPr/>
          <p:nvPr/>
        </p:nvSpPr>
        <p:spPr>
          <a:xfrm>
            <a:off x="9750394" y="5839905"/>
            <a:ext cx="597393" cy="15129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1" name="Google Shape;1051;p35"/>
          <p:cNvSpPr/>
          <p:nvPr/>
        </p:nvSpPr>
        <p:spPr>
          <a:xfrm>
            <a:off x="-101566" y="5288268"/>
            <a:ext cx="12439612" cy="954021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2" name="Google Shape;1052;p35"/>
          <p:cNvSpPr/>
          <p:nvPr/>
        </p:nvSpPr>
        <p:spPr>
          <a:xfrm>
            <a:off x="-101575" y="5610445"/>
            <a:ext cx="12439612" cy="953988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3" name="Google Shape;1053;p35"/>
          <p:cNvSpPr/>
          <p:nvPr/>
        </p:nvSpPr>
        <p:spPr>
          <a:xfrm>
            <a:off x="4999834" y="5516334"/>
            <a:ext cx="7338209" cy="136723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4" name="Google Shape;1054;p35"/>
          <p:cNvSpPr/>
          <p:nvPr/>
        </p:nvSpPr>
        <p:spPr>
          <a:xfrm>
            <a:off x="-101566" y="5905091"/>
            <a:ext cx="12439612" cy="954013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5" name="Google Shape;1055;p35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56" name="Google Shape;1056;p35"/>
          <p:cNvSpPr txBox="1">
            <a:spLocks noGrp="1"/>
          </p:cNvSpPr>
          <p:nvPr>
            <p:ph type="subTitle" idx="1"/>
          </p:nvPr>
        </p:nvSpPr>
        <p:spPr>
          <a:xfrm>
            <a:off x="959167" y="4330064"/>
            <a:ext cx="3234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57" name="Google Shape;1057;p35"/>
          <p:cNvSpPr txBox="1">
            <a:spLocks noGrp="1"/>
          </p:cNvSpPr>
          <p:nvPr>
            <p:ph type="title" idx="2"/>
          </p:nvPr>
        </p:nvSpPr>
        <p:spPr>
          <a:xfrm>
            <a:off x="1158300" y="3714767"/>
            <a:ext cx="28356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1058" name="Google Shape;1058;p35"/>
          <p:cNvSpPr txBox="1">
            <a:spLocks noGrp="1"/>
          </p:cNvSpPr>
          <p:nvPr>
            <p:ph type="subTitle" idx="3"/>
          </p:nvPr>
        </p:nvSpPr>
        <p:spPr>
          <a:xfrm>
            <a:off x="7997999" y="4330064"/>
            <a:ext cx="3234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59" name="Google Shape;1059;p35"/>
          <p:cNvSpPr txBox="1">
            <a:spLocks noGrp="1"/>
          </p:cNvSpPr>
          <p:nvPr>
            <p:ph type="title" idx="4"/>
          </p:nvPr>
        </p:nvSpPr>
        <p:spPr>
          <a:xfrm>
            <a:off x="8196999" y="3714767"/>
            <a:ext cx="28360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1060" name="Google Shape;1060;p35"/>
          <p:cNvSpPr txBox="1">
            <a:spLocks noGrp="1"/>
          </p:cNvSpPr>
          <p:nvPr>
            <p:ph type="subTitle" idx="5"/>
          </p:nvPr>
        </p:nvSpPr>
        <p:spPr>
          <a:xfrm>
            <a:off x="4478583" y="4330064"/>
            <a:ext cx="3234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61" name="Google Shape;1061;p35"/>
          <p:cNvSpPr txBox="1">
            <a:spLocks noGrp="1"/>
          </p:cNvSpPr>
          <p:nvPr>
            <p:ph type="title" idx="6"/>
          </p:nvPr>
        </p:nvSpPr>
        <p:spPr>
          <a:xfrm>
            <a:off x="4677449" y="3714767"/>
            <a:ext cx="28360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2613503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10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3" name="Google Shape;1063;p36"/>
          <p:cNvSpPr/>
          <p:nvPr/>
        </p:nvSpPr>
        <p:spPr>
          <a:xfrm flipH="1">
            <a:off x="-1395866" y="2837923"/>
            <a:ext cx="5996052" cy="3487416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4" name="Google Shape;1064;p36"/>
          <p:cNvSpPr/>
          <p:nvPr/>
        </p:nvSpPr>
        <p:spPr>
          <a:xfrm>
            <a:off x="10171595" y="1898393"/>
            <a:ext cx="6000045" cy="3487416"/>
          </a:xfrm>
          <a:custGeom>
            <a:avLst/>
            <a:gdLst/>
            <a:ahLst/>
            <a:cxnLst/>
            <a:rect l="l" t="t" r="r" b="b"/>
            <a:pathLst>
              <a:path w="19535" h="11895" extrusionOk="0">
                <a:moveTo>
                  <a:pt x="10706" y="1"/>
                </a:moveTo>
                <a:cubicBezTo>
                  <a:pt x="8681" y="1"/>
                  <a:pt x="6967" y="1310"/>
                  <a:pt x="6358" y="3121"/>
                </a:cubicBezTo>
                <a:cubicBezTo>
                  <a:pt x="6264" y="3079"/>
                  <a:pt x="6157" y="3053"/>
                  <a:pt x="6034" y="3053"/>
                </a:cubicBezTo>
                <a:cubicBezTo>
                  <a:pt x="5820" y="3053"/>
                  <a:pt x="5616" y="3147"/>
                  <a:pt x="5480" y="3296"/>
                </a:cubicBezTo>
                <a:cubicBezTo>
                  <a:pt x="5318" y="3254"/>
                  <a:pt x="5156" y="3241"/>
                  <a:pt x="4994" y="3241"/>
                </a:cubicBezTo>
                <a:cubicBezTo>
                  <a:pt x="3659" y="3241"/>
                  <a:pt x="2580" y="4323"/>
                  <a:pt x="2580" y="5658"/>
                </a:cubicBezTo>
                <a:lnTo>
                  <a:pt x="2580" y="5820"/>
                </a:lnTo>
                <a:cubicBezTo>
                  <a:pt x="2308" y="5590"/>
                  <a:pt x="1958" y="5457"/>
                  <a:pt x="1579" y="5457"/>
                </a:cubicBezTo>
                <a:cubicBezTo>
                  <a:pt x="717" y="5457"/>
                  <a:pt x="1" y="6157"/>
                  <a:pt x="1" y="7035"/>
                </a:cubicBezTo>
                <a:cubicBezTo>
                  <a:pt x="1" y="7900"/>
                  <a:pt x="717" y="8600"/>
                  <a:pt x="1579" y="8600"/>
                </a:cubicBezTo>
                <a:cubicBezTo>
                  <a:pt x="2078" y="8600"/>
                  <a:pt x="2525" y="8373"/>
                  <a:pt x="2807" y="8007"/>
                </a:cubicBezTo>
                <a:cubicBezTo>
                  <a:pt x="2930" y="8049"/>
                  <a:pt x="3050" y="8075"/>
                  <a:pt x="3186" y="8075"/>
                </a:cubicBezTo>
                <a:cubicBezTo>
                  <a:pt x="3455" y="8075"/>
                  <a:pt x="3714" y="7981"/>
                  <a:pt x="3902" y="7819"/>
                </a:cubicBezTo>
                <a:cubicBezTo>
                  <a:pt x="4226" y="7981"/>
                  <a:pt x="4605" y="8075"/>
                  <a:pt x="4994" y="8075"/>
                </a:cubicBezTo>
                <a:cubicBezTo>
                  <a:pt x="5091" y="8075"/>
                  <a:pt x="5198" y="8062"/>
                  <a:pt x="5292" y="8062"/>
                </a:cubicBezTo>
                <a:cubicBezTo>
                  <a:pt x="5049" y="8357"/>
                  <a:pt x="4913" y="8736"/>
                  <a:pt x="4913" y="9154"/>
                </a:cubicBezTo>
                <a:cubicBezTo>
                  <a:pt x="4913" y="10126"/>
                  <a:pt x="5697" y="10910"/>
                  <a:pt x="6669" y="10910"/>
                </a:cubicBezTo>
                <a:cubicBezTo>
                  <a:pt x="7641" y="10910"/>
                  <a:pt x="8438" y="10126"/>
                  <a:pt x="8438" y="9154"/>
                </a:cubicBezTo>
                <a:lnTo>
                  <a:pt x="8438" y="9128"/>
                </a:lnTo>
                <a:cubicBezTo>
                  <a:pt x="8613" y="9034"/>
                  <a:pt x="8775" y="8924"/>
                  <a:pt x="8924" y="8791"/>
                </a:cubicBezTo>
                <a:cubicBezTo>
                  <a:pt x="9465" y="9021"/>
                  <a:pt x="10071" y="9154"/>
                  <a:pt x="10706" y="9154"/>
                </a:cubicBezTo>
                <a:cubicBezTo>
                  <a:pt x="10881" y="9154"/>
                  <a:pt x="11056" y="9141"/>
                  <a:pt x="11231" y="9115"/>
                </a:cubicBezTo>
                <a:lnTo>
                  <a:pt x="11231" y="9115"/>
                </a:lnTo>
                <a:cubicBezTo>
                  <a:pt x="11231" y="9167"/>
                  <a:pt x="11218" y="9222"/>
                  <a:pt x="11218" y="9277"/>
                </a:cubicBezTo>
                <a:cubicBezTo>
                  <a:pt x="11218" y="10722"/>
                  <a:pt x="12394" y="11895"/>
                  <a:pt x="13852" y="11895"/>
                </a:cubicBezTo>
                <a:cubicBezTo>
                  <a:pt x="14539" y="11895"/>
                  <a:pt x="15174" y="11626"/>
                  <a:pt x="15647" y="11179"/>
                </a:cubicBezTo>
                <a:lnTo>
                  <a:pt x="15741" y="11179"/>
                </a:lnTo>
                <a:cubicBezTo>
                  <a:pt x="16376" y="11179"/>
                  <a:pt x="16888" y="10680"/>
                  <a:pt x="16888" y="10045"/>
                </a:cubicBezTo>
                <a:cubicBezTo>
                  <a:pt x="16888" y="9831"/>
                  <a:pt x="16820" y="9627"/>
                  <a:pt x="16726" y="9452"/>
                </a:cubicBezTo>
                <a:cubicBezTo>
                  <a:pt x="18294" y="9303"/>
                  <a:pt x="19535" y="7968"/>
                  <a:pt x="19535" y="6348"/>
                </a:cubicBezTo>
                <a:cubicBezTo>
                  <a:pt x="19535" y="4631"/>
                  <a:pt x="18145" y="3241"/>
                  <a:pt x="16415" y="3241"/>
                </a:cubicBezTo>
                <a:cubicBezTo>
                  <a:pt x="16188" y="3241"/>
                  <a:pt x="15958" y="3270"/>
                  <a:pt x="15728" y="3322"/>
                </a:cubicBezTo>
                <a:cubicBezTo>
                  <a:pt x="15741" y="3254"/>
                  <a:pt x="15741" y="3189"/>
                  <a:pt x="15741" y="3121"/>
                </a:cubicBezTo>
                <a:cubicBezTo>
                  <a:pt x="15741" y="2175"/>
                  <a:pt x="14973" y="1407"/>
                  <a:pt x="14027" y="1407"/>
                </a:cubicBezTo>
                <a:lnTo>
                  <a:pt x="14001" y="1407"/>
                </a:lnTo>
                <a:cubicBezTo>
                  <a:pt x="13162" y="542"/>
                  <a:pt x="12002" y="1"/>
                  <a:pt x="10706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5" name="Google Shape;1065;p36"/>
          <p:cNvSpPr/>
          <p:nvPr/>
        </p:nvSpPr>
        <p:spPr>
          <a:xfrm>
            <a:off x="1343114" y="833767"/>
            <a:ext cx="2189357" cy="2138397"/>
          </a:xfrm>
          <a:custGeom>
            <a:avLst/>
            <a:gdLst/>
            <a:ahLst/>
            <a:cxnLst/>
            <a:rect l="l" t="t" r="r" b="b"/>
            <a:pathLst>
              <a:path w="8723" h="8706" extrusionOk="0">
                <a:moveTo>
                  <a:pt x="4362" y="0"/>
                </a:moveTo>
                <a:cubicBezTo>
                  <a:pt x="1961" y="0"/>
                  <a:pt x="1" y="1944"/>
                  <a:pt x="1" y="4345"/>
                </a:cubicBezTo>
                <a:cubicBezTo>
                  <a:pt x="1" y="6749"/>
                  <a:pt x="1961" y="8706"/>
                  <a:pt x="4362" y="8706"/>
                </a:cubicBezTo>
                <a:cubicBezTo>
                  <a:pt x="6766" y="8706"/>
                  <a:pt x="8723" y="6749"/>
                  <a:pt x="8723" y="4345"/>
                </a:cubicBezTo>
                <a:cubicBezTo>
                  <a:pt x="8723" y="1944"/>
                  <a:pt x="6766" y="0"/>
                  <a:pt x="4362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6" name="Google Shape;1066;p36"/>
          <p:cNvSpPr/>
          <p:nvPr/>
        </p:nvSpPr>
        <p:spPr>
          <a:xfrm>
            <a:off x="5137994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7" name="Google Shape;1067;p36"/>
          <p:cNvSpPr/>
          <p:nvPr/>
        </p:nvSpPr>
        <p:spPr>
          <a:xfrm>
            <a:off x="9765432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8" name="Google Shape;1068;p36"/>
          <p:cNvSpPr/>
          <p:nvPr/>
        </p:nvSpPr>
        <p:spPr>
          <a:xfrm>
            <a:off x="-838201" y="5054767"/>
            <a:ext cx="13191311" cy="1093308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9" name="Google Shape;1069;p36"/>
          <p:cNvSpPr/>
          <p:nvPr/>
        </p:nvSpPr>
        <p:spPr>
          <a:xfrm>
            <a:off x="-86533" y="5436812"/>
            <a:ext cx="12439612" cy="1058891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0" name="Google Shape;1070;p36"/>
          <p:cNvSpPr/>
          <p:nvPr/>
        </p:nvSpPr>
        <p:spPr>
          <a:xfrm>
            <a:off x="5014868" y="5158999"/>
            <a:ext cx="7338209" cy="1926275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1" name="Google Shape;1071;p36"/>
          <p:cNvSpPr/>
          <p:nvPr/>
        </p:nvSpPr>
        <p:spPr>
          <a:xfrm>
            <a:off x="-86533" y="6092434"/>
            <a:ext cx="12191948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2" name="Google Shape;1072;p36"/>
          <p:cNvSpPr/>
          <p:nvPr/>
        </p:nvSpPr>
        <p:spPr>
          <a:xfrm>
            <a:off x="-86533" y="6392965"/>
            <a:ext cx="12439612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3" name="Google Shape;1073;p36"/>
          <p:cNvSpPr txBox="1">
            <a:spLocks noGrp="1"/>
          </p:cNvSpPr>
          <p:nvPr>
            <p:ph type="subTitle" idx="1"/>
          </p:nvPr>
        </p:nvSpPr>
        <p:spPr>
          <a:xfrm>
            <a:off x="5263033" y="1834000"/>
            <a:ext cx="5136000" cy="14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074" name="Google Shape;1074;p36"/>
          <p:cNvSpPr txBox="1">
            <a:spLocks noGrp="1"/>
          </p:cNvSpPr>
          <p:nvPr>
            <p:ph type="ctrTitle"/>
          </p:nvPr>
        </p:nvSpPr>
        <p:spPr>
          <a:xfrm flipH="1">
            <a:off x="5271500" y="720000"/>
            <a:ext cx="5136000" cy="111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075" name="Google Shape;1075;p36"/>
          <p:cNvSpPr txBox="1"/>
          <p:nvPr/>
        </p:nvSpPr>
        <p:spPr>
          <a:xfrm>
            <a:off x="5365433" y="4695400"/>
            <a:ext cx="4931200" cy="9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400"/>
              </a:spcBef>
              <a:spcAft>
                <a:spcPts val="0"/>
              </a:spcAft>
              <a:buNone/>
            </a:pPr>
            <a:r>
              <a:rPr lang="de"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CREDITS: Diese Präsentationsvorlage wurde von </a:t>
            </a:r>
            <a:r>
              <a:rPr lang="de" sz="1600" b="1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lidesgo</a:t>
            </a:r>
            <a:r>
              <a:rPr lang="de" sz="1600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</a:t>
            </a:r>
            <a:r>
              <a:rPr lang="de"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erstellt, inklusive Icons von </a:t>
            </a:r>
            <a:r>
              <a:rPr lang="de" sz="1600" b="1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laticon</a:t>
            </a:r>
            <a:r>
              <a:rPr lang="de"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 und Infografiken &amp; Bilder von </a:t>
            </a:r>
            <a:r>
              <a:rPr lang="de" sz="1600" b="1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reepik</a:t>
            </a:r>
            <a:r>
              <a:rPr lang="de" sz="1600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</a:t>
            </a:r>
            <a:endParaRPr sz="160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  <a:p>
            <a:pPr marL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67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67338023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">
  <p:cSld name="Background ">
    <p:bg>
      <p:bgPr>
        <a:solidFill>
          <a:schemeClr val="accent4"/>
        </a:solidFill>
        <a:effectLst/>
      </p:bgPr>
    </p:bg>
    <p:spTree>
      <p:nvGrpSpPr>
        <p:cNvPr id="1" name="Shape 10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37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52E9E1-D97D-4C90-BB96-FA1ED58B786F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35133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bg>
      <p:bgPr>
        <a:solidFill>
          <a:schemeClr val="dk2"/>
        </a:solidFill>
        <a:effectLst/>
      </p:bgPr>
    </p:bg>
    <p:spTree>
      <p:nvGrpSpPr>
        <p:cNvPr id="1" name="Shape 10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" name="Google Shape;1078;p38"/>
          <p:cNvSpPr/>
          <p:nvPr/>
        </p:nvSpPr>
        <p:spPr>
          <a:xfrm>
            <a:off x="4976902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9" name="Google Shape;1079;p38"/>
          <p:cNvSpPr/>
          <p:nvPr/>
        </p:nvSpPr>
        <p:spPr>
          <a:xfrm>
            <a:off x="9604340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0" name="Google Shape;1080;p38"/>
          <p:cNvSpPr/>
          <p:nvPr/>
        </p:nvSpPr>
        <p:spPr>
          <a:xfrm>
            <a:off x="17" y="5321402"/>
            <a:ext cx="12192016" cy="826665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1" name="Google Shape;1081;p38"/>
          <p:cNvSpPr/>
          <p:nvPr/>
        </p:nvSpPr>
        <p:spPr>
          <a:xfrm>
            <a:off x="-16" y="5669032"/>
            <a:ext cx="12192016" cy="826673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2" name="Google Shape;1082;p38"/>
          <p:cNvSpPr/>
          <p:nvPr/>
        </p:nvSpPr>
        <p:spPr>
          <a:xfrm>
            <a:off x="4853785" y="5500935"/>
            <a:ext cx="7338209" cy="164847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3" name="Google Shape;1083;p38"/>
          <p:cNvSpPr/>
          <p:nvPr/>
        </p:nvSpPr>
        <p:spPr>
          <a:xfrm>
            <a:off x="-15" y="6092424"/>
            <a:ext cx="11949201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4" name="Google Shape;1084;p38"/>
          <p:cNvSpPr/>
          <p:nvPr/>
        </p:nvSpPr>
        <p:spPr>
          <a:xfrm>
            <a:off x="-16" y="6392956"/>
            <a:ext cx="12192016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085" name="Google Shape;1085;p38"/>
          <p:cNvGrpSpPr/>
          <p:nvPr/>
        </p:nvGrpSpPr>
        <p:grpSpPr>
          <a:xfrm flipH="1">
            <a:off x="776280" y="5185306"/>
            <a:ext cx="3442029" cy="1169041"/>
            <a:chOff x="1260750" y="1341725"/>
            <a:chExt cx="438475" cy="148925"/>
          </a:xfrm>
        </p:grpSpPr>
        <p:sp>
          <p:nvSpPr>
            <p:cNvPr id="1086" name="Google Shape;1086;p38"/>
            <p:cNvSpPr/>
            <p:nvPr/>
          </p:nvSpPr>
          <p:spPr>
            <a:xfrm>
              <a:off x="1644550" y="1363050"/>
              <a:ext cx="33375" cy="121100"/>
            </a:xfrm>
            <a:custGeom>
              <a:avLst/>
              <a:gdLst/>
              <a:ahLst/>
              <a:cxnLst/>
              <a:rect l="l" t="t" r="r" b="b"/>
              <a:pathLst>
                <a:path w="1335" h="4844" extrusionOk="0">
                  <a:moveTo>
                    <a:pt x="0" y="0"/>
                  </a:moveTo>
                  <a:lnTo>
                    <a:pt x="0" y="4698"/>
                  </a:lnTo>
                  <a:lnTo>
                    <a:pt x="1335" y="4844"/>
                  </a:lnTo>
                  <a:lnTo>
                    <a:pt x="1335" y="0"/>
                  </a:ln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7" name="Google Shape;1087;p38"/>
            <p:cNvSpPr/>
            <p:nvPr/>
          </p:nvSpPr>
          <p:spPr>
            <a:xfrm>
              <a:off x="1643150" y="1341725"/>
              <a:ext cx="35825" cy="21350"/>
            </a:xfrm>
            <a:custGeom>
              <a:avLst/>
              <a:gdLst/>
              <a:ahLst/>
              <a:cxnLst/>
              <a:rect l="l" t="t" r="r" b="b"/>
              <a:pathLst>
                <a:path w="1433" h="854" extrusionOk="0">
                  <a:moveTo>
                    <a:pt x="717" y="1"/>
                  </a:moveTo>
                  <a:cubicBezTo>
                    <a:pt x="1" y="1"/>
                    <a:pt x="56" y="853"/>
                    <a:pt x="56" y="853"/>
                  </a:cubicBezTo>
                  <a:lnTo>
                    <a:pt x="1391" y="853"/>
                  </a:lnTo>
                  <a:cubicBezTo>
                    <a:pt x="1391" y="853"/>
                    <a:pt x="1433" y="1"/>
                    <a:pt x="717" y="1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8" name="Google Shape;1088;p38"/>
            <p:cNvSpPr/>
            <p:nvPr/>
          </p:nvSpPr>
          <p:spPr>
            <a:xfrm>
              <a:off x="1663075" y="1424750"/>
              <a:ext cx="6425" cy="3125"/>
            </a:xfrm>
            <a:custGeom>
              <a:avLst/>
              <a:gdLst/>
              <a:ahLst/>
              <a:cxnLst/>
              <a:rect l="l" t="t" r="r" b="b"/>
              <a:pathLst>
                <a:path w="257" h="125" extrusionOk="0">
                  <a:moveTo>
                    <a:pt x="1" y="1"/>
                  </a:moveTo>
                  <a:lnTo>
                    <a:pt x="1" y="124"/>
                  </a:lnTo>
                  <a:lnTo>
                    <a:pt x="257" y="124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9" name="Google Shape;1089;p38"/>
            <p:cNvSpPr/>
            <p:nvPr/>
          </p:nvSpPr>
          <p:spPr>
            <a:xfrm>
              <a:off x="1670875" y="1424750"/>
              <a:ext cx="6400" cy="3125"/>
            </a:xfrm>
            <a:custGeom>
              <a:avLst/>
              <a:gdLst/>
              <a:ahLst/>
              <a:cxnLst/>
              <a:rect l="l" t="t" r="r" b="b"/>
              <a:pathLst>
                <a:path w="256" h="125" extrusionOk="0">
                  <a:moveTo>
                    <a:pt x="0" y="1"/>
                  </a:moveTo>
                  <a:lnTo>
                    <a:pt x="0" y="124"/>
                  </a:lnTo>
                  <a:lnTo>
                    <a:pt x="256" y="124"/>
                  </a:lnTo>
                  <a:lnTo>
                    <a:pt x="256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0" name="Google Shape;1090;p38"/>
            <p:cNvSpPr/>
            <p:nvPr/>
          </p:nvSpPr>
          <p:spPr>
            <a:xfrm>
              <a:off x="1666825" y="1429125"/>
              <a:ext cx="6725" cy="3425"/>
            </a:xfrm>
            <a:custGeom>
              <a:avLst/>
              <a:gdLst/>
              <a:ahLst/>
              <a:cxnLst/>
              <a:rect l="l" t="t" r="r" b="b"/>
              <a:pathLst>
                <a:path w="269" h="137" extrusionOk="0">
                  <a:moveTo>
                    <a:pt x="0" y="1"/>
                  </a:moveTo>
                  <a:lnTo>
                    <a:pt x="0" y="137"/>
                  </a:lnTo>
                  <a:lnTo>
                    <a:pt x="269" y="137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1" name="Google Shape;1091;p38"/>
            <p:cNvSpPr/>
            <p:nvPr/>
          </p:nvSpPr>
          <p:spPr>
            <a:xfrm>
              <a:off x="1648275" y="1369125"/>
              <a:ext cx="6400" cy="3000"/>
            </a:xfrm>
            <a:custGeom>
              <a:avLst/>
              <a:gdLst/>
              <a:ahLst/>
              <a:cxnLst/>
              <a:rect l="l" t="t" r="r" b="b"/>
              <a:pathLst>
                <a:path w="256" h="120" extrusionOk="0">
                  <a:moveTo>
                    <a:pt x="0" y="0"/>
                  </a:moveTo>
                  <a:lnTo>
                    <a:pt x="0" y="120"/>
                  </a:lnTo>
                  <a:lnTo>
                    <a:pt x="256" y="12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655950" y="1369125"/>
              <a:ext cx="6525" cy="3000"/>
            </a:xfrm>
            <a:custGeom>
              <a:avLst/>
              <a:gdLst/>
              <a:ahLst/>
              <a:cxnLst/>
              <a:rect l="l" t="t" r="r" b="b"/>
              <a:pathLst>
                <a:path w="261" h="120" extrusionOk="0">
                  <a:moveTo>
                    <a:pt x="1" y="0"/>
                  </a:moveTo>
                  <a:lnTo>
                    <a:pt x="1" y="120"/>
                  </a:lnTo>
                  <a:lnTo>
                    <a:pt x="260" y="120"/>
                  </a:lnTo>
                  <a:lnTo>
                    <a:pt x="260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3" name="Google Shape;1093;p38"/>
            <p:cNvSpPr/>
            <p:nvPr/>
          </p:nvSpPr>
          <p:spPr>
            <a:xfrm>
              <a:off x="1651900" y="1373500"/>
              <a:ext cx="6525" cy="3325"/>
            </a:xfrm>
            <a:custGeom>
              <a:avLst/>
              <a:gdLst/>
              <a:ahLst/>
              <a:cxnLst/>
              <a:rect l="l" t="t" r="r" b="b"/>
              <a:pathLst>
                <a:path w="261" h="133" extrusionOk="0">
                  <a:moveTo>
                    <a:pt x="1" y="0"/>
                  </a:moveTo>
                  <a:lnTo>
                    <a:pt x="1" y="133"/>
                  </a:lnTo>
                  <a:lnTo>
                    <a:pt x="260" y="133"/>
                  </a:lnTo>
                  <a:lnTo>
                    <a:pt x="260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4" name="Google Shape;1094;p38"/>
            <p:cNvSpPr/>
            <p:nvPr/>
          </p:nvSpPr>
          <p:spPr>
            <a:xfrm>
              <a:off x="1667450" y="1390650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1659675" y="1390650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6" name="Google Shape;1096;p38"/>
            <p:cNvSpPr/>
            <p:nvPr/>
          </p:nvSpPr>
          <p:spPr>
            <a:xfrm>
              <a:off x="1663400" y="1386275"/>
              <a:ext cx="6750" cy="3125"/>
            </a:xfrm>
            <a:custGeom>
              <a:avLst/>
              <a:gdLst/>
              <a:ahLst/>
              <a:cxnLst/>
              <a:rect l="l" t="t" r="r" b="b"/>
              <a:pathLst>
                <a:path w="270" h="125" extrusionOk="0">
                  <a:moveTo>
                    <a:pt x="1" y="1"/>
                  </a:moveTo>
                  <a:lnTo>
                    <a:pt x="1" y="124"/>
                  </a:lnTo>
                  <a:lnTo>
                    <a:pt x="270" y="124"/>
                  </a:lnTo>
                  <a:lnTo>
                    <a:pt x="270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7" name="Google Shape;1097;p38"/>
            <p:cNvSpPr/>
            <p:nvPr/>
          </p:nvSpPr>
          <p:spPr>
            <a:xfrm>
              <a:off x="1663075" y="1433500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1655300" y="1433500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9" name="Google Shape;1099;p38"/>
            <p:cNvSpPr/>
            <p:nvPr/>
          </p:nvSpPr>
          <p:spPr>
            <a:xfrm>
              <a:off x="1659350" y="1429125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0" name="Google Shape;1100;p38"/>
            <p:cNvSpPr/>
            <p:nvPr/>
          </p:nvSpPr>
          <p:spPr>
            <a:xfrm>
              <a:off x="1648900" y="1409200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1656700" y="1409200"/>
              <a:ext cx="6400" cy="3425"/>
            </a:xfrm>
            <a:custGeom>
              <a:avLst/>
              <a:gdLst/>
              <a:ahLst/>
              <a:cxnLst/>
              <a:rect l="l" t="t" r="r" b="b"/>
              <a:pathLst>
                <a:path w="256" h="137" extrusionOk="0">
                  <a:moveTo>
                    <a:pt x="0" y="1"/>
                  </a:moveTo>
                  <a:lnTo>
                    <a:pt x="0" y="137"/>
                  </a:lnTo>
                  <a:lnTo>
                    <a:pt x="256" y="137"/>
                  </a:lnTo>
                  <a:lnTo>
                    <a:pt x="256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2" name="Google Shape;1102;p38"/>
            <p:cNvSpPr/>
            <p:nvPr/>
          </p:nvSpPr>
          <p:spPr>
            <a:xfrm>
              <a:off x="1664050" y="1409200"/>
              <a:ext cx="6525" cy="3425"/>
            </a:xfrm>
            <a:custGeom>
              <a:avLst/>
              <a:gdLst/>
              <a:ahLst/>
              <a:cxnLst/>
              <a:rect l="l" t="t" r="r" b="b"/>
              <a:pathLst>
                <a:path w="261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60" y="137"/>
                  </a:lnTo>
                  <a:lnTo>
                    <a:pt x="260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3" name="Google Shape;1103;p38"/>
            <p:cNvSpPr/>
            <p:nvPr/>
          </p:nvSpPr>
          <p:spPr>
            <a:xfrm>
              <a:off x="1652650" y="1413675"/>
              <a:ext cx="6400" cy="3325"/>
            </a:xfrm>
            <a:custGeom>
              <a:avLst/>
              <a:gdLst/>
              <a:ahLst/>
              <a:cxnLst/>
              <a:rect l="l" t="t" r="r" b="b"/>
              <a:pathLst>
                <a:path w="256" h="133" extrusionOk="0">
                  <a:moveTo>
                    <a:pt x="0" y="0"/>
                  </a:moveTo>
                  <a:lnTo>
                    <a:pt x="0" y="133"/>
                  </a:lnTo>
                  <a:lnTo>
                    <a:pt x="256" y="133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4" name="Google Shape;1104;p38"/>
            <p:cNvSpPr/>
            <p:nvPr/>
          </p:nvSpPr>
          <p:spPr>
            <a:xfrm>
              <a:off x="1660000" y="1413675"/>
              <a:ext cx="6825" cy="3325"/>
            </a:xfrm>
            <a:custGeom>
              <a:avLst/>
              <a:gdLst/>
              <a:ahLst/>
              <a:cxnLst/>
              <a:rect l="l" t="t" r="r" b="b"/>
              <a:pathLst>
                <a:path w="273" h="133" extrusionOk="0">
                  <a:moveTo>
                    <a:pt x="1" y="0"/>
                  </a:moveTo>
                  <a:lnTo>
                    <a:pt x="1" y="133"/>
                  </a:lnTo>
                  <a:lnTo>
                    <a:pt x="273" y="13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5" name="Google Shape;1105;p38"/>
            <p:cNvSpPr/>
            <p:nvPr/>
          </p:nvSpPr>
          <p:spPr>
            <a:xfrm>
              <a:off x="1569300" y="1378825"/>
              <a:ext cx="34450" cy="102325"/>
            </a:xfrm>
            <a:custGeom>
              <a:avLst/>
              <a:gdLst/>
              <a:ahLst/>
              <a:cxnLst/>
              <a:rect l="l" t="t" r="r" b="b"/>
              <a:pathLst>
                <a:path w="1378" h="4093" extrusionOk="0">
                  <a:moveTo>
                    <a:pt x="606" y="367"/>
                  </a:moveTo>
                  <a:lnTo>
                    <a:pt x="606" y="1002"/>
                  </a:lnTo>
                  <a:lnTo>
                    <a:pt x="512" y="1002"/>
                  </a:lnTo>
                  <a:lnTo>
                    <a:pt x="606" y="367"/>
                  </a:lnTo>
                  <a:close/>
                  <a:moveTo>
                    <a:pt x="661" y="312"/>
                  </a:moveTo>
                  <a:lnTo>
                    <a:pt x="794" y="1002"/>
                  </a:lnTo>
                  <a:lnTo>
                    <a:pt x="661" y="1002"/>
                  </a:lnTo>
                  <a:lnTo>
                    <a:pt x="661" y="312"/>
                  </a:lnTo>
                  <a:close/>
                  <a:moveTo>
                    <a:pt x="606" y="1054"/>
                  </a:moveTo>
                  <a:lnTo>
                    <a:pt x="606" y="1663"/>
                  </a:lnTo>
                  <a:lnTo>
                    <a:pt x="418" y="1663"/>
                  </a:lnTo>
                  <a:lnTo>
                    <a:pt x="512" y="1054"/>
                  </a:lnTo>
                  <a:close/>
                  <a:moveTo>
                    <a:pt x="794" y="1054"/>
                  </a:moveTo>
                  <a:lnTo>
                    <a:pt x="904" y="1663"/>
                  </a:lnTo>
                  <a:lnTo>
                    <a:pt x="661" y="1663"/>
                  </a:lnTo>
                  <a:lnTo>
                    <a:pt x="661" y="1054"/>
                  </a:lnTo>
                  <a:close/>
                  <a:moveTo>
                    <a:pt x="606" y="1718"/>
                  </a:moveTo>
                  <a:lnTo>
                    <a:pt x="606" y="2499"/>
                  </a:lnTo>
                  <a:lnTo>
                    <a:pt x="282" y="2499"/>
                  </a:lnTo>
                  <a:lnTo>
                    <a:pt x="405" y="1718"/>
                  </a:lnTo>
                  <a:close/>
                  <a:moveTo>
                    <a:pt x="917" y="1718"/>
                  </a:moveTo>
                  <a:lnTo>
                    <a:pt x="1066" y="2499"/>
                  </a:lnTo>
                  <a:lnTo>
                    <a:pt x="661" y="2499"/>
                  </a:lnTo>
                  <a:lnTo>
                    <a:pt x="661" y="1718"/>
                  </a:lnTo>
                  <a:close/>
                  <a:moveTo>
                    <a:pt x="606" y="2554"/>
                  </a:moveTo>
                  <a:lnTo>
                    <a:pt x="606" y="4038"/>
                  </a:lnTo>
                  <a:lnTo>
                    <a:pt x="52" y="4038"/>
                  </a:lnTo>
                  <a:lnTo>
                    <a:pt x="282" y="2554"/>
                  </a:lnTo>
                  <a:close/>
                  <a:moveTo>
                    <a:pt x="606" y="1"/>
                  </a:moveTo>
                  <a:lnTo>
                    <a:pt x="0" y="4093"/>
                  </a:lnTo>
                  <a:lnTo>
                    <a:pt x="661" y="4093"/>
                  </a:lnTo>
                  <a:lnTo>
                    <a:pt x="661" y="2554"/>
                  </a:lnTo>
                  <a:lnTo>
                    <a:pt x="1066" y="2554"/>
                  </a:lnTo>
                  <a:lnTo>
                    <a:pt x="1322" y="3931"/>
                  </a:lnTo>
                  <a:lnTo>
                    <a:pt x="1377" y="3918"/>
                  </a:lnTo>
                  <a:lnTo>
                    <a:pt x="661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6" name="Google Shape;1106;p38"/>
            <p:cNvSpPr/>
            <p:nvPr/>
          </p:nvSpPr>
          <p:spPr>
            <a:xfrm>
              <a:off x="1573975" y="1380525"/>
              <a:ext cx="10475" cy="10475"/>
            </a:xfrm>
            <a:custGeom>
              <a:avLst/>
              <a:gdLst/>
              <a:ahLst/>
              <a:cxnLst/>
              <a:rect l="l" t="t" r="r" b="b"/>
              <a:pathLst>
                <a:path w="419" h="419" extrusionOk="0">
                  <a:moveTo>
                    <a:pt x="364" y="1"/>
                  </a:moveTo>
                  <a:lnTo>
                    <a:pt x="1" y="205"/>
                  </a:lnTo>
                  <a:lnTo>
                    <a:pt x="69" y="312"/>
                  </a:lnTo>
                  <a:lnTo>
                    <a:pt x="299" y="124"/>
                  </a:lnTo>
                  <a:lnTo>
                    <a:pt x="95" y="338"/>
                  </a:lnTo>
                  <a:lnTo>
                    <a:pt x="202" y="419"/>
                  </a:lnTo>
                  <a:lnTo>
                    <a:pt x="419" y="56"/>
                  </a:lnTo>
                  <a:cubicBezTo>
                    <a:pt x="393" y="43"/>
                    <a:pt x="380" y="30"/>
                    <a:pt x="364" y="1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7" name="Google Shape;1107;p38"/>
            <p:cNvSpPr/>
            <p:nvPr/>
          </p:nvSpPr>
          <p:spPr>
            <a:xfrm>
              <a:off x="1572275" y="1366675"/>
              <a:ext cx="26350" cy="24750"/>
            </a:xfrm>
            <a:custGeom>
              <a:avLst/>
              <a:gdLst/>
              <a:ahLst/>
              <a:cxnLst/>
              <a:rect l="l" t="t" r="r" b="b"/>
              <a:pathLst>
                <a:path w="1054" h="990" extrusionOk="0">
                  <a:moveTo>
                    <a:pt x="529" y="419"/>
                  </a:moveTo>
                  <a:lnTo>
                    <a:pt x="529" y="422"/>
                  </a:lnTo>
                  <a:lnTo>
                    <a:pt x="529" y="419"/>
                  </a:lnTo>
                  <a:lnTo>
                    <a:pt x="529" y="419"/>
                  </a:lnTo>
                  <a:cubicBezTo>
                    <a:pt x="529" y="419"/>
                    <a:pt x="529" y="419"/>
                    <a:pt x="529" y="419"/>
                  </a:cubicBezTo>
                  <a:close/>
                  <a:moveTo>
                    <a:pt x="487" y="1"/>
                  </a:moveTo>
                  <a:lnTo>
                    <a:pt x="380" y="17"/>
                  </a:lnTo>
                  <a:lnTo>
                    <a:pt x="474" y="380"/>
                  </a:lnTo>
                  <a:lnTo>
                    <a:pt x="286" y="56"/>
                  </a:lnTo>
                  <a:lnTo>
                    <a:pt x="189" y="124"/>
                  </a:lnTo>
                  <a:lnTo>
                    <a:pt x="432" y="422"/>
                  </a:lnTo>
                  <a:lnTo>
                    <a:pt x="137" y="163"/>
                  </a:lnTo>
                  <a:lnTo>
                    <a:pt x="69" y="260"/>
                  </a:lnTo>
                  <a:lnTo>
                    <a:pt x="419" y="474"/>
                  </a:lnTo>
                  <a:lnTo>
                    <a:pt x="419" y="474"/>
                  </a:lnTo>
                  <a:lnTo>
                    <a:pt x="27" y="367"/>
                  </a:lnTo>
                  <a:lnTo>
                    <a:pt x="14" y="474"/>
                  </a:lnTo>
                  <a:lnTo>
                    <a:pt x="338" y="516"/>
                  </a:lnTo>
                  <a:lnTo>
                    <a:pt x="1" y="542"/>
                  </a:lnTo>
                  <a:lnTo>
                    <a:pt x="14" y="665"/>
                  </a:lnTo>
                  <a:lnTo>
                    <a:pt x="432" y="555"/>
                  </a:lnTo>
                  <a:cubicBezTo>
                    <a:pt x="432" y="542"/>
                    <a:pt x="419" y="542"/>
                    <a:pt x="419" y="529"/>
                  </a:cubicBezTo>
                  <a:cubicBezTo>
                    <a:pt x="419" y="474"/>
                    <a:pt x="448" y="422"/>
                    <a:pt x="500" y="422"/>
                  </a:cubicBezTo>
                  <a:cubicBezTo>
                    <a:pt x="508" y="420"/>
                    <a:pt x="516" y="419"/>
                    <a:pt x="524" y="419"/>
                  </a:cubicBezTo>
                  <a:cubicBezTo>
                    <a:pt x="526" y="419"/>
                    <a:pt x="527" y="419"/>
                    <a:pt x="529" y="419"/>
                  </a:cubicBezTo>
                  <a:lnTo>
                    <a:pt x="529" y="419"/>
                  </a:lnTo>
                  <a:lnTo>
                    <a:pt x="487" y="1"/>
                  </a:lnTo>
                  <a:close/>
                  <a:moveTo>
                    <a:pt x="568" y="1"/>
                  </a:moveTo>
                  <a:lnTo>
                    <a:pt x="529" y="419"/>
                  </a:lnTo>
                  <a:lnTo>
                    <a:pt x="529" y="419"/>
                  </a:lnTo>
                  <a:cubicBezTo>
                    <a:pt x="573" y="421"/>
                    <a:pt x="610" y="458"/>
                    <a:pt x="610" y="503"/>
                  </a:cubicBezTo>
                  <a:cubicBezTo>
                    <a:pt x="623" y="542"/>
                    <a:pt x="594" y="584"/>
                    <a:pt x="555" y="610"/>
                  </a:cubicBezTo>
                  <a:lnTo>
                    <a:pt x="772" y="989"/>
                  </a:lnTo>
                  <a:lnTo>
                    <a:pt x="866" y="921"/>
                  </a:lnTo>
                  <a:lnTo>
                    <a:pt x="649" y="649"/>
                  </a:lnTo>
                  <a:lnTo>
                    <a:pt x="905" y="866"/>
                  </a:lnTo>
                  <a:lnTo>
                    <a:pt x="973" y="772"/>
                  </a:lnTo>
                  <a:lnTo>
                    <a:pt x="636" y="568"/>
                  </a:lnTo>
                  <a:lnTo>
                    <a:pt x="1028" y="678"/>
                  </a:lnTo>
                  <a:lnTo>
                    <a:pt x="1054" y="555"/>
                  </a:lnTo>
                  <a:lnTo>
                    <a:pt x="649" y="516"/>
                  </a:lnTo>
                  <a:lnTo>
                    <a:pt x="1041" y="487"/>
                  </a:lnTo>
                  <a:lnTo>
                    <a:pt x="1015" y="367"/>
                  </a:lnTo>
                  <a:lnTo>
                    <a:pt x="662" y="461"/>
                  </a:lnTo>
                  <a:lnTo>
                    <a:pt x="662" y="461"/>
                  </a:lnTo>
                  <a:lnTo>
                    <a:pt x="986" y="286"/>
                  </a:lnTo>
                  <a:lnTo>
                    <a:pt x="918" y="179"/>
                  </a:lnTo>
                  <a:lnTo>
                    <a:pt x="594" y="448"/>
                  </a:lnTo>
                  <a:lnTo>
                    <a:pt x="866" y="137"/>
                  </a:lnTo>
                  <a:lnTo>
                    <a:pt x="772" y="56"/>
                  </a:lnTo>
                  <a:lnTo>
                    <a:pt x="581" y="367"/>
                  </a:lnTo>
                  <a:lnTo>
                    <a:pt x="691" y="30"/>
                  </a:lnTo>
                  <a:lnTo>
                    <a:pt x="568" y="1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8" name="Google Shape;1108;p38"/>
            <p:cNvSpPr/>
            <p:nvPr/>
          </p:nvSpPr>
          <p:spPr>
            <a:xfrm>
              <a:off x="1581775" y="1381900"/>
              <a:ext cx="7050" cy="10800"/>
            </a:xfrm>
            <a:custGeom>
              <a:avLst/>
              <a:gdLst/>
              <a:ahLst/>
              <a:cxnLst/>
              <a:rect l="l" t="t" r="r" b="b"/>
              <a:pathLst>
                <a:path w="282" h="432" extrusionOk="0">
                  <a:moveTo>
                    <a:pt x="107" y="1"/>
                  </a:moveTo>
                  <a:lnTo>
                    <a:pt x="0" y="406"/>
                  </a:lnTo>
                  <a:lnTo>
                    <a:pt x="107" y="432"/>
                  </a:lnTo>
                  <a:lnTo>
                    <a:pt x="133" y="121"/>
                  </a:lnTo>
                  <a:lnTo>
                    <a:pt x="162" y="419"/>
                  </a:lnTo>
                  <a:lnTo>
                    <a:pt x="282" y="406"/>
                  </a:lnTo>
                  <a:lnTo>
                    <a:pt x="175" y="1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9" name="Google Shape;1109;p38"/>
            <p:cNvSpPr/>
            <p:nvPr/>
          </p:nvSpPr>
          <p:spPr>
            <a:xfrm>
              <a:off x="1586125" y="1381600"/>
              <a:ext cx="25" cy="325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3"/>
                  </a:moveTo>
                  <a:lnTo>
                    <a:pt x="1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0" name="Google Shape;1110;p38"/>
            <p:cNvSpPr/>
            <p:nvPr/>
          </p:nvSpPr>
          <p:spPr>
            <a:xfrm>
              <a:off x="1619925" y="1424750"/>
              <a:ext cx="325" cy="1425"/>
            </a:xfrm>
            <a:custGeom>
              <a:avLst/>
              <a:gdLst/>
              <a:ahLst/>
              <a:cxnLst/>
              <a:rect l="l" t="t" r="r" b="b"/>
              <a:pathLst>
                <a:path w="13" h="57" extrusionOk="0">
                  <a:moveTo>
                    <a:pt x="0" y="56"/>
                  </a:moveTo>
                  <a:cubicBezTo>
                    <a:pt x="0" y="56"/>
                    <a:pt x="0" y="27"/>
                    <a:pt x="13" y="1"/>
                  </a:cubicBezTo>
                  <a:cubicBezTo>
                    <a:pt x="0" y="27"/>
                    <a:pt x="0" y="56"/>
                    <a:pt x="0" y="56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1" name="Google Shape;1111;p38"/>
            <p:cNvSpPr/>
            <p:nvPr/>
          </p:nvSpPr>
          <p:spPr>
            <a:xfrm>
              <a:off x="1608825" y="1417725"/>
              <a:ext cx="23150" cy="17575"/>
            </a:xfrm>
            <a:custGeom>
              <a:avLst/>
              <a:gdLst/>
              <a:ahLst/>
              <a:cxnLst/>
              <a:rect l="l" t="t" r="r" b="b"/>
              <a:pathLst>
                <a:path w="926" h="703" extrusionOk="0">
                  <a:moveTo>
                    <a:pt x="347" y="175"/>
                  </a:moveTo>
                  <a:cubicBezTo>
                    <a:pt x="336" y="186"/>
                    <a:pt x="325" y="197"/>
                    <a:pt x="313" y="200"/>
                  </a:cubicBezTo>
                  <a:lnTo>
                    <a:pt x="313" y="200"/>
                  </a:lnTo>
                  <a:cubicBezTo>
                    <a:pt x="323" y="192"/>
                    <a:pt x="333" y="182"/>
                    <a:pt x="347" y="175"/>
                  </a:cubicBezTo>
                  <a:close/>
                  <a:moveTo>
                    <a:pt x="509" y="146"/>
                  </a:moveTo>
                  <a:cubicBezTo>
                    <a:pt x="537" y="186"/>
                    <a:pt x="586" y="251"/>
                    <a:pt x="615" y="279"/>
                  </a:cubicBezTo>
                  <a:lnTo>
                    <a:pt x="615" y="279"/>
                  </a:lnTo>
                  <a:cubicBezTo>
                    <a:pt x="573" y="240"/>
                    <a:pt x="508" y="188"/>
                    <a:pt x="483" y="175"/>
                  </a:cubicBezTo>
                  <a:lnTo>
                    <a:pt x="483" y="162"/>
                  </a:lnTo>
                  <a:cubicBezTo>
                    <a:pt x="496" y="175"/>
                    <a:pt x="525" y="175"/>
                    <a:pt x="525" y="188"/>
                  </a:cubicBezTo>
                  <a:cubicBezTo>
                    <a:pt x="527" y="190"/>
                    <a:pt x="529" y="191"/>
                    <a:pt x="530" y="191"/>
                  </a:cubicBezTo>
                  <a:cubicBezTo>
                    <a:pt x="533" y="191"/>
                    <a:pt x="522" y="170"/>
                    <a:pt x="509" y="146"/>
                  </a:cubicBezTo>
                  <a:close/>
                  <a:moveTo>
                    <a:pt x="428" y="162"/>
                  </a:moveTo>
                  <a:lnTo>
                    <a:pt x="428" y="162"/>
                  </a:lnTo>
                  <a:cubicBezTo>
                    <a:pt x="407" y="183"/>
                    <a:pt x="394" y="204"/>
                    <a:pt x="397" y="204"/>
                  </a:cubicBezTo>
                  <a:cubicBezTo>
                    <a:pt x="398" y="204"/>
                    <a:pt x="400" y="203"/>
                    <a:pt x="402" y="201"/>
                  </a:cubicBezTo>
                  <a:cubicBezTo>
                    <a:pt x="415" y="188"/>
                    <a:pt x="428" y="188"/>
                    <a:pt x="444" y="175"/>
                  </a:cubicBezTo>
                  <a:lnTo>
                    <a:pt x="444" y="188"/>
                  </a:lnTo>
                  <a:cubicBezTo>
                    <a:pt x="415" y="201"/>
                    <a:pt x="347" y="256"/>
                    <a:pt x="321" y="295"/>
                  </a:cubicBezTo>
                  <a:cubicBezTo>
                    <a:pt x="347" y="256"/>
                    <a:pt x="389" y="201"/>
                    <a:pt x="428" y="162"/>
                  </a:cubicBezTo>
                  <a:close/>
                  <a:moveTo>
                    <a:pt x="496" y="0"/>
                  </a:moveTo>
                  <a:cubicBezTo>
                    <a:pt x="496" y="0"/>
                    <a:pt x="201" y="146"/>
                    <a:pt x="240" y="146"/>
                  </a:cubicBezTo>
                  <a:cubicBezTo>
                    <a:pt x="244" y="146"/>
                    <a:pt x="247" y="146"/>
                    <a:pt x="249" y="145"/>
                  </a:cubicBezTo>
                  <a:lnTo>
                    <a:pt x="249" y="145"/>
                  </a:lnTo>
                  <a:cubicBezTo>
                    <a:pt x="194" y="185"/>
                    <a:pt x="107" y="227"/>
                    <a:pt x="133" y="227"/>
                  </a:cubicBezTo>
                  <a:cubicBezTo>
                    <a:pt x="185" y="214"/>
                    <a:pt x="214" y="201"/>
                    <a:pt x="214" y="201"/>
                  </a:cubicBezTo>
                  <a:lnTo>
                    <a:pt x="214" y="201"/>
                  </a:lnTo>
                  <a:cubicBezTo>
                    <a:pt x="214" y="201"/>
                    <a:pt x="52" y="308"/>
                    <a:pt x="78" y="308"/>
                  </a:cubicBezTo>
                  <a:cubicBezTo>
                    <a:pt x="104" y="295"/>
                    <a:pt x="308" y="146"/>
                    <a:pt x="308" y="146"/>
                  </a:cubicBezTo>
                  <a:lnTo>
                    <a:pt x="308" y="146"/>
                  </a:lnTo>
                  <a:cubicBezTo>
                    <a:pt x="308" y="146"/>
                    <a:pt x="257" y="219"/>
                    <a:pt x="271" y="219"/>
                  </a:cubicBezTo>
                  <a:cubicBezTo>
                    <a:pt x="273" y="219"/>
                    <a:pt x="277" y="218"/>
                    <a:pt x="282" y="214"/>
                  </a:cubicBezTo>
                  <a:cubicBezTo>
                    <a:pt x="287" y="214"/>
                    <a:pt x="291" y="213"/>
                    <a:pt x="294" y="212"/>
                  </a:cubicBezTo>
                  <a:lnTo>
                    <a:pt x="294" y="212"/>
                  </a:lnTo>
                  <a:cubicBezTo>
                    <a:pt x="228" y="265"/>
                    <a:pt x="148" y="324"/>
                    <a:pt x="172" y="324"/>
                  </a:cubicBezTo>
                  <a:cubicBezTo>
                    <a:pt x="198" y="314"/>
                    <a:pt x="223" y="300"/>
                    <a:pt x="241" y="288"/>
                  </a:cubicBezTo>
                  <a:lnTo>
                    <a:pt x="241" y="288"/>
                  </a:lnTo>
                  <a:cubicBezTo>
                    <a:pt x="173" y="346"/>
                    <a:pt x="1" y="512"/>
                    <a:pt x="20" y="512"/>
                  </a:cubicBezTo>
                  <a:cubicBezTo>
                    <a:pt x="21" y="512"/>
                    <a:pt x="22" y="512"/>
                    <a:pt x="23" y="512"/>
                  </a:cubicBezTo>
                  <a:cubicBezTo>
                    <a:pt x="52" y="499"/>
                    <a:pt x="253" y="308"/>
                    <a:pt x="253" y="308"/>
                  </a:cubicBezTo>
                  <a:lnTo>
                    <a:pt x="253" y="308"/>
                  </a:lnTo>
                  <a:cubicBezTo>
                    <a:pt x="253" y="308"/>
                    <a:pt x="167" y="445"/>
                    <a:pt x="182" y="445"/>
                  </a:cubicBezTo>
                  <a:cubicBezTo>
                    <a:pt x="183" y="445"/>
                    <a:pt x="184" y="444"/>
                    <a:pt x="185" y="444"/>
                  </a:cubicBezTo>
                  <a:cubicBezTo>
                    <a:pt x="201" y="418"/>
                    <a:pt x="266" y="337"/>
                    <a:pt x="295" y="295"/>
                  </a:cubicBezTo>
                  <a:lnTo>
                    <a:pt x="295" y="295"/>
                  </a:lnTo>
                  <a:cubicBezTo>
                    <a:pt x="295" y="308"/>
                    <a:pt x="282" y="324"/>
                    <a:pt x="282" y="324"/>
                  </a:cubicBezTo>
                  <a:lnTo>
                    <a:pt x="295" y="324"/>
                  </a:lnTo>
                  <a:cubicBezTo>
                    <a:pt x="308" y="324"/>
                    <a:pt x="363" y="269"/>
                    <a:pt x="363" y="269"/>
                  </a:cubicBezTo>
                  <a:lnTo>
                    <a:pt x="363" y="269"/>
                  </a:lnTo>
                  <a:cubicBezTo>
                    <a:pt x="363" y="269"/>
                    <a:pt x="208" y="538"/>
                    <a:pt x="238" y="538"/>
                  </a:cubicBezTo>
                  <a:cubicBezTo>
                    <a:pt x="238" y="538"/>
                    <a:pt x="239" y="538"/>
                    <a:pt x="240" y="538"/>
                  </a:cubicBezTo>
                  <a:cubicBezTo>
                    <a:pt x="253" y="512"/>
                    <a:pt x="295" y="457"/>
                    <a:pt x="321" y="418"/>
                  </a:cubicBezTo>
                  <a:lnTo>
                    <a:pt x="321" y="418"/>
                  </a:lnTo>
                  <a:cubicBezTo>
                    <a:pt x="269" y="506"/>
                    <a:pt x="161" y="703"/>
                    <a:pt x="169" y="703"/>
                  </a:cubicBezTo>
                  <a:cubicBezTo>
                    <a:pt x="169" y="703"/>
                    <a:pt x="170" y="702"/>
                    <a:pt x="172" y="700"/>
                  </a:cubicBezTo>
                  <a:cubicBezTo>
                    <a:pt x="214" y="661"/>
                    <a:pt x="402" y="308"/>
                    <a:pt x="402" y="308"/>
                  </a:cubicBezTo>
                  <a:lnTo>
                    <a:pt x="402" y="308"/>
                  </a:lnTo>
                  <a:cubicBezTo>
                    <a:pt x="402" y="308"/>
                    <a:pt x="367" y="406"/>
                    <a:pt x="374" y="406"/>
                  </a:cubicBezTo>
                  <a:cubicBezTo>
                    <a:pt x="375" y="406"/>
                    <a:pt x="375" y="406"/>
                    <a:pt x="376" y="405"/>
                  </a:cubicBezTo>
                  <a:cubicBezTo>
                    <a:pt x="389" y="389"/>
                    <a:pt x="428" y="308"/>
                    <a:pt x="457" y="269"/>
                  </a:cubicBezTo>
                  <a:lnTo>
                    <a:pt x="457" y="243"/>
                  </a:lnTo>
                  <a:lnTo>
                    <a:pt x="470" y="243"/>
                  </a:lnTo>
                  <a:lnTo>
                    <a:pt x="457" y="227"/>
                  </a:lnTo>
                  <a:cubicBezTo>
                    <a:pt x="470" y="227"/>
                    <a:pt x="470" y="227"/>
                    <a:pt x="470" y="214"/>
                  </a:cubicBezTo>
                  <a:lnTo>
                    <a:pt x="470" y="243"/>
                  </a:lnTo>
                  <a:cubicBezTo>
                    <a:pt x="470" y="256"/>
                    <a:pt x="457" y="256"/>
                    <a:pt x="457" y="269"/>
                  </a:cubicBezTo>
                  <a:lnTo>
                    <a:pt x="457" y="282"/>
                  </a:lnTo>
                  <a:cubicBezTo>
                    <a:pt x="457" y="269"/>
                    <a:pt x="457" y="256"/>
                    <a:pt x="470" y="256"/>
                  </a:cubicBezTo>
                  <a:cubicBezTo>
                    <a:pt x="496" y="295"/>
                    <a:pt x="538" y="376"/>
                    <a:pt x="551" y="389"/>
                  </a:cubicBezTo>
                  <a:cubicBezTo>
                    <a:pt x="552" y="390"/>
                    <a:pt x="552" y="390"/>
                    <a:pt x="553" y="390"/>
                  </a:cubicBezTo>
                  <a:cubicBezTo>
                    <a:pt x="559" y="390"/>
                    <a:pt x="525" y="295"/>
                    <a:pt x="525" y="295"/>
                  </a:cubicBezTo>
                  <a:lnTo>
                    <a:pt x="525" y="295"/>
                  </a:lnTo>
                  <a:cubicBezTo>
                    <a:pt x="525" y="295"/>
                    <a:pt x="713" y="648"/>
                    <a:pt x="752" y="687"/>
                  </a:cubicBezTo>
                  <a:cubicBezTo>
                    <a:pt x="753" y="688"/>
                    <a:pt x="755" y="689"/>
                    <a:pt x="755" y="689"/>
                  </a:cubicBezTo>
                  <a:cubicBezTo>
                    <a:pt x="767" y="689"/>
                    <a:pt x="655" y="494"/>
                    <a:pt x="606" y="405"/>
                  </a:cubicBezTo>
                  <a:lnTo>
                    <a:pt x="606" y="405"/>
                  </a:lnTo>
                  <a:cubicBezTo>
                    <a:pt x="632" y="444"/>
                    <a:pt x="671" y="512"/>
                    <a:pt x="700" y="525"/>
                  </a:cubicBezTo>
                  <a:cubicBezTo>
                    <a:pt x="701" y="526"/>
                    <a:pt x="702" y="527"/>
                    <a:pt x="702" y="527"/>
                  </a:cubicBezTo>
                  <a:cubicBezTo>
                    <a:pt x="713" y="527"/>
                    <a:pt x="564" y="256"/>
                    <a:pt x="564" y="256"/>
                  </a:cubicBezTo>
                  <a:lnTo>
                    <a:pt x="564" y="256"/>
                  </a:lnTo>
                  <a:cubicBezTo>
                    <a:pt x="564" y="256"/>
                    <a:pt x="619" y="308"/>
                    <a:pt x="645" y="324"/>
                  </a:cubicBezTo>
                  <a:lnTo>
                    <a:pt x="645" y="308"/>
                  </a:lnTo>
                  <a:cubicBezTo>
                    <a:pt x="645" y="308"/>
                    <a:pt x="645" y="304"/>
                    <a:pt x="643" y="299"/>
                  </a:cubicBezTo>
                  <a:lnTo>
                    <a:pt x="643" y="299"/>
                  </a:lnTo>
                  <a:cubicBezTo>
                    <a:pt x="674" y="346"/>
                    <a:pt x="729" y="420"/>
                    <a:pt x="752" y="431"/>
                  </a:cubicBezTo>
                  <a:cubicBezTo>
                    <a:pt x="753" y="432"/>
                    <a:pt x="753" y="432"/>
                    <a:pt x="753" y="432"/>
                  </a:cubicBezTo>
                  <a:cubicBezTo>
                    <a:pt x="759" y="432"/>
                    <a:pt x="671" y="308"/>
                    <a:pt x="671" y="308"/>
                  </a:cubicBezTo>
                  <a:lnTo>
                    <a:pt x="671" y="308"/>
                  </a:lnTo>
                  <a:cubicBezTo>
                    <a:pt x="671" y="308"/>
                    <a:pt x="875" y="486"/>
                    <a:pt x="901" y="499"/>
                  </a:cubicBezTo>
                  <a:cubicBezTo>
                    <a:pt x="902" y="499"/>
                    <a:pt x="903" y="500"/>
                    <a:pt x="904" y="500"/>
                  </a:cubicBezTo>
                  <a:cubicBezTo>
                    <a:pt x="926" y="500"/>
                    <a:pt x="751" y="339"/>
                    <a:pt x="690" y="278"/>
                  </a:cubicBezTo>
                  <a:lnTo>
                    <a:pt x="690" y="278"/>
                  </a:lnTo>
                  <a:cubicBezTo>
                    <a:pt x="706" y="289"/>
                    <a:pt x="729" y="300"/>
                    <a:pt x="752" y="308"/>
                  </a:cubicBezTo>
                  <a:cubicBezTo>
                    <a:pt x="756" y="309"/>
                    <a:pt x="758" y="310"/>
                    <a:pt x="760" y="310"/>
                  </a:cubicBezTo>
                  <a:cubicBezTo>
                    <a:pt x="775" y="310"/>
                    <a:pt x="681" y="239"/>
                    <a:pt x="619" y="201"/>
                  </a:cubicBezTo>
                  <a:lnTo>
                    <a:pt x="619" y="188"/>
                  </a:lnTo>
                  <a:cubicBezTo>
                    <a:pt x="619" y="201"/>
                    <a:pt x="632" y="201"/>
                    <a:pt x="645" y="201"/>
                  </a:cubicBezTo>
                  <a:cubicBezTo>
                    <a:pt x="652" y="204"/>
                    <a:pt x="656" y="205"/>
                    <a:pt x="659" y="205"/>
                  </a:cubicBezTo>
                  <a:cubicBezTo>
                    <a:pt x="682" y="205"/>
                    <a:pt x="619" y="133"/>
                    <a:pt x="619" y="133"/>
                  </a:cubicBezTo>
                  <a:lnTo>
                    <a:pt x="619" y="133"/>
                  </a:lnTo>
                  <a:cubicBezTo>
                    <a:pt x="619" y="133"/>
                    <a:pt x="820" y="282"/>
                    <a:pt x="849" y="295"/>
                  </a:cubicBezTo>
                  <a:cubicBezTo>
                    <a:pt x="875" y="295"/>
                    <a:pt x="713" y="188"/>
                    <a:pt x="713" y="188"/>
                  </a:cubicBezTo>
                  <a:lnTo>
                    <a:pt x="713" y="188"/>
                  </a:lnTo>
                  <a:lnTo>
                    <a:pt x="794" y="214"/>
                  </a:lnTo>
                  <a:cubicBezTo>
                    <a:pt x="820" y="214"/>
                    <a:pt x="713" y="162"/>
                    <a:pt x="658" y="133"/>
                  </a:cubicBezTo>
                  <a:lnTo>
                    <a:pt x="687" y="133"/>
                  </a:lnTo>
                  <a:cubicBezTo>
                    <a:pt x="726" y="133"/>
                    <a:pt x="496" y="0"/>
                    <a:pt x="496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2" name="Google Shape;1112;p38"/>
            <p:cNvSpPr/>
            <p:nvPr/>
          </p:nvSpPr>
          <p:spPr>
            <a:xfrm>
              <a:off x="1620550" y="1424750"/>
              <a:ext cx="675" cy="1100"/>
            </a:xfrm>
            <a:custGeom>
              <a:avLst/>
              <a:gdLst/>
              <a:ahLst/>
              <a:cxnLst/>
              <a:rect l="l" t="t" r="r" b="b"/>
              <a:pathLst>
                <a:path w="27" h="44" extrusionOk="0">
                  <a:moveTo>
                    <a:pt x="1" y="1"/>
                  </a:moveTo>
                  <a:lnTo>
                    <a:pt x="1" y="1"/>
                  </a:lnTo>
                  <a:cubicBezTo>
                    <a:pt x="14" y="27"/>
                    <a:pt x="14" y="43"/>
                    <a:pt x="14" y="43"/>
                  </a:cubicBezTo>
                  <a:cubicBezTo>
                    <a:pt x="27" y="43"/>
                    <a:pt x="14" y="14"/>
                    <a:pt x="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3" name="Google Shape;1113;p38"/>
            <p:cNvSpPr/>
            <p:nvPr/>
          </p:nvSpPr>
          <p:spPr>
            <a:xfrm>
              <a:off x="1619500" y="1429450"/>
              <a:ext cx="750" cy="1400"/>
            </a:xfrm>
            <a:custGeom>
              <a:avLst/>
              <a:gdLst/>
              <a:ahLst/>
              <a:cxnLst/>
              <a:rect l="l" t="t" r="r" b="b"/>
              <a:pathLst>
                <a:path w="30" h="56" extrusionOk="0">
                  <a:moveTo>
                    <a:pt x="30" y="1"/>
                  </a:moveTo>
                  <a:cubicBezTo>
                    <a:pt x="17" y="30"/>
                    <a:pt x="1" y="56"/>
                    <a:pt x="1" y="56"/>
                  </a:cubicBezTo>
                  <a:cubicBezTo>
                    <a:pt x="17" y="56"/>
                    <a:pt x="17" y="30"/>
                    <a:pt x="3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4" name="Google Shape;1114;p38"/>
            <p:cNvSpPr/>
            <p:nvPr/>
          </p:nvSpPr>
          <p:spPr>
            <a:xfrm>
              <a:off x="1605700" y="1420375"/>
              <a:ext cx="29300" cy="22075"/>
            </a:xfrm>
            <a:custGeom>
              <a:avLst/>
              <a:gdLst/>
              <a:ahLst/>
              <a:cxnLst/>
              <a:rect l="l" t="t" r="r" b="b"/>
              <a:pathLst>
                <a:path w="1172" h="883" extrusionOk="0">
                  <a:moveTo>
                    <a:pt x="406" y="250"/>
                  </a:moveTo>
                  <a:cubicBezTo>
                    <a:pt x="403" y="252"/>
                    <a:pt x="401" y="254"/>
                    <a:pt x="398" y="255"/>
                  </a:cubicBezTo>
                  <a:lnTo>
                    <a:pt x="398" y="255"/>
                  </a:lnTo>
                  <a:cubicBezTo>
                    <a:pt x="401" y="254"/>
                    <a:pt x="403" y="252"/>
                    <a:pt x="406" y="250"/>
                  </a:cubicBezTo>
                  <a:close/>
                  <a:moveTo>
                    <a:pt x="595" y="312"/>
                  </a:moveTo>
                  <a:cubicBezTo>
                    <a:pt x="595" y="325"/>
                    <a:pt x="595" y="338"/>
                    <a:pt x="608" y="351"/>
                  </a:cubicBezTo>
                  <a:cubicBezTo>
                    <a:pt x="608" y="338"/>
                    <a:pt x="595" y="325"/>
                    <a:pt x="595" y="312"/>
                  </a:cubicBezTo>
                  <a:close/>
                  <a:moveTo>
                    <a:pt x="634" y="189"/>
                  </a:moveTo>
                  <a:lnTo>
                    <a:pt x="634" y="189"/>
                  </a:lnTo>
                  <a:cubicBezTo>
                    <a:pt x="689" y="244"/>
                    <a:pt x="744" y="312"/>
                    <a:pt x="783" y="351"/>
                  </a:cubicBezTo>
                  <a:cubicBezTo>
                    <a:pt x="731" y="312"/>
                    <a:pt x="650" y="231"/>
                    <a:pt x="621" y="218"/>
                  </a:cubicBezTo>
                  <a:lnTo>
                    <a:pt x="621" y="202"/>
                  </a:lnTo>
                  <a:cubicBezTo>
                    <a:pt x="634" y="218"/>
                    <a:pt x="663" y="231"/>
                    <a:pt x="676" y="244"/>
                  </a:cubicBezTo>
                  <a:cubicBezTo>
                    <a:pt x="676" y="244"/>
                    <a:pt x="663" y="218"/>
                    <a:pt x="634" y="189"/>
                  </a:cubicBezTo>
                  <a:close/>
                  <a:moveTo>
                    <a:pt x="540" y="202"/>
                  </a:moveTo>
                  <a:cubicBezTo>
                    <a:pt x="514" y="244"/>
                    <a:pt x="501" y="257"/>
                    <a:pt x="514" y="257"/>
                  </a:cubicBezTo>
                  <a:cubicBezTo>
                    <a:pt x="527" y="244"/>
                    <a:pt x="540" y="231"/>
                    <a:pt x="553" y="231"/>
                  </a:cubicBezTo>
                  <a:cubicBezTo>
                    <a:pt x="527" y="257"/>
                    <a:pt x="446" y="325"/>
                    <a:pt x="407" y="364"/>
                  </a:cubicBezTo>
                  <a:cubicBezTo>
                    <a:pt x="433" y="325"/>
                    <a:pt x="501" y="257"/>
                    <a:pt x="540" y="202"/>
                  </a:cubicBezTo>
                  <a:close/>
                  <a:moveTo>
                    <a:pt x="595" y="312"/>
                  </a:moveTo>
                  <a:lnTo>
                    <a:pt x="582" y="325"/>
                  </a:lnTo>
                  <a:lnTo>
                    <a:pt x="582" y="364"/>
                  </a:lnTo>
                  <a:cubicBezTo>
                    <a:pt x="582" y="338"/>
                    <a:pt x="582" y="325"/>
                    <a:pt x="595" y="312"/>
                  </a:cubicBezTo>
                  <a:close/>
                  <a:moveTo>
                    <a:pt x="621" y="1"/>
                  </a:moveTo>
                  <a:cubicBezTo>
                    <a:pt x="621" y="1"/>
                    <a:pt x="282" y="177"/>
                    <a:pt x="306" y="177"/>
                  </a:cubicBezTo>
                  <a:cubicBezTo>
                    <a:pt x="307" y="177"/>
                    <a:pt x="308" y="176"/>
                    <a:pt x="310" y="176"/>
                  </a:cubicBezTo>
                  <a:lnTo>
                    <a:pt x="339" y="176"/>
                  </a:lnTo>
                  <a:cubicBezTo>
                    <a:pt x="271" y="218"/>
                    <a:pt x="135" y="283"/>
                    <a:pt x="177" y="283"/>
                  </a:cubicBezTo>
                  <a:cubicBezTo>
                    <a:pt x="229" y="270"/>
                    <a:pt x="271" y="257"/>
                    <a:pt x="271" y="257"/>
                  </a:cubicBezTo>
                  <a:lnTo>
                    <a:pt x="271" y="257"/>
                  </a:lnTo>
                  <a:cubicBezTo>
                    <a:pt x="271" y="257"/>
                    <a:pt x="85" y="381"/>
                    <a:pt x="105" y="381"/>
                  </a:cubicBezTo>
                  <a:cubicBezTo>
                    <a:pt x="106" y="381"/>
                    <a:pt x="107" y="381"/>
                    <a:pt x="109" y="380"/>
                  </a:cubicBezTo>
                  <a:cubicBezTo>
                    <a:pt x="135" y="380"/>
                    <a:pt x="391" y="189"/>
                    <a:pt x="391" y="189"/>
                  </a:cubicBezTo>
                  <a:lnTo>
                    <a:pt x="391" y="189"/>
                  </a:lnTo>
                  <a:cubicBezTo>
                    <a:pt x="391" y="189"/>
                    <a:pt x="322" y="279"/>
                    <a:pt x="345" y="279"/>
                  </a:cubicBezTo>
                  <a:cubicBezTo>
                    <a:pt x="349" y="279"/>
                    <a:pt x="355" y="276"/>
                    <a:pt x="365" y="270"/>
                  </a:cubicBezTo>
                  <a:cubicBezTo>
                    <a:pt x="369" y="270"/>
                    <a:pt x="375" y="268"/>
                    <a:pt x="382" y="264"/>
                  </a:cubicBezTo>
                  <a:lnTo>
                    <a:pt x="382" y="264"/>
                  </a:lnTo>
                  <a:cubicBezTo>
                    <a:pt x="306" y="327"/>
                    <a:pt x="194" y="407"/>
                    <a:pt x="211" y="407"/>
                  </a:cubicBezTo>
                  <a:cubicBezTo>
                    <a:pt x="212" y="407"/>
                    <a:pt x="213" y="407"/>
                    <a:pt x="216" y="406"/>
                  </a:cubicBezTo>
                  <a:cubicBezTo>
                    <a:pt x="264" y="395"/>
                    <a:pt x="312" y="362"/>
                    <a:pt x="332" y="344"/>
                  </a:cubicBezTo>
                  <a:lnTo>
                    <a:pt x="332" y="344"/>
                  </a:lnTo>
                  <a:cubicBezTo>
                    <a:pt x="277" y="394"/>
                    <a:pt x="1" y="649"/>
                    <a:pt x="26" y="649"/>
                  </a:cubicBezTo>
                  <a:cubicBezTo>
                    <a:pt x="26" y="649"/>
                    <a:pt x="27" y="649"/>
                    <a:pt x="28" y="649"/>
                  </a:cubicBezTo>
                  <a:cubicBezTo>
                    <a:pt x="67" y="623"/>
                    <a:pt x="326" y="393"/>
                    <a:pt x="326" y="393"/>
                  </a:cubicBezTo>
                  <a:lnTo>
                    <a:pt x="326" y="393"/>
                  </a:lnTo>
                  <a:cubicBezTo>
                    <a:pt x="326" y="393"/>
                    <a:pt x="218" y="557"/>
                    <a:pt x="226" y="557"/>
                  </a:cubicBezTo>
                  <a:cubicBezTo>
                    <a:pt x="226" y="557"/>
                    <a:pt x="227" y="557"/>
                    <a:pt x="229" y="555"/>
                  </a:cubicBezTo>
                  <a:cubicBezTo>
                    <a:pt x="257" y="527"/>
                    <a:pt x="335" y="424"/>
                    <a:pt x="375" y="368"/>
                  </a:cubicBezTo>
                  <a:lnTo>
                    <a:pt x="375" y="368"/>
                  </a:lnTo>
                  <a:cubicBezTo>
                    <a:pt x="365" y="384"/>
                    <a:pt x="365" y="406"/>
                    <a:pt x="365" y="406"/>
                  </a:cubicBezTo>
                  <a:lnTo>
                    <a:pt x="365" y="419"/>
                  </a:lnTo>
                  <a:cubicBezTo>
                    <a:pt x="391" y="406"/>
                    <a:pt x="459" y="338"/>
                    <a:pt x="459" y="338"/>
                  </a:cubicBezTo>
                  <a:lnTo>
                    <a:pt x="459" y="338"/>
                  </a:lnTo>
                  <a:cubicBezTo>
                    <a:pt x="459" y="338"/>
                    <a:pt x="273" y="677"/>
                    <a:pt x="293" y="677"/>
                  </a:cubicBezTo>
                  <a:cubicBezTo>
                    <a:pt x="294" y="677"/>
                    <a:pt x="295" y="676"/>
                    <a:pt x="297" y="675"/>
                  </a:cubicBezTo>
                  <a:cubicBezTo>
                    <a:pt x="318" y="656"/>
                    <a:pt x="352" y="614"/>
                    <a:pt x="380" y="571"/>
                  </a:cubicBezTo>
                  <a:lnTo>
                    <a:pt x="380" y="571"/>
                  </a:lnTo>
                  <a:cubicBezTo>
                    <a:pt x="312" y="689"/>
                    <a:pt x="211" y="883"/>
                    <a:pt x="224" y="883"/>
                  </a:cubicBezTo>
                  <a:cubicBezTo>
                    <a:pt x="225" y="883"/>
                    <a:pt x="226" y="882"/>
                    <a:pt x="229" y="879"/>
                  </a:cubicBezTo>
                  <a:cubicBezTo>
                    <a:pt x="284" y="824"/>
                    <a:pt x="514" y="380"/>
                    <a:pt x="514" y="380"/>
                  </a:cubicBezTo>
                  <a:lnTo>
                    <a:pt x="514" y="380"/>
                  </a:lnTo>
                  <a:cubicBezTo>
                    <a:pt x="514" y="380"/>
                    <a:pt x="464" y="501"/>
                    <a:pt x="470" y="501"/>
                  </a:cubicBezTo>
                  <a:cubicBezTo>
                    <a:pt x="471" y="501"/>
                    <a:pt x="471" y="501"/>
                    <a:pt x="472" y="500"/>
                  </a:cubicBezTo>
                  <a:cubicBezTo>
                    <a:pt x="501" y="487"/>
                    <a:pt x="553" y="393"/>
                    <a:pt x="582" y="325"/>
                  </a:cubicBezTo>
                  <a:lnTo>
                    <a:pt x="582" y="299"/>
                  </a:lnTo>
                  <a:cubicBezTo>
                    <a:pt x="595" y="283"/>
                    <a:pt x="595" y="283"/>
                    <a:pt x="595" y="270"/>
                  </a:cubicBezTo>
                  <a:lnTo>
                    <a:pt x="595" y="299"/>
                  </a:lnTo>
                  <a:lnTo>
                    <a:pt x="595" y="312"/>
                  </a:lnTo>
                  <a:cubicBezTo>
                    <a:pt x="621" y="380"/>
                    <a:pt x="689" y="474"/>
                    <a:pt x="702" y="487"/>
                  </a:cubicBezTo>
                  <a:cubicBezTo>
                    <a:pt x="703" y="488"/>
                    <a:pt x="704" y="488"/>
                    <a:pt x="705" y="488"/>
                  </a:cubicBezTo>
                  <a:cubicBezTo>
                    <a:pt x="725" y="488"/>
                    <a:pt x="663" y="364"/>
                    <a:pt x="663" y="364"/>
                  </a:cubicBezTo>
                  <a:lnTo>
                    <a:pt x="663" y="364"/>
                  </a:lnTo>
                  <a:cubicBezTo>
                    <a:pt x="663" y="364"/>
                    <a:pt x="906" y="811"/>
                    <a:pt x="958" y="866"/>
                  </a:cubicBezTo>
                  <a:cubicBezTo>
                    <a:pt x="961" y="869"/>
                    <a:pt x="962" y="870"/>
                    <a:pt x="963" y="870"/>
                  </a:cubicBezTo>
                  <a:cubicBezTo>
                    <a:pt x="977" y="870"/>
                    <a:pt x="882" y="701"/>
                    <a:pt x="812" y="583"/>
                  </a:cubicBezTo>
                  <a:lnTo>
                    <a:pt x="812" y="583"/>
                  </a:lnTo>
                  <a:cubicBezTo>
                    <a:pt x="836" y="616"/>
                    <a:pt x="861" y="647"/>
                    <a:pt x="877" y="662"/>
                  </a:cubicBezTo>
                  <a:cubicBezTo>
                    <a:pt x="878" y="663"/>
                    <a:pt x="879" y="663"/>
                    <a:pt x="880" y="663"/>
                  </a:cubicBezTo>
                  <a:cubicBezTo>
                    <a:pt x="905" y="663"/>
                    <a:pt x="715" y="325"/>
                    <a:pt x="715" y="325"/>
                  </a:cubicBezTo>
                  <a:lnTo>
                    <a:pt x="715" y="325"/>
                  </a:lnTo>
                  <a:cubicBezTo>
                    <a:pt x="715" y="325"/>
                    <a:pt x="783" y="393"/>
                    <a:pt x="812" y="406"/>
                  </a:cubicBezTo>
                  <a:lnTo>
                    <a:pt x="812" y="393"/>
                  </a:lnTo>
                  <a:cubicBezTo>
                    <a:pt x="825" y="393"/>
                    <a:pt x="812" y="364"/>
                    <a:pt x="812" y="351"/>
                  </a:cubicBezTo>
                  <a:lnTo>
                    <a:pt x="812" y="351"/>
                  </a:lnTo>
                  <a:cubicBezTo>
                    <a:pt x="838" y="406"/>
                    <a:pt x="932" y="513"/>
                    <a:pt x="945" y="542"/>
                  </a:cubicBezTo>
                  <a:cubicBezTo>
                    <a:pt x="947" y="544"/>
                    <a:pt x="948" y="545"/>
                    <a:pt x="949" y="545"/>
                  </a:cubicBezTo>
                  <a:cubicBezTo>
                    <a:pt x="959" y="545"/>
                    <a:pt x="851" y="380"/>
                    <a:pt x="851" y="380"/>
                  </a:cubicBezTo>
                  <a:lnTo>
                    <a:pt x="851" y="380"/>
                  </a:lnTo>
                  <a:cubicBezTo>
                    <a:pt x="851" y="380"/>
                    <a:pt x="1107" y="607"/>
                    <a:pt x="1149" y="636"/>
                  </a:cubicBezTo>
                  <a:cubicBezTo>
                    <a:pt x="1150" y="636"/>
                    <a:pt x="1150" y="636"/>
                    <a:pt x="1151" y="636"/>
                  </a:cubicBezTo>
                  <a:cubicBezTo>
                    <a:pt x="1172" y="636"/>
                    <a:pt x="944" y="416"/>
                    <a:pt x="862" y="345"/>
                  </a:cubicBezTo>
                  <a:lnTo>
                    <a:pt x="862" y="345"/>
                  </a:lnTo>
                  <a:cubicBezTo>
                    <a:pt x="886" y="362"/>
                    <a:pt x="923" y="384"/>
                    <a:pt x="958" y="393"/>
                  </a:cubicBezTo>
                  <a:cubicBezTo>
                    <a:pt x="960" y="394"/>
                    <a:pt x="962" y="394"/>
                    <a:pt x="964" y="394"/>
                  </a:cubicBezTo>
                  <a:cubicBezTo>
                    <a:pt x="985" y="394"/>
                    <a:pt x="871" y="308"/>
                    <a:pt x="783" y="244"/>
                  </a:cubicBezTo>
                  <a:lnTo>
                    <a:pt x="783" y="231"/>
                  </a:lnTo>
                  <a:lnTo>
                    <a:pt x="812" y="257"/>
                  </a:lnTo>
                  <a:cubicBezTo>
                    <a:pt x="822" y="263"/>
                    <a:pt x="828" y="266"/>
                    <a:pt x="831" y="266"/>
                  </a:cubicBezTo>
                  <a:cubicBezTo>
                    <a:pt x="851" y="266"/>
                    <a:pt x="783" y="176"/>
                    <a:pt x="783" y="176"/>
                  </a:cubicBezTo>
                  <a:lnTo>
                    <a:pt x="783" y="176"/>
                  </a:lnTo>
                  <a:cubicBezTo>
                    <a:pt x="783" y="176"/>
                    <a:pt x="1039" y="364"/>
                    <a:pt x="1081" y="364"/>
                  </a:cubicBezTo>
                  <a:cubicBezTo>
                    <a:pt x="1082" y="365"/>
                    <a:pt x="1083" y="365"/>
                    <a:pt x="1083" y="365"/>
                  </a:cubicBezTo>
                  <a:cubicBezTo>
                    <a:pt x="1085" y="365"/>
                    <a:pt x="906" y="244"/>
                    <a:pt x="906" y="244"/>
                  </a:cubicBezTo>
                  <a:lnTo>
                    <a:pt x="906" y="244"/>
                  </a:lnTo>
                  <a:cubicBezTo>
                    <a:pt x="906" y="244"/>
                    <a:pt x="945" y="257"/>
                    <a:pt x="1000" y="270"/>
                  </a:cubicBezTo>
                  <a:cubicBezTo>
                    <a:pt x="1039" y="270"/>
                    <a:pt x="906" y="202"/>
                    <a:pt x="838" y="163"/>
                  </a:cubicBezTo>
                  <a:lnTo>
                    <a:pt x="877" y="163"/>
                  </a:lnTo>
                  <a:cubicBezTo>
                    <a:pt x="879" y="163"/>
                    <a:pt x="880" y="164"/>
                    <a:pt x="881" y="164"/>
                  </a:cubicBezTo>
                  <a:cubicBezTo>
                    <a:pt x="910" y="164"/>
                    <a:pt x="621" y="1"/>
                    <a:pt x="62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5" name="Google Shape;1115;p38"/>
            <p:cNvSpPr/>
            <p:nvPr/>
          </p:nvSpPr>
          <p:spPr>
            <a:xfrm>
              <a:off x="1620875" y="1429125"/>
              <a:ext cx="350" cy="1400"/>
            </a:xfrm>
            <a:custGeom>
              <a:avLst/>
              <a:gdLst/>
              <a:ahLst/>
              <a:cxnLst/>
              <a:rect l="l" t="t" r="r" b="b"/>
              <a:pathLst>
                <a:path w="14" h="56" extrusionOk="0">
                  <a:moveTo>
                    <a:pt x="1" y="1"/>
                  </a:moveTo>
                  <a:cubicBezTo>
                    <a:pt x="1" y="30"/>
                    <a:pt x="14" y="56"/>
                    <a:pt x="14" y="56"/>
                  </a:cubicBezTo>
                  <a:cubicBezTo>
                    <a:pt x="14" y="56"/>
                    <a:pt x="1" y="30"/>
                    <a:pt x="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6" name="Google Shape;1116;p38"/>
            <p:cNvSpPr/>
            <p:nvPr/>
          </p:nvSpPr>
          <p:spPr>
            <a:xfrm>
              <a:off x="1619275" y="1436925"/>
              <a:ext cx="675" cy="1775"/>
            </a:xfrm>
            <a:custGeom>
              <a:avLst/>
              <a:gdLst/>
              <a:ahLst/>
              <a:cxnLst/>
              <a:rect l="l" t="t" r="r" b="b"/>
              <a:pathLst>
                <a:path w="27" h="71" extrusionOk="0">
                  <a:moveTo>
                    <a:pt x="26" y="0"/>
                  </a:moveTo>
                  <a:cubicBezTo>
                    <a:pt x="12" y="36"/>
                    <a:pt x="0" y="71"/>
                    <a:pt x="6" y="71"/>
                  </a:cubicBezTo>
                  <a:cubicBezTo>
                    <a:pt x="7" y="71"/>
                    <a:pt x="8" y="70"/>
                    <a:pt x="10" y="68"/>
                  </a:cubicBezTo>
                  <a:cubicBezTo>
                    <a:pt x="10" y="68"/>
                    <a:pt x="10" y="42"/>
                    <a:pt x="26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7" name="Google Shape;1117;p38"/>
            <p:cNvSpPr/>
            <p:nvPr/>
          </p:nvSpPr>
          <p:spPr>
            <a:xfrm>
              <a:off x="1602425" y="1425825"/>
              <a:ext cx="35950" cy="27450"/>
            </a:xfrm>
            <a:custGeom>
              <a:avLst/>
              <a:gdLst/>
              <a:ahLst/>
              <a:cxnLst/>
              <a:rect l="l" t="t" r="r" b="b"/>
              <a:pathLst>
                <a:path w="1438" h="1098" extrusionOk="0">
                  <a:moveTo>
                    <a:pt x="713" y="363"/>
                  </a:moveTo>
                  <a:cubicBezTo>
                    <a:pt x="713" y="363"/>
                    <a:pt x="713" y="376"/>
                    <a:pt x="726" y="376"/>
                  </a:cubicBezTo>
                  <a:cubicBezTo>
                    <a:pt x="726" y="363"/>
                    <a:pt x="713" y="363"/>
                    <a:pt x="713" y="363"/>
                  </a:cubicBezTo>
                  <a:close/>
                  <a:moveTo>
                    <a:pt x="731" y="408"/>
                  </a:moveTo>
                  <a:cubicBezTo>
                    <a:pt x="733" y="411"/>
                    <a:pt x="736" y="415"/>
                    <a:pt x="739" y="418"/>
                  </a:cubicBezTo>
                  <a:lnTo>
                    <a:pt x="739" y="418"/>
                  </a:lnTo>
                  <a:cubicBezTo>
                    <a:pt x="739" y="418"/>
                    <a:pt x="735" y="414"/>
                    <a:pt x="731" y="408"/>
                  </a:cubicBezTo>
                  <a:close/>
                  <a:moveTo>
                    <a:pt x="781" y="227"/>
                  </a:moveTo>
                  <a:cubicBezTo>
                    <a:pt x="833" y="295"/>
                    <a:pt x="914" y="376"/>
                    <a:pt x="956" y="431"/>
                  </a:cubicBezTo>
                  <a:cubicBezTo>
                    <a:pt x="888" y="376"/>
                    <a:pt x="781" y="282"/>
                    <a:pt x="752" y="256"/>
                  </a:cubicBezTo>
                  <a:cubicBezTo>
                    <a:pt x="765" y="256"/>
                    <a:pt x="807" y="269"/>
                    <a:pt x="820" y="295"/>
                  </a:cubicBezTo>
                  <a:cubicBezTo>
                    <a:pt x="833" y="295"/>
                    <a:pt x="807" y="269"/>
                    <a:pt x="781" y="227"/>
                  </a:cubicBezTo>
                  <a:close/>
                  <a:moveTo>
                    <a:pt x="658" y="243"/>
                  </a:moveTo>
                  <a:lnTo>
                    <a:pt x="658" y="243"/>
                  </a:lnTo>
                  <a:cubicBezTo>
                    <a:pt x="636" y="276"/>
                    <a:pt x="612" y="311"/>
                    <a:pt x="615" y="311"/>
                  </a:cubicBezTo>
                  <a:cubicBezTo>
                    <a:pt x="615" y="311"/>
                    <a:pt x="617" y="310"/>
                    <a:pt x="619" y="308"/>
                  </a:cubicBezTo>
                  <a:cubicBezTo>
                    <a:pt x="632" y="295"/>
                    <a:pt x="658" y="282"/>
                    <a:pt x="671" y="269"/>
                  </a:cubicBezTo>
                  <a:lnTo>
                    <a:pt x="684" y="269"/>
                  </a:lnTo>
                  <a:cubicBezTo>
                    <a:pt x="645" y="308"/>
                    <a:pt x="538" y="389"/>
                    <a:pt x="483" y="457"/>
                  </a:cubicBezTo>
                  <a:cubicBezTo>
                    <a:pt x="522" y="405"/>
                    <a:pt x="590" y="308"/>
                    <a:pt x="658" y="243"/>
                  </a:cubicBezTo>
                  <a:close/>
                  <a:moveTo>
                    <a:pt x="765" y="0"/>
                  </a:moveTo>
                  <a:cubicBezTo>
                    <a:pt x="765" y="0"/>
                    <a:pt x="295" y="214"/>
                    <a:pt x="360" y="214"/>
                  </a:cubicBezTo>
                  <a:cubicBezTo>
                    <a:pt x="370" y="214"/>
                    <a:pt x="379" y="214"/>
                    <a:pt x="388" y="211"/>
                  </a:cubicBezTo>
                  <a:lnTo>
                    <a:pt x="388" y="211"/>
                  </a:lnTo>
                  <a:cubicBezTo>
                    <a:pt x="303" y="266"/>
                    <a:pt x="161" y="350"/>
                    <a:pt x="198" y="350"/>
                  </a:cubicBezTo>
                  <a:cubicBezTo>
                    <a:pt x="266" y="337"/>
                    <a:pt x="321" y="308"/>
                    <a:pt x="321" y="308"/>
                  </a:cubicBezTo>
                  <a:lnTo>
                    <a:pt x="321" y="308"/>
                  </a:lnTo>
                  <a:cubicBezTo>
                    <a:pt x="321" y="308"/>
                    <a:pt x="87" y="471"/>
                    <a:pt x="100" y="471"/>
                  </a:cubicBezTo>
                  <a:cubicBezTo>
                    <a:pt x="101" y="471"/>
                    <a:pt x="102" y="471"/>
                    <a:pt x="104" y="470"/>
                  </a:cubicBezTo>
                  <a:cubicBezTo>
                    <a:pt x="146" y="457"/>
                    <a:pt x="483" y="227"/>
                    <a:pt x="483" y="227"/>
                  </a:cubicBezTo>
                  <a:lnTo>
                    <a:pt x="483" y="227"/>
                  </a:lnTo>
                  <a:cubicBezTo>
                    <a:pt x="483" y="227"/>
                    <a:pt x="387" y="343"/>
                    <a:pt x="411" y="343"/>
                  </a:cubicBezTo>
                  <a:cubicBezTo>
                    <a:pt x="415" y="343"/>
                    <a:pt x="420" y="342"/>
                    <a:pt x="428" y="337"/>
                  </a:cubicBezTo>
                  <a:cubicBezTo>
                    <a:pt x="457" y="324"/>
                    <a:pt x="496" y="282"/>
                    <a:pt x="522" y="256"/>
                  </a:cubicBezTo>
                  <a:lnTo>
                    <a:pt x="522" y="256"/>
                  </a:lnTo>
                  <a:cubicBezTo>
                    <a:pt x="509" y="282"/>
                    <a:pt x="483" y="308"/>
                    <a:pt x="483" y="308"/>
                  </a:cubicBezTo>
                  <a:cubicBezTo>
                    <a:pt x="366" y="385"/>
                    <a:pt x="214" y="500"/>
                    <a:pt x="246" y="500"/>
                  </a:cubicBezTo>
                  <a:cubicBezTo>
                    <a:pt x="248" y="500"/>
                    <a:pt x="250" y="500"/>
                    <a:pt x="253" y="499"/>
                  </a:cubicBezTo>
                  <a:cubicBezTo>
                    <a:pt x="298" y="491"/>
                    <a:pt x="342" y="464"/>
                    <a:pt x="371" y="443"/>
                  </a:cubicBezTo>
                  <a:lnTo>
                    <a:pt x="371" y="443"/>
                  </a:lnTo>
                  <a:cubicBezTo>
                    <a:pt x="274" y="529"/>
                    <a:pt x="0" y="795"/>
                    <a:pt x="7" y="795"/>
                  </a:cubicBezTo>
                  <a:cubicBezTo>
                    <a:pt x="8" y="795"/>
                    <a:pt x="8" y="795"/>
                    <a:pt x="10" y="794"/>
                  </a:cubicBezTo>
                  <a:cubicBezTo>
                    <a:pt x="65" y="781"/>
                    <a:pt x="376" y="486"/>
                    <a:pt x="376" y="486"/>
                  </a:cubicBezTo>
                  <a:lnTo>
                    <a:pt x="376" y="486"/>
                  </a:lnTo>
                  <a:cubicBezTo>
                    <a:pt x="376" y="486"/>
                    <a:pt x="254" y="689"/>
                    <a:pt x="263" y="689"/>
                  </a:cubicBezTo>
                  <a:cubicBezTo>
                    <a:pt x="264" y="689"/>
                    <a:pt x="264" y="688"/>
                    <a:pt x="266" y="687"/>
                  </a:cubicBezTo>
                  <a:cubicBezTo>
                    <a:pt x="295" y="661"/>
                    <a:pt x="402" y="512"/>
                    <a:pt x="441" y="444"/>
                  </a:cubicBezTo>
                  <a:lnTo>
                    <a:pt x="441" y="444"/>
                  </a:lnTo>
                  <a:cubicBezTo>
                    <a:pt x="441" y="470"/>
                    <a:pt x="428" y="499"/>
                    <a:pt x="441" y="499"/>
                  </a:cubicBezTo>
                  <a:lnTo>
                    <a:pt x="441" y="512"/>
                  </a:lnTo>
                  <a:cubicBezTo>
                    <a:pt x="470" y="499"/>
                    <a:pt x="564" y="418"/>
                    <a:pt x="564" y="418"/>
                  </a:cubicBezTo>
                  <a:lnTo>
                    <a:pt x="564" y="418"/>
                  </a:lnTo>
                  <a:cubicBezTo>
                    <a:pt x="564" y="418"/>
                    <a:pt x="328" y="838"/>
                    <a:pt x="355" y="838"/>
                  </a:cubicBezTo>
                  <a:cubicBezTo>
                    <a:pt x="356" y="838"/>
                    <a:pt x="358" y="838"/>
                    <a:pt x="360" y="836"/>
                  </a:cubicBezTo>
                  <a:cubicBezTo>
                    <a:pt x="389" y="810"/>
                    <a:pt x="441" y="713"/>
                    <a:pt x="483" y="648"/>
                  </a:cubicBezTo>
                  <a:lnTo>
                    <a:pt x="483" y="648"/>
                  </a:lnTo>
                  <a:cubicBezTo>
                    <a:pt x="408" y="783"/>
                    <a:pt x="240" y="1098"/>
                    <a:pt x="258" y="1098"/>
                  </a:cubicBezTo>
                  <a:cubicBezTo>
                    <a:pt x="260" y="1098"/>
                    <a:pt x="262" y="1096"/>
                    <a:pt x="266" y="1092"/>
                  </a:cubicBezTo>
                  <a:cubicBezTo>
                    <a:pt x="321" y="1037"/>
                    <a:pt x="632" y="470"/>
                    <a:pt x="632" y="470"/>
                  </a:cubicBezTo>
                  <a:lnTo>
                    <a:pt x="632" y="470"/>
                  </a:lnTo>
                  <a:cubicBezTo>
                    <a:pt x="632" y="470"/>
                    <a:pt x="557" y="620"/>
                    <a:pt x="574" y="620"/>
                  </a:cubicBezTo>
                  <a:cubicBezTo>
                    <a:pt x="575" y="620"/>
                    <a:pt x="576" y="619"/>
                    <a:pt x="577" y="619"/>
                  </a:cubicBezTo>
                  <a:cubicBezTo>
                    <a:pt x="601" y="607"/>
                    <a:pt x="660" y="491"/>
                    <a:pt x="702" y="422"/>
                  </a:cubicBezTo>
                  <a:lnTo>
                    <a:pt x="702" y="422"/>
                  </a:lnTo>
                  <a:cubicBezTo>
                    <a:pt x="700" y="429"/>
                    <a:pt x="700" y="437"/>
                    <a:pt x="700" y="444"/>
                  </a:cubicBezTo>
                  <a:cubicBezTo>
                    <a:pt x="713" y="418"/>
                    <a:pt x="713" y="405"/>
                    <a:pt x="726" y="376"/>
                  </a:cubicBezTo>
                  <a:lnTo>
                    <a:pt x="726" y="376"/>
                  </a:lnTo>
                  <a:cubicBezTo>
                    <a:pt x="713" y="389"/>
                    <a:pt x="713" y="389"/>
                    <a:pt x="713" y="405"/>
                  </a:cubicBezTo>
                  <a:lnTo>
                    <a:pt x="713" y="363"/>
                  </a:lnTo>
                  <a:cubicBezTo>
                    <a:pt x="713" y="350"/>
                    <a:pt x="713" y="337"/>
                    <a:pt x="726" y="337"/>
                  </a:cubicBezTo>
                  <a:lnTo>
                    <a:pt x="726" y="363"/>
                  </a:lnTo>
                  <a:lnTo>
                    <a:pt x="726" y="376"/>
                  </a:lnTo>
                  <a:cubicBezTo>
                    <a:pt x="726" y="380"/>
                    <a:pt x="726" y="385"/>
                    <a:pt x="726" y="390"/>
                  </a:cubicBezTo>
                  <a:lnTo>
                    <a:pt x="726" y="390"/>
                  </a:lnTo>
                  <a:cubicBezTo>
                    <a:pt x="726" y="389"/>
                    <a:pt x="726" y="389"/>
                    <a:pt x="726" y="389"/>
                  </a:cubicBezTo>
                  <a:lnTo>
                    <a:pt x="726" y="389"/>
                  </a:lnTo>
                  <a:cubicBezTo>
                    <a:pt x="726" y="396"/>
                    <a:pt x="729" y="403"/>
                    <a:pt x="731" y="408"/>
                  </a:cubicBezTo>
                  <a:lnTo>
                    <a:pt x="731" y="408"/>
                  </a:lnTo>
                  <a:cubicBezTo>
                    <a:pt x="728" y="402"/>
                    <a:pt x="727" y="396"/>
                    <a:pt x="726" y="390"/>
                  </a:cubicBezTo>
                  <a:lnTo>
                    <a:pt x="726" y="390"/>
                  </a:lnTo>
                  <a:cubicBezTo>
                    <a:pt x="765" y="458"/>
                    <a:pt x="833" y="593"/>
                    <a:pt x="862" y="606"/>
                  </a:cubicBezTo>
                  <a:cubicBezTo>
                    <a:pt x="863" y="606"/>
                    <a:pt x="864" y="607"/>
                    <a:pt x="865" y="607"/>
                  </a:cubicBezTo>
                  <a:cubicBezTo>
                    <a:pt x="882" y="607"/>
                    <a:pt x="807" y="457"/>
                    <a:pt x="807" y="457"/>
                  </a:cubicBezTo>
                  <a:lnTo>
                    <a:pt x="807" y="457"/>
                  </a:lnTo>
                  <a:cubicBezTo>
                    <a:pt x="807" y="457"/>
                    <a:pt x="1105" y="1011"/>
                    <a:pt x="1170" y="1079"/>
                  </a:cubicBezTo>
                  <a:cubicBezTo>
                    <a:pt x="1173" y="1081"/>
                    <a:pt x="1175" y="1082"/>
                    <a:pt x="1177" y="1082"/>
                  </a:cubicBezTo>
                  <a:cubicBezTo>
                    <a:pt x="1200" y="1082"/>
                    <a:pt x="1095" y="880"/>
                    <a:pt x="1013" y="732"/>
                  </a:cubicBezTo>
                  <a:lnTo>
                    <a:pt x="1013" y="732"/>
                  </a:lnTo>
                  <a:cubicBezTo>
                    <a:pt x="1038" y="766"/>
                    <a:pt x="1062" y="795"/>
                    <a:pt x="1076" y="810"/>
                  </a:cubicBezTo>
                  <a:cubicBezTo>
                    <a:pt x="1078" y="812"/>
                    <a:pt x="1080" y="812"/>
                    <a:pt x="1081" y="812"/>
                  </a:cubicBezTo>
                  <a:cubicBezTo>
                    <a:pt x="1110" y="812"/>
                    <a:pt x="875" y="405"/>
                    <a:pt x="875" y="405"/>
                  </a:cubicBezTo>
                  <a:lnTo>
                    <a:pt x="875" y="405"/>
                  </a:lnTo>
                  <a:cubicBezTo>
                    <a:pt x="875" y="405"/>
                    <a:pt x="956" y="486"/>
                    <a:pt x="995" y="486"/>
                  </a:cubicBezTo>
                  <a:cubicBezTo>
                    <a:pt x="1008" y="486"/>
                    <a:pt x="995" y="457"/>
                    <a:pt x="995" y="431"/>
                  </a:cubicBezTo>
                  <a:lnTo>
                    <a:pt x="995" y="431"/>
                  </a:lnTo>
                  <a:cubicBezTo>
                    <a:pt x="1037" y="499"/>
                    <a:pt x="1144" y="632"/>
                    <a:pt x="1170" y="661"/>
                  </a:cubicBezTo>
                  <a:cubicBezTo>
                    <a:pt x="1171" y="662"/>
                    <a:pt x="1173" y="663"/>
                    <a:pt x="1173" y="663"/>
                  </a:cubicBezTo>
                  <a:cubicBezTo>
                    <a:pt x="1183" y="663"/>
                    <a:pt x="1050" y="470"/>
                    <a:pt x="1050" y="470"/>
                  </a:cubicBezTo>
                  <a:lnTo>
                    <a:pt x="1050" y="470"/>
                  </a:lnTo>
                  <a:cubicBezTo>
                    <a:pt x="1050" y="470"/>
                    <a:pt x="1374" y="755"/>
                    <a:pt x="1413" y="781"/>
                  </a:cubicBezTo>
                  <a:cubicBezTo>
                    <a:pt x="1415" y="782"/>
                    <a:pt x="1416" y="783"/>
                    <a:pt x="1417" y="783"/>
                  </a:cubicBezTo>
                  <a:cubicBezTo>
                    <a:pt x="1437" y="783"/>
                    <a:pt x="1142" y="495"/>
                    <a:pt x="1057" y="409"/>
                  </a:cubicBezTo>
                  <a:lnTo>
                    <a:pt x="1057" y="409"/>
                  </a:lnTo>
                  <a:cubicBezTo>
                    <a:pt x="1084" y="435"/>
                    <a:pt x="1135" y="474"/>
                    <a:pt x="1186" y="486"/>
                  </a:cubicBezTo>
                  <a:cubicBezTo>
                    <a:pt x="1225" y="486"/>
                    <a:pt x="1076" y="376"/>
                    <a:pt x="969" y="295"/>
                  </a:cubicBezTo>
                  <a:cubicBezTo>
                    <a:pt x="969" y="295"/>
                    <a:pt x="956" y="295"/>
                    <a:pt x="956" y="282"/>
                  </a:cubicBezTo>
                  <a:lnTo>
                    <a:pt x="956" y="282"/>
                  </a:lnTo>
                  <a:cubicBezTo>
                    <a:pt x="969" y="295"/>
                    <a:pt x="995" y="308"/>
                    <a:pt x="1008" y="308"/>
                  </a:cubicBezTo>
                  <a:cubicBezTo>
                    <a:pt x="1016" y="313"/>
                    <a:pt x="1022" y="315"/>
                    <a:pt x="1025" y="315"/>
                  </a:cubicBezTo>
                  <a:cubicBezTo>
                    <a:pt x="1048" y="315"/>
                    <a:pt x="956" y="201"/>
                    <a:pt x="956" y="201"/>
                  </a:cubicBezTo>
                  <a:lnTo>
                    <a:pt x="956" y="201"/>
                  </a:lnTo>
                  <a:cubicBezTo>
                    <a:pt x="956" y="201"/>
                    <a:pt x="1293" y="444"/>
                    <a:pt x="1332" y="457"/>
                  </a:cubicBezTo>
                  <a:cubicBezTo>
                    <a:pt x="1368" y="457"/>
                    <a:pt x="1187" y="330"/>
                    <a:pt x="1133" y="292"/>
                  </a:cubicBezTo>
                  <a:lnTo>
                    <a:pt x="1133" y="292"/>
                  </a:lnTo>
                  <a:cubicBezTo>
                    <a:pt x="1153" y="305"/>
                    <a:pt x="1192" y="324"/>
                    <a:pt x="1238" y="324"/>
                  </a:cubicBezTo>
                  <a:cubicBezTo>
                    <a:pt x="1241" y="325"/>
                    <a:pt x="1242" y="325"/>
                    <a:pt x="1244" y="325"/>
                  </a:cubicBezTo>
                  <a:cubicBezTo>
                    <a:pt x="1260" y="325"/>
                    <a:pt x="1113" y="240"/>
                    <a:pt x="1037" y="188"/>
                  </a:cubicBezTo>
                  <a:lnTo>
                    <a:pt x="1037" y="188"/>
                  </a:lnTo>
                  <a:cubicBezTo>
                    <a:pt x="1037" y="188"/>
                    <a:pt x="1063" y="201"/>
                    <a:pt x="1076" y="201"/>
                  </a:cubicBezTo>
                  <a:cubicBezTo>
                    <a:pt x="1144" y="201"/>
                    <a:pt x="765" y="0"/>
                    <a:pt x="765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8" name="Google Shape;1118;p38"/>
            <p:cNvSpPr/>
            <p:nvPr/>
          </p:nvSpPr>
          <p:spPr>
            <a:xfrm>
              <a:off x="1620875" y="1436275"/>
              <a:ext cx="675" cy="2050"/>
            </a:xfrm>
            <a:custGeom>
              <a:avLst/>
              <a:gdLst/>
              <a:ahLst/>
              <a:cxnLst/>
              <a:rect l="l" t="t" r="r" b="b"/>
              <a:pathLst>
                <a:path w="27" h="82" extrusionOk="0">
                  <a:moveTo>
                    <a:pt x="1" y="0"/>
                  </a:moveTo>
                  <a:cubicBezTo>
                    <a:pt x="1" y="52"/>
                    <a:pt x="14" y="81"/>
                    <a:pt x="14" y="81"/>
                  </a:cubicBezTo>
                  <a:cubicBezTo>
                    <a:pt x="27" y="81"/>
                    <a:pt x="14" y="39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9" name="Google Shape;1119;p38"/>
            <p:cNvSpPr/>
            <p:nvPr/>
          </p:nvSpPr>
          <p:spPr>
            <a:xfrm>
              <a:off x="1619175" y="1441600"/>
              <a:ext cx="775" cy="2125"/>
            </a:xfrm>
            <a:custGeom>
              <a:avLst/>
              <a:gdLst/>
              <a:ahLst/>
              <a:cxnLst/>
              <a:rect l="l" t="t" r="r" b="b"/>
              <a:pathLst>
                <a:path w="31" h="85" extrusionOk="0">
                  <a:moveTo>
                    <a:pt x="30" y="1"/>
                  </a:moveTo>
                  <a:cubicBezTo>
                    <a:pt x="18" y="32"/>
                    <a:pt x="8" y="70"/>
                    <a:pt x="3" y="81"/>
                  </a:cubicBezTo>
                  <a:lnTo>
                    <a:pt x="3" y="81"/>
                  </a:lnTo>
                  <a:cubicBezTo>
                    <a:pt x="14" y="76"/>
                    <a:pt x="15" y="40"/>
                    <a:pt x="30" y="1"/>
                  </a:cubicBezTo>
                  <a:close/>
                  <a:moveTo>
                    <a:pt x="3" y="81"/>
                  </a:moveTo>
                  <a:cubicBezTo>
                    <a:pt x="3" y="82"/>
                    <a:pt x="2" y="82"/>
                    <a:pt x="1" y="82"/>
                  </a:cubicBezTo>
                  <a:cubicBezTo>
                    <a:pt x="1" y="84"/>
                    <a:pt x="1" y="85"/>
                    <a:pt x="1" y="85"/>
                  </a:cubicBezTo>
                  <a:cubicBezTo>
                    <a:pt x="2" y="85"/>
                    <a:pt x="3" y="84"/>
                    <a:pt x="3" y="8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0" name="Google Shape;1120;p38"/>
            <p:cNvSpPr/>
            <p:nvPr/>
          </p:nvSpPr>
          <p:spPr>
            <a:xfrm>
              <a:off x="1599350" y="1428475"/>
              <a:ext cx="42125" cy="32225"/>
            </a:xfrm>
            <a:custGeom>
              <a:avLst/>
              <a:gdLst/>
              <a:ahLst/>
              <a:cxnLst/>
              <a:rect l="l" t="t" r="r" b="b"/>
              <a:pathLst>
                <a:path w="1685" h="1289" extrusionOk="0">
                  <a:moveTo>
                    <a:pt x="836" y="432"/>
                  </a:moveTo>
                  <a:cubicBezTo>
                    <a:pt x="836" y="432"/>
                    <a:pt x="836" y="445"/>
                    <a:pt x="849" y="445"/>
                  </a:cubicBezTo>
                  <a:cubicBezTo>
                    <a:pt x="849" y="432"/>
                    <a:pt x="836" y="432"/>
                    <a:pt x="836" y="432"/>
                  </a:cubicBezTo>
                  <a:close/>
                  <a:moveTo>
                    <a:pt x="849" y="406"/>
                  </a:moveTo>
                  <a:lnTo>
                    <a:pt x="849" y="432"/>
                  </a:lnTo>
                  <a:lnTo>
                    <a:pt x="849" y="445"/>
                  </a:lnTo>
                  <a:cubicBezTo>
                    <a:pt x="836" y="461"/>
                    <a:pt x="836" y="474"/>
                    <a:pt x="836" y="487"/>
                  </a:cubicBezTo>
                  <a:lnTo>
                    <a:pt x="836" y="432"/>
                  </a:lnTo>
                  <a:cubicBezTo>
                    <a:pt x="836" y="419"/>
                    <a:pt x="836" y="406"/>
                    <a:pt x="849" y="406"/>
                  </a:cubicBezTo>
                  <a:close/>
                  <a:moveTo>
                    <a:pt x="917" y="270"/>
                  </a:moveTo>
                  <a:lnTo>
                    <a:pt x="917" y="270"/>
                  </a:lnTo>
                  <a:cubicBezTo>
                    <a:pt x="985" y="351"/>
                    <a:pt x="1066" y="461"/>
                    <a:pt x="1118" y="513"/>
                  </a:cubicBezTo>
                  <a:cubicBezTo>
                    <a:pt x="1037" y="445"/>
                    <a:pt x="917" y="338"/>
                    <a:pt x="875" y="312"/>
                  </a:cubicBezTo>
                  <a:lnTo>
                    <a:pt x="888" y="299"/>
                  </a:lnTo>
                  <a:cubicBezTo>
                    <a:pt x="904" y="312"/>
                    <a:pt x="943" y="325"/>
                    <a:pt x="956" y="351"/>
                  </a:cubicBezTo>
                  <a:cubicBezTo>
                    <a:pt x="958" y="353"/>
                    <a:pt x="959" y="353"/>
                    <a:pt x="959" y="353"/>
                  </a:cubicBezTo>
                  <a:cubicBezTo>
                    <a:pt x="962" y="353"/>
                    <a:pt x="940" y="318"/>
                    <a:pt x="917" y="270"/>
                  </a:cubicBezTo>
                  <a:close/>
                  <a:moveTo>
                    <a:pt x="768" y="299"/>
                  </a:moveTo>
                  <a:lnTo>
                    <a:pt x="768" y="299"/>
                  </a:lnTo>
                  <a:cubicBezTo>
                    <a:pt x="746" y="332"/>
                    <a:pt x="722" y="367"/>
                    <a:pt x="723" y="367"/>
                  </a:cubicBezTo>
                  <a:cubicBezTo>
                    <a:pt x="723" y="367"/>
                    <a:pt x="724" y="366"/>
                    <a:pt x="726" y="364"/>
                  </a:cubicBezTo>
                  <a:cubicBezTo>
                    <a:pt x="742" y="351"/>
                    <a:pt x="768" y="338"/>
                    <a:pt x="794" y="325"/>
                  </a:cubicBezTo>
                  <a:lnTo>
                    <a:pt x="794" y="325"/>
                  </a:lnTo>
                  <a:cubicBezTo>
                    <a:pt x="755" y="364"/>
                    <a:pt x="632" y="474"/>
                    <a:pt x="564" y="542"/>
                  </a:cubicBezTo>
                  <a:cubicBezTo>
                    <a:pt x="619" y="474"/>
                    <a:pt x="700" y="380"/>
                    <a:pt x="768" y="299"/>
                  </a:cubicBezTo>
                  <a:close/>
                  <a:moveTo>
                    <a:pt x="888" y="1"/>
                  </a:moveTo>
                  <a:cubicBezTo>
                    <a:pt x="888" y="1"/>
                    <a:pt x="375" y="257"/>
                    <a:pt x="426" y="257"/>
                  </a:cubicBezTo>
                  <a:cubicBezTo>
                    <a:pt x="428" y="257"/>
                    <a:pt x="429" y="257"/>
                    <a:pt x="431" y="257"/>
                  </a:cubicBezTo>
                  <a:lnTo>
                    <a:pt x="483" y="257"/>
                  </a:lnTo>
                  <a:cubicBezTo>
                    <a:pt x="382" y="309"/>
                    <a:pt x="209" y="407"/>
                    <a:pt x="233" y="407"/>
                  </a:cubicBezTo>
                  <a:cubicBezTo>
                    <a:pt x="235" y="407"/>
                    <a:pt x="237" y="407"/>
                    <a:pt x="240" y="406"/>
                  </a:cubicBezTo>
                  <a:cubicBezTo>
                    <a:pt x="321" y="406"/>
                    <a:pt x="389" y="364"/>
                    <a:pt x="389" y="364"/>
                  </a:cubicBezTo>
                  <a:lnTo>
                    <a:pt x="389" y="364"/>
                  </a:lnTo>
                  <a:cubicBezTo>
                    <a:pt x="389" y="364"/>
                    <a:pt x="97" y="556"/>
                    <a:pt x="129" y="556"/>
                  </a:cubicBezTo>
                  <a:cubicBezTo>
                    <a:pt x="130" y="556"/>
                    <a:pt x="131" y="555"/>
                    <a:pt x="133" y="555"/>
                  </a:cubicBezTo>
                  <a:cubicBezTo>
                    <a:pt x="188" y="542"/>
                    <a:pt x="564" y="270"/>
                    <a:pt x="564" y="270"/>
                  </a:cubicBezTo>
                  <a:lnTo>
                    <a:pt x="564" y="270"/>
                  </a:lnTo>
                  <a:cubicBezTo>
                    <a:pt x="564" y="270"/>
                    <a:pt x="446" y="412"/>
                    <a:pt x="491" y="412"/>
                  </a:cubicBezTo>
                  <a:cubicBezTo>
                    <a:pt x="496" y="412"/>
                    <a:pt x="503" y="410"/>
                    <a:pt x="512" y="406"/>
                  </a:cubicBezTo>
                  <a:cubicBezTo>
                    <a:pt x="538" y="380"/>
                    <a:pt x="580" y="351"/>
                    <a:pt x="619" y="312"/>
                  </a:cubicBezTo>
                  <a:lnTo>
                    <a:pt x="619" y="312"/>
                  </a:lnTo>
                  <a:cubicBezTo>
                    <a:pt x="593" y="338"/>
                    <a:pt x="580" y="364"/>
                    <a:pt x="564" y="380"/>
                  </a:cubicBezTo>
                  <a:cubicBezTo>
                    <a:pt x="431" y="461"/>
                    <a:pt x="240" y="594"/>
                    <a:pt x="308" y="594"/>
                  </a:cubicBezTo>
                  <a:cubicBezTo>
                    <a:pt x="376" y="568"/>
                    <a:pt x="457" y="500"/>
                    <a:pt x="470" y="487"/>
                  </a:cubicBezTo>
                  <a:lnTo>
                    <a:pt x="470" y="487"/>
                  </a:lnTo>
                  <a:cubicBezTo>
                    <a:pt x="432" y="525"/>
                    <a:pt x="0" y="932"/>
                    <a:pt x="22" y="932"/>
                  </a:cubicBezTo>
                  <a:cubicBezTo>
                    <a:pt x="23" y="932"/>
                    <a:pt x="24" y="932"/>
                    <a:pt x="26" y="931"/>
                  </a:cubicBezTo>
                  <a:cubicBezTo>
                    <a:pt x="94" y="905"/>
                    <a:pt x="457" y="568"/>
                    <a:pt x="457" y="568"/>
                  </a:cubicBezTo>
                  <a:lnTo>
                    <a:pt x="457" y="568"/>
                  </a:lnTo>
                  <a:cubicBezTo>
                    <a:pt x="457" y="568"/>
                    <a:pt x="305" y="802"/>
                    <a:pt x="316" y="802"/>
                  </a:cubicBezTo>
                  <a:cubicBezTo>
                    <a:pt x="317" y="802"/>
                    <a:pt x="318" y="801"/>
                    <a:pt x="321" y="798"/>
                  </a:cubicBezTo>
                  <a:cubicBezTo>
                    <a:pt x="350" y="769"/>
                    <a:pt x="483" y="607"/>
                    <a:pt x="525" y="526"/>
                  </a:cubicBezTo>
                  <a:lnTo>
                    <a:pt x="525" y="526"/>
                  </a:lnTo>
                  <a:cubicBezTo>
                    <a:pt x="512" y="555"/>
                    <a:pt x="512" y="594"/>
                    <a:pt x="512" y="594"/>
                  </a:cubicBezTo>
                  <a:cubicBezTo>
                    <a:pt x="564" y="594"/>
                    <a:pt x="661" y="500"/>
                    <a:pt x="661" y="500"/>
                  </a:cubicBezTo>
                  <a:lnTo>
                    <a:pt x="661" y="500"/>
                  </a:lnTo>
                  <a:cubicBezTo>
                    <a:pt x="661" y="500"/>
                    <a:pt x="384" y="975"/>
                    <a:pt x="413" y="975"/>
                  </a:cubicBezTo>
                  <a:cubicBezTo>
                    <a:pt x="414" y="975"/>
                    <a:pt x="416" y="974"/>
                    <a:pt x="418" y="973"/>
                  </a:cubicBezTo>
                  <a:cubicBezTo>
                    <a:pt x="457" y="947"/>
                    <a:pt x="525" y="837"/>
                    <a:pt x="580" y="769"/>
                  </a:cubicBezTo>
                  <a:lnTo>
                    <a:pt x="580" y="769"/>
                  </a:lnTo>
                  <a:cubicBezTo>
                    <a:pt x="489" y="921"/>
                    <a:pt x="283" y="1289"/>
                    <a:pt x="302" y="1289"/>
                  </a:cubicBezTo>
                  <a:cubicBezTo>
                    <a:pt x="303" y="1289"/>
                    <a:pt x="305" y="1287"/>
                    <a:pt x="308" y="1284"/>
                  </a:cubicBezTo>
                  <a:cubicBezTo>
                    <a:pt x="389" y="1203"/>
                    <a:pt x="742" y="555"/>
                    <a:pt x="742" y="555"/>
                  </a:cubicBezTo>
                  <a:lnTo>
                    <a:pt x="742" y="555"/>
                  </a:lnTo>
                  <a:cubicBezTo>
                    <a:pt x="742" y="555"/>
                    <a:pt x="656" y="732"/>
                    <a:pt x="670" y="732"/>
                  </a:cubicBezTo>
                  <a:cubicBezTo>
                    <a:pt x="671" y="732"/>
                    <a:pt x="672" y="732"/>
                    <a:pt x="674" y="730"/>
                  </a:cubicBezTo>
                  <a:cubicBezTo>
                    <a:pt x="698" y="718"/>
                    <a:pt x="772" y="585"/>
                    <a:pt x="826" y="502"/>
                  </a:cubicBezTo>
                  <a:lnTo>
                    <a:pt x="826" y="502"/>
                  </a:lnTo>
                  <a:cubicBezTo>
                    <a:pt x="823" y="510"/>
                    <a:pt x="823" y="518"/>
                    <a:pt x="823" y="526"/>
                  </a:cubicBezTo>
                  <a:cubicBezTo>
                    <a:pt x="836" y="500"/>
                    <a:pt x="836" y="474"/>
                    <a:pt x="849" y="461"/>
                  </a:cubicBezTo>
                  <a:cubicBezTo>
                    <a:pt x="849" y="461"/>
                    <a:pt x="849" y="461"/>
                    <a:pt x="849" y="461"/>
                  </a:cubicBezTo>
                  <a:lnTo>
                    <a:pt x="849" y="461"/>
                  </a:lnTo>
                  <a:cubicBezTo>
                    <a:pt x="849" y="474"/>
                    <a:pt x="862" y="487"/>
                    <a:pt x="862" y="500"/>
                  </a:cubicBezTo>
                  <a:cubicBezTo>
                    <a:pt x="862" y="495"/>
                    <a:pt x="862" y="490"/>
                    <a:pt x="861" y="485"/>
                  </a:cubicBezTo>
                  <a:lnTo>
                    <a:pt x="861" y="485"/>
                  </a:lnTo>
                  <a:cubicBezTo>
                    <a:pt x="905" y="568"/>
                    <a:pt x="986" y="691"/>
                    <a:pt x="998" y="717"/>
                  </a:cubicBezTo>
                  <a:cubicBezTo>
                    <a:pt x="999" y="717"/>
                    <a:pt x="1000" y="718"/>
                    <a:pt x="1001" y="718"/>
                  </a:cubicBezTo>
                  <a:cubicBezTo>
                    <a:pt x="1031" y="718"/>
                    <a:pt x="943" y="542"/>
                    <a:pt x="943" y="542"/>
                  </a:cubicBezTo>
                  <a:lnTo>
                    <a:pt x="943" y="542"/>
                  </a:lnTo>
                  <a:cubicBezTo>
                    <a:pt x="943" y="542"/>
                    <a:pt x="1293" y="1190"/>
                    <a:pt x="1374" y="1255"/>
                  </a:cubicBezTo>
                  <a:cubicBezTo>
                    <a:pt x="1377" y="1258"/>
                    <a:pt x="1380" y="1260"/>
                    <a:pt x="1381" y="1260"/>
                  </a:cubicBezTo>
                  <a:cubicBezTo>
                    <a:pt x="1401" y="1260"/>
                    <a:pt x="1193" y="895"/>
                    <a:pt x="1105" y="743"/>
                  </a:cubicBezTo>
                  <a:lnTo>
                    <a:pt x="1105" y="743"/>
                  </a:lnTo>
                  <a:cubicBezTo>
                    <a:pt x="1147" y="811"/>
                    <a:pt x="1212" y="918"/>
                    <a:pt x="1254" y="960"/>
                  </a:cubicBezTo>
                  <a:cubicBezTo>
                    <a:pt x="1256" y="961"/>
                    <a:pt x="1258" y="962"/>
                    <a:pt x="1260" y="962"/>
                  </a:cubicBezTo>
                  <a:cubicBezTo>
                    <a:pt x="1301" y="962"/>
                    <a:pt x="1024" y="474"/>
                    <a:pt x="1024" y="474"/>
                  </a:cubicBezTo>
                  <a:lnTo>
                    <a:pt x="1024" y="474"/>
                  </a:lnTo>
                  <a:cubicBezTo>
                    <a:pt x="1024" y="474"/>
                    <a:pt x="1118" y="568"/>
                    <a:pt x="1160" y="581"/>
                  </a:cubicBezTo>
                  <a:lnTo>
                    <a:pt x="1173" y="568"/>
                  </a:lnTo>
                  <a:cubicBezTo>
                    <a:pt x="1173" y="568"/>
                    <a:pt x="1160" y="542"/>
                    <a:pt x="1160" y="513"/>
                  </a:cubicBezTo>
                  <a:lnTo>
                    <a:pt x="1160" y="513"/>
                  </a:lnTo>
                  <a:cubicBezTo>
                    <a:pt x="1199" y="581"/>
                    <a:pt x="1335" y="756"/>
                    <a:pt x="1361" y="785"/>
                  </a:cubicBezTo>
                  <a:cubicBezTo>
                    <a:pt x="1363" y="786"/>
                    <a:pt x="1364" y="787"/>
                    <a:pt x="1366" y="787"/>
                  </a:cubicBezTo>
                  <a:cubicBezTo>
                    <a:pt x="1387" y="787"/>
                    <a:pt x="1228" y="555"/>
                    <a:pt x="1228" y="555"/>
                  </a:cubicBezTo>
                  <a:lnTo>
                    <a:pt x="1228" y="555"/>
                  </a:lnTo>
                  <a:cubicBezTo>
                    <a:pt x="1228" y="555"/>
                    <a:pt x="1591" y="892"/>
                    <a:pt x="1659" y="918"/>
                  </a:cubicBezTo>
                  <a:cubicBezTo>
                    <a:pt x="1661" y="919"/>
                    <a:pt x="1662" y="919"/>
                    <a:pt x="1663" y="919"/>
                  </a:cubicBezTo>
                  <a:cubicBezTo>
                    <a:pt x="1685" y="919"/>
                    <a:pt x="1253" y="512"/>
                    <a:pt x="1212" y="474"/>
                  </a:cubicBezTo>
                  <a:lnTo>
                    <a:pt x="1212" y="474"/>
                  </a:lnTo>
                  <a:cubicBezTo>
                    <a:pt x="1228" y="487"/>
                    <a:pt x="1309" y="555"/>
                    <a:pt x="1374" y="568"/>
                  </a:cubicBezTo>
                  <a:cubicBezTo>
                    <a:pt x="1376" y="569"/>
                    <a:pt x="1378" y="569"/>
                    <a:pt x="1380" y="569"/>
                  </a:cubicBezTo>
                  <a:cubicBezTo>
                    <a:pt x="1413" y="569"/>
                    <a:pt x="1248" y="441"/>
                    <a:pt x="1131" y="364"/>
                  </a:cubicBezTo>
                  <a:cubicBezTo>
                    <a:pt x="1118" y="351"/>
                    <a:pt x="1118" y="351"/>
                    <a:pt x="1118" y="338"/>
                  </a:cubicBezTo>
                  <a:lnTo>
                    <a:pt x="1118" y="338"/>
                  </a:lnTo>
                  <a:cubicBezTo>
                    <a:pt x="1131" y="351"/>
                    <a:pt x="1160" y="364"/>
                    <a:pt x="1173" y="380"/>
                  </a:cubicBezTo>
                  <a:cubicBezTo>
                    <a:pt x="1182" y="384"/>
                    <a:pt x="1188" y="386"/>
                    <a:pt x="1192" y="386"/>
                  </a:cubicBezTo>
                  <a:cubicBezTo>
                    <a:pt x="1226" y="386"/>
                    <a:pt x="1118" y="257"/>
                    <a:pt x="1118" y="257"/>
                  </a:cubicBezTo>
                  <a:lnTo>
                    <a:pt x="1118" y="257"/>
                  </a:lnTo>
                  <a:cubicBezTo>
                    <a:pt x="1118" y="257"/>
                    <a:pt x="1497" y="526"/>
                    <a:pt x="1552" y="542"/>
                  </a:cubicBezTo>
                  <a:cubicBezTo>
                    <a:pt x="1553" y="542"/>
                    <a:pt x="1554" y="543"/>
                    <a:pt x="1555" y="543"/>
                  </a:cubicBezTo>
                  <a:cubicBezTo>
                    <a:pt x="1573" y="543"/>
                    <a:pt x="1293" y="351"/>
                    <a:pt x="1293" y="351"/>
                  </a:cubicBezTo>
                  <a:lnTo>
                    <a:pt x="1293" y="351"/>
                  </a:lnTo>
                  <a:cubicBezTo>
                    <a:pt x="1293" y="351"/>
                    <a:pt x="1361" y="380"/>
                    <a:pt x="1442" y="393"/>
                  </a:cubicBezTo>
                  <a:cubicBezTo>
                    <a:pt x="1445" y="394"/>
                    <a:pt x="1447" y="394"/>
                    <a:pt x="1449" y="394"/>
                  </a:cubicBezTo>
                  <a:cubicBezTo>
                    <a:pt x="1475" y="394"/>
                    <a:pt x="1319" y="305"/>
                    <a:pt x="1214" y="241"/>
                  </a:cubicBezTo>
                  <a:lnTo>
                    <a:pt x="1214" y="241"/>
                  </a:lnTo>
                  <a:cubicBezTo>
                    <a:pt x="1225" y="244"/>
                    <a:pt x="1237" y="244"/>
                    <a:pt x="1254" y="244"/>
                  </a:cubicBezTo>
                  <a:cubicBezTo>
                    <a:pt x="1335" y="244"/>
                    <a:pt x="888" y="1"/>
                    <a:pt x="888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1" name="Google Shape;1121;p38"/>
            <p:cNvSpPr/>
            <p:nvPr/>
          </p:nvSpPr>
          <p:spPr>
            <a:xfrm>
              <a:off x="1620875" y="1440975"/>
              <a:ext cx="675" cy="2350"/>
            </a:xfrm>
            <a:custGeom>
              <a:avLst/>
              <a:gdLst/>
              <a:ahLst/>
              <a:cxnLst/>
              <a:rect l="l" t="t" r="r" b="b"/>
              <a:pathLst>
                <a:path w="27" h="94" extrusionOk="0">
                  <a:moveTo>
                    <a:pt x="1" y="0"/>
                  </a:moveTo>
                  <a:cubicBezTo>
                    <a:pt x="14" y="55"/>
                    <a:pt x="14" y="94"/>
                    <a:pt x="27" y="94"/>
                  </a:cubicBezTo>
                  <a:cubicBezTo>
                    <a:pt x="27" y="94"/>
                    <a:pt x="14" y="55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2" name="Google Shape;1122;p38"/>
            <p:cNvSpPr/>
            <p:nvPr/>
          </p:nvSpPr>
          <p:spPr>
            <a:xfrm>
              <a:off x="1613425" y="1432525"/>
              <a:ext cx="16225" cy="30225"/>
            </a:xfrm>
            <a:custGeom>
              <a:avLst/>
              <a:gdLst/>
              <a:ahLst/>
              <a:cxnLst/>
              <a:rect l="l" t="t" r="r" b="b"/>
              <a:pathLst>
                <a:path w="649" h="1209" extrusionOk="0">
                  <a:moveTo>
                    <a:pt x="299" y="487"/>
                  </a:moveTo>
                  <a:cubicBezTo>
                    <a:pt x="299" y="487"/>
                    <a:pt x="299" y="487"/>
                    <a:pt x="299" y="487"/>
                  </a:cubicBezTo>
                  <a:cubicBezTo>
                    <a:pt x="299" y="487"/>
                    <a:pt x="299" y="487"/>
                    <a:pt x="298" y="487"/>
                  </a:cubicBezTo>
                  <a:lnTo>
                    <a:pt x="298" y="487"/>
                  </a:lnTo>
                  <a:cubicBezTo>
                    <a:pt x="299" y="487"/>
                    <a:pt x="299" y="487"/>
                    <a:pt x="299" y="487"/>
                  </a:cubicBezTo>
                  <a:close/>
                  <a:moveTo>
                    <a:pt x="260" y="1"/>
                  </a:moveTo>
                  <a:lnTo>
                    <a:pt x="163" y="338"/>
                  </a:lnTo>
                  <a:lnTo>
                    <a:pt x="1" y="1041"/>
                  </a:lnTo>
                  <a:lnTo>
                    <a:pt x="231" y="445"/>
                  </a:lnTo>
                  <a:lnTo>
                    <a:pt x="231" y="445"/>
                  </a:lnTo>
                  <a:cubicBezTo>
                    <a:pt x="231" y="445"/>
                    <a:pt x="150" y="730"/>
                    <a:pt x="150" y="850"/>
                  </a:cubicBezTo>
                  <a:cubicBezTo>
                    <a:pt x="150" y="863"/>
                    <a:pt x="152" y="869"/>
                    <a:pt x="155" y="869"/>
                  </a:cubicBezTo>
                  <a:cubicBezTo>
                    <a:pt x="179" y="869"/>
                    <a:pt x="282" y="530"/>
                    <a:pt x="297" y="490"/>
                  </a:cubicBezTo>
                  <a:lnTo>
                    <a:pt x="297" y="490"/>
                  </a:lnTo>
                  <a:cubicBezTo>
                    <a:pt x="282" y="544"/>
                    <a:pt x="225" y="1209"/>
                    <a:pt x="241" y="1209"/>
                  </a:cubicBezTo>
                  <a:cubicBezTo>
                    <a:pt x="242" y="1209"/>
                    <a:pt x="243" y="1207"/>
                    <a:pt x="244" y="1203"/>
                  </a:cubicBezTo>
                  <a:cubicBezTo>
                    <a:pt x="260" y="1122"/>
                    <a:pt x="312" y="542"/>
                    <a:pt x="312" y="542"/>
                  </a:cubicBezTo>
                  <a:cubicBezTo>
                    <a:pt x="312" y="542"/>
                    <a:pt x="422" y="905"/>
                    <a:pt x="448" y="931"/>
                  </a:cubicBezTo>
                  <a:cubicBezTo>
                    <a:pt x="449" y="932"/>
                    <a:pt x="450" y="932"/>
                    <a:pt x="450" y="932"/>
                  </a:cubicBezTo>
                  <a:cubicBezTo>
                    <a:pt x="468" y="932"/>
                    <a:pt x="380" y="526"/>
                    <a:pt x="380" y="526"/>
                  </a:cubicBezTo>
                  <a:lnTo>
                    <a:pt x="380" y="526"/>
                  </a:lnTo>
                  <a:cubicBezTo>
                    <a:pt x="380" y="526"/>
                    <a:pt x="610" y="1028"/>
                    <a:pt x="623" y="1028"/>
                  </a:cubicBezTo>
                  <a:cubicBezTo>
                    <a:pt x="649" y="1028"/>
                    <a:pt x="260" y="1"/>
                    <a:pt x="26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3" name="Google Shape;1123;p38"/>
            <p:cNvSpPr/>
            <p:nvPr/>
          </p:nvSpPr>
          <p:spPr>
            <a:xfrm>
              <a:off x="1615325" y="1414950"/>
              <a:ext cx="9950" cy="5625"/>
            </a:xfrm>
            <a:custGeom>
              <a:avLst/>
              <a:gdLst/>
              <a:ahLst/>
              <a:cxnLst/>
              <a:rect l="l" t="t" r="r" b="b"/>
              <a:pathLst>
                <a:path w="398" h="225" extrusionOk="0">
                  <a:moveTo>
                    <a:pt x="89" y="82"/>
                  </a:moveTo>
                  <a:cubicBezTo>
                    <a:pt x="88" y="82"/>
                    <a:pt x="87" y="82"/>
                    <a:pt x="87" y="82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7" y="83"/>
                    <a:pt x="89" y="82"/>
                  </a:cubicBezTo>
                  <a:close/>
                  <a:moveTo>
                    <a:pt x="210" y="1"/>
                  </a:moveTo>
                  <a:cubicBezTo>
                    <a:pt x="210" y="1"/>
                    <a:pt x="108" y="71"/>
                    <a:pt x="89" y="82"/>
                  </a:cubicBezTo>
                  <a:lnTo>
                    <a:pt x="89" y="82"/>
                  </a:lnTo>
                  <a:cubicBezTo>
                    <a:pt x="109" y="80"/>
                    <a:pt x="184" y="56"/>
                    <a:pt x="184" y="56"/>
                  </a:cubicBezTo>
                  <a:lnTo>
                    <a:pt x="184" y="56"/>
                  </a:lnTo>
                  <a:cubicBezTo>
                    <a:pt x="184" y="56"/>
                    <a:pt x="0" y="164"/>
                    <a:pt x="17" y="164"/>
                  </a:cubicBezTo>
                  <a:cubicBezTo>
                    <a:pt x="18" y="164"/>
                    <a:pt x="20" y="164"/>
                    <a:pt x="22" y="163"/>
                  </a:cubicBezTo>
                  <a:cubicBezTo>
                    <a:pt x="48" y="150"/>
                    <a:pt x="168" y="111"/>
                    <a:pt x="168" y="111"/>
                  </a:cubicBezTo>
                  <a:lnTo>
                    <a:pt x="168" y="111"/>
                  </a:lnTo>
                  <a:cubicBezTo>
                    <a:pt x="168" y="111"/>
                    <a:pt x="1" y="225"/>
                    <a:pt x="18" y="225"/>
                  </a:cubicBezTo>
                  <a:cubicBezTo>
                    <a:pt x="20" y="225"/>
                    <a:pt x="25" y="223"/>
                    <a:pt x="35" y="218"/>
                  </a:cubicBezTo>
                  <a:cubicBezTo>
                    <a:pt x="103" y="192"/>
                    <a:pt x="223" y="111"/>
                    <a:pt x="223" y="111"/>
                  </a:cubicBezTo>
                  <a:cubicBezTo>
                    <a:pt x="223" y="111"/>
                    <a:pt x="367" y="206"/>
                    <a:pt x="383" y="206"/>
                  </a:cubicBezTo>
                  <a:cubicBezTo>
                    <a:pt x="384" y="206"/>
                    <a:pt x="385" y="206"/>
                    <a:pt x="385" y="205"/>
                  </a:cubicBezTo>
                  <a:cubicBezTo>
                    <a:pt x="398" y="205"/>
                    <a:pt x="249" y="95"/>
                    <a:pt x="249" y="95"/>
                  </a:cubicBezTo>
                  <a:lnTo>
                    <a:pt x="249" y="95"/>
                  </a:lnTo>
                  <a:cubicBezTo>
                    <a:pt x="249" y="95"/>
                    <a:pt x="341" y="127"/>
                    <a:pt x="366" y="127"/>
                  </a:cubicBezTo>
                  <a:cubicBezTo>
                    <a:pt x="370" y="127"/>
                    <a:pt x="372" y="126"/>
                    <a:pt x="372" y="124"/>
                  </a:cubicBezTo>
                  <a:cubicBezTo>
                    <a:pt x="372" y="114"/>
                    <a:pt x="317" y="95"/>
                    <a:pt x="291" y="86"/>
                  </a:cubicBezTo>
                  <a:lnTo>
                    <a:pt x="291" y="86"/>
                  </a:lnTo>
                  <a:cubicBezTo>
                    <a:pt x="304" y="90"/>
                    <a:pt x="323" y="95"/>
                    <a:pt x="338" y="95"/>
                  </a:cubicBezTo>
                  <a:cubicBezTo>
                    <a:pt x="350" y="95"/>
                    <a:pt x="359" y="92"/>
                    <a:pt x="359" y="82"/>
                  </a:cubicBezTo>
                  <a:cubicBezTo>
                    <a:pt x="346" y="69"/>
                    <a:pt x="210" y="1"/>
                    <a:pt x="21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4" name="Google Shape;1124;p38"/>
            <p:cNvSpPr/>
            <p:nvPr/>
          </p:nvSpPr>
          <p:spPr>
            <a:xfrm>
              <a:off x="1588475" y="1442025"/>
              <a:ext cx="350" cy="1300"/>
            </a:xfrm>
            <a:custGeom>
              <a:avLst/>
              <a:gdLst/>
              <a:ahLst/>
              <a:cxnLst/>
              <a:rect l="l" t="t" r="r" b="b"/>
              <a:pathLst>
                <a:path w="14" h="52" extrusionOk="0">
                  <a:moveTo>
                    <a:pt x="1" y="52"/>
                  </a:moveTo>
                  <a:cubicBezTo>
                    <a:pt x="1" y="52"/>
                    <a:pt x="1" y="26"/>
                    <a:pt x="14" y="0"/>
                  </a:cubicBezTo>
                  <a:cubicBezTo>
                    <a:pt x="1" y="26"/>
                    <a:pt x="1" y="52"/>
                    <a:pt x="1" y="52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5" name="Google Shape;1125;p38"/>
            <p:cNvSpPr/>
            <p:nvPr/>
          </p:nvSpPr>
          <p:spPr>
            <a:xfrm>
              <a:off x="1577800" y="1434875"/>
              <a:ext cx="22725" cy="17675"/>
            </a:xfrm>
            <a:custGeom>
              <a:avLst/>
              <a:gdLst/>
              <a:ahLst/>
              <a:cxnLst/>
              <a:rect l="l" t="t" r="r" b="b"/>
              <a:pathLst>
                <a:path w="909" h="707" extrusionOk="0">
                  <a:moveTo>
                    <a:pt x="334" y="176"/>
                  </a:moveTo>
                  <a:lnTo>
                    <a:pt x="334" y="176"/>
                  </a:lnTo>
                  <a:cubicBezTo>
                    <a:pt x="322" y="188"/>
                    <a:pt x="311" y="202"/>
                    <a:pt x="297" y="205"/>
                  </a:cubicBezTo>
                  <a:lnTo>
                    <a:pt x="297" y="205"/>
                  </a:lnTo>
                  <a:cubicBezTo>
                    <a:pt x="308" y="195"/>
                    <a:pt x="320" y="183"/>
                    <a:pt x="334" y="176"/>
                  </a:cubicBezTo>
                  <a:close/>
                  <a:moveTo>
                    <a:pt x="496" y="150"/>
                  </a:moveTo>
                  <a:cubicBezTo>
                    <a:pt x="522" y="189"/>
                    <a:pt x="577" y="257"/>
                    <a:pt x="603" y="286"/>
                  </a:cubicBezTo>
                  <a:cubicBezTo>
                    <a:pt x="564" y="244"/>
                    <a:pt x="496" y="189"/>
                    <a:pt x="470" y="176"/>
                  </a:cubicBezTo>
                  <a:lnTo>
                    <a:pt x="470" y="163"/>
                  </a:lnTo>
                  <a:cubicBezTo>
                    <a:pt x="483" y="176"/>
                    <a:pt x="509" y="176"/>
                    <a:pt x="509" y="189"/>
                  </a:cubicBezTo>
                  <a:cubicBezTo>
                    <a:pt x="512" y="192"/>
                    <a:pt x="513" y="194"/>
                    <a:pt x="514" y="194"/>
                  </a:cubicBezTo>
                  <a:cubicBezTo>
                    <a:pt x="517" y="194"/>
                    <a:pt x="506" y="171"/>
                    <a:pt x="496" y="150"/>
                  </a:cubicBezTo>
                  <a:close/>
                  <a:moveTo>
                    <a:pt x="415" y="163"/>
                  </a:moveTo>
                  <a:lnTo>
                    <a:pt x="415" y="163"/>
                  </a:lnTo>
                  <a:cubicBezTo>
                    <a:pt x="393" y="185"/>
                    <a:pt x="379" y="208"/>
                    <a:pt x="383" y="208"/>
                  </a:cubicBezTo>
                  <a:cubicBezTo>
                    <a:pt x="384" y="208"/>
                    <a:pt x="386" y="207"/>
                    <a:pt x="389" y="205"/>
                  </a:cubicBezTo>
                  <a:cubicBezTo>
                    <a:pt x="402" y="189"/>
                    <a:pt x="415" y="189"/>
                    <a:pt x="428" y="176"/>
                  </a:cubicBezTo>
                  <a:lnTo>
                    <a:pt x="428" y="189"/>
                  </a:lnTo>
                  <a:cubicBezTo>
                    <a:pt x="402" y="205"/>
                    <a:pt x="334" y="257"/>
                    <a:pt x="308" y="299"/>
                  </a:cubicBezTo>
                  <a:cubicBezTo>
                    <a:pt x="334" y="257"/>
                    <a:pt x="373" y="205"/>
                    <a:pt x="415" y="163"/>
                  </a:cubicBezTo>
                  <a:close/>
                  <a:moveTo>
                    <a:pt x="483" y="1"/>
                  </a:moveTo>
                  <a:cubicBezTo>
                    <a:pt x="483" y="1"/>
                    <a:pt x="185" y="150"/>
                    <a:pt x="227" y="150"/>
                  </a:cubicBezTo>
                  <a:cubicBezTo>
                    <a:pt x="230" y="150"/>
                    <a:pt x="232" y="150"/>
                    <a:pt x="234" y="150"/>
                  </a:cubicBezTo>
                  <a:lnTo>
                    <a:pt x="234" y="150"/>
                  </a:lnTo>
                  <a:cubicBezTo>
                    <a:pt x="177" y="187"/>
                    <a:pt x="95" y="231"/>
                    <a:pt x="130" y="231"/>
                  </a:cubicBezTo>
                  <a:cubicBezTo>
                    <a:pt x="172" y="218"/>
                    <a:pt x="198" y="205"/>
                    <a:pt x="198" y="205"/>
                  </a:cubicBezTo>
                  <a:lnTo>
                    <a:pt x="198" y="205"/>
                  </a:lnTo>
                  <a:cubicBezTo>
                    <a:pt x="198" y="205"/>
                    <a:pt x="36" y="312"/>
                    <a:pt x="65" y="312"/>
                  </a:cubicBezTo>
                  <a:cubicBezTo>
                    <a:pt x="91" y="299"/>
                    <a:pt x="292" y="150"/>
                    <a:pt x="292" y="150"/>
                  </a:cubicBezTo>
                  <a:lnTo>
                    <a:pt x="292" y="150"/>
                  </a:lnTo>
                  <a:cubicBezTo>
                    <a:pt x="292" y="150"/>
                    <a:pt x="242" y="223"/>
                    <a:pt x="256" y="223"/>
                  </a:cubicBezTo>
                  <a:cubicBezTo>
                    <a:pt x="258" y="223"/>
                    <a:pt x="261" y="221"/>
                    <a:pt x="266" y="218"/>
                  </a:cubicBezTo>
                  <a:cubicBezTo>
                    <a:pt x="270" y="218"/>
                    <a:pt x="274" y="217"/>
                    <a:pt x="278" y="216"/>
                  </a:cubicBezTo>
                  <a:lnTo>
                    <a:pt x="278" y="216"/>
                  </a:lnTo>
                  <a:cubicBezTo>
                    <a:pt x="215" y="266"/>
                    <a:pt x="132" y="325"/>
                    <a:pt x="159" y="325"/>
                  </a:cubicBezTo>
                  <a:cubicBezTo>
                    <a:pt x="194" y="313"/>
                    <a:pt x="231" y="292"/>
                    <a:pt x="248" y="276"/>
                  </a:cubicBezTo>
                  <a:lnTo>
                    <a:pt x="248" y="276"/>
                  </a:lnTo>
                  <a:cubicBezTo>
                    <a:pt x="205" y="320"/>
                    <a:pt x="1" y="514"/>
                    <a:pt x="8" y="514"/>
                  </a:cubicBezTo>
                  <a:cubicBezTo>
                    <a:pt x="9" y="514"/>
                    <a:pt x="9" y="513"/>
                    <a:pt x="10" y="513"/>
                  </a:cubicBezTo>
                  <a:cubicBezTo>
                    <a:pt x="36" y="500"/>
                    <a:pt x="240" y="312"/>
                    <a:pt x="240" y="312"/>
                  </a:cubicBezTo>
                  <a:lnTo>
                    <a:pt x="240" y="312"/>
                  </a:lnTo>
                  <a:cubicBezTo>
                    <a:pt x="240" y="312"/>
                    <a:pt x="154" y="449"/>
                    <a:pt x="169" y="449"/>
                  </a:cubicBezTo>
                  <a:cubicBezTo>
                    <a:pt x="170" y="449"/>
                    <a:pt x="171" y="449"/>
                    <a:pt x="172" y="448"/>
                  </a:cubicBezTo>
                  <a:cubicBezTo>
                    <a:pt x="185" y="419"/>
                    <a:pt x="253" y="338"/>
                    <a:pt x="279" y="299"/>
                  </a:cubicBezTo>
                  <a:lnTo>
                    <a:pt x="279" y="299"/>
                  </a:lnTo>
                  <a:cubicBezTo>
                    <a:pt x="279" y="312"/>
                    <a:pt x="266" y="325"/>
                    <a:pt x="266" y="325"/>
                  </a:cubicBezTo>
                  <a:lnTo>
                    <a:pt x="279" y="325"/>
                  </a:lnTo>
                  <a:cubicBezTo>
                    <a:pt x="292" y="325"/>
                    <a:pt x="347" y="270"/>
                    <a:pt x="347" y="270"/>
                  </a:cubicBezTo>
                  <a:lnTo>
                    <a:pt x="347" y="270"/>
                  </a:lnTo>
                  <a:cubicBezTo>
                    <a:pt x="347" y="270"/>
                    <a:pt x="192" y="542"/>
                    <a:pt x="225" y="542"/>
                  </a:cubicBezTo>
                  <a:cubicBezTo>
                    <a:pt x="225" y="542"/>
                    <a:pt x="226" y="542"/>
                    <a:pt x="227" y="542"/>
                  </a:cubicBezTo>
                  <a:cubicBezTo>
                    <a:pt x="240" y="513"/>
                    <a:pt x="279" y="461"/>
                    <a:pt x="308" y="419"/>
                  </a:cubicBezTo>
                  <a:lnTo>
                    <a:pt x="308" y="419"/>
                  </a:lnTo>
                  <a:cubicBezTo>
                    <a:pt x="256" y="508"/>
                    <a:pt x="143" y="706"/>
                    <a:pt x="156" y="706"/>
                  </a:cubicBezTo>
                  <a:cubicBezTo>
                    <a:pt x="156" y="706"/>
                    <a:pt x="157" y="705"/>
                    <a:pt x="159" y="704"/>
                  </a:cubicBezTo>
                  <a:cubicBezTo>
                    <a:pt x="198" y="662"/>
                    <a:pt x="389" y="312"/>
                    <a:pt x="389" y="312"/>
                  </a:cubicBezTo>
                  <a:lnTo>
                    <a:pt x="389" y="312"/>
                  </a:lnTo>
                  <a:cubicBezTo>
                    <a:pt x="389" y="312"/>
                    <a:pt x="352" y="407"/>
                    <a:pt x="358" y="407"/>
                  </a:cubicBezTo>
                  <a:cubicBezTo>
                    <a:pt x="359" y="407"/>
                    <a:pt x="359" y="407"/>
                    <a:pt x="360" y="406"/>
                  </a:cubicBezTo>
                  <a:cubicBezTo>
                    <a:pt x="373" y="393"/>
                    <a:pt x="415" y="312"/>
                    <a:pt x="441" y="270"/>
                  </a:cubicBezTo>
                  <a:lnTo>
                    <a:pt x="441" y="244"/>
                  </a:lnTo>
                  <a:cubicBezTo>
                    <a:pt x="454" y="231"/>
                    <a:pt x="454" y="231"/>
                    <a:pt x="454" y="218"/>
                  </a:cubicBezTo>
                  <a:lnTo>
                    <a:pt x="454" y="244"/>
                  </a:lnTo>
                  <a:cubicBezTo>
                    <a:pt x="454" y="257"/>
                    <a:pt x="441" y="257"/>
                    <a:pt x="441" y="270"/>
                  </a:cubicBezTo>
                  <a:lnTo>
                    <a:pt x="441" y="286"/>
                  </a:lnTo>
                  <a:cubicBezTo>
                    <a:pt x="441" y="270"/>
                    <a:pt x="454" y="257"/>
                    <a:pt x="454" y="257"/>
                  </a:cubicBezTo>
                  <a:cubicBezTo>
                    <a:pt x="483" y="299"/>
                    <a:pt x="522" y="380"/>
                    <a:pt x="535" y="393"/>
                  </a:cubicBezTo>
                  <a:cubicBezTo>
                    <a:pt x="536" y="394"/>
                    <a:pt x="537" y="394"/>
                    <a:pt x="537" y="394"/>
                  </a:cubicBezTo>
                  <a:cubicBezTo>
                    <a:pt x="546" y="394"/>
                    <a:pt x="509" y="299"/>
                    <a:pt x="509" y="299"/>
                  </a:cubicBezTo>
                  <a:lnTo>
                    <a:pt x="509" y="299"/>
                  </a:lnTo>
                  <a:cubicBezTo>
                    <a:pt x="509" y="299"/>
                    <a:pt x="697" y="649"/>
                    <a:pt x="739" y="691"/>
                  </a:cubicBezTo>
                  <a:cubicBezTo>
                    <a:pt x="740" y="693"/>
                    <a:pt x="741" y="693"/>
                    <a:pt x="742" y="693"/>
                  </a:cubicBezTo>
                  <a:cubicBezTo>
                    <a:pt x="750" y="693"/>
                    <a:pt x="680" y="564"/>
                    <a:pt x="632" y="468"/>
                  </a:cubicBezTo>
                  <a:lnTo>
                    <a:pt x="632" y="468"/>
                  </a:lnTo>
                  <a:cubicBezTo>
                    <a:pt x="649" y="495"/>
                    <a:pt x="669" y="520"/>
                    <a:pt x="684" y="529"/>
                  </a:cubicBezTo>
                  <a:cubicBezTo>
                    <a:pt x="685" y="530"/>
                    <a:pt x="686" y="531"/>
                    <a:pt x="687" y="531"/>
                  </a:cubicBezTo>
                  <a:cubicBezTo>
                    <a:pt x="700" y="531"/>
                    <a:pt x="551" y="257"/>
                    <a:pt x="551" y="257"/>
                  </a:cubicBezTo>
                  <a:lnTo>
                    <a:pt x="551" y="257"/>
                  </a:lnTo>
                  <a:cubicBezTo>
                    <a:pt x="551" y="257"/>
                    <a:pt x="603" y="312"/>
                    <a:pt x="632" y="325"/>
                  </a:cubicBezTo>
                  <a:lnTo>
                    <a:pt x="632" y="312"/>
                  </a:lnTo>
                  <a:cubicBezTo>
                    <a:pt x="632" y="312"/>
                    <a:pt x="632" y="310"/>
                    <a:pt x="631" y="306"/>
                  </a:cubicBezTo>
                  <a:lnTo>
                    <a:pt x="631" y="306"/>
                  </a:lnTo>
                  <a:cubicBezTo>
                    <a:pt x="664" y="351"/>
                    <a:pt x="717" y="421"/>
                    <a:pt x="739" y="432"/>
                  </a:cubicBezTo>
                  <a:cubicBezTo>
                    <a:pt x="740" y="433"/>
                    <a:pt x="740" y="433"/>
                    <a:pt x="740" y="433"/>
                  </a:cubicBezTo>
                  <a:cubicBezTo>
                    <a:pt x="742" y="433"/>
                    <a:pt x="658" y="312"/>
                    <a:pt x="658" y="312"/>
                  </a:cubicBezTo>
                  <a:lnTo>
                    <a:pt x="658" y="312"/>
                  </a:lnTo>
                  <a:cubicBezTo>
                    <a:pt x="658" y="312"/>
                    <a:pt x="859" y="487"/>
                    <a:pt x="888" y="500"/>
                  </a:cubicBezTo>
                  <a:cubicBezTo>
                    <a:pt x="889" y="500"/>
                    <a:pt x="890" y="500"/>
                    <a:pt x="891" y="500"/>
                  </a:cubicBezTo>
                  <a:cubicBezTo>
                    <a:pt x="908" y="500"/>
                    <a:pt x="761" y="367"/>
                    <a:pt x="692" y="296"/>
                  </a:cubicBezTo>
                  <a:lnTo>
                    <a:pt x="692" y="296"/>
                  </a:lnTo>
                  <a:cubicBezTo>
                    <a:pt x="706" y="305"/>
                    <a:pt x="722" y="312"/>
                    <a:pt x="739" y="312"/>
                  </a:cubicBezTo>
                  <a:cubicBezTo>
                    <a:pt x="742" y="313"/>
                    <a:pt x="744" y="313"/>
                    <a:pt x="745" y="313"/>
                  </a:cubicBezTo>
                  <a:cubicBezTo>
                    <a:pt x="762" y="313"/>
                    <a:pt x="666" y="241"/>
                    <a:pt x="603" y="205"/>
                  </a:cubicBezTo>
                  <a:lnTo>
                    <a:pt x="603" y="189"/>
                  </a:lnTo>
                  <a:cubicBezTo>
                    <a:pt x="603" y="205"/>
                    <a:pt x="616" y="205"/>
                    <a:pt x="632" y="218"/>
                  </a:cubicBezTo>
                  <a:cubicBezTo>
                    <a:pt x="635" y="219"/>
                    <a:pt x="638" y="219"/>
                    <a:pt x="640" y="219"/>
                  </a:cubicBezTo>
                  <a:cubicBezTo>
                    <a:pt x="674" y="219"/>
                    <a:pt x="603" y="137"/>
                    <a:pt x="603" y="137"/>
                  </a:cubicBezTo>
                  <a:lnTo>
                    <a:pt x="603" y="137"/>
                  </a:lnTo>
                  <a:cubicBezTo>
                    <a:pt x="603" y="137"/>
                    <a:pt x="807" y="286"/>
                    <a:pt x="833" y="299"/>
                  </a:cubicBezTo>
                  <a:cubicBezTo>
                    <a:pt x="858" y="299"/>
                    <a:pt x="705" y="195"/>
                    <a:pt x="697" y="189"/>
                  </a:cubicBezTo>
                  <a:lnTo>
                    <a:pt x="697" y="189"/>
                  </a:lnTo>
                  <a:cubicBezTo>
                    <a:pt x="701" y="192"/>
                    <a:pt x="741" y="218"/>
                    <a:pt x="778" y="218"/>
                  </a:cubicBezTo>
                  <a:cubicBezTo>
                    <a:pt x="807" y="218"/>
                    <a:pt x="697" y="163"/>
                    <a:pt x="645" y="137"/>
                  </a:cubicBezTo>
                  <a:lnTo>
                    <a:pt x="671" y="137"/>
                  </a:lnTo>
                  <a:cubicBezTo>
                    <a:pt x="713" y="137"/>
                    <a:pt x="483" y="1"/>
                    <a:pt x="483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6" name="Google Shape;1126;p38"/>
            <p:cNvSpPr/>
            <p:nvPr/>
          </p:nvSpPr>
          <p:spPr>
            <a:xfrm>
              <a:off x="1589125" y="1442025"/>
              <a:ext cx="775" cy="975"/>
            </a:xfrm>
            <a:custGeom>
              <a:avLst/>
              <a:gdLst/>
              <a:ahLst/>
              <a:cxnLst/>
              <a:rect l="l" t="t" r="r" b="b"/>
              <a:pathLst>
                <a:path w="31" h="39" extrusionOk="0">
                  <a:moveTo>
                    <a:pt x="1" y="0"/>
                  </a:moveTo>
                  <a:lnTo>
                    <a:pt x="1" y="0"/>
                  </a:lnTo>
                  <a:cubicBezTo>
                    <a:pt x="17" y="26"/>
                    <a:pt x="17" y="39"/>
                    <a:pt x="17" y="39"/>
                  </a:cubicBezTo>
                  <a:cubicBezTo>
                    <a:pt x="30" y="39"/>
                    <a:pt x="17" y="13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7" name="Google Shape;1127;p38"/>
            <p:cNvSpPr/>
            <p:nvPr/>
          </p:nvSpPr>
          <p:spPr>
            <a:xfrm>
              <a:off x="1588150" y="1446725"/>
              <a:ext cx="675" cy="1400"/>
            </a:xfrm>
            <a:custGeom>
              <a:avLst/>
              <a:gdLst/>
              <a:ahLst/>
              <a:cxnLst/>
              <a:rect l="l" t="t" r="r" b="b"/>
              <a:pathLst>
                <a:path w="27" h="56" extrusionOk="0">
                  <a:moveTo>
                    <a:pt x="27" y="0"/>
                  </a:moveTo>
                  <a:lnTo>
                    <a:pt x="27" y="0"/>
                  </a:lnTo>
                  <a:cubicBezTo>
                    <a:pt x="14" y="26"/>
                    <a:pt x="1" y="55"/>
                    <a:pt x="1" y="55"/>
                  </a:cubicBezTo>
                  <a:cubicBezTo>
                    <a:pt x="14" y="55"/>
                    <a:pt x="14" y="26"/>
                    <a:pt x="27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8" name="Google Shape;1128;p38"/>
            <p:cNvSpPr/>
            <p:nvPr/>
          </p:nvSpPr>
          <p:spPr>
            <a:xfrm>
              <a:off x="1574400" y="1437550"/>
              <a:ext cx="29250" cy="22100"/>
            </a:xfrm>
            <a:custGeom>
              <a:avLst/>
              <a:gdLst/>
              <a:ahLst/>
              <a:cxnLst/>
              <a:rect l="l" t="t" r="r" b="b"/>
              <a:pathLst>
                <a:path w="1170" h="884" extrusionOk="0">
                  <a:moveTo>
                    <a:pt x="404" y="250"/>
                  </a:moveTo>
                  <a:lnTo>
                    <a:pt x="404" y="250"/>
                  </a:lnTo>
                  <a:cubicBezTo>
                    <a:pt x="399" y="255"/>
                    <a:pt x="395" y="259"/>
                    <a:pt x="391" y="260"/>
                  </a:cubicBezTo>
                  <a:lnTo>
                    <a:pt x="391" y="260"/>
                  </a:lnTo>
                  <a:cubicBezTo>
                    <a:pt x="395" y="257"/>
                    <a:pt x="399" y="254"/>
                    <a:pt x="404" y="250"/>
                  </a:cubicBezTo>
                  <a:close/>
                  <a:moveTo>
                    <a:pt x="590" y="312"/>
                  </a:moveTo>
                  <a:lnTo>
                    <a:pt x="590" y="312"/>
                  </a:lnTo>
                  <a:cubicBezTo>
                    <a:pt x="587" y="315"/>
                    <a:pt x="585" y="317"/>
                    <a:pt x="583" y="321"/>
                  </a:cubicBezTo>
                  <a:lnTo>
                    <a:pt x="583" y="321"/>
                  </a:lnTo>
                  <a:cubicBezTo>
                    <a:pt x="587" y="315"/>
                    <a:pt x="590" y="312"/>
                    <a:pt x="590" y="312"/>
                  </a:cubicBezTo>
                  <a:close/>
                  <a:moveTo>
                    <a:pt x="590" y="312"/>
                  </a:moveTo>
                  <a:cubicBezTo>
                    <a:pt x="590" y="325"/>
                    <a:pt x="590" y="341"/>
                    <a:pt x="606" y="354"/>
                  </a:cubicBezTo>
                  <a:cubicBezTo>
                    <a:pt x="606" y="341"/>
                    <a:pt x="590" y="325"/>
                    <a:pt x="590" y="312"/>
                  </a:cubicBezTo>
                  <a:close/>
                  <a:moveTo>
                    <a:pt x="632" y="192"/>
                  </a:moveTo>
                  <a:cubicBezTo>
                    <a:pt x="687" y="244"/>
                    <a:pt x="739" y="312"/>
                    <a:pt x="781" y="354"/>
                  </a:cubicBezTo>
                  <a:cubicBezTo>
                    <a:pt x="726" y="312"/>
                    <a:pt x="645" y="231"/>
                    <a:pt x="619" y="218"/>
                  </a:cubicBezTo>
                  <a:lnTo>
                    <a:pt x="619" y="205"/>
                  </a:lnTo>
                  <a:cubicBezTo>
                    <a:pt x="632" y="218"/>
                    <a:pt x="658" y="231"/>
                    <a:pt x="671" y="244"/>
                  </a:cubicBezTo>
                  <a:cubicBezTo>
                    <a:pt x="671" y="244"/>
                    <a:pt x="658" y="218"/>
                    <a:pt x="632" y="192"/>
                  </a:cubicBezTo>
                  <a:close/>
                  <a:moveTo>
                    <a:pt x="538" y="205"/>
                  </a:moveTo>
                  <a:cubicBezTo>
                    <a:pt x="509" y="244"/>
                    <a:pt x="496" y="260"/>
                    <a:pt x="509" y="260"/>
                  </a:cubicBezTo>
                  <a:cubicBezTo>
                    <a:pt x="525" y="244"/>
                    <a:pt x="538" y="231"/>
                    <a:pt x="551" y="231"/>
                  </a:cubicBezTo>
                  <a:cubicBezTo>
                    <a:pt x="525" y="260"/>
                    <a:pt x="444" y="325"/>
                    <a:pt x="402" y="367"/>
                  </a:cubicBezTo>
                  <a:cubicBezTo>
                    <a:pt x="428" y="325"/>
                    <a:pt x="496" y="260"/>
                    <a:pt x="538" y="205"/>
                  </a:cubicBezTo>
                  <a:close/>
                  <a:moveTo>
                    <a:pt x="583" y="321"/>
                  </a:moveTo>
                  <a:cubicBezTo>
                    <a:pt x="580" y="326"/>
                    <a:pt x="577" y="333"/>
                    <a:pt x="577" y="341"/>
                  </a:cubicBezTo>
                  <a:lnTo>
                    <a:pt x="577" y="367"/>
                  </a:lnTo>
                  <a:cubicBezTo>
                    <a:pt x="577" y="347"/>
                    <a:pt x="577" y="332"/>
                    <a:pt x="583" y="321"/>
                  </a:cubicBezTo>
                  <a:close/>
                  <a:moveTo>
                    <a:pt x="619" y="1"/>
                  </a:moveTo>
                  <a:cubicBezTo>
                    <a:pt x="619" y="1"/>
                    <a:pt x="277" y="180"/>
                    <a:pt x="304" y="180"/>
                  </a:cubicBezTo>
                  <a:cubicBezTo>
                    <a:pt x="305" y="180"/>
                    <a:pt x="306" y="179"/>
                    <a:pt x="308" y="179"/>
                  </a:cubicBezTo>
                  <a:lnTo>
                    <a:pt x="334" y="179"/>
                  </a:lnTo>
                  <a:cubicBezTo>
                    <a:pt x="266" y="218"/>
                    <a:pt x="133" y="286"/>
                    <a:pt x="172" y="286"/>
                  </a:cubicBezTo>
                  <a:cubicBezTo>
                    <a:pt x="227" y="273"/>
                    <a:pt x="266" y="260"/>
                    <a:pt x="266" y="260"/>
                  </a:cubicBezTo>
                  <a:lnTo>
                    <a:pt x="266" y="260"/>
                  </a:lnTo>
                  <a:cubicBezTo>
                    <a:pt x="266" y="260"/>
                    <a:pt x="83" y="381"/>
                    <a:pt x="100" y="381"/>
                  </a:cubicBezTo>
                  <a:cubicBezTo>
                    <a:pt x="101" y="381"/>
                    <a:pt x="102" y="381"/>
                    <a:pt x="104" y="380"/>
                  </a:cubicBezTo>
                  <a:cubicBezTo>
                    <a:pt x="133" y="380"/>
                    <a:pt x="389" y="192"/>
                    <a:pt x="389" y="192"/>
                  </a:cubicBezTo>
                  <a:lnTo>
                    <a:pt x="389" y="192"/>
                  </a:lnTo>
                  <a:cubicBezTo>
                    <a:pt x="389" y="192"/>
                    <a:pt x="319" y="281"/>
                    <a:pt x="343" y="281"/>
                  </a:cubicBezTo>
                  <a:cubicBezTo>
                    <a:pt x="347" y="281"/>
                    <a:pt x="354" y="278"/>
                    <a:pt x="363" y="273"/>
                  </a:cubicBezTo>
                  <a:cubicBezTo>
                    <a:pt x="367" y="273"/>
                    <a:pt x="375" y="270"/>
                    <a:pt x="384" y="264"/>
                  </a:cubicBezTo>
                  <a:lnTo>
                    <a:pt x="384" y="264"/>
                  </a:lnTo>
                  <a:cubicBezTo>
                    <a:pt x="308" y="324"/>
                    <a:pt x="192" y="408"/>
                    <a:pt x="207" y="408"/>
                  </a:cubicBezTo>
                  <a:cubicBezTo>
                    <a:pt x="209" y="408"/>
                    <a:pt x="211" y="407"/>
                    <a:pt x="214" y="406"/>
                  </a:cubicBezTo>
                  <a:cubicBezTo>
                    <a:pt x="266" y="393"/>
                    <a:pt x="321" y="354"/>
                    <a:pt x="334" y="341"/>
                  </a:cubicBezTo>
                  <a:lnTo>
                    <a:pt x="334" y="341"/>
                  </a:lnTo>
                  <a:cubicBezTo>
                    <a:pt x="309" y="366"/>
                    <a:pt x="1" y="650"/>
                    <a:pt x="21" y="650"/>
                  </a:cubicBezTo>
                  <a:cubicBezTo>
                    <a:pt x="21" y="650"/>
                    <a:pt x="22" y="649"/>
                    <a:pt x="23" y="649"/>
                  </a:cubicBezTo>
                  <a:cubicBezTo>
                    <a:pt x="65" y="623"/>
                    <a:pt x="321" y="393"/>
                    <a:pt x="321" y="393"/>
                  </a:cubicBezTo>
                  <a:lnTo>
                    <a:pt x="321" y="393"/>
                  </a:lnTo>
                  <a:cubicBezTo>
                    <a:pt x="321" y="393"/>
                    <a:pt x="217" y="558"/>
                    <a:pt x="224" y="558"/>
                  </a:cubicBezTo>
                  <a:cubicBezTo>
                    <a:pt x="224" y="558"/>
                    <a:pt x="225" y="557"/>
                    <a:pt x="227" y="555"/>
                  </a:cubicBezTo>
                  <a:cubicBezTo>
                    <a:pt x="252" y="530"/>
                    <a:pt x="328" y="430"/>
                    <a:pt x="371" y="373"/>
                  </a:cubicBezTo>
                  <a:lnTo>
                    <a:pt x="371" y="373"/>
                  </a:lnTo>
                  <a:cubicBezTo>
                    <a:pt x="363" y="387"/>
                    <a:pt x="363" y="406"/>
                    <a:pt x="363" y="406"/>
                  </a:cubicBezTo>
                  <a:lnTo>
                    <a:pt x="363" y="422"/>
                  </a:lnTo>
                  <a:cubicBezTo>
                    <a:pt x="389" y="406"/>
                    <a:pt x="457" y="341"/>
                    <a:pt x="457" y="341"/>
                  </a:cubicBezTo>
                  <a:lnTo>
                    <a:pt x="457" y="341"/>
                  </a:lnTo>
                  <a:cubicBezTo>
                    <a:pt x="457" y="341"/>
                    <a:pt x="267" y="679"/>
                    <a:pt x="292" y="679"/>
                  </a:cubicBezTo>
                  <a:cubicBezTo>
                    <a:pt x="292" y="679"/>
                    <a:pt x="294" y="679"/>
                    <a:pt x="295" y="678"/>
                  </a:cubicBezTo>
                  <a:cubicBezTo>
                    <a:pt x="311" y="660"/>
                    <a:pt x="340" y="627"/>
                    <a:pt x="365" y="591"/>
                  </a:cubicBezTo>
                  <a:lnTo>
                    <a:pt x="365" y="591"/>
                  </a:lnTo>
                  <a:cubicBezTo>
                    <a:pt x="297" y="708"/>
                    <a:pt x="207" y="883"/>
                    <a:pt x="221" y="883"/>
                  </a:cubicBezTo>
                  <a:cubicBezTo>
                    <a:pt x="222" y="883"/>
                    <a:pt x="224" y="882"/>
                    <a:pt x="227" y="879"/>
                  </a:cubicBezTo>
                  <a:cubicBezTo>
                    <a:pt x="282" y="827"/>
                    <a:pt x="509" y="380"/>
                    <a:pt x="509" y="380"/>
                  </a:cubicBezTo>
                  <a:lnTo>
                    <a:pt x="509" y="380"/>
                  </a:lnTo>
                  <a:cubicBezTo>
                    <a:pt x="509" y="380"/>
                    <a:pt x="462" y="504"/>
                    <a:pt x="469" y="504"/>
                  </a:cubicBezTo>
                  <a:cubicBezTo>
                    <a:pt x="469" y="504"/>
                    <a:pt x="469" y="504"/>
                    <a:pt x="470" y="503"/>
                  </a:cubicBezTo>
                  <a:cubicBezTo>
                    <a:pt x="496" y="503"/>
                    <a:pt x="551" y="393"/>
                    <a:pt x="577" y="341"/>
                  </a:cubicBezTo>
                  <a:lnTo>
                    <a:pt x="577" y="299"/>
                  </a:lnTo>
                  <a:cubicBezTo>
                    <a:pt x="590" y="286"/>
                    <a:pt x="590" y="286"/>
                    <a:pt x="590" y="273"/>
                  </a:cubicBezTo>
                  <a:lnTo>
                    <a:pt x="590" y="299"/>
                  </a:lnTo>
                  <a:lnTo>
                    <a:pt x="590" y="312"/>
                  </a:lnTo>
                  <a:cubicBezTo>
                    <a:pt x="619" y="380"/>
                    <a:pt x="687" y="474"/>
                    <a:pt x="700" y="487"/>
                  </a:cubicBezTo>
                  <a:cubicBezTo>
                    <a:pt x="701" y="488"/>
                    <a:pt x="703" y="488"/>
                    <a:pt x="704" y="488"/>
                  </a:cubicBezTo>
                  <a:cubicBezTo>
                    <a:pt x="718" y="488"/>
                    <a:pt x="658" y="367"/>
                    <a:pt x="658" y="367"/>
                  </a:cubicBezTo>
                  <a:lnTo>
                    <a:pt x="658" y="367"/>
                  </a:lnTo>
                  <a:cubicBezTo>
                    <a:pt x="658" y="367"/>
                    <a:pt x="901" y="811"/>
                    <a:pt x="956" y="866"/>
                  </a:cubicBezTo>
                  <a:cubicBezTo>
                    <a:pt x="959" y="869"/>
                    <a:pt x="960" y="870"/>
                    <a:pt x="961" y="870"/>
                  </a:cubicBezTo>
                  <a:cubicBezTo>
                    <a:pt x="972" y="870"/>
                    <a:pt x="865" y="680"/>
                    <a:pt x="797" y="564"/>
                  </a:cubicBezTo>
                  <a:lnTo>
                    <a:pt x="797" y="564"/>
                  </a:lnTo>
                  <a:cubicBezTo>
                    <a:pt x="824" y="604"/>
                    <a:pt x="857" y="644"/>
                    <a:pt x="875" y="665"/>
                  </a:cubicBezTo>
                  <a:cubicBezTo>
                    <a:pt x="876" y="666"/>
                    <a:pt x="877" y="666"/>
                    <a:pt x="878" y="666"/>
                  </a:cubicBezTo>
                  <a:cubicBezTo>
                    <a:pt x="900" y="666"/>
                    <a:pt x="713" y="325"/>
                    <a:pt x="713" y="325"/>
                  </a:cubicBezTo>
                  <a:lnTo>
                    <a:pt x="713" y="325"/>
                  </a:lnTo>
                  <a:cubicBezTo>
                    <a:pt x="713" y="325"/>
                    <a:pt x="781" y="393"/>
                    <a:pt x="807" y="406"/>
                  </a:cubicBezTo>
                  <a:lnTo>
                    <a:pt x="807" y="393"/>
                  </a:lnTo>
                  <a:cubicBezTo>
                    <a:pt x="820" y="393"/>
                    <a:pt x="807" y="367"/>
                    <a:pt x="807" y="354"/>
                  </a:cubicBezTo>
                  <a:lnTo>
                    <a:pt x="807" y="354"/>
                  </a:lnTo>
                  <a:cubicBezTo>
                    <a:pt x="833" y="406"/>
                    <a:pt x="930" y="516"/>
                    <a:pt x="943" y="542"/>
                  </a:cubicBezTo>
                  <a:cubicBezTo>
                    <a:pt x="945" y="544"/>
                    <a:pt x="946" y="544"/>
                    <a:pt x="946" y="544"/>
                  </a:cubicBezTo>
                  <a:cubicBezTo>
                    <a:pt x="954" y="544"/>
                    <a:pt x="849" y="380"/>
                    <a:pt x="849" y="380"/>
                  </a:cubicBezTo>
                  <a:lnTo>
                    <a:pt x="849" y="380"/>
                  </a:lnTo>
                  <a:cubicBezTo>
                    <a:pt x="849" y="380"/>
                    <a:pt x="1105" y="610"/>
                    <a:pt x="1144" y="636"/>
                  </a:cubicBezTo>
                  <a:cubicBezTo>
                    <a:pt x="1145" y="636"/>
                    <a:pt x="1146" y="636"/>
                    <a:pt x="1146" y="636"/>
                  </a:cubicBezTo>
                  <a:cubicBezTo>
                    <a:pt x="1169" y="636"/>
                    <a:pt x="944" y="420"/>
                    <a:pt x="859" y="347"/>
                  </a:cubicBezTo>
                  <a:lnTo>
                    <a:pt x="859" y="347"/>
                  </a:lnTo>
                  <a:cubicBezTo>
                    <a:pt x="884" y="364"/>
                    <a:pt x="919" y="384"/>
                    <a:pt x="956" y="393"/>
                  </a:cubicBezTo>
                  <a:cubicBezTo>
                    <a:pt x="958" y="394"/>
                    <a:pt x="960" y="394"/>
                    <a:pt x="961" y="394"/>
                  </a:cubicBezTo>
                  <a:cubicBezTo>
                    <a:pt x="980" y="394"/>
                    <a:pt x="869" y="308"/>
                    <a:pt x="781" y="244"/>
                  </a:cubicBezTo>
                  <a:lnTo>
                    <a:pt x="781" y="231"/>
                  </a:lnTo>
                  <a:lnTo>
                    <a:pt x="807" y="260"/>
                  </a:lnTo>
                  <a:cubicBezTo>
                    <a:pt x="816" y="265"/>
                    <a:pt x="823" y="268"/>
                    <a:pt x="827" y="268"/>
                  </a:cubicBezTo>
                  <a:cubicBezTo>
                    <a:pt x="851" y="268"/>
                    <a:pt x="781" y="179"/>
                    <a:pt x="781" y="179"/>
                  </a:cubicBezTo>
                  <a:lnTo>
                    <a:pt x="781" y="179"/>
                  </a:lnTo>
                  <a:cubicBezTo>
                    <a:pt x="781" y="179"/>
                    <a:pt x="1037" y="367"/>
                    <a:pt x="1076" y="367"/>
                  </a:cubicBezTo>
                  <a:cubicBezTo>
                    <a:pt x="1077" y="368"/>
                    <a:pt x="1078" y="368"/>
                    <a:pt x="1078" y="368"/>
                  </a:cubicBezTo>
                  <a:cubicBezTo>
                    <a:pt x="1087" y="368"/>
                    <a:pt x="901" y="244"/>
                    <a:pt x="901" y="244"/>
                  </a:cubicBezTo>
                  <a:lnTo>
                    <a:pt x="901" y="244"/>
                  </a:lnTo>
                  <a:cubicBezTo>
                    <a:pt x="901" y="244"/>
                    <a:pt x="943" y="260"/>
                    <a:pt x="995" y="273"/>
                  </a:cubicBezTo>
                  <a:cubicBezTo>
                    <a:pt x="1037" y="273"/>
                    <a:pt x="901" y="205"/>
                    <a:pt x="833" y="163"/>
                  </a:cubicBezTo>
                  <a:lnTo>
                    <a:pt x="875" y="163"/>
                  </a:lnTo>
                  <a:cubicBezTo>
                    <a:pt x="877" y="164"/>
                    <a:pt x="879" y="164"/>
                    <a:pt x="880" y="164"/>
                  </a:cubicBezTo>
                  <a:cubicBezTo>
                    <a:pt x="904" y="164"/>
                    <a:pt x="619" y="1"/>
                    <a:pt x="619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9" name="Google Shape;1129;p38"/>
            <p:cNvSpPr/>
            <p:nvPr/>
          </p:nvSpPr>
          <p:spPr>
            <a:xfrm>
              <a:off x="1589550" y="1446400"/>
              <a:ext cx="350" cy="1300"/>
            </a:xfrm>
            <a:custGeom>
              <a:avLst/>
              <a:gdLst/>
              <a:ahLst/>
              <a:cxnLst/>
              <a:rect l="l" t="t" r="r" b="b"/>
              <a:pathLst>
                <a:path w="14" h="52" extrusionOk="0">
                  <a:moveTo>
                    <a:pt x="0" y="0"/>
                  </a:moveTo>
                  <a:cubicBezTo>
                    <a:pt x="0" y="26"/>
                    <a:pt x="13" y="52"/>
                    <a:pt x="13" y="52"/>
                  </a:cubicBezTo>
                  <a:cubicBezTo>
                    <a:pt x="13" y="52"/>
                    <a:pt x="0" y="26"/>
                    <a:pt x="0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0" name="Google Shape;1130;p38"/>
            <p:cNvSpPr/>
            <p:nvPr/>
          </p:nvSpPr>
          <p:spPr>
            <a:xfrm>
              <a:off x="1587925" y="1454175"/>
              <a:ext cx="575" cy="1725"/>
            </a:xfrm>
            <a:custGeom>
              <a:avLst/>
              <a:gdLst/>
              <a:ahLst/>
              <a:cxnLst/>
              <a:rect l="l" t="t" r="r" b="b"/>
              <a:pathLst>
                <a:path w="23" h="69" extrusionOk="0">
                  <a:moveTo>
                    <a:pt x="23" y="0"/>
                  </a:moveTo>
                  <a:lnTo>
                    <a:pt x="23" y="0"/>
                  </a:lnTo>
                  <a:cubicBezTo>
                    <a:pt x="12" y="33"/>
                    <a:pt x="1" y="68"/>
                    <a:pt x="6" y="68"/>
                  </a:cubicBezTo>
                  <a:cubicBezTo>
                    <a:pt x="7" y="68"/>
                    <a:pt x="8" y="67"/>
                    <a:pt x="10" y="65"/>
                  </a:cubicBezTo>
                  <a:cubicBezTo>
                    <a:pt x="10" y="65"/>
                    <a:pt x="10" y="39"/>
                    <a:pt x="23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1" name="Google Shape;1131;p38"/>
            <p:cNvSpPr/>
            <p:nvPr/>
          </p:nvSpPr>
          <p:spPr>
            <a:xfrm>
              <a:off x="1570925" y="1442975"/>
              <a:ext cx="36150" cy="27550"/>
            </a:xfrm>
            <a:custGeom>
              <a:avLst/>
              <a:gdLst/>
              <a:ahLst/>
              <a:cxnLst/>
              <a:rect l="l" t="t" r="r" b="b"/>
              <a:pathLst>
                <a:path w="1446" h="1102" extrusionOk="0">
                  <a:moveTo>
                    <a:pt x="716" y="367"/>
                  </a:moveTo>
                  <a:cubicBezTo>
                    <a:pt x="716" y="367"/>
                    <a:pt x="716" y="380"/>
                    <a:pt x="729" y="380"/>
                  </a:cubicBezTo>
                  <a:cubicBezTo>
                    <a:pt x="729" y="367"/>
                    <a:pt x="716" y="367"/>
                    <a:pt x="716" y="367"/>
                  </a:cubicBezTo>
                  <a:close/>
                  <a:moveTo>
                    <a:pt x="731" y="402"/>
                  </a:moveTo>
                  <a:cubicBezTo>
                    <a:pt x="733" y="410"/>
                    <a:pt x="737" y="420"/>
                    <a:pt x="745" y="432"/>
                  </a:cubicBezTo>
                  <a:cubicBezTo>
                    <a:pt x="745" y="422"/>
                    <a:pt x="736" y="412"/>
                    <a:pt x="731" y="402"/>
                  </a:cubicBezTo>
                  <a:close/>
                  <a:moveTo>
                    <a:pt x="784" y="231"/>
                  </a:moveTo>
                  <a:cubicBezTo>
                    <a:pt x="839" y="299"/>
                    <a:pt x="920" y="380"/>
                    <a:pt x="959" y="432"/>
                  </a:cubicBezTo>
                  <a:cubicBezTo>
                    <a:pt x="891" y="380"/>
                    <a:pt x="784" y="286"/>
                    <a:pt x="758" y="257"/>
                  </a:cubicBezTo>
                  <a:cubicBezTo>
                    <a:pt x="771" y="257"/>
                    <a:pt x="810" y="270"/>
                    <a:pt x="826" y="299"/>
                  </a:cubicBezTo>
                  <a:cubicBezTo>
                    <a:pt x="839" y="299"/>
                    <a:pt x="810" y="270"/>
                    <a:pt x="784" y="231"/>
                  </a:cubicBezTo>
                  <a:close/>
                  <a:moveTo>
                    <a:pt x="664" y="244"/>
                  </a:moveTo>
                  <a:lnTo>
                    <a:pt x="664" y="244"/>
                  </a:lnTo>
                  <a:cubicBezTo>
                    <a:pt x="639" y="280"/>
                    <a:pt x="616" y="315"/>
                    <a:pt x="619" y="315"/>
                  </a:cubicBezTo>
                  <a:cubicBezTo>
                    <a:pt x="619" y="315"/>
                    <a:pt x="620" y="314"/>
                    <a:pt x="622" y="312"/>
                  </a:cubicBezTo>
                  <a:cubicBezTo>
                    <a:pt x="635" y="299"/>
                    <a:pt x="664" y="286"/>
                    <a:pt x="677" y="270"/>
                  </a:cubicBezTo>
                  <a:lnTo>
                    <a:pt x="690" y="270"/>
                  </a:lnTo>
                  <a:cubicBezTo>
                    <a:pt x="648" y="312"/>
                    <a:pt x="541" y="393"/>
                    <a:pt x="486" y="461"/>
                  </a:cubicBezTo>
                  <a:cubicBezTo>
                    <a:pt x="528" y="406"/>
                    <a:pt x="596" y="312"/>
                    <a:pt x="664" y="244"/>
                  </a:cubicBezTo>
                  <a:close/>
                  <a:moveTo>
                    <a:pt x="1174" y="660"/>
                  </a:moveTo>
                  <a:lnTo>
                    <a:pt x="1174" y="660"/>
                  </a:lnTo>
                  <a:cubicBezTo>
                    <a:pt x="1177" y="665"/>
                    <a:pt x="1179" y="667"/>
                    <a:pt x="1179" y="667"/>
                  </a:cubicBezTo>
                  <a:cubicBezTo>
                    <a:pt x="1179" y="667"/>
                    <a:pt x="1178" y="665"/>
                    <a:pt x="1176" y="662"/>
                  </a:cubicBezTo>
                  <a:cubicBezTo>
                    <a:pt x="1175" y="661"/>
                    <a:pt x="1175" y="661"/>
                    <a:pt x="1174" y="660"/>
                  </a:cubicBezTo>
                  <a:close/>
                  <a:moveTo>
                    <a:pt x="771" y="1"/>
                  </a:moveTo>
                  <a:cubicBezTo>
                    <a:pt x="771" y="1"/>
                    <a:pt x="323" y="219"/>
                    <a:pt x="362" y="219"/>
                  </a:cubicBezTo>
                  <a:cubicBezTo>
                    <a:pt x="363" y="219"/>
                    <a:pt x="364" y="218"/>
                    <a:pt x="366" y="218"/>
                  </a:cubicBezTo>
                  <a:cubicBezTo>
                    <a:pt x="373" y="218"/>
                    <a:pt x="381" y="218"/>
                    <a:pt x="388" y="216"/>
                  </a:cubicBezTo>
                  <a:lnTo>
                    <a:pt x="388" y="216"/>
                  </a:lnTo>
                  <a:cubicBezTo>
                    <a:pt x="304" y="269"/>
                    <a:pt x="165" y="351"/>
                    <a:pt x="204" y="351"/>
                  </a:cubicBezTo>
                  <a:cubicBezTo>
                    <a:pt x="272" y="338"/>
                    <a:pt x="324" y="312"/>
                    <a:pt x="324" y="312"/>
                  </a:cubicBezTo>
                  <a:lnTo>
                    <a:pt x="324" y="312"/>
                  </a:lnTo>
                  <a:cubicBezTo>
                    <a:pt x="324" y="312"/>
                    <a:pt x="86" y="475"/>
                    <a:pt x="107" y="475"/>
                  </a:cubicBezTo>
                  <a:cubicBezTo>
                    <a:pt x="107" y="475"/>
                    <a:pt x="109" y="474"/>
                    <a:pt x="110" y="474"/>
                  </a:cubicBezTo>
                  <a:cubicBezTo>
                    <a:pt x="149" y="461"/>
                    <a:pt x="486" y="231"/>
                    <a:pt x="486" y="231"/>
                  </a:cubicBezTo>
                  <a:lnTo>
                    <a:pt x="486" y="231"/>
                  </a:lnTo>
                  <a:cubicBezTo>
                    <a:pt x="486" y="231"/>
                    <a:pt x="394" y="345"/>
                    <a:pt x="417" y="345"/>
                  </a:cubicBezTo>
                  <a:cubicBezTo>
                    <a:pt x="420" y="345"/>
                    <a:pt x="426" y="343"/>
                    <a:pt x="434" y="338"/>
                  </a:cubicBezTo>
                  <a:cubicBezTo>
                    <a:pt x="460" y="325"/>
                    <a:pt x="502" y="299"/>
                    <a:pt x="528" y="257"/>
                  </a:cubicBezTo>
                  <a:lnTo>
                    <a:pt x="528" y="257"/>
                  </a:lnTo>
                  <a:cubicBezTo>
                    <a:pt x="515" y="286"/>
                    <a:pt x="486" y="312"/>
                    <a:pt x="486" y="312"/>
                  </a:cubicBezTo>
                  <a:cubicBezTo>
                    <a:pt x="372" y="389"/>
                    <a:pt x="220" y="501"/>
                    <a:pt x="252" y="501"/>
                  </a:cubicBezTo>
                  <a:cubicBezTo>
                    <a:pt x="254" y="501"/>
                    <a:pt x="256" y="501"/>
                    <a:pt x="259" y="500"/>
                  </a:cubicBezTo>
                  <a:cubicBezTo>
                    <a:pt x="308" y="490"/>
                    <a:pt x="358" y="457"/>
                    <a:pt x="386" y="435"/>
                  </a:cubicBezTo>
                  <a:lnTo>
                    <a:pt x="386" y="435"/>
                  </a:lnTo>
                  <a:cubicBezTo>
                    <a:pt x="301" y="511"/>
                    <a:pt x="1" y="799"/>
                    <a:pt x="13" y="799"/>
                  </a:cubicBezTo>
                  <a:cubicBezTo>
                    <a:pt x="14" y="799"/>
                    <a:pt x="15" y="799"/>
                    <a:pt x="16" y="798"/>
                  </a:cubicBezTo>
                  <a:cubicBezTo>
                    <a:pt x="68" y="785"/>
                    <a:pt x="379" y="487"/>
                    <a:pt x="379" y="487"/>
                  </a:cubicBezTo>
                  <a:lnTo>
                    <a:pt x="379" y="487"/>
                  </a:lnTo>
                  <a:cubicBezTo>
                    <a:pt x="379" y="487"/>
                    <a:pt x="257" y="693"/>
                    <a:pt x="269" y="693"/>
                  </a:cubicBezTo>
                  <a:cubicBezTo>
                    <a:pt x="269" y="693"/>
                    <a:pt x="270" y="692"/>
                    <a:pt x="272" y="691"/>
                  </a:cubicBezTo>
                  <a:cubicBezTo>
                    <a:pt x="298" y="662"/>
                    <a:pt x="405" y="513"/>
                    <a:pt x="447" y="448"/>
                  </a:cubicBezTo>
                  <a:lnTo>
                    <a:pt x="447" y="448"/>
                  </a:lnTo>
                  <a:cubicBezTo>
                    <a:pt x="447" y="474"/>
                    <a:pt x="434" y="500"/>
                    <a:pt x="447" y="500"/>
                  </a:cubicBezTo>
                  <a:lnTo>
                    <a:pt x="447" y="513"/>
                  </a:lnTo>
                  <a:cubicBezTo>
                    <a:pt x="473" y="500"/>
                    <a:pt x="567" y="419"/>
                    <a:pt x="567" y="419"/>
                  </a:cubicBezTo>
                  <a:lnTo>
                    <a:pt x="567" y="419"/>
                  </a:lnTo>
                  <a:cubicBezTo>
                    <a:pt x="567" y="419"/>
                    <a:pt x="333" y="840"/>
                    <a:pt x="360" y="840"/>
                  </a:cubicBezTo>
                  <a:cubicBezTo>
                    <a:pt x="362" y="840"/>
                    <a:pt x="364" y="839"/>
                    <a:pt x="366" y="837"/>
                  </a:cubicBezTo>
                  <a:cubicBezTo>
                    <a:pt x="392" y="811"/>
                    <a:pt x="447" y="717"/>
                    <a:pt x="486" y="649"/>
                  </a:cubicBezTo>
                  <a:lnTo>
                    <a:pt x="486" y="649"/>
                  </a:lnTo>
                  <a:cubicBezTo>
                    <a:pt x="410" y="788"/>
                    <a:pt x="242" y="1101"/>
                    <a:pt x="264" y="1101"/>
                  </a:cubicBezTo>
                  <a:cubicBezTo>
                    <a:pt x="266" y="1101"/>
                    <a:pt x="268" y="1100"/>
                    <a:pt x="272" y="1096"/>
                  </a:cubicBezTo>
                  <a:cubicBezTo>
                    <a:pt x="324" y="1041"/>
                    <a:pt x="635" y="474"/>
                    <a:pt x="635" y="474"/>
                  </a:cubicBezTo>
                  <a:lnTo>
                    <a:pt x="635" y="474"/>
                  </a:lnTo>
                  <a:cubicBezTo>
                    <a:pt x="635" y="474"/>
                    <a:pt x="560" y="624"/>
                    <a:pt x="580" y="624"/>
                  </a:cubicBezTo>
                  <a:cubicBezTo>
                    <a:pt x="581" y="624"/>
                    <a:pt x="582" y="624"/>
                    <a:pt x="583" y="623"/>
                  </a:cubicBezTo>
                  <a:cubicBezTo>
                    <a:pt x="607" y="611"/>
                    <a:pt x="665" y="498"/>
                    <a:pt x="704" y="426"/>
                  </a:cubicBezTo>
                  <a:lnTo>
                    <a:pt x="704" y="426"/>
                  </a:lnTo>
                  <a:cubicBezTo>
                    <a:pt x="703" y="433"/>
                    <a:pt x="703" y="440"/>
                    <a:pt x="703" y="448"/>
                  </a:cubicBezTo>
                  <a:cubicBezTo>
                    <a:pt x="716" y="419"/>
                    <a:pt x="716" y="406"/>
                    <a:pt x="729" y="380"/>
                  </a:cubicBezTo>
                  <a:lnTo>
                    <a:pt x="729" y="380"/>
                  </a:lnTo>
                  <a:cubicBezTo>
                    <a:pt x="716" y="393"/>
                    <a:pt x="716" y="393"/>
                    <a:pt x="716" y="406"/>
                  </a:cubicBezTo>
                  <a:lnTo>
                    <a:pt x="716" y="367"/>
                  </a:lnTo>
                  <a:cubicBezTo>
                    <a:pt x="716" y="351"/>
                    <a:pt x="716" y="338"/>
                    <a:pt x="729" y="338"/>
                  </a:cubicBezTo>
                  <a:lnTo>
                    <a:pt x="729" y="367"/>
                  </a:lnTo>
                  <a:lnTo>
                    <a:pt x="729" y="380"/>
                  </a:lnTo>
                  <a:cubicBezTo>
                    <a:pt x="729" y="385"/>
                    <a:pt x="729" y="389"/>
                    <a:pt x="730" y="394"/>
                  </a:cubicBezTo>
                  <a:lnTo>
                    <a:pt x="730" y="394"/>
                  </a:lnTo>
                  <a:cubicBezTo>
                    <a:pt x="729" y="394"/>
                    <a:pt x="729" y="393"/>
                    <a:pt x="729" y="393"/>
                  </a:cubicBezTo>
                  <a:lnTo>
                    <a:pt x="729" y="393"/>
                  </a:lnTo>
                  <a:cubicBezTo>
                    <a:pt x="729" y="396"/>
                    <a:pt x="730" y="399"/>
                    <a:pt x="731" y="402"/>
                  </a:cubicBezTo>
                  <a:lnTo>
                    <a:pt x="731" y="402"/>
                  </a:lnTo>
                  <a:cubicBezTo>
                    <a:pt x="730" y="399"/>
                    <a:pt x="730" y="397"/>
                    <a:pt x="730" y="394"/>
                  </a:cubicBezTo>
                  <a:lnTo>
                    <a:pt x="730" y="394"/>
                  </a:lnTo>
                  <a:cubicBezTo>
                    <a:pt x="772" y="462"/>
                    <a:pt x="839" y="594"/>
                    <a:pt x="865" y="610"/>
                  </a:cubicBezTo>
                  <a:cubicBezTo>
                    <a:pt x="866" y="611"/>
                    <a:pt x="867" y="611"/>
                    <a:pt x="867" y="611"/>
                  </a:cubicBezTo>
                  <a:cubicBezTo>
                    <a:pt x="885" y="611"/>
                    <a:pt x="810" y="461"/>
                    <a:pt x="810" y="461"/>
                  </a:cubicBezTo>
                  <a:lnTo>
                    <a:pt x="810" y="461"/>
                  </a:lnTo>
                  <a:cubicBezTo>
                    <a:pt x="810" y="461"/>
                    <a:pt x="1108" y="1015"/>
                    <a:pt x="1176" y="1080"/>
                  </a:cubicBezTo>
                  <a:cubicBezTo>
                    <a:pt x="1179" y="1082"/>
                    <a:pt x="1181" y="1083"/>
                    <a:pt x="1183" y="1083"/>
                  </a:cubicBezTo>
                  <a:cubicBezTo>
                    <a:pt x="1204" y="1083"/>
                    <a:pt x="1105" y="894"/>
                    <a:pt x="1023" y="748"/>
                  </a:cubicBezTo>
                  <a:lnTo>
                    <a:pt x="1023" y="748"/>
                  </a:lnTo>
                  <a:cubicBezTo>
                    <a:pt x="1046" y="780"/>
                    <a:pt x="1068" y="805"/>
                    <a:pt x="1082" y="811"/>
                  </a:cubicBezTo>
                  <a:cubicBezTo>
                    <a:pt x="1084" y="813"/>
                    <a:pt x="1086" y="814"/>
                    <a:pt x="1087" y="814"/>
                  </a:cubicBezTo>
                  <a:cubicBezTo>
                    <a:pt x="1111" y="814"/>
                    <a:pt x="878" y="406"/>
                    <a:pt x="878" y="406"/>
                  </a:cubicBezTo>
                  <a:lnTo>
                    <a:pt x="878" y="406"/>
                  </a:lnTo>
                  <a:cubicBezTo>
                    <a:pt x="878" y="406"/>
                    <a:pt x="959" y="487"/>
                    <a:pt x="1001" y="487"/>
                  </a:cubicBezTo>
                  <a:cubicBezTo>
                    <a:pt x="1014" y="487"/>
                    <a:pt x="1001" y="461"/>
                    <a:pt x="1001" y="432"/>
                  </a:cubicBezTo>
                  <a:lnTo>
                    <a:pt x="1001" y="432"/>
                  </a:lnTo>
                  <a:cubicBezTo>
                    <a:pt x="1039" y="498"/>
                    <a:pt x="1145" y="630"/>
                    <a:pt x="1174" y="660"/>
                  </a:cubicBezTo>
                  <a:lnTo>
                    <a:pt x="1174" y="660"/>
                  </a:lnTo>
                  <a:cubicBezTo>
                    <a:pt x="1151" y="625"/>
                    <a:pt x="1053" y="474"/>
                    <a:pt x="1053" y="474"/>
                  </a:cubicBezTo>
                  <a:lnTo>
                    <a:pt x="1053" y="474"/>
                  </a:lnTo>
                  <a:cubicBezTo>
                    <a:pt x="1053" y="474"/>
                    <a:pt x="1377" y="756"/>
                    <a:pt x="1419" y="785"/>
                  </a:cubicBezTo>
                  <a:cubicBezTo>
                    <a:pt x="1421" y="786"/>
                    <a:pt x="1422" y="786"/>
                    <a:pt x="1423" y="786"/>
                  </a:cubicBezTo>
                  <a:cubicBezTo>
                    <a:pt x="1446" y="786"/>
                    <a:pt x="1154" y="501"/>
                    <a:pt x="1063" y="415"/>
                  </a:cubicBezTo>
                  <a:lnTo>
                    <a:pt x="1063" y="415"/>
                  </a:lnTo>
                  <a:cubicBezTo>
                    <a:pt x="1091" y="440"/>
                    <a:pt x="1140" y="478"/>
                    <a:pt x="1189" y="487"/>
                  </a:cubicBezTo>
                  <a:cubicBezTo>
                    <a:pt x="1231" y="487"/>
                    <a:pt x="1082" y="380"/>
                    <a:pt x="972" y="299"/>
                  </a:cubicBezTo>
                  <a:cubicBezTo>
                    <a:pt x="972" y="299"/>
                    <a:pt x="959" y="299"/>
                    <a:pt x="959" y="286"/>
                  </a:cubicBezTo>
                  <a:lnTo>
                    <a:pt x="959" y="286"/>
                  </a:lnTo>
                  <a:cubicBezTo>
                    <a:pt x="972" y="299"/>
                    <a:pt x="1001" y="312"/>
                    <a:pt x="1014" y="325"/>
                  </a:cubicBezTo>
                  <a:cubicBezTo>
                    <a:pt x="1020" y="327"/>
                    <a:pt x="1024" y="328"/>
                    <a:pt x="1027" y="328"/>
                  </a:cubicBezTo>
                  <a:cubicBezTo>
                    <a:pt x="1063" y="328"/>
                    <a:pt x="959" y="205"/>
                    <a:pt x="959" y="205"/>
                  </a:cubicBezTo>
                  <a:lnTo>
                    <a:pt x="959" y="205"/>
                  </a:lnTo>
                  <a:cubicBezTo>
                    <a:pt x="959" y="205"/>
                    <a:pt x="1296" y="448"/>
                    <a:pt x="1338" y="461"/>
                  </a:cubicBezTo>
                  <a:cubicBezTo>
                    <a:pt x="1339" y="461"/>
                    <a:pt x="1340" y="462"/>
                    <a:pt x="1341" y="462"/>
                  </a:cubicBezTo>
                  <a:cubicBezTo>
                    <a:pt x="1360" y="462"/>
                    <a:pt x="1121" y="286"/>
                    <a:pt x="1121" y="286"/>
                  </a:cubicBezTo>
                  <a:lnTo>
                    <a:pt x="1121" y="286"/>
                  </a:lnTo>
                  <a:cubicBezTo>
                    <a:pt x="1121" y="286"/>
                    <a:pt x="1176" y="325"/>
                    <a:pt x="1244" y="325"/>
                  </a:cubicBezTo>
                  <a:cubicBezTo>
                    <a:pt x="1246" y="326"/>
                    <a:pt x="1248" y="326"/>
                    <a:pt x="1249" y="326"/>
                  </a:cubicBezTo>
                  <a:cubicBezTo>
                    <a:pt x="1263" y="326"/>
                    <a:pt x="1116" y="240"/>
                    <a:pt x="1040" y="189"/>
                  </a:cubicBezTo>
                  <a:lnTo>
                    <a:pt x="1040" y="189"/>
                  </a:lnTo>
                  <a:cubicBezTo>
                    <a:pt x="1040" y="189"/>
                    <a:pt x="1069" y="205"/>
                    <a:pt x="1082" y="205"/>
                  </a:cubicBezTo>
                  <a:cubicBezTo>
                    <a:pt x="1150" y="205"/>
                    <a:pt x="771" y="1"/>
                    <a:pt x="77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2" name="Google Shape;1132;p38"/>
            <p:cNvSpPr/>
            <p:nvPr/>
          </p:nvSpPr>
          <p:spPr>
            <a:xfrm>
              <a:off x="1589550" y="1453750"/>
              <a:ext cx="650" cy="1725"/>
            </a:xfrm>
            <a:custGeom>
              <a:avLst/>
              <a:gdLst/>
              <a:ahLst/>
              <a:cxnLst/>
              <a:rect l="l" t="t" r="r" b="b"/>
              <a:pathLst>
                <a:path w="26" h="69" extrusionOk="0">
                  <a:moveTo>
                    <a:pt x="0" y="1"/>
                  </a:moveTo>
                  <a:cubicBezTo>
                    <a:pt x="0" y="43"/>
                    <a:pt x="13" y="69"/>
                    <a:pt x="13" y="69"/>
                  </a:cubicBezTo>
                  <a:cubicBezTo>
                    <a:pt x="26" y="69"/>
                    <a:pt x="13" y="43"/>
                    <a:pt x="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3" name="Google Shape;1133;p38"/>
            <p:cNvSpPr/>
            <p:nvPr/>
          </p:nvSpPr>
          <p:spPr>
            <a:xfrm>
              <a:off x="1587850" y="1458850"/>
              <a:ext cx="650" cy="2100"/>
            </a:xfrm>
            <a:custGeom>
              <a:avLst/>
              <a:gdLst/>
              <a:ahLst/>
              <a:cxnLst/>
              <a:rect l="l" t="t" r="r" b="b"/>
              <a:pathLst>
                <a:path w="26" h="84" extrusionOk="0">
                  <a:moveTo>
                    <a:pt x="26" y="1"/>
                  </a:moveTo>
                  <a:cubicBezTo>
                    <a:pt x="16" y="32"/>
                    <a:pt x="6" y="72"/>
                    <a:pt x="2" y="82"/>
                  </a:cubicBezTo>
                  <a:lnTo>
                    <a:pt x="2" y="82"/>
                  </a:lnTo>
                  <a:cubicBezTo>
                    <a:pt x="13" y="80"/>
                    <a:pt x="14" y="54"/>
                    <a:pt x="26" y="1"/>
                  </a:cubicBezTo>
                  <a:close/>
                  <a:moveTo>
                    <a:pt x="2" y="82"/>
                  </a:moveTo>
                  <a:cubicBezTo>
                    <a:pt x="1" y="82"/>
                    <a:pt x="1" y="82"/>
                    <a:pt x="0" y="82"/>
                  </a:cubicBezTo>
                  <a:cubicBezTo>
                    <a:pt x="0" y="83"/>
                    <a:pt x="0" y="84"/>
                    <a:pt x="0" y="84"/>
                  </a:cubicBezTo>
                  <a:cubicBezTo>
                    <a:pt x="1" y="84"/>
                    <a:pt x="1" y="83"/>
                    <a:pt x="2" y="82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4" name="Google Shape;1134;p38"/>
            <p:cNvSpPr/>
            <p:nvPr/>
          </p:nvSpPr>
          <p:spPr>
            <a:xfrm>
              <a:off x="1567950" y="1445650"/>
              <a:ext cx="42175" cy="32250"/>
            </a:xfrm>
            <a:custGeom>
              <a:avLst/>
              <a:gdLst/>
              <a:ahLst/>
              <a:cxnLst/>
              <a:rect l="l" t="t" r="r" b="b"/>
              <a:pathLst>
                <a:path w="1687" h="1290" extrusionOk="0">
                  <a:moveTo>
                    <a:pt x="835" y="435"/>
                  </a:moveTo>
                  <a:cubicBezTo>
                    <a:pt x="835" y="448"/>
                    <a:pt x="835" y="448"/>
                    <a:pt x="848" y="448"/>
                  </a:cubicBezTo>
                  <a:lnTo>
                    <a:pt x="835" y="435"/>
                  </a:lnTo>
                  <a:close/>
                  <a:moveTo>
                    <a:pt x="848" y="406"/>
                  </a:moveTo>
                  <a:lnTo>
                    <a:pt x="848" y="435"/>
                  </a:lnTo>
                  <a:lnTo>
                    <a:pt x="848" y="448"/>
                  </a:lnTo>
                  <a:cubicBezTo>
                    <a:pt x="835" y="461"/>
                    <a:pt x="835" y="474"/>
                    <a:pt x="835" y="487"/>
                  </a:cubicBezTo>
                  <a:lnTo>
                    <a:pt x="835" y="435"/>
                  </a:lnTo>
                  <a:cubicBezTo>
                    <a:pt x="835" y="422"/>
                    <a:pt x="835" y="406"/>
                    <a:pt x="848" y="406"/>
                  </a:cubicBezTo>
                  <a:close/>
                  <a:moveTo>
                    <a:pt x="916" y="273"/>
                  </a:moveTo>
                  <a:lnTo>
                    <a:pt x="916" y="273"/>
                  </a:lnTo>
                  <a:cubicBezTo>
                    <a:pt x="984" y="354"/>
                    <a:pt x="1065" y="461"/>
                    <a:pt x="1120" y="516"/>
                  </a:cubicBezTo>
                  <a:cubicBezTo>
                    <a:pt x="1039" y="448"/>
                    <a:pt x="916" y="341"/>
                    <a:pt x="877" y="312"/>
                  </a:cubicBezTo>
                  <a:lnTo>
                    <a:pt x="890" y="299"/>
                  </a:lnTo>
                  <a:cubicBezTo>
                    <a:pt x="903" y="312"/>
                    <a:pt x="945" y="325"/>
                    <a:pt x="958" y="354"/>
                  </a:cubicBezTo>
                  <a:cubicBezTo>
                    <a:pt x="960" y="356"/>
                    <a:pt x="961" y="356"/>
                    <a:pt x="961" y="356"/>
                  </a:cubicBezTo>
                  <a:cubicBezTo>
                    <a:pt x="964" y="356"/>
                    <a:pt x="941" y="318"/>
                    <a:pt x="916" y="273"/>
                  </a:cubicBezTo>
                  <a:close/>
                  <a:moveTo>
                    <a:pt x="767" y="299"/>
                  </a:moveTo>
                  <a:lnTo>
                    <a:pt x="767" y="299"/>
                  </a:lnTo>
                  <a:cubicBezTo>
                    <a:pt x="744" y="335"/>
                    <a:pt x="722" y="370"/>
                    <a:pt x="725" y="370"/>
                  </a:cubicBezTo>
                  <a:cubicBezTo>
                    <a:pt x="725" y="370"/>
                    <a:pt x="726" y="369"/>
                    <a:pt x="728" y="367"/>
                  </a:cubicBezTo>
                  <a:cubicBezTo>
                    <a:pt x="741" y="354"/>
                    <a:pt x="767" y="341"/>
                    <a:pt x="796" y="325"/>
                  </a:cubicBezTo>
                  <a:lnTo>
                    <a:pt x="796" y="325"/>
                  </a:lnTo>
                  <a:cubicBezTo>
                    <a:pt x="754" y="367"/>
                    <a:pt x="634" y="474"/>
                    <a:pt x="566" y="542"/>
                  </a:cubicBezTo>
                  <a:cubicBezTo>
                    <a:pt x="621" y="474"/>
                    <a:pt x="702" y="380"/>
                    <a:pt x="767" y="299"/>
                  </a:cubicBezTo>
                  <a:close/>
                  <a:moveTo>
                    <a:pt x="890" y="1"/>
                  </a:moveTo>
                  <a:cubicBezTo>
                    <a:pt x="890" y="1"/>
                    <a:pt x="349" y="273"/>
                    <a:pt x="430" y="273"/>
                  </a:cubicBezTo>
                  <a:cubicBezTo>
                    <a:pt x="443" y="260"/>
                    <a:pt x="472" y="260"/>
                    <a:pt x="485" y="260"/>
                  </a:cubicBezTo>
                  <a:cubicBezTo>
                    <a:pt x="385" y="308"/>
                    <a:pt x="212" y="407"/>
                    <a:pt x="234" y="407"/>
                  </a:cubicBezTo>
                  <a:cubicBezTo>
                    <a:pt x="236" y="407"/>
                    <a:pt x="238" y="407"/>
                    <a:pt x="242" y="406"/>
                  </a:cubicBezTo>
                  <a:cubicBezTo>
                    <a:pt x="323" y="406"/>
                    <a:pt x="391" y="367"/>
                    <a:pt x="391" y="367"/>
                  </a:cubicBezTo>
                  <a:lnTo>
                    <a:pt x="391" y="367"/>
                  </a:lnTo>
                  <a:cubicBezTo>
                    <a:pt x="391" y="367"/>
                    <a:pt x="99" y="556"/>
                    <a:pt x="131" y="556"/>
                  </a:cubicBezTo>
                  <a:cubicBezTo>
                    <a:pt x="132" y="556"/>
                    <a:pt x="133" y="555"/>
                    <a:pt x="135" y="555"/>
                  </a:cubicBezTo>
                  <a:cubicBezTo>
                    <a:pt x="187" y="542"/>
                    <a:pt x="566" y="273"/>
                    <a:pt x="566" y="273"/>
                  </a:cubicBezTo>
                  <a:lnTo>
                    <a:pt x="566" y="273"/>
                  </a:lnTo>
                  <a:cubicBezTo>
                    <a:pt x="566" y="273"/>
                    <a:pt x="447" y="412"/>
                    <a:pt x="489" y="412"/>
                  </a:cubicBezTo>
                  <a:cubicBezTo>
                    <a:pt x="494" y="412"/>
                    <a:pt x="501" y="410"/>
                    <a:pt x="511" y="406"/>
                  </a:cubicBezTo>
                  <a:cubicBezTo>
                    <a:pt x="540" y="380"/>
                    <a:pt x="579" y="354"/>
                    <a:pt x="621" y="312"/>
                  </a:cubicBezTo>
                  <a:lnTo>
                    <a:pt x="621" y="312"/>
                  </a:lnTo>
                  <a:cubicBezTo>
                    <a:pt x="592" y="341"/>
                    <a:pt x="579" y="367"/>
                    <a:pt x="566" y="380"/>
                  </a:cubicBezTo>
                  <a:cubicBezTo>
                    <a:pt x="430" y="461"/>
                    <a:pt x="242" y="597"/>
                    <a:pt x="310" y="597"/>
                  </a:cubicBezTo>
                  <a:cubicBezTo>
                    <a:pt x="366" y="573"/>
                    <a:pt x="430" y="525"/>
                    <a:pt x="459" y="500"/>
                  </a:cubicBezTo>
                  <a:lnTo>
                    <a:pt x="459" y="500"/>
                  </a:lnTo>
                  <a:cubicBezTo>
                    <a:pt x="376" y="582"/>
                    <a:pt x="0" y="948"/>
                    <a:pt x="22" y="948"/>
                  </a:cubicBezTo>
                  <a:cubicBezTo>
                    <a:pt x="22" y="948"/>
                    <a:pt x="23" y="948"/>
                    <a:pt x="25" y="947"/>
                  </a:cubicBezTo>
                  <a:cubicBezTo>
                    <a:pt x="93" y="908"/>
                    <a:pt x="459" y="568"/>
                    <a:pt x="459" y="568"/>
                  </a:cubicBezTo>
                  <a:lnTo>
                    <a:pt x="459" y="568"/>
                  </a:lnTo>
                  <a:cubicBezTo>
                    <a:pt x="459" y="568"/>
                    <a:pt x="306" y="802"/>
                    <a:pt x="317" y="802"/>
                  </a:cubicBezTo>
                  <a:cubicBezTo>
                    <a:pt x="318" y="802"/>
                    <a:pt x="320" y="801"/>
                    <a:pt x="323" y="798"/>
                  </a:cubicBezTo>
                  <a:cubicBezTo>
                    <a:pt x="349" y="772"/>
                    <a:pt x="483" y="612"/>
                    <a:pt x="523" y="531"/>
                  </a:cubicBezTo>
                  <a:lnTo>
                    <a:pt x="523" y="531"/>
                  </a:lnTo>
                  <a:cubicBezTo>
                    <a:pt x="511" y="557"/>
                    <a:pt x="511" y="597"/>
                    <a:pt x="511" y="597"/>
                  </a:cubicBezTo>
                  <a:cubicBezTo>
                    <a:pt x="566" y="597"/>
                    <a:pt x="660" y="503"/>
                    <a:pt x="660" y="503"/>
                  </a:cubicBezTo>
                  <a:lnTo>
                    <a:pt x="660" y="503"/>
                  </a:lnTo>
                  <a:cubicBezTo>
                    <a:pt x="660" y="503"/>
                    <a:pt x="385" y="975"/>
                    <a:pt x="412" y="975"/>
                  </a:cubicBezTo>
                  <a:cubicBezTo>
                    <a:pt x="413" y="975"/>
                    <a:pt x="415" y="975"/>
                    <a:pt x="417" y="973"/>
                  </a:cubicBezTo>
                  <a:cubicBezTo>
                    <a:pt x="459" y="947"/>
                    <a:pt x="524" y="840"/>
                    <a:pt x="579" y="772"/>
                  </a:cubicBezTo>
                  <a:lnTo>
                    <a:pt x="579" y="772"/>
                  </a:lnTo>
                  <a:cubicBezTo>
                    <a:pt x="491" y="924"/>
                    <a:pt x="283" y="1289"/>
                    <a:pt x="303" y="1289"/>
                  </a:cubicBezTo>
                  <a:cubicBezTo>
                    <a:pt x="304" y="1289"/>
                    <a:pt x="307" y="1287"/>
                    <a:pt x="310" y="1284"/>
                  </a:cubicBezTo>
                  <a:cubicBezTo>
                    <a:pt x="391" y="1203"/>
                    <a:pt x="741" y="555"/>
                    <a:pt x="741" y="555"/>
                  </a:cubicBezTo>
                  <a:lnTo>
                    <a:pt x="741" y="555"/>
                  </a:lnTo>
                  <a:cubicBezTo>
                    <a:pt x="741" y="555"/>
                    <a:pt x="659" y="733"/>
                    <a:pt x="669" y="733"/>
                  </a:cubicBezTo>
                  <a:cubicBezTo>
                    <a:pt x="670" y="733"/>
                    <a:pt x="671" y="732"/>
                    <a:pt x="673" y="730"/>
                  </a:cubicBezTo>
                  <a:cubicBezTo>
                    <a:pt x="701" y="718"/>
                    <a:pt x="775" y="582"/>
                    <a:pt x="827" y="500"/>
                  </a:cubicBezTo>
                  <a:lnTo>
                    <a:pt x="827" y="500"/>
                  </a:lnTo>
                  <a:cubicBezTo>
                    <a:pt x="822" y="510"/>
                    <a:pt x="822" y="520"/>
                    <a:pt x="822" y="529"/>
                  </a:cubicBezTo>
                  <a:cubicBezTo>
                    <a:pt x="835" y="503"/>
                    <a:pt x="835" y="474"/>
                    <a:pt x="848" y="461"/>
                  </a:cubicBezTo>
                  <a:cubicBezTo>
                    <a:pt x="848" y="461"/>
                    <a:pt x="848" y="461"/>
                    <a:pt x="848" y="461"/>
                  </a:cubicBezTo>
                  <a:lnTo>
                    <a:pt x="848" y="461"/>
                  </a:lnTo>
                  <a:cubicBezTo>
                    <a:pt x="848" y="474"/>
                    <a:pt x="864" y="487"/>
                    <a:pt x="864" y="503"/>
                  </a:cubicBezTo>
                  <a:cubicBezTo>
                    <a:pt x="864" y="499"/>
                    <a:pt x="864" y="494"/>
                    <a:pt x="864" y="490"/>
                  </a:cubicBezTo>
                  <a:lnTo>
                    <a:pt x="864" y="490"/>
                  </a:lnTo>
                  <a:cubicBezTo>
                    <a:pt x="910" y="574"/>
                    <a:pt x="985" y="694"/>
                    <a:pt x="997" y="717"/>
                  </a:cubicBezTo>
                  <a:cubicBezTo>
                    <a:pt x="998" y="717"/>
                    <a:pt x="1000" y="718"/>
                    <a:pt x="1001" y="718"/>
                  </a:cubicBezTo>
                  <a:cubicBezTo>
                    <a:pt x="1033" y="718"/>
                    <a:pt x="945" y="542"/>
                    <a:pt x="945" y="542"/>
                  </a:cubicBezTo>
                  <a:lnTo>
                    <a:pt x="945" y="542"/>
                  </a:lnTo>
                  <a:cubicBezTo>
                    <a:pt x="945" y="542"/>
                    <a:pt x="1295" y="1190"/>
                    <a:pt x="1376" y="1258"/>
                  </a:cubicBezTo>
                  <a:cubicBezTo>
                    <a:pt x="1379" y="1261"/>
                    <a:pt x="1382" y="1263"/>
                    <a:pt x="1383" y="1263"/>
                  </a:cubicBezTo>
                  <a:cubicBezTo>
                    <a:pt x="1403" y="1263"/>
                    <a:pt x="1195" y="898"/>
                    <a:pt x="1107" y="746"/>
                  </a:cubicBezTo>
                  <a:lnTo>
                    <a:pt x="1107" y="746"/>
                  </a:lnTo>
                  <a:cubicBezTo>
                    <a:pt x="1146" y="811"/>
                    <a:pt x="1214" y="921"/>
                    <a:pt x="1253" y="960"/>
                  </a:cubicBezTo>
                  <a:cubicBezTo>
                    <a:pt x="1255" y="962"/>
                    <a:pt x="1258" y="962"/>
                    <a:pt x="1259" y="962"/>
                  </a:cubicBezTo>
                  <a:cubicBezTo>
                    <a:pt x="1299" y="962"/>
                    <a:pt x="1026" y="474"/>
                    <a:pt x="1026" y="474"/>
                  </a:cubicBezTo>
                  <a:lnTo>
                    <a:pt x="1026" y="474"/>
                  </a:lnTo>
                  <a:cubicBezTo>
                    <a:pt x="1026" y="474"/>
                    <a:pt x="1120" y="568"/>
                    <a:pt x="1159" y="584"/>
                  </a:cubicBezTo>
                  <a:lnTo>
                    <a:pt x="1172" y="568"/>
                  </a:lnTo>
                  <a:cubicBezTo>
                    <a:pt x="1172" y="568"/>
                    <a:pt x="1159" y="542"/>
                    <a:pt x="1159" y="516"/>
                  </a:cubicBezTo>
                  <a:lnTo>
                    <a:pt x="1159" y="516"/>
                  </a:lnTo>
                  <a:cubicBezTo>
                    <a:pt x="1201" y="584"/>
                    <a:pt x="1334" y="759"/>
                    <a:pt x="1363" y="785"/>
                  </a:cubicBezTo>
                  <a:cubicBezTo>
                    <a:pt x="1365" y="786"/>
                    <a:pt x="1366" y="787"/>
                    <a:pt x="1367" y="787"/>
                  </a:cubicBezTo>
                  <a:cubicBezTo>
                    <a:pt x="1385" y="787"/>
                    <a:pt x="1227" y="555"/>
                    <a:pt x="1227" y="555"/>
                  </a:cubicBezTo>
                  <a:lnTo>
                    <a:pt x="1227" y="555"/>
                  </a:lnTo>
                  <a:cubicBezTo>
                    <a:pt x="1227" y="555"/>
                    <a:pt x="1593" y="892"/>
                    <a:pt x="1658" y="921"/>
                  </a:cubicBezTo>
                  <a:cubicBezTo>
                    <a:pt x="1659" y="922"/>
                    <a:pt x="1661" y="922"/>
                    <a:pt x="1661" y="922"/>
                  </a:cubicBezTo>
                  <a:cubicBezTo>
                    <a:pt x="1686" y="922"/>
                    <a:pt x="1252" y="515"/>
                    <a:pt x="1214" y="474"/>
                  </a:cubicBezTo>
                  <a:lnTo>
                    <a:pt x="1214" y="474"/>
                  </a:lnTo>
                  <a:cubicBezTo>
                    <a:pt x="1227" y="487"/>
                    <a:pt x="1308" y="555"/>
                    <a:pt x="1376" y="568"/>
                  </a:cubicBezTo>
                  <a:cubicBezTo>
                    <a:pt x="1379" y="569"/>
                    <a:pt x="1381" y="569"/>
                    <a:pt x="1383" y="569"/>
                  </a:cubicBezTo>
                  <a:cubicBezTo>
                    <a:pt x="1412" y="569"/>
                    <a:pt x="1246" y="444"/>
                    <a:pt x="1133" y="367"/>
                  </a:cubicBezTo>
                  <a:cubicBezTo>
                    <a:pt x="1120" y="354"/>
                    <a:pt x="1120" y="354"/>
                    <a:pt x="1120" y="341"/>
                  </a:cubicBezTo>
                  <a:lnTo>
                    <a:pt x="1120" y="341"/>
                  </a:lnTo>
                  <a:cubicBezTo>
                    <a:pt x="1133" y="354"/>
                    <a:pt x="1159" y="367"/>
                    <a:pt x="1172" y="380"/>
                  </a:cubicBezTo>
                  <a:cubicBezTo>
                    <a:pt x="1181" y="385"/>
                    <a:pt x="1188" y="387"/>
                    <a:pt x="1192" y="387"/>
                  </a:cubicBezTo>
                  <a:cubicBezTo>
                    <a:pt x="1224" y="387"/>
                    <a:pt x="1120" y="260"/>
                    <a:pt x="1120" y="260"/>
                  </a:cubicBezTo>
                  <a:lnTo>
                    <a:pt x="1120" y="260"/>
                  </a:lnTo>
                  <a:cubicBezTo>
                    <a:pt x="1120" y="260"/>
                    <a:pt x="1496" y="529"/>
                    <a:pt x="1551" y="542"/>
                  </a:cubicBezTo>
                  <a:cubicBezTo>
                    <a:pt x="1552" y="542"/>
                    <a:pt x="1553" y="543"/>
                    <a:pt x="1554" y="543"/>
                  </a:cubicBezTo>
                  <a:cubicBezTo>
                    <a:pt x="1575" y="543"/>
                    <a:pt x="1295" y="354"/>
                    <a:pt x="1295" y="354"/>
                  </a:cubicBezTo>
                  <a:lnTo>
                    <a:pt x="1295" y="354"/>
                  </a:lnTo>
                  <a:cubicBezTo>
                    <a:pt x="1295" y="354"/>
                    <a:pt x="1363" y="380"/>
                    <a:pt x="1444" y="393"/>
                  </a:cubicBezTo>
                  <a:cubicBezTo>
                    <a:pt x="1447" y="394"/>
                    <a:pt x="1449" y="394"/>
                    <a:pt x="1451" y="394"/>
                  </a:cubicBezTo>
                  <a:cubicBezTo>
                    <a:pt x="1474" y="394"/>
                    <a:pt x="1319" y="305"/>
                    <a:pt x="1217" y="241"/>
                  </a:cubicBezTo>
                  <a:lnTo>
                    <a:pt x="1217" y="241"/>
                  </a:lnTo>
                  <a:cubicBezTo>
                    <a:pt x="1226" y="244"/>
                    <a:pt x="1237" y="244"/>
                    <a:pt x="1253" y="244"/>
                  </a:cubicBezTo>
                  <a:cubicBezTo>
                    <a:pt x="1334" y="244"/>
                    <a:pt x="890" y="1"/>
                    <a:pt x="89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5" name="Google Shape;1135;p38"/>
            <p:cNvSpPr/>
            <p:nvPr/>
          </p:nvSpPr>
          <p:spPr>
            <a:xfrm>
              <a:off x="1589550" y="1458225"/>
              <a:ext cx="650" cy="2375"/>
            </a:xfrm>
            <a:custGeom>
              <a:avLst/>
              <a:gdLst/>
              <a:ahLst/>
              <a:cxnLst/>
              <a:rect l="l" t="t" r="r" b="b"/>
              <a:pathLst>
                <a:path w="26" h="95" extrusionOk="0">
                  <a:moveTo>
                    <a:pt x="0" y="0"/>
                  </a:moveTo>
                  <a:lnTo>
                    <a:pt x="0" y="0"/>
                  </a:lnTo>
                  <a:cubicBezTo>
                    <a:pt x="13" y="52"/>
                    <a:pt x="13" y="94"/>
                    <a:pt x="26" y="94"/>
                  </a:cubicBezTo>
                  <a:cubicBezTo>
                    <a:pt x="26" y="94"/>
                    <a:pt x="13" y="52"/>
                    <a:pt x="0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6" name="Google Shape;1136;p38"/>
            <p:cNvSpPr/>
            <p:nvPr/>
          </p:nvSpPr>
          <p:spPr>
            <a:xfrm>
              <a:off x="1582075" y="1449700"/>
              <a:ext cx="16225" cy="30225"/>
            </a:xfrm>
            <a:custGeom>
              <a:avLst/>
              <a:gdLst/>
              <a:ahLst/>
              <a:cxnLst/>
              <a:rect l="l" t="t" r="r" b="b"/>
              <a:pathLst>
                <a:path w="649" h="1209" extrusionOk="0">
                  <a:moveTo>
                    <a:pt x="257" y="1"/>
                  </a:moveTo>
                  <a:lnTo>
                    <a:pt x="163" y="341"/>
                  </a:lnTo>
                  <a:lnTo>
                    <a:pt x="1" y="1041"/>
                  </a:lnTo>
                  <a:lnTo>
                    <a:pt x="231" y="448"/>
                  </a:lnTo>
                  <a:lnTo>
                    <a:pt x="231" y="448"/>
                  </a:lnTo>
                  <a:cubicBezTo>
                    <a:pt x="231" y="448"/>
                    <a:pt x="150" y="730"/>
                    <a:pt x="150" y="853"/>
                  </a:cubicBezTo>
                  <a:cubicBezTo>
                    <a:pt x="150" y="866"/>
                    <a:pt x="152" y="872"/>
                    <a:pt x="155" y="872"/>
                  </a:cubicBezTo>
                  <a:cubicBezTo>
                    <a:pt x="181" y="872"/>
                    <a:pt x="299" y="487"/>
                    <a:pt x="299" y="487"/>
                  </a:cubicBezTo>
                  <a:lnTo>
                    <a:pt x="299" y="487"/>
                  </a:lnTo>
                  <a:cubicBezTo>
                    <a:pt x="299" y="487"/>
                    <a:pt x="226" y="1209"/>
                    <a:pt x="241" y="1209"/>
                  </a:cubicBezTo>
                  <a:cubicBezTo>
                    <a:pt x="242" y="1209"/>
                    <a:pt x="243" y="1207"/>
                    <a:pt x="244" y="1203"/>
                  </a:cubicBezTo>
                  <a:cubicBezTo>
                    <a:pt x="257" y="1122"/>
                    <a:pt x="312" y="542"/>
                    <a:pt x="312" y="542"/>
                  </a:cubicBezTo>
                  <a:cubicBezTo>
                    <a:pt x="312" y="542"/>
                    <a:pt x="419" y="908"/>
                    <a:pt x="445" y="934"/>
                  </a:cubicBezTo>
                  <a:cubicBezTo>
                    <a:pt x="446" y="935"/>
                    <a:pt x="446" y="935"/>
                    <a:pt x="447" y="935"/>
                  </a:cubicBezTo>
                  <a:cubicBezTo>
                    <a:pt x="469" y="935"/>
                    <a:pt x="380" y="529"/>
                    <a:pt x="380" y="529"/>
                  </a:cubicBezTo>
                  <a:lnTo>
                    <a:pt x="380" y="529"/>
                  </a:lnTo>
                  <a:cubicBezTo>
                    <a:pt x="380" y="529"/>
                    <a:pt x="607" y="1028"/>
                    <a:pt x="623" y="1028"/>
                  </a:cubicBezTo>
                  <a:cubicBezTo>
                    <a:pt x="649" y="1028"/>
                    <a:pt x="257" y="1"/>
                    <a:pt x="257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7" name="Google Shape;1137;p38"/>
            <p:cNvSpPr/>
            <p:nvPr/>
          </p:nvSpPr>
          <p:spPr>
            <a:xfrm>
              <a:off x="1583950" y="1432225"/>
              <a:ext cx="9975" cy="5550"/>
            </a:xfrm>
            <a:custGeom>
              <a:avLst/>
              <a:gdLst/>
              <a:ahLst/>
              <a:cxnLst/>
              <a:rect l="l" t="t" r="r" b="b"/>
              <a:pathLst>
                <a:path w="399" h="222" extrusionOk="0">
                  <a:moveTo>
                    <a:pt x="90" y="81"/>
                  </a:moveTo>
                  <a:cubicBezTo>
                    <a:pt x="89" y="81"/>
                    <a:pt x="89" y="81"/>
                    <a:pt x="88" y="81"/>
                  </a:cubicBezTo>
                  <a:cubicBezTo>
                    <a:pt x="87" y="82"/>
                    <a:pt x="87" y="82"/>
                    <a:pt x="87" y="82"/>
                  </a:cubicBezTo>
                  <a:cubicBezTo>
                    <a:pt x="88" y="82"/>
                    <a:pt x="89" y="82"/>
                    <a:pt x="90" y="81"/>
                  </a:cubicBezTo>
                  <a:close/>
                  <a:moveTo>
                    <a:pt x="208" y="0"/>
                  </a:moveTo>
                  <a:cubicBezTo>
                    <a:pt x="208" y="0"/>
                    <a:pt x="109" y="70"/>
                    <a:pt x="90" y="81"/>
                  </a:cubicBezTo>
                  <a:lnTo>
                    <a:pt x="90" y="81"/>
                  </a:lnTo>
                  <a:cubicBezTo>
                    <a:pt x="108" y="78"/>
                    <a:pt x="182" y="52"/>
                    <a:pt x="182" y="52"/>
                  </a:cubicBezTo>
                  <a:lnTo>
                    <a:pt x="182" y="52"/>
                  </a:lnTo>
                  <a:cubicBezTo>
                    <a:pt x="182" y="52"/>
                    <a:pt x="1" y="163"/>
                    <a:pt x="16" y="163"/>
                  </a:cubicBezTo>
                  <a:cubicBezTo>
                    <a:pt x="17" y="163"/>
                    <a:pt x="18" y="163"/>
                    <a:pt x="20" y="162"/>
                  </a:cubicBezTo>
                  <a:cubicBezTo>
                    <a:pt x="46" y="149"/>
                    <a:pt x="169" y="107"/>
                    <a:pt x="169" y="107"/>
                  </a:cubicBezTo>
                  <a:lnTo>
                    <a:pt x="169" y="107"/>
                  </a:lnTo>
                  <a:cubicBezTo>
                    <a:pt x="169" y="107"/>
                    <a:pt x="2" y="221"/>
                    <a:pt x="16" y="221"/>
                  </a:cubicBezTo>
                  <a:cubicBezTo>
                    <a:pt x="17" y="221"/>
                    <a:pt x="23" y="219"/>
                    <a:pt x="33" y="214"/>
                  </a:cubicBezTo>
                  <a:cubicBezTo>
                    <a:pt x="101" y="188"/>
                    <a:pt x="224" y="107"/>
                    <a:pt x="224" y="107"/>
                  </a:cubicBezTo>
                  <a:cubicBezTo>
                    <a:pt x="224" y="107"/>
                    <a:pt x="368" y="202"/>
                    <a:pt x="385" y="202"/>
                  </a:cubicBezTo>
                  <a:cubicBezTo>
                    <a:pt x="386" y="202"/>
                    <a:pt x="386" y="202"/>
                    <a:pt x="386" y="201"/>
                  </a:cubicBezTo>
                  <a:cubicBezTo>
                    <a:pt x="399" y="201"/>
                    <a:pt x="250" y="94"/>
                    <a:pt x="250" y="94"/>
                  </a:cubicBezTo>
                  <a:lnTo>
                    <a:pt x="250" y="94"/>
                  </a:lnTo>
                  <a:cubicBezTo>
                    <a:pt x="250" y="94"/>
                    <a:pt x="338" y="123"/>
                    <a:pt x="363" y="123"/>
                  </a:cubicBezTo>
                  <a:cubicBezTo>
                    <a:pt x="367" y="123"/>
                    <a:pt x="370" y="122"/>
                    <a:pt x="370" y="120"/>
                  </a:cubicBezTo>
                  <a:cubicBezTo>
                    <a:pt x="370" y="110"/>
                    <a:pt x="314" y="92"/>
                    <a:pt x="288" y="85"/>
                  </a:cubicBezTo>
                  <a:lnTo>
                    <a:pt x="288" y="85"/>
                  </a:lnTo>
                  <a:cubicBezTo>
                    <a:pt x="301" y="88"/>
                    <a:pt x="321" y="93"/>
                    <a:pt x="336" y="93"/>
                  </a:cubicBezTo>
                  <a:cubicBezTo>
                    <a:pt x="348" y="93"/>
                    <a:pt x="357" y="90"/>
                    <a:pt x="357" y="81"/>
                  </a:cubicBezTo>
                  <a:cubicBezTo>
                    <a:pt x="344" y="68"/>
                    <a:pt x="208" y="0"/>
                    <a:pt x="208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8" name="Google Shape;1138;p38"/>
            <p:cNvSpPr/>
            <p:nvPr/>
          </p:nvSpPr>
          <p:spPr>
            <a:xfrm>
              <a:off x="1553725" y="1481950"/>
              <a:ext cx="138500" cy="5650"/>
            </a:xfrm>
            <a:custGeom>
              <a:avLst/>
              <a:gdLst/>
              <a:ahLst/>
              <a:cxnLst/>
              <a:rect l="l" t="t" r="r" b="b"/>
              <a:pathLst>
                <a:path w="5540" h="226" extrusionOk="0">
                  <a:moveTo>
                    <a:pt x="4403" y="0"/>
                  </a:moveTo>
                  <a:cubicBezTo>
                    <a:pt x="3103" y="0"/>
                    <a:pt x="1148" y="36"/>
                    <a:pt x="1148" y="36"/>
                  </a:cubicBezTo>
                  <a:cubicBezTo>
                    <a:pt x="1148" y="36"/>
                    <a:pt x="1" y="88"/>
                    <a:pt x="69" y="130"/>
                  </a:cubicBezTo>
                  <a:cubicBezTo>
                    <a:pt x="92" y="143"/>
                    <a:pt x="212" y="147"/>
                    <a:pt x="361" y="147"/>
                  </a:cubicBezTo>
                  <a:cubicBezTo>
                    <a:pt x="644" y="147"/>
                    <a:pt x="1033" y="132"/>
                    <a:pt x="1076" y="130"/>
                  </a:cubicBezTo>
                  <a:lnTo>
                    <a:pt x="1076" y="130"/>
                  </a:lnTo>
                  <a:cubicBezTo>
                    <a:pt x="1037" y="132"/>
                    <a:pt x="734" y="146"/>
                    <a:pt x="798" y="198"/>
                  </a:cubicBezTo>
                  <a:cubicBezTo>
                    <a:pt x="822" y="218"/>
                    <a:pt x="1237" y="225"/>
                    <a:pt x="1809" y="225"/>
                  </a:cubicBezTo>
                  <a:cubicBezTo>
                    <a:pt x="3172" y="225"/>
                    <a:pt x="5428" y="185"/>
                    <a:pt x="5428" y="185"/>
                  </a:cubicBezTo>
                  <a:cubicBezTo>
                    <a:pt x="5428" y="185"/>
                    <a:pt x="4592" y="117"/>
                    <a:pt x="4754" y="88"/>
                  </a:cubicBezTo>
                  <a:cubicBezTo>
                    <a:pt x="4784" y="83"/>
                    <a:pt x="4828" y="82"/>
                    <a:pt x="4881" y="82"/>
                  </a:cubicBezTo>
                  <a:cubicBezTo>
                    <a:pt x="4986" y="82"/>
                    <a:pt x="5124" y="88"/>
                    <a:pt x="5246" y="88"/>
                  </a:cubicBezTo>
                  <a:cubicBezTo>
                    <a:pt x="5397" y="88"/>
                    <a:pt x="5523" y="78"/>
                    <a:pt x="5535" y="36"/>
                  </a:cubicBezTo>
                  <a:cubicBezTo>
                    <a:pt x="5539" y="9"/>
                    <a:pt x="5053" y="0"/>
                    <a:pt x="4403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9" name="Google Shape;1139;p38"/>
            <p:cNvSpPr/>
            <p:nvPr/>
          </p:nvSpPr>
          <p:spPr>
            <a:xfrm>
              <a:off x="1566200" y="1460875"/>
              <a:ext cx="18250" cy="23275"/>
            </a:xfrm>
            <a:custGeom>
              <a:avLst/>
              <a:gdLst/>
              <a:ahLst/>
              <a:cxnLst/>
              <a:rect l="l" t="t" r="r" b="b"/>
              <a:pathLst>
                <a:path w="730" h="931" extrusionOk="0">
                  <a:moveTo>
                    <a:pt x="270" y="1"/>
                  </a:moveTo>
                  <a:cubicBezTo>
                    <a:pt x="270" y="1"/>
                    <a:pt x="56" y="137"/>
                    <a:pt x="1" y="432"/>
                  </a:cubicBezTo>
                  <a:lnTo>
                    <a:pt x="1" y="931"/>
                  </a:lnTo>
                  <a:lnTo>
                    <a:pt x="730" y="931"/>
                  </a:lnTo>
                  <a:lnTo>
                    <a:pt x="730" y="351"/>
                  </a:lnTo>
                  <a:cubicBezTo>
                    <a:pt x="662" y="244"/>
                    <a:pt x="474" y="1"/>
                    <a:pt x="270" y="1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0" name="Google Shape;1140;p38"/>
            <p:cNvSpPr/>
            <p:nvPr/>
          </p:nvSpPr>
          <p:spPr>
            <a:xfrm>
              <a:off x="1584425" y="1469625"/>
              <a:ext cx="675" cy="14525"/>
            </a:xfrm>
            <a:custGeom>
              <a:avLst/>
              <a:gdLst/>
              <a:ahLst/>
              <a:cxnLst/>
              <a:rect l="l" t="t" r="r" b="b"/>
              <a:pathLst>
                <a:path w="27" h="581" extrusionOk="0">
                  <a:moveTo>
                    <a:pt x="1" y="1"/>
                  </a:moveTo>
                  <a:lnTo>
                    <a:pt x="1" y="581"/>
                  </a:lnTo>
                  <a:lnTo>
                    <a:pt x="27" y="581"/>
                  </a:lnTo>
                  <a:lnTo>
                    <a:pt x="27" y="43"/>
                  </a:lnTo>
                  <a:cubicBezTo>
                    <a:pt x="27" y="43"/>
                    <a:pt x="27" y="30"/>
                    <a:pt x="1" y="1"/>
                  </a:cubicBezTo>
                  <a:close/>
                </a:path>
              </a:pathLst>
            </a:custGeom>
            <a:solidFill>
              <a:srgbClr val="C5C6C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1" name="Google Shape;1141;p38"/>
            <p:cNvSpPr/>
            <p:nvPr/>
          </p:nvSpPr>
          <p:spPr>
            <a:xfrm>
              <a:off x="1585075" y="1466650"/>
              <a:ext cx="23675" cy="17500"/>
            </a:xfrm>
            <a:custGeom>
              <a:avLst/>
              <a:gdLst/>
              <a:ahLst/>
              <a:cxnLst/>
              <a:rect l="l" t="t" r="r" b="b"/>
              <a:pathLst>
                <a:path w="947" h="700" extrusionOk="0">
                  <a:moveTo>
                    <a:pt x="380" y="0"/>
                  </a:moveTo>
                  <a:lnTo>
                    <a:pt x="1" y="133"/>
                  </a:lnTo>
                  <a:lnTo>
                    <a:pt x="1" y="700"/>
                  </a:lnTo>
                  <a:lnTo>
                    <a:pt x="947" y="700"/>
                  </a:lnTo>
                  <a:lnTo>
                    <a:pt x="947" y="201"/>
                  </a:lnTo>
                  <a:lnTo>
                    <a:pt x="380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2" name="Google Shape;1142;p38"/>
            <p:cNvSpPr/>
            <p:nvPr/>
          </p:nvSpPr>
          <p:spPr>
            <a:xfrm>
              <a:off x="1566200" y="1460250"/>
              <a:ext cx="43200" cy="11425"/>
            </a:xfrm>
            <a:custGeom>
              <a:avLst/>
              <a:gdLst/>
              <a:ahLst/>
              <a:cxnLst/>
              <a:rect l="l" t="t" r="r" b="b"/>
              <a:pathLst>
                <a:path w="1728" h="457" extrusionOk="0">
                  <a:moveTo>
                    <a:pt x="312" y="0"/>
                  </a:moveTo>
                  <a:cubicBezTo>
                    <a:pt x="312" y="0"/>
                    <a:pt x="56" y="120"/>
                    <a:pt x="1" y="457"/>
                  </a:cubicBezTo>
                  <a:cubicBezTo>
                    <a:pt x="1" y="457"/>
                    <a:pt x="108" y="81"/>
                    <a:pt x="312" y="39"/>
                  </a:cubicBezTo>
                  <a:cubicBezTo>
                    <a:pt x="312" y="39"/>
                    <a:pt x="380" y="39"/>
                    <a:pt x="461" y="94"/>
                  </a:cubicBezTo>
                  <a:cubicBezTo>
                    <a:pt x="513" y="120"/>
                    <a:pt x="581" y="175"/>
                    <a:pt x="623" y="256"/>
                  </a:cubicBezTo>
                  <a:cubicBezTo>
                    <a:pt x="662" y="308"/>
                    <a:pt x="691" y="376"/>
                    <a:pt x="704" y="457"/>
                  </a:cubicBezTo>
                  <a:lnTo>
                    <a:pt x="1728" y="457"/>
                  </a:lnTo>
                  <a:cubicBezTo>
                    <a:pt x="1728" y="457"/>
                    <a:pt x="1728" y="363"/>
                    <a:pt x="1676" y="256"/>
                  </a:cubicBezTo>
                  <a:cubicBezTo>
                    <a:pt x="1663" y="201"/>
                    <a:pt x="1621" y="146"/>
                    <a:pt x="1566" y="107"/>
                  </a:cubicBezTo>
                  <a:cubicBezTo>
                    <a:pt x="1540" y="65"/>
                    <a:pt x="1485" y="39"/>
                    <a:pt x="1433" y="26"/>
                  </a:cubicBezTo>
                  <a:lnTo>
                    <a:pt x="312" y="0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3" name="Google Shape;1143;p38"/>
            <p:cNvSpPr/>
            <p:nvPr/>
          </p:nvSpPr>
          <p:spPr>
            <a:xfrm>
              <a:off x="1569925" y="1476775"/>
              <a:ext cx="8775" cy="7375"/>
            </a:xfrm>
            <a:custGeom>
              <a:avLst/>
              <a:gdLst/>
              <a:ahLst/>
              <a:cxnLst/>
              <a:rect l="l" t="t" r="r" b="b"/>
              <a:pathLst>
                <a:path w="351" h="295" extrusionOk="0">
                  <a:moveTo>
                    <a:pt x="1" y="0"/>
                  </a:moveTo>
                  <a:lnTo>
                    <a:pt x="1" y="295"/>
                  </a:lnTo>
                  <a:lnTo>
                    <a:pt x="351" y="295"/>
                  </a:lnTo>
                  <a:lnTo>
                    <a:pt x="351" y="0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4" name="Google Shape;1144;p38"/>
            <p:cNvSpPr/>
            <p:nvPr/>
          </p:nvSpPr>
          <p:spPr>
            <a:xfrm>
              <a:off x="1573675" y="1476775"/>
              <a:ext cx="325" cy="7375"/>
            </a:xfrm>
            <a:custGeom>
              <a:avLst/>
              <a:gdLst/>
              <a:ahLst/>
              <a:cxnLst/>
              <a:rect l="l" t="t" r="r" b="b"/>
              <a:pathLst>
                <a:path w="13" h="295" extrusionOk="0">
                  <a:moveTo>
                    <a:pt x="0" y="0"/>
                  </a:moveTo>
                  <a:lnTo>
                    <a:pt x="0" y="295"/>
                  </a:lnTo>
                  <a:lnTo>
                    <a:pt x="13" y="295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5" name="Google Shape;1145;p38"/>
            <p:cNvSpPr/>
            <p:nvPr/>
          </p:nvSpPr>
          <p:spPr>
            <a:xfrm>
              <a:off x="1600300" y="1438925"/>
              <a:ext cx="35425" cy="45225"/>
            </a:xfrm>
            <a:custGeom>
              <a:avLst/>
              <a:gdLst/>
              <a:ahLst/>
              <a:cxnLst/>
              <a:rect l="l" t="t" r="r" b="b"/>
              <a:pathLst>
                <a:path w="1417" h="1809" extrusionOk="0">
                  <a:moveTo>
                    <a:pt x="528" y="1"/>
                  </a:moveTo>
                  <a:cubicBezTo>
                    <a:pt x="523" y="1"/>
                    <a:pt x="518" y="1"/>
                    <a:pt x="513" y="1"/>
                  </a:cubicBezTo>
                  <a:cubicBezTo>
                    <a:pt x="513" y="1"/>
                    <a:pt x="95" y="270"/>
                    <a:pt x="1" y="853"/>
                  </a:cubicBezTo>
                  <a:lnTo>
                    <a:pt x="1" y="1809"/>
                  </a:lnTo>
                  <a:lnTo>
                    <a:pt x="1417" y="1809"/>
                  </a:lnTo>
                  <a:lnTo>
                    <a:pt x="1417" y="691"/>
                  </a:lnTo>
                  <a:cubicBezTo>
                    <a:pt x="1286" y="490"/>
                    <a:pt x="915" y="1"/>
                    <a:pt x="528" y="1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6" name="Google Shape;1146;p38"/>
            <p:cNvSpPr/>
            <p:nvPr/>
          </p:nvSpPr>
          <p:spPr>
            <a:xfrm>
              <a:off x="1635700" y="1456200"/>
              <a:ext cx="1400" cy="27950"/>
            </a:xfrm>
            <a:custGeom>
              <a:avLst/>
              <a:gdLst/>
              <a:ahLst/>
              <a:cxnLst/>
              <a:rect l="l" t="t" r="r" b="b"/>
              <a:pathLst>
                <a:path w="56" h="1118" extrusionOk="0">
                  <a:moveTo>
                    <a:pt x="1" y="0"/>
                  </a:moveTo>
                  <a:lnTo>
                    <a:pt x="1" y="1118"/>
                  </a:lnTo>
                  <a:lnTo>
                    <a:pt x="56" y="1118"/>
                  </a:lnTo>
                  <a:lnTo>
                    <a:pt x="56" y="65"/>
                  </a:lnTo>
                  <a:cubicBezTo>
                    <a:pt x="56" y="65"/>
                    <a:pt x="43" y="39"/>
                    <a:pt x="1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7" name="Google Shape;1147;p38"/>
            <p:cNvSpPr/>
            <p:nvPr/>
          </p:nvSpPr>
          <p:spPr>
            <a:xfrm>
              <a:off x="1637075" y="1450125"/>
              <a:ext cx="45650" cy="34025"/>
            </a:xfrm>
            <a:custGeom>
              <a:avLst/>
              <a:gdLst/>
              <a:ahLst/>
              <a:cxnLst/>
              <a:rect l="l" t="t" r="r" b="b"/>
              <a:pathLst>
                <a:path w="1826" h="1361" extrusionOk="0">
                  <a:moveTo>
                    <a:pt x="743" y="0"/>
                  </a:moveTo>
                  <a:lnTo>
                    <a:pt x="1" y="282"/>
                  </a:lnTo>
                  <a:lnTo>
                    <a:pt x="1" y="1361"/>
                  </a:lnTo>
                  <a:lnTo>
                    <a:pt x="1825" y="1361"/>
                  </a:lnTo>
                  <a:lnTo>
                    <a:pt x="1825" y="405"/>
                  </a:lnTo>
                  <a:lnTo>
                    <a:pt x="743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8" name="Google Shape;1148;p38"/>
            <p:cNvSpPr/>
            <p:nvPr/>
          </p:nvSpPr>
          <p:spPr>
            <a:xfrm>
              <a:off x="1599675" y="1437550"/>
              <a:ext cx="84650" cy="22725"/>
            </a:xfrm>
            <a:custGeom>
              <a:avLst/>
              <a:gdLst/>
              <a:ahLst/>
              <a:cxnLst/>
              <a:rect l="l" t="t" r="r" b="b"/>
              <a:pathLst>
                <a:path w="3386" h="909" extrusionOk="0">
                  <a:moveTo>
                    <a:pt x="606" y="1"/>
                  </a:moveTo>
                  <a:cubicBezTo>
                    <a:pt x="606" y="1"/>
                    <a:pt x="133" y="244"/>
                    <a:pt x="0" y="908"/>
                  </a:cubicBezTo>
                  <a:lnTo>
                    <a:pt x="26" y="908"/>
                  </a:lnTo>
                  <a:cubicBezTo>
                    <a:pt x="26" y="908"/>
                    <a:pt x="214" y="163"/>
                    <a:pt x="606" y="82"/>
                  </a:cubicBezTo>
                  <a:cubicBezTo>
                    <a:pt x="606" y="82"/>
                    <a:pt x="742" y="82"/>
                    <a:pt x="917" y="179"/>
                  </a:cubicBezTo>
                  <a:cubicBezTo>
                    <a:pt x="1024" y="244"/>
                    <a:pt x="1134" y="341"/>
                    <a:pt x="1228" y="503"/>
                  </a:cubicBezTo>
                  <a:cubicBezTo>
                    <a:pt x="1296" y="610"/>
                    <a:pt x="1348" y="746"/>
                    <a:pt x="1390" y="908"/>
                  </a:cubicBezTo>
                  <a:lnTo>
                    <a:pt x="3373" y="908"/>
                  </a:lnTo>
                  <a:cubicBezTo>
                    <a:pt x="3373" y="908"/>
                    <a:pt x="3386" y="717"/>
                    <a:pt x="3292" y="516"/>
                  </a:cubicBezTo>
                  <a:cubicBezTo>
                    <a:pt x="3240" y="406"/>
                    <a:pt x="3172" y="312"/>
                    <a:pt x="3078" y="218"/>
                  </a:cubicBezTo>
                  <a:cubicBezTo>
                    <a:pt x="3010" y="150"/>
                    <a:pt x="2916" y="98"/>
                    <a:pt x="2819" y="56"/>
                  </a:cubicBezTo>
                  <a:lnTo>
                    <a:pt x="606" y="1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9" name="Google Shape;1149;p38"/>
            <p:cNvSpPr/>
            <p:nvPr/>
          </p:nvSpPr>
          <p:spPr>
            <a:xfrm>
              <a:off x="1607025" y="1469950"/>
              <a:ext cx="17275" cy="14200"/>
            </a:xfrm>
            <a:custGeom>
              <a:avLst/>
              <a:gdLst/>
              <a:ahLst/>
              <a:cxnLst/>
              <a:rect l="l" t="t" r="r" b="b"/>
              <a:pathLst>
                <a:path w="691" h="568" extrusionOk="0">
                  <a:moveTo>
                    <a:pt x="1" y="1"/>
                  </a:moveTo>
                  <a:lnTo>
                    <a:pt x="1" y="568"/>
                  </a:lnTo>
                  <a:lnTo>
                    <a:pt x="691" y="568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0" name="Google Shape;1150;p38"/>
            <p:cNvSpPr/>
            <p:nvPr/>
          </p:nvSpPr>
          <p:spPr>
            <a:xfrm>
              <a:off x="1614800" y="1469950"/>
              <a:ext cx="350" cy="14200"/>
            </a:xfrm>
            <a:custGeom>
              <a:avLst/>
              <a:gdLst/>
              <a:ahLst/>
              <a:cxnLst/>
              <a:rect l="l" t="t" r="r" b="b"/>
              <a:pathLst>
                <a:path w="14" h="568" extrusionOk="0">
                  <a:moveTo>
                    <a:pt x="1" y="1"/>
                  </a:moveTo>
                  <a:lnTo>
                    <a:pt x="1" y="568"/>
                  </a:lnTo>
                  <a:lnTo>
                    <a:pt x="14" y="568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1" name="Google Shape;1151;p38"/>
            <p:cNvSpPr/>
            <p:nvPr/>
          </p:nvSpPr>
          <p:spPr>
            <a:xfrm>
              <a:off x="1676625" y="1463550"/>
              <a:ext cx="22600" cy="27100"/>
            </a:xfrm>
            <a:custGeom>
              <a:avLst/>
              <a:gdLst/>
              <a:ahLst/>
              <a:cxnLst/>
              <a:rect l="l" t="t" r="r" b="b"/>
              <a:pathLst>
                <a:path w="904" h="1084" extrusionOk="0">
                  <a:moveTo>
                    <a:pt x="862" y="338"/>
                  </a:moveTo>
                  <a:cubicBezTo>
                    <a:pt x="836" y="338"/>
                    <a:pt x="810" y="367"/>
                    <a:pt x="810" y="393"/>
                  </a:cubicBezTo>
                  <a:cubicBezTo>
                    <a:pt x="810" y="406"/>
                    <a:pt x="823" y="419"/>
                    <a:pt x="836" y="435"/>
                  </a:cubicBezTo>
                  <a:lnTo>
                    <a:pt x="862" y="435"/>
                  </a:lnTo>
                  <a:cubicBezTo>
                    <a:pt x="891" y="435"/>
                    <a:pt x="904" y="419"/>
                    <a:pt x="904" y="393"/>
                  </a:cubicBezTo>
                  <a:cubicBezTo>
                    <a:pt x="904" y="367"/>
                    <a:pt x="891" y="338"/>
                    <a:pt x="862" y="338"/>
                  </a:cubicBezTo>
                  <a:close/>
                  <a:moveTo>
                    <a:pt x="486" y="1"/>
                  </a:moveTo>
                  <a:cubicBezTo>
                    <a:pt x="350" y="1"/>
                    <a:pt x="227" y="124"/>
                    <a:pt x="227" y="273"/>
                  </a:cubicBezTo>
                  <a:cubicBezTo>
                    <a:pt x="227" y="406"/>
                    <a:pt x="324" y="516"/>
                    <a:pt x="457" y="529"/>
                  </a:cubicBezTo>
                  <a:lnTo>
                    <a:pt x="457" y="678"/>
                  </a:lnTo>
                  <a:lnTo>
                    <a:pt x="405" y="623"/>
                  </a:lnTo>
                  <a:lnTo>
                    <a:pt x="405" y="568"/>
                  </a:lnTo>
                  <a:lnTo>
                    <a:pt x="389" y="568"/>
                  </a:lnTo>
                  <a:lnTo>
                    <a:pt x="389" y="662"/>
                  </a:lnTo>
                  <a:lnTo>
                    <a:pt x="282" y="555"/>
                  </a:lnTo>
                  <a:lnTo>
                    <a:pt x="282" y="529"/>
                  </a:lnTo>
                  <a:cubicBezTo>
                    <a:pt x="282" y="461"/>
                    <a:pt x="243" y="419"/>
                    <a:pt x="188" y="419"/>
                  </a:cubicBezTo>
                  <a:cubicBezTo>
                    <a:pt x="146" y="419"/>
                    <a:pt x="107" y="448"/>
                    <a:pt x="94" y="474"/>
                  </a:cubicBezTo>
                  <a:lnTo>
                    <a:pt x="65" y="474"/>
                  </a:lnTo>
                  <a:cubicBezTo>
                    <a:pt x="26" y="474"/>
                    <a:pt x="0" y="500"/>
                    <a:pt x="0" y="542"/>
                  </a:cubicBezTo>
                  <a:cubicBezTo>
                    <a:pt x="0" y="581"/>
                    <a:pt x="26" y="623"/>
                    <a:pt x="65" y="623"/>
                  </a:cubicBezTo>
                  <a:cubicBezTo>
                    <a:pt x="94" y="623"/>
                    <a:pt x="107" y="610"/>
                    <a:pt x="120" y="597"/>
                  </a:cubicBezTo>
                  <a:cubicBezTo>
                    <a:pt x="133" y="610"/>
                    <a:pt x="162" y="623"/>
                    <a:pt x="188" y="623"/>
                  </a:cubicBezTo>
                  <a:cubicBezTo>
                    <a:pt x="214" y="623"/>
                    <a:pt x="243" y="610"/>
                    <a:pt x="269" y="581"/>
                  </a:cubicBezTo>
                  <a:lnTo>
                    <a:pt x="457" y="730"/>
                  </a:lnTo>
                  <a:lnTo>
                    <a:pt x="457" y="1083"/>
                  </a:lnTo>
                  <a:lnTo>
                    <a:pt x="525" y="1083"/>
                  </a:lnTo>
                  <a:lnTo>
                    <a:pt x="525" y="691"/>
                  </a:lnTo>
                  <a:lnTo>
                    <a:pt x="567" y="678"/>
                  </a:lnTo>
                  <a:lnTo>
                    <a:pt x="606" y="691"/>
                  </a:lnTo>
                  <a:lnTo>
                    <a:pt x="619" y="678"/>
                  </a:lnTo>
                  <a:lnTo>
                    <a:pt x="593" y="662"/>
                  </a:lnTo>
                  <a:lnTo>
                    <a:pt x="742" y="581"/>
                  </a:lnTo>
                  <a:cubicBezTo>
                    <a:pt x="755" y="610"/>
                    <a:pt x="781" y="623"/>
                    <a:pt x="810" y="623"/>
                  </a:cubicBezTo>
                  <a:cubicBezTo>
                    <a:pt x="862" y="623"/>
                    <a:pt x="904" y="581"/>
                    <a:pt x="904" y="529"/>
                  </a:cubicBezTo>
                  <a:cubicBezTo>
                    <a:pt x="904" y="487"/>
                    <a:pt x="875" y="448"/>
                    <a:pt x="836" y="435"/>
                  </a:cubicBezTo>
                  <a:lnTo>
                    <a:pt x="810" y="435"/>
                  </a:lnTo>
                  <a:cubicBezTo>
                    <a:pt x="768" y="435"/>
                    <a:pt x="729" y="474"/>
                    <a:pt x="729" y="529"/>
                  </a:cubicBezTo>
                  <a:lnTo>
                    <a:pt x="729" y="555"/>
                  </a:lnTo>
                  <a:lnTo>
                    <a:pt x="619" y="610"/>
                  </a:lnTo>
                  <a:lnTo>
                    <a:pt x="632" y="542"/>
                  </a:lnTo>
                  <a:lnTo>
                    <a:pt x="606" y="542"/>
                  </a:lnTo>
                  <a:lnTo>
                    <a:pt x="606" y="610"/>
                  </a:lnTo>
                  <a:lnTo>
                    <a:pt x="525" y="636"/>
                  </a:lnTo>
                  <a:lnTo>
                    <a:pt x="525" y="529"/>
                  </a:lnTo>
                  <a:cubicBezTo>
                    <a:pt x="661" y="500"/>
                    <a:pt x="755" y="393"/>
                    <a:pt x="755" y="273"/>
                  </a:cubicBezTo>
                  <a:cubicBezTo>
                    <a:pt x="755" y="124"/>
                    <a:pt x="632" y="1"/>
                    <a:pt x="486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2" name="Google Shape;1152;p38"/>
            <p:cNvSpPr/>
            <p:nvPr/>
          </p:nvSpPr>
          <p:spPr>
            <a:xfrm>
              <a:off x="1260750" y="1482850"/>
              <a:ext cx="282875" cy="3750"/>
            </a:xfrm>
            <a:custGeom>
              <a:avLst/>
              <a:gdLst/>
              <a:ahLst/>
              <a:cxnLst/>
              <a:rect l="l" t="t" r="r" b="b"/>
              <a:pathLst>
                <a:path w="11315" h="150" extrusionOk="0">
                  <a:moveTo>
                    <a:pt x="892" y="0"/>
                  </a:moveTo>
                  <a:lnTo>
                    <a:pt x="1" y="149"/>
                  </a:lnTo>
                  <a:lnTo>
                    <a:pt x="10787" y="149"/>
                  </a:lnTo>
                  <a:lnTo>
                    <a:pt x="1131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3" name="Google Shape;1153;p38"/>
            <p:cNvSpPr/>
            <p:nvPr/>
          </p:nvSpPr>
          <p:spPr>
            <a:xfrm>
              <a:off x="1287400" y="1477075"/>
              <a:ext cx="271800" cy="3775"/>
            </a:xfrm>
            <a:custGeom>
              <a:avLst/>
              <a:gdLst/>
              <a:ahLst/>
              <a:cxnLst/>
              <a:rect l="l" t="t" r="r" b="b"/>
              <a:pathLst>
                <a:path w="10872" h="151" extrusionOk="0">
                  <a:moveTo>
                    <a:pt x="908" y="1"/>
                  </a:moveTo>
                  <a:lnTo>
                    <a:pt x="1" y="150"/>
                  </a:lnTo>
                  <a:lnTo>
                    <a:pt x="10343" y="150"/>
                  </a:lnTo>
                  <a:lnTo>
                    <a:pt x="10871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4" name="Google Shape;1154;p38"/>
            <p:cNvSpPr/>
            <p:nvPr/>
          </p:nvSpPr>
          <p:spPr>
            <a:xfrm>
              <a:off x="16347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5" name="Google Shape;1155;p38"/>
            <p:cNvSpPr/>
            <p:nvPr/>
          </p:nvSpPr>
          <p:spPr>
            <a:xfrm>
              <a:off x="163302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6" name="Google Shape;1156;p38"/>
            <p:cNvSpPr/>
            <p:nvPr/>
          </p:nvSpPr>
          <p:spPr>
            <a:xfrm>
              <a:off x="163132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7" name="Google Shape;1157;p38"/>
            <p:cNvSpPr/>
            <p:nvPr/>
          </p:nvSpPr>
          <p:spPr>
            <a:xfrm>
              <a:off x="1629625" y="1484875"/>
              <a:ext cx="750" cy="3000"/>
            </a:xfrm>
            <a:custGeom>
              <a:avLst/>
              <a:gdLst/>
              <a:ahLst/>
              <a:cxnLst/>
              <a:rect l="l" t="t" r="r" b="b"/>
              <a:pathLst>
                <a:path w="30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8" name="Google Shape;1158;p38"/>
            <p:cNvSpPr/>
            <p:nvPr/>
          </p:nvSpPr>
          <p:spPr>
            <a:xfrm>
              <a:off x="16280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9" name="Google Shape;1159;p38"/>
            <p:cNvSpPr/>
            <p:nvPr/>
          </p:nvSpPr>
          <p:spPr>
            <a:xfrm>
              <a:off x="16266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0" name="Google Shape;1160;p38"/>
            <p:cNvSpPr/>
            <p:nvPr/>
          </p:nvSpPr>
          <p:spPr>
            <a:xfrm>
              <a:off x="16249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1" name="Google Shape;1161;p38"/>
            <p:cNvSpPr/>
            <p:nvPr/>
          </p:nvSpPr>
          <p:spPr>
            <a:xfrm>
              <a:off x="16232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2" name="Google Shape;1162;p38"/>
            <p:cNvSpPr/>
            <p:nvPr/>
          </p:nvSpPr>
          <p:spPr>
            <a:xfrm>
              <a:off x="162152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3" name="Google Shape;1163;p38"/>
            <p:cNvSpPr/>
            <p:nvPr/>
          </p:nvSpPr>
          <p:spPr>
            <a:xfrm>
              <a:off x="161992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4" name="Google Shape;1164;p38"/>
            <p:cNvSpPr/>
            <p:nvPr/>
          </p:nvSpPr>
          <p:spPr>
            <a:xfrm>
              <a:off x="16182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5" name="Google Shape;1165;p38"/>
            <p:cNvSpPr/>
            <p:nvPr/>
          </p:nvSpPr>
          <p:spPr>
            <a:xfrm>
              <a:off x="16165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6" name="Google Shape;1166;p38"/>
            <p:cNvSpPr/>
            <p:nvPr/>
          </p:nvSpPr>
          <p:spPr>
            <a:xfrm>
              <a:off x="16148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7" name="Google Shape;1167;p38"/>
            <p:cNvSpPr/>
            <p:nvPr/>
          </p:nvSpPr>
          <p:spPr>
            <a:xfrm>
              <a:off x="161310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8" name="Google Shape;1168;p38"/>
            <p:cNvSpPr/>
            <p:nvPr/>
          </p:nvSpPr>
          <p:spPr>
            <a:xfrm>
              <a:off x="1611400" y="1484875"/>
              <a:ext cx="750" cy="3000"/>
            </a:xfrm>
            <a:custGeom>
              <a:avLst/>
              <a:gdLst/>
              <a:ahLst/>
              <a:cxnLst/>
              <a:rect l="l" t="t" r="r" b="b"/>
              <a:pathLst>
                <a:path w="30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9" name="Google Shape;1169;p38"/>
            <p:cNvSpPr/>
            <p:nvPr/>
          </p:nvSpPr>
          <p:spPr>
            <a:xfrm>
              <a:off x="161012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0" name="Google Shape;1170;p38"/>
            <p:cNvSpPr/>
            <p:nvPr/>
          </p:nvSpPr>
          <p:spPr>
            <a:xfrm>
              <a:off x="16084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1" name="Google Shape;1171;p38"/>
            <p:cNvSpPr/>
            <p:nvPr/>
          </p:nvSpPr>
          <p:spPr>
            <a:xfrm>
              <a:off x="16067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2" name="Google Shape;1172;p38"/>
            <p:cNvSpPr/>
            <p:nvPr/>
          </p:nvSpPr>
          <p:spPr>
            <a:xfrm>
              <a:off x="16050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3" name="Google Shape;1173;p38"/>
            <p:cNvSpPr/>
            <p:nvPr/>
          </p:nvSpPr>
          <p:spPr>
            <a:xfrm>
              <a:off x="160330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4" name="Google Shape;1174;p38"/>
            <p:cNvSpPr/>
            <p:nvPr/>
          </p:nvSpPr>
          <p:spPr>
            <a:xfrm>
              <a:off x="160170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5" name="Google Shape;1175;p38"/>
            <p:cNvSpPr/>
            <p:nvPr/>
          </p:nvSpPr>
          <p:spPr>
            <a:xfrm>
              <a:off x="160000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6" name="Google Shape;1176;p38"/>
            <p:cNvSpPr/>
            <p:nvPr/>
          </p:nvSpPr>
          <p:spPr>
            <a:xfrm>
              <a:off x="15982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7" name="Google Shape;1177;p38"/>
            <p:cNvSpPr/>
            <p:nvPr/>
          </p:nvSpPr>
          <p:spPr>
            <a:xfrm>
              <a:off x="15965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8" name="Google Shape;1178;p38"/>
            <p:cNvSpPr/>
            <p:nvPr/>
          </p:nvSpPr>
          <p:spPr>
            <a:xfrm>
              <a:off x="159520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9" name="Google Shape;1179;p38"/>
            <p:cNvSpPr/>
            <p:nvPr/>
          </p:nvSpPr>
          <p:spPr>
            <a:xfrm>
              <a:off x="15936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0" name="Google Shape;1180;p38"/>
            <p:cNvSpPr/>
            <p:nvPr/>
          </p:nvSpPr>
          <p:spPr>
            <a:xfrm>
              <a:off x="1591900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1" name="Google Shape;1181;p38"/>
            <p:cNvSpPr/>
            <p:nvPr/>
          </p:nvSpPr>
          <p:spPr>
            <a:xfrm>
              <a:off x="15901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2" name="Google Shape;1182;p38"/>
            <p:cNvSpPr/>
            <p:nvPr/>
          </p:nvSpPr>
          <p:spPr>
            <a:xfrm>
              <a:off x="15884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3" name="Google Shape;1183;p38"/>
            <p:cNvSpPr/>
            <p:nvPr/>
          </p:nvSpPr>
          <p:spPr>
            <a:xfrm>
              <a:off x="15867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4" name="Google Shape;1184;p38"/>
            <p:cNvSpPr/>
            <p:nvPr/>
          </p:nvSpPr>
          <p:spPr>
            <a:xfrm>
              <a:off x="15850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5" name="Google Shape;1185;p38"/>
            <p:cNvSpPr/>
            <p:nvPr/>
          </p:nvSpPr>
          <p:spPr>
            <a:xfrm>
              <a:off x="15834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6" name="Google Shape;1186;p38"/>
            <p:cNvSpPr/>
            <p:nvPr/>
          </p:nvSpPr>
          <p:spPr>
            <a:xfrm>
              <a:off x="15817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7" name="Google Shape;1187;p38"/>
            <p:cNvSpPr/>
            <p:nvPr/>
          </p:nvSpPr>
          <p:spPr>
            <a:xfrm>
              <a:off x="15803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8" name="Google Shape;1188;p38"/>
            <p:cNvSpPr/>
            <p:nvPr/>
          </p:nvSpPr>
          <p:spPr>
            <a:xfrm>
              <a:off x="15786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9" name="Google Shape;1189;p38"/>
            <p:cNvSpPr/>
            <p:nvPr/>
          </p:nvSpPr>
          <p:spPr>
            <a:xfrm>
              <a:off x="157697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0" name="Google Shape;1190;p38"/>
            <p:cNvSpPr/>
            <p:nvPr/>
          </p:nvSpPr>
          <p:spPr>
            <a:xfrm>
              <a:off x="15753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1" name="Google Shape;1191;p38"/>
            <p:cNvSpPr/>
            <p:nvPr/>
          </p:nvSpPr>
          <p:spPr>
            <a:xfrm>
              <a:off x="157367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2" name="Google Shape;1192;p38"/>
            <p:cNvSpPr/>
            <p:nvPr/>
          </p:nvSpPr>
          <p:spPr>
            <a:xfrm>
              <a:off x="15719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3" name="Google Shape;1193;p38"/>
            <p:cNvSpPr/>
            <p:nvPr/>
          </p:nvSpPr>
          <p:spPr>
            <a:xfrm>
              <a:off x="157025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4" name="Google Shape;1194;p38"/>
            <p:cNvSpPr/>
            <p:nvPr/>
          </p:nvSpPr>
          <p:spPr>
            <a:xfrm>
              <a:off x="156855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5" name="Google Shape;1195;p38"/>
            <p:cNvSpPr/>
            <p:nvPr/>
          </p:nvSpPr>
          <p:spPr>
            <a:xfrm>
              <a:off x="156685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6" name="Google Shape;1196;p38"/>
            <p:cNvSpPr/>
            <p:nvPr/>
          </p:nvSpPr>
          <p:spPr>
            <a:xfrm>
              <a:off x="156525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7" name="Google Shape;1197;p38"/>
            <p:cNvSpPr/>
            <p:nvPr/>
          </p:nvSpPr>
          <p:spPr>
            <a:xfrm>
              <a:off x="15638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8" name="Google Shape;1198;p38"/>
            <p:cNvSpPr/>
            <p:nvPr/>
          </p:nvSpPr>
          <p:spPr>
            <a:xfrm>
              <a:off x="15621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9" name="Google Shape;1199;p38"/>
            <p:cNvSpPr/>
            <p:nvPr/>
          </p:nvSpPr>
          <p:spPr>
            <a:xfrm>
              <a:off x="15604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0" name="Google Shape;1200;p38"/>
            <p:cNvSpPr/>
            <p:nvPr/>
          </p:nvSpPr>
          <p:spPr>
            <a:xfrm>
              <a:off x="155875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1" name="Google Shape;1201;p38"/>
            <p:cNvSpPr/>
            <p:nvPr/>
          </p:nvSpPr>
          <p:spPr>
            <a:xfrm>
              <a:off x="15571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2" name="Google Shape;1202;p38"/>
            <p:cNvSpPr/>
            <p:nvPr/>
          </p:nvSpPr>
          <p:spPr>
            <a:xfrm>
              <a:off x="155545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3" name="Google Shape;1203;p38"/>
            <p:cNvSpPr/>
            <p:nvPr/>
          </p:nvSpPr>
          <p:spPr>
            <a:xfrm>
              <a:off x="155372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4" name="Google Shape;1204;p38"/>
            <p:cNvSpPr/>
            <p:nvPr/>
          </p:nvSpPr>
          <p:spPr>
            <a:xfrm>
              <a:off x="155202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5" name="Google Shape;1205;p38"/>
            <p:cNvSpPr/>
            <p:nvPr/>
          </p:nvSpPr>
          <p:spPr>
            <a:xfrm>
              <a:off x="155032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6" name="Google Shape;1206;p38"/>
            <p:cNvSpPr/>
            <p:nvPr/>
          </p:nvSpPr>
          <p:spPr>
            <a:xfrm>
              <a:off x="15490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7" name="Google Shape;1207;p38"/>
            <p:cNvSpPr/>
            <p:nvPr/>
          </p:nvSpPr>
          <p:spPr>
            <a:xfrm>
              <a:off x="1547350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8" name="Google Shape;1208;p38"/>
            <p:cNvSpPr/>
            <p:nvPr/>
          </p:nvSpPr>
          <p:spPr>
            <a:xfrm>
              <a:off x="15456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9" name="Google Shape;1209;p38"/>
            <p:cNvSpPr/>
            <p:nvPr/>
          </p:nvSpPr>
          <p:spPr>
            <a:xfrm>
              <a:off x="15439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0" name="Google Shape;1210;p38"/>
            <p:cNvSpPr/>
            <p:nvPr/>
          </p:nvSpPr>
          <p:spPr>
            <a:xfrm>
              <a:off x="15422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1" name="Google Shape;1211;p38"/>
            <p:cNvSpPr/>
            <p:nvPr/>
          </p:nvSpPr>
          <p:spPr>
            <a:xfrm>
              <a:off x="154052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2" name="Google Shape;1212;p38"/>
            <p:cNvSpPr/>
            <p:nvPr/>
          </p:nvSpPr>
          <p:spPr>
            <a:xfrm>
              <a:off x="15389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3" name="Google Shape;1213;p38"/>
            <p:cNvSpPr/>
            <p:nvPr/>
          </p:nvSpPr>
          <p:spPr>
            <a:xfrm>
              <a:off x="15372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4" name="Google Shape;1214;p38"/>
            <p:cNvSpPr/>
            <p:nvPr/>
          </p:nvSpPr>
          <p:spPr>
            <a:xfrm>
              <a:off x="15355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5" name="Google Shape;1215;p38"/>
            <p:cNvSpPr/>
            <p:nvPr/>
          </p:nvSpPr>
          <p:spPr>
            <a:xfrm>
              <a:off x="15338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6" name="Google Shape;1216;p38"/>
            <p:cNvSpPr/>
            <p:nvPr/>
          </p:nvSpPr>
          <p:spPr>
            <a:xfrm>
              <a:off x="153242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7" name="Google Shape;1217;p38"/>
            <p:cNvSpPr/>
            <p:nvPr/>
          </p:nvSpPr>
          <p:spPr>
            <a:xfrm>
              <a:off x="15308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8" name="Google Shape;1218;p38"/>
            <p:cNvSpPr/>
            <p:nvPr/>
          </p:nvSpPr>
          <p:spPr>
            <a:xfrm>
              <a:off x="152912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9" name="Google Shape;1219;p38"/>
            <p:cNvSpPr/>
            <p:nvPr/>
          </p:nvSpPr>
          <p:spPr>
            <a:xfrm>
              <a:off x="15274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0" name="Google Shape;1220;p38"/>
            <p:cNvSpPr/>
            <p:nvPr/>
          </p:nvSpPr>
          <p:spPr>
            <a:xfrm>
              <a:off x="15257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1" name="Google Shape;1221;p38"/>
            <p:cNvSpPr/>
            <p:nvPr/>
          </p:nvSpPr>
          <p:spPr>
            <a:xfrm>
              <a:off x="152400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2" name="Google Shape;1222;p38"/>
            <p:cNvSpPr/>
            <p:nvPr/>
          </p:nvSpPr>
          <p:spPr>
            <a:xfrm>
              <a:off x="152230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3" name="Google Shape;1223;p38"/>
            <p:cNvSpPr/>
            <p:nvPr/>
          </p:nvSpPr>
          <p:spPr>
            <a:xfrm>
              <a:off x="152070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4" name="Google Shape;1224;p38"/>
            <p:cNvSpPr/>
            <p:nvPr/>
          </p:nvSpPr>
          <p:spPr>
            <a:xfrm>
              <a:off x="151900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5" name="Google Shape;1225;p38"/>
            <p:cNvSpPr/>
            <p:nvPr/>
          </p:nvSpPr>
          <p:spPr>
            <a:xfrm>
              <a:off x="15176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6" name="Google Shape;1226;p38"/>
            <p:cNvSpPr/>
            <p:nvPr/>
          </p:nvSpPr>
          <p:spPr>
            <a:xfrm>
              <a:off x="15159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7" name="Google Shape;1227;p38"/>
            <p:cNvSpPr/>
            <p:nvPr/>
          </p:nvSpPr>
          <p:spPr>
            <a:xfrm>
              <a:off x="151420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8" name="Google Shape;1228;p38"/>
            <p:cNvSpPr/>
            <p:nvPr/>
          </p:nvSpPr>
          <p:spPr>
            <a:xfrm>
              <a:off x="15126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9" name="Google Shape;1229;p38"/>
            <p:cNvSpPr/>
            <p:nvPr/>
          </p:nvSpPr>
          <p:spPr>
            <a:xfrm>
              <a:off x="1510900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0" name="Google Shape;1230;p38"/>
            <p:cNvSpPr/>
            <p:nvPr/>
          </p:nvSpPr>
          <p:spPr>
            <a:xfrm>
              <a:off x="15091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1" name="Google Shape;1231;p38"/>
            <p:cNvSpPr/>
            <p:nvPr/>
          </p:nvSpPr>
          <p:spPr>
            <a:xfrm>
              <a:off x="15074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2" name="Google Shape;1232;p38"/>
            <p:cNvSpPr/>
            <p:nvPr/>
          </p:nvSpPr>
          <p:spPr>
            <a:xfrm>
              <a:off x="15057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3" name="Google Shape;1233;p38"/>
            <p:cNvSpPr/>
            <p:nvPr/>
          </p:nvSpPr>
          <p:spPr>
            <a:xfrm>
              <a:off x="15040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4" name="Google Shape;1234;p38"/>
            <p:cNvSpPr/>
            <p:nvPr/>
          </p:nvSpPr>
          <p:spPr>
            <a:xfrm>
              <a:off x="15024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5" name="Google Shape;1235;p38"/>
            <p:cNvSpPr/>
            <p:nvPr/>
          </p:nvSpPr>
          <p:spPr>
            <a:xfrm>
              <a:off x="15010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6" name="Google Shape;1236;p38"/>
            <p:cNvSpPr/>
            <p:nvPr/>
          </p:nvSpPr>
          <p:spPr>
            <a:xfrm>
              <a:off x="14993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7" name="Google Shape;1237;p38"/>
            <p:cNvSpPr/>
            <p:nvPr/>
          </p:nvSpPr>
          <p:spPr>
            <a:xfrm>
              <a:off x="14976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8" name="Google Shape;1238;p38"/>
            <p:cNvSpPr/>
            <p:nvPr/>
          </p:nvSpPr>
          <p:spPr>
            <a:xfrm>
              <a:off x="149597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9" name="Google Shape;1239;p38"/>
            <p:cNvSpPr/>
            <p:nvPr/>
          </p:nvSpPr>
          <p:spPr>
            <a:xfrm>
              <a:off x="14943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0" name="Google Shape;1240;p38"/>
            <p:cNvSpPr/>
            <p:nvPr/>
          </p:nvSpPr>
          <p:spPr>
            <a:xfrm>
              <a:off x="14926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1" name="Google Shape;1241;p38"/>
            <p:cNvSpPr/>
            <p:nvPr/>
          </p:nvSpPr>
          <p:spPr>
            <a:xfrm>
              <a:off x="149095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2" name="Google Shape;1242;p38"/>
            <p:cNvSpPr/>
            <p:nvPr/>
          </p:nvSpPr>
          <p:spPr>
            <a:xfrm>
              <a:off x="148925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3" name="Google Shape;1243;p38"/>
            <p:cNvSpPr/>
            <p:nvPr/>
          </p:nvSpPr>
          <p:spPr>
            <a:xfrm>
              <a:off x="148755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4" name="Google Shape;1244;p38"/>
            <p:cNvSpPr/>
            <p:nvPr/>
          </p:nvSpPr>
          <p:spPr>
            <a:xfrm>
              <a:off x="14862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5" name="Google Shape;1245;p38"/>
            <p:cNvSpPr/>
            <p:nvPr/>
          </p:nvSpPr>
          <p:spPr>
            <a:xfrm>
              <a:off x="148457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6" name="Google Shape;1246;p38"/>
            <p:cNvSpPr/>
            <p:nvPr/>
          </p:nvSpPr>
          <p:spPr>
            <a:xfrm>
              <a:off x="14828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7" name="Google Shape;1247;p38"/>
            <p:cNvSpPr/>
            <p:nvPr/>
          </p:nvSpPr>
          <p:spPr>
            <a:xfrm>
              <a:off x="14811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8" name="Google Shape;1248;p38"/>
            <p:cNvSpPr/>
            <p:nvPr/>
          </p:nvSpPr>
          <p:spPr>
            <a:xfrm>
              <a:off x="14794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9" name="Google Shape;1249;p38"/>
            <p:cNvSpPr/>
            <p:nvPr/>
          </p:nvSpPr>
          <p:spPr>
            <a:xfrm>
              <a:off x="147775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0" name="Google Shape;1250;p38"/>
            <p:cNvSpPr/>
            <p:nvPr/>
          </p:nvSpPr>
          <p:spPr>
            <a:xfrm>
              <a:off x="147615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1" name="Google Shape;1251;p38"/>
            <p:cNvSpPr/>
            <p:nvPr/>
          </p:nvSpPr>
          <p:spPr>
            <a:xfrm>
              <a:off x="147445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2" name="Google Shape;1252;p38"/>
            <p:cNvSpPr/>
            <p:nvPr/>
          </p:nvSpPr>
          <p:spPr>
            <a:xfrm>
              <a:off x="147272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3" name="Google Shape;1253;p38"/>
            <p:cNvSpPr/>
            <p:nvPr/>
          </p:nvSpPr>
          <p:spPr>
            <a:xfrm>
              <a:off x="147102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4" name="Google Shape;1254;p38"/>
            <p:cNvSpPr/>
            <p:nvPr/>
          </p:nvSpPr>
          <p:spPr>
            <a:xfrm>
              <a:off x="146965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5" name="Google Shape;1255;p38"/>
            <p:cNvSpPr/>
            <p:nvPr/>
          </p:nvSpPr>
          <p:spPr>
            <a:xfrm>
              <a:off x="14680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6" name="Google Shape;1256;p38"/>
            <p:cNvSpPr/>
            <p:nvPr/>
          </p:nvSpPr>
          <p:spPr>
            <a:xfrm>
              <a:off x="1466350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7" name="Google Shape;1257;p38"/>
            <p:cNvSpPr/>
            <p:nvPr/>
          </p:nvSpPr>
          <p:spPr>
            <a:xfrm>
              <a:off x="14646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8" name="Google Shape;1258;p38"/>
            <p:cNvSpPr/>
            <p:nvPr/>
          </p:nvSpPr>
          <p:spPr>
            <a:xfrm>
              <a:off x="14629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9" name="Google Shape;1259;p38"/>
            <p:cNvSpPr/>
            <p:nvPr/>
          </p:nvSpPr>
          <p:spPr>
            <a:xfrm>
              <a:off x="146122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0" name="Google Shape;1260;p38"/>
            <p:cNvSpPr/>
            <p:nvPr/>
          </p:nvSpPr>
          <p:spPr>
            <a:xfrm>
              <a:off x="145952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1" name="Google Shape;1261;p38"/>
            <p:cNvSpPr/>
            <p:nvPr/>
          </p:nvSpPr>
          <p:spPr>
            <a:xfrm>
              <a:off x="14579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2" name="Google Shape;1262;p38"/>
            <p:cNvSpPr/>
            <p:nvPr/>
          </p:nvSpPr>
          <p:spPr>
            <a:xfrm>
              <a:off x="14562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3" name="Google Shape;1263;p38"/>
            <p:cNvSpPr/>
            <p:nvPr/>
          </p:nvSpPr>
          <p:spPr>
            <a:xfrm>
              <a:off x="14548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4" name="Google Shape;1264;p38"/>
            <p:cNvSpPr/>
            <p:nvPr/>
          </p:nvSpPr>
          <p:spPr>
            <a:xfrm>
              <a:off x="14531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5" name="Google Shape;1265;p38"/>
            <p:cNvSpPr/>
            <p:nvPr/>
          </p:nvSpPr>
          <p:spPr>
            <a:xfrm>
              <a:off x="145142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6" name="Google Shape;1266;p38"/>
            <p:cNvSpPr/>
            <p:nvPr/>
          </p:nvSpPr>
          <p:spPr>
            <a:xfrm>
              <a:off x="14498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7" name="Google Shape;1267;p38"/>
            <p:cNvSpPr/>
            <p:nvPr/>
          </p:nvSpPr>
          <p:spPr>
            <a:xfrm>
              <a:off x="144812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8" name="Google Shape;1268;p38"/>
            <p:cNvSpPr/>
            <p:nvPr/>
          </p:nvSpPr>
          <p:spPr>
            <a:xfrm>
              <a:off x="14464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9" name="Google Shape;1269;p38"/>
            <p:cNvSpPr/>
            <p:nvPr/>
          </p:nvSpPr>
          <p:spPr>
            <a:xfrm>
              <a:off x="14447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0" name="Google Shape;1270;p38"/>
            <p:cNvSpPr/>
            <p:nvPr/>
          </p:nvSpPr>
          <p:spPr>
            <a:xfrm>
              <a:off x="144300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1" name="Google Shape;1271;p38"/>
            <p:cNvSpPr/>
            <p:nvPr/>
          </p:nvSpPr>
          <p:spPr>
            <a:xfrm>
              <a:off x="144130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2" name="Google Shape;1272;p38"/>
            <p:cNvSpPr/>
            <p:nvPr/>
          </p:nvSpPr>
          <p:spPr>
            <a:xfrm>
              <a:off x="144002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3" name="Google Shape;1273;p38"/>
            <p:cNvSpPr/>
            <p:nvPr/>
          </p:nvSpPr>
          <p:spPr>
            <a:xfrm>
              <a:off x="14383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4" name="Google Shape;1274;p38"/>
            <p:cNvSpPr/>
            <p:nvPr/>
          </p:nvSpPr>
          <p:spPr>
            <a:xfrm>
              <a:off x="14366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5" name="Google Shape;1275;p38"/>
            <p:cNvSpPr/>
            <p:nvPr/>
          </p:nvSpPr>
          <p:spPr>
            <a:xfrm>
              <a:off x="14349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6" name="Google Shape;1276;p38"/>
            <p:cNvSpPr/>
            <p:nvPr/>
          </p:nvSpPr>
          <p:spPr>
            <a:xfrm>
              <a:off x="143320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7" name="Google Shape;1277;p38"/>
            <p:cNvSpPr/>
            <p:nvPr/>
          </p:nvSpPr>
          <p:spPr>
            <a:xfrm>
              <a:off x="14316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8" name="Google Shape;1278;p38"/>
            <p:cNvSpPr/>
            <p:nvPr/>
          </p:nvSpPr>
          <p:spPr>
            <a:xfrm>
              <a:off x="142990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9" name="Google Shape;1279;p38"/>
            <p:cNvSpPr/>
            <p:nvPr/>
          </p:nvSpPr>
          <p:spPr>
            <a:xfrm>
              <a:off x="14281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0" name="Google Shape;1280;p38"/>
            <p:cNvSpPr/>
            <p:nvPr/>
          </p:nvSpPr>
          <p:spPr>
            <a:xfrm>
              <a:off x="14264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1" name="Google Shape;1281;p38"/>
            <p:cNvSpPr/>
            <p:nvPr/>
          </p:nvSpPr>
          <p:spPr>
            <a:xfrm>
              <a:off x="14247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2" name="Google Shape;1282;p38"/>
            <p:cNvSpPr/>
            <p:nvPr/>
          </p:nvSpPr>
          <p:spPr>
            <a:xfrm>
              <a:off x="14235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3" name="Google Shape;1283;p38"/>
            <p:cNvSpPr/>
            <p:nvPr/>
          </p:nvSpPr>
          <p:spPr>
            <a:xfrm>
              <a:off x="1421800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4" name="Google Shape;1284;p38"/>
            <p:cNvSpPr/>
            <p:nvPr/>
          </p:nvSpPr>
          <p:spPr>
            <a:xfrm>
              <a:off x="14200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5" name="Google Shape;1285;p38"/>
            <p:cNvSpPr/>
            <p:nvPr/>
          </p:nvSpPr>
          <p:spPr>
            <a:xfrm>
              <a:off x="14183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6" name="Google Shape;1286;p38"/>
            <p:cNvSpPr/>
            <p:nvPr/>
          </p:nvSpPr>
          <p:spPr>
            <a:xfrm>
              <a:off x="14166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7" name="Google Shape;1287;p38"/>
            <p:cNvSpPr/>
            <p:nvPr/>
          </p:nvSpPr>
          <p:spPr>
            <a:xfrm>
              <a:off x="14149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8" name="Google Shape;1288;p38"/>
            <p:cNvSpPr/>
            <p:nvPr/>
          </p:nvSpPr>
          <p:spPr>
            <a:xfrm>
              <a:off x="14133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9" name="Google Shape;1289;p38"/>
            <p:cNvSpPr/>
            <p:nvPr/>
          </p:nvSpPr>
          <p:spPr>
            <a:xfrm>
              <a:off x="14116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0" name="Google Shape;1290;p38"/>
            <p:cNvSpPr/>
            <p:nvPr/>
          </p:nvSpPr>
          <p:spPr>
            <a:xfrm>
              <a:off x="140995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1" name="Google Shape;1291;p38"/>
            <p:cNvSpPr/>
            <p:nvPr/>
          </p:nvSpPr>
          <p:spPr>
            <a:xfrm>
              <a:off x="14085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2" name="Google Shape;1292;p38"/>
            <p:cNvSpPr/>
            <p:nvPr/>
          </p:nvSpPr>
          <p:spPr>
            <a:xfrm>
              <a:off x="140687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48951204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bg>
      <p:bgPr>
        <a:solidFill>
          <a:schemeClr val="dk2"/>
        </a:solidFill>
        <a:effectLst/>
      </p:bgPr>
    </p:bg>
    <p:spTree>
      <p:nvGrpSpPr>
        <p:cNvPr id="1" name="Shape 1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4" name="Google Shape;1294;p39"/>
          <p:cNvGrpSpPr/>
          <p:nvPr/>
        </p:nvGrpSpPr>
        <p:grpSpPr>
          <a:xfrm flipH="1">
            <a:off x="367" y="3974106"/>
            <a:ext cx="12223208" cy="2720188"/>
            <a:chOff x="271" y="2964551"/>
            <a:chExt cx="9167406" cy="2193229"/>
          </a:xfrm>
        </p:grpSpPr>
        <p:sp>
          <p:nvSpPr>
            <p:cNvPr id="1295" name="Google Shape;1295;p39"/>
            <p:cNvSpPr/>
            <p:nvPr/>
          </p:nvSpPr>
          <p:spPr>
            <a:xfrm>
              <a:off x="275" y="3538374"/>
              <a:ext cx="9167398" cy="1619406"/>
            </a:xfrm>
            <a:custGeom>
              <a:avLst/>
              <a:gdLst/>
              <a:ahLst/>
              <a:cxnLst/>
              <a:rect l="l" t="t" r="r" b="b"/>
              <a:pathLst>
                <a:path w="43860" h="10974" extrusionOk="0">
                  <a:moveTo>
                    <a:pt x="0" y="0"/>
                  </a:moveTo>
                  <a:lnTo>
                    <a:pt x="0" y="10974"/>
                  </a:lnTo>
                  <a:lnTo>
                    <a:pt x="43860" y="10974"/>
                  </a:lnTo>
                  <a:lnTo>
                    <a:pt x="43860" y="0"/>
                  </a:ln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6" name="Google Shape;1296;p39"/>
            <p:cNvSpPr/>
            <p:nvPr/>
          </p:nvSpPr>
          <p:spPr>
            <a:xfrm>
              <a:off x="1413430" y="2964551"/>
              <a:ext cx="7754247" cy="680775"/>
            </a:xfrm>
            <a:custGeom>
              <a:avLst/>
              <a:gdLst/>
              <a:ahLst/>
              <a:cxnLst/>
              <a:rect l="l" t="t" r="r" b="b"/>
              <a:pathLst>
                <a:path w="37099" h="4687" extrusionOk="0">
                  <a:moveTo>
                    <a:pt x="29289" y="0"/>
                  </a:moveTo>
                  <a:cubicBezTo>
                    <a:pt x="28606" y="0"/>
                    <a:pt x="27911" y="10"/>
                    <a:pt x="27217" y="28"/>
                  </a:cubicBezTo>
                  <a:cubicBezTo>
                    <a:pt x="18981" y="245"/>
                    <a:pt x="8493" y="2688"/>
                    <a:pt x="1" y="4687"/>
                  </a:cubicBezTo>
                  <a:lnTo>
                    <a:pt x="37099" y="4687"/>
                  </a:lnTo>
                  <a:lnTo>
                    <a:pt x="37099" y="731"/>
                  </a:lnTo>
                  <a:cubicBezTo>
                    <a:pt x="35742" y="225"/>
                    <a:pt x="32651" y="0"/>
                    <a:pt x="2928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7" name="Google Shape;1297;p39"/>
            <p:cNvSpPr/>
            <p:nvPr/>
          </p:nvSpPr>
          <p:spPr>
            <a:xfrm>
              <a:off x="271" y="3209866"/>
              <a:ext cx="4762825" cy="666541"/>
            </a:xfrm>
            <a:custGeom>
              <a:avLst/>
              <a:gdLst/>
              <a:ahLst/>
              <a:cxnLst/>
              <a:rect l="l" t="t" r="r" b="b"/>
              <a:pathLst>
                <a:path w="22787" h="4589" extrusionOk="0">
                  <a:moveTo>
                    <a:pt x="3161" y="1"/>
                  </a:moveTo>
                  <a:cubicBezTo>
                    <a:pt x="1090" y="1"/>
                    <a:pt x="0" y="199"/>
                    <a:pt x="0" y="199"/>
                  </a:cubicBezTo>
                  <a:lnTo>
                    <a:pt x="0" y="4589"/>
                  </a:lnTo>
                  <a:lnTo>
                    <a:pt x="22787" y="4589"/>
                  </a:lnTo>
                  <a:cubicBezTo>
                    <a:pt x="22787" y="4589"/>
                    <a:pt x="18128" y="2036"/>
                    <a:pt x="11029" y="766"/>
                  </a:cubicBezTo>
                  <a:cubicBezTo>
                    <a:pt x="7669" y="160"/>
                    <a:pt x="5020" y="1"/>
                    <a:pt x="316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8" name="Google Shape;1298;p39"/>
            <p:cNvSpPr/>
            <p:nvPr/>
          </p:nvSpPr>
          <p:spPr>
            <a:xfrm>
              <a:off x="271" y="3612551"/>
              <a:ext cx="9167398" cy="362393"/>
            </a:xfrm>
            <a:custGeom>
              <a:avLst/>
              <a:gdLst/>
              <a:ahLst/>
              <a:cxnLst/>
              <a:rect l="l" t="t" r="r" b="b"/>
              <a:pathLst>
                <a:path w="43860" h="2495" extrusionOk="0">
                  <a:moveTo>
                    <a:pt x="0" y="0"/>
                  </a:moveTo>
                  <a:lnTo>
                    <a:pt x="0" y="512"/>
                  </a:lnTo>
                  <a:cubicBezTo>
                    <a:pt x="18857" y="538"/>
                    <a:pt x="31655" y="810"/>
                    <a:pt x="43860" y="2495"/>
                  </a:cubicBezTo>
                  <a:lnTo>
                    <a:pt x="4386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299" name="Google Shape;1299;p39"/>
          <p:cNvSpPr/>
          <p:nvPr/>
        </p:nvSpPr>
        <p:spPr>
          <a:xfrm>
            <a:off x="5137994" y="60667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00" name="Google Shape;1300;p39"/>
          <p:cNvSpPr/>
          <p:nvPr/>
        </p:nvSpPr>
        <p:spPr>
          <a:xfrm>
            <a:off x="9765432" y="57786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01" name="Google Shape;1301;p39"/>
          <p:cNvSpPr/>
          <p:nvPr/>
        </p:nvSpPr>
        <p:spPr>
          <a:xfrm>
            <a:off x="5014868" y="4976499"/>
            <a:ext cx="7338209" cy="1926275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02" name="Google Shape;1302;p39"/>
          <p:cNvSpPr/>
          <p:nvPr/>
        </p:nvSpPr>
        <p:spPr>
          <a:xfrm>
            <a:off x="-86533" y="5599739"/>
            <a:ext cx="12191948" cy="1066627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03" name="Google Shape;1303;p39"/>
          <p:cNvSpPr/>
          <p:nvPr/>
        </p:nvSpPr>
        <p:spPr>
          <a:xfrm>
            <a:off x="-86533" y="5900264"/>
            <a:ext cx="12439612" cy="1066637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304" name="Google Shape;1304;p39"/>
          <p:cNvGrpSpPr/>
          <p:nvPr/>
        </p:nvGrpSpPr>
        <p:grpSpPr>
          <a:xfrm>
            <a:off x="1501458" y="3234544"/>
            <a:ext cx="2333073" cy="1027912"/>
            <a:chOff x="-1936407" y="2490071"/>
            <a:chExt cx="1749805" cy="770934"/>
          </a:xfrm>
        </p:grpSpPr>
        <p:sp>
          <p:nvSpPr>
            <p:cNvPr id="1305" name="Google Shape;1305;p39"/>
            <p:cNvSpPr/>
            <p:nvPr/>
          </p:nvSpPr>
          <p:spPr>
            <a:xfrm>
              <a:off x="-1580450" y="2835407"/>
              <a:ext cx="651196" cy="254069"/>
            </a:xfrm>
            <a:custGeom>
              <a:avLst/>
              <a:gdLst/>
              <a:ahLst/>
              <a:cxnLst/>
              <a:rect l="l" t="t" r="r" b="b"/>
              <a:pathLst>
                <a:path w="3432" h="1339" extrusionOk="0">
                  <a:moveTo>
                    <a:pt x="1" y="1"/>
                  </a:moveTo>
                  <a:lnTo>
                    <a:pt x="1" y="1339"/>
                  </a:lnTo>
                  <a:lnTo>
                    <a:pt x="3432" y="1339"/>
                  </a:lnTo>
                  <a:lnTo>
                    <a:pt x="3432" y="1"/>
                  </a:ln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06" name="Google Shape;1306;p39"/>
            <p:cNvSpPr/>
            <p:nvPr/>
          </p:nvSpPr>
          <p:spPr>
            <a:xfrm>
              <a:off x="-1170417" y="2853812"/>
              <a:ext cx="266398" cy="235663"/>
            </a:xfrm>
            <a:custGeom>
              <a:avLst/>
              <a:gdLst/>
              <a:ahLst/>
              <a:cxnLst/>
              <a:rect l="l" t="t" r="r" b="b"/>
              <a:pathLst>
                <a:path w="1404" h="1242" extrusionOk="0">
                  <a:moveTo>
                    <a:pt x="1" y="1"/>
                  </a:moveTo>
                  <a:lnTo>
                    <a:pt x="1" y="1242"/>
                  </a:lnTo>
                  <a:lnTo>
                    <a:pt x="1404" y="1242"/>
                  </a:lnTo>
                  <a:lnTo>
                    <a:pt x="1404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07" name="Google Shape;1307;p39"/>
            <p:cNvSpPr/>
            <p:nvPr/>
          </p:nvSpPr>
          <p:spPr>
            <a:xfrm>
              <a:off x="-1375149" y="2490071"/>
              <a:ext cx="471131" cy="363931"/>
            </a:xfrm>
            <a:custGeom>
              <a:avLst/>
              <a:gdLst/>
              <a:ahLst/>
              <a:cxnLst/>
              <a:rect l="l" t="t" r="r" b="b"/>
              <a:pathLst>
                <a:path w="2483" h="1918" extrusionOk="0">
                  <a:moveTo>
                    <a:pt x="934" y="0"/>
                  </a:moveTo>
                  <a:cubicBezTo>
                    <a:pt x="486" y="0"/>
                    <a:pt x="1" y="55"/>
                    <a:pt x="1" y="55"/>
                  </a:cubicBezTo>
                  <a:lnTo>
                    <a:pt x="837" y="1918"/>
                  </a:lnTo>
                  <a:lnTo>
                    <a:pt x="2483" y="1918"/>
                  </a:lnTo>
                  <a:cubicBezTo>
                    <a:pt x="2483" y="1918"/>
                    <a:pt x="1929" y="175"/>
                    <a:pt x="1511" y="55"/>
                  </a:cubicBezTo>
                  <a:cubicBezTo>
                    <a:pt x="1371" y="14"/>
                    <a:pt x="1157" y="0"/>
                    <a:pt x="934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08" name="Google Shape;1308;p39"/>
            <p:cNvSpPr/>
            <p:nvPr/>
          </p:nvSpPr>
          <p:spPr>
            <a:xfrm>
              <a:off x="-1603220" y="2499748"/>
              <a:ext cx="455761" cy="354254"/>
            </a:xfrm>
            <a:custGeom>
              <a:avLst/>
              <a:gdLst/>
              <a:ahLst/>
              <a:cxnLst/>
              <a:rect l="l" t="t" r="r" b="b"/>
              <a:pathLst>
                <a:path w="2402" h="1867" extrusionOk="0">
                  <a:moveTo>
                    <a:pt x="1211" y="1"/>
                  </a:moveTo>
                  <a:cubicBezTo>
                    <a:pt x="855" y="1"/>
                    <a:pt x="441" y="467"/>
                    <a:pt x="1" y="1867"/>
                  </a:cubicBezTo>
                  <a:lnTo>
                    <a:pt x="2402" y="1867"/>
                  </a:lnTo>
                  <a:cubicBezTo>
                    <a:pt x="2402" y="1867"/>
                    <a:pt x="1922" y="1"/>
                    <a:pt x="1211" y="1"/>
                  </a:cubicBez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09" name="Google Shape;1309;p39"/>
            <p:cNvSpPr/>
            <p:nvPr/>
          </p:nvSpPr>
          <p:spPr>
            <a:xfrm>
              <a:off x="-1580450" y="2537317"/>
              <a:ext cx="410223" cy="332054"/>
            </a:xfrm>
            <a:custGeom>
              <a:avLst/>
              <a:gdLst/>
              <a:ahLst/>
              <a:cxnLst/>
              <a:rect l="l" t="t" r="r" b="b"/>
              <a:pathLst>
                <a:path w="2162" h="1750" extrusionOk="0">
                  <a:moveTo>
                    <a:pt x="1078" y="0"/>
                  </a:moveTo>
                  <a:cubicBezTo>
                    <a:pt x="758" y="0"/>
                    <a:pt x="388" y="417"/>
                    <a:pt x="1" y="1669"/>
                  </a:cubicBezTo>
                  <a:lnTo>
                    <a:pt x="1015" y="1750"/>
                  </a:lnTo>
                  <a:lnTo>
                    <a:pt x="2162" y="1669"/>
                  </a:lnTo>
                  <a:cubicBezTo>
                    <a:pt x="2162" y="1669"/>
                    <a:pt x="1718" y="0"/>
                    <a:pt x="1078" y="0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0" name="Google Shape;1310;p39"/>
            <p:cNvSpPr/>
            <p:nvPr/>
          </p:nvSpPr>
          <p:spPr>
            <a:xfrm>
              <a:off x="-1493169" y="2907320"/>
              <a:ext cx="195055" cy="182155"/>
            </a:xfrm>
            <a:custGeom>
              <a:avLst/>
              <a:gdLst/>
              <a:ahLst/>
              <a:cxnLst/>
              <a:rect l="l" t="t" r="r" b="b"/>
              <a:pathLst>
                <a:path w="1028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028" y="960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1" name="Google Shape;1311;p39"/>
            <p:cNvSpPr/>
            <p:nvPr/>
          </p:nvSpPr>
          <p:spPr>
            <a:xfrm>
              <a:off x="-1467364" y="2925156"/>
              <a:ext cx="145912" cy="164319"/>
            </a:xfrm>
            <a:custGeom>
              <a:avLst/>
              <a:gdLst/>
              <a:ahLst/>
              <a:cxnLst/>
              <a:rect l="l" t="t" r="r" b="b"/>
              <a:pathLst>
                <a:path w="769" h="866" extrusionOk="0">
                  <a:moveTo>
                    <a:pt x="1" y="1"/>
                  </a:moveTo>
                  <a:lnTo>
                    <a:pt x="1" y="866"/>
                  </a:lnTo>
                  <a:lnTo>
                    <a:pt x="769" y="866"/>
                  </a:lnTo>
                  <a:lnTo>
                    <a:pt x="769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2" name="Google Shape;1312;p39"/>
            <p:cNvSpPr/>
            <p:nvPr/>
          </p:nvSpPr>
          <p:spPr>
            <a:xfrm>
              <a:off x="-1449528" y="2925156"/>
              <a:ext cx="128076" cy="164319"/>
            </a:xfrm>
            <a:custGeom>
              <a:avLst/>
              <a:gdLst/>
              <a:ahLst/>
              <a:cxnLst/>
              <a:rect l="l" t="t" r="r" b="b"/>
              <a:pathLst>
                <a:path w="675" h="866" extrusionOk="0">
                  <a:moveTo>
                    <a:pt x="1" y="1"/>
                  </a:moveTo>
                  <a:lnTo>
                    <a:pt x="1" y="866"/>
                  </a:lnTo>
                  <a:lnTo>
                    <a:pt x="675" y="866"/>
                  </a:lnTo>
                  <a:lnTo>
                    <a:pt x="675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3" name="Google Shape;1313;p39"/>
            <p:cNvSpPr/>
            <p:nvPr/>
          </p:nvSpPr>
          <p:spPr>
            <a:xfrm>
              <a:off x="-1439662" y="2676780"/>
              <a:ext cx="107774" cy="89939"/>
            </a:xfrm>
            <a:custGeom>
              <a:avLst/>
              <a:gdLst/>
              <a:ahLst/>
              <a:cxnLst/>
              <a:rect l="l" t="t" r="r" b="b"/>
              <a:pathLst>
                <a:path w="568" h="474" extrusionOk="0">
                  <a:moveTo>
                    <a:pt x="1" y="1"/>
                  </a:moveTo>
                  <a:lnTo>
                    <a:pt x="1" y="474"/>
                  </a:lnTo>
                  <a:lnTo>
                    <a:pt x="568" y="474"/>
                  </a:lnTo>
                  <a:lnTo>
                    <a:pt x="568" y="1"/>
                  </a:ln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4" name="Google Shape;1314;p39"/>
            <p:cNvSpPr/>
            <p:nvPr/>
          </p:nvSpPr>
          <p:spPr>
            <a:xfrm>
              <a:off x="-1424292" y="2684749"/>
              <a:ext cx="80071" cy="81970"/>
            </a:xfrm>
            <a:custGeom>
              <a:avLst/>
              <a:gdLst/>
              <a:ahLst/>
              <a:cxnLst/>
              <a:rect l="l" t="t" r="r" b="b"/>
              <a:pathLst>
                <a:path w="422" h="432" extrusionOk="0">
                  <a:moveTo>
                    <a:pt x="1" y="1"/>
                  </a:moveTo>
                  <a:lnTo>
                    <a:pt x="1" y="432"/>
                  </a:lnTo>
                  <a:lnTo>
                    <a:pt x="422" y="432"/>
                  </a:lnTo>
                  <a:lnTo>
                    <a:pt x="422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5" name="Google Shape;1315;p39"/>
            <p:cNvSpPr/>
            <p:nvPr/>
          </p:nvSpPr>
          <p:spPr>
            <a:xfrm>
              <a:off x="-1413857" y="2684749"/>
              <a:ext cx="69635" cy="81970"/>
            </a:xfrm>
            <a:custGeom>
              <a:avLst/>
              <a:gdLst/>
              <a:ahLst/>
              <a:cxnLst/>
              <a:rect l="l" t="t" r="r" b="b"/>
              <a:pathLst>
                <a:path w="367" h="432" extrusionOk="0">
                  <a:moveTo>
                    <a:pt x="1" y="1"/>
                  </a:moveTo>
                  <a:lnTo>
                    <a:pt x="1" y="432"/>
                  </a:lnTo>
                  <a:lnTo>
                    <a:pt x="367" y="432"/>
                  </a:lnTo>
                  <a:lnTo>
                    <a:pt x="36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6" name="Google Shape;1316;p39"/>
            <p:cNvSpPr/>
            <p:nvPr/>
          </p:nvSpPr>
          <p:spPr>
            <a:xfrm>
              <a:off x="-1730727" y="3021547"/>
              <a:ext cx="22579" cy="44590"/>
            </a:xfrm>
            <a:custGeom>
              <a:avLst/>
              <a:gdLst/>
              <a:ahLst/>
              <a:cxnLst/>
              <a:rect l="l" t="t" r="r" b="b"/>
              <a:pathLst>
                <a:path w="119" h="235" extrusionOk="0">
                  <a:moveTo>
                    <a:pt x="70" y="1"/>
                  </a:moveTo>
                  <a:cubicBezTo>
                    <a:pt x="36" y="1"/>
                    <a:pt x="0" y="24"/>
                    <a:pt x="25" y="47"/>
                  </a:cubicBezTo>
                  <a:cubicBezTo>
                    <a:pt x="64" y="102"/>
                    <a:pt x="51" y="235"/>
                    <a:pt x="51" y="235"/>
                  </a:cubicBezTo>
                  <a:lnTo>
                    <a:pt x="93" y="235"/>
                  </a:lnTo>
                  <a:cubicBezTo>
                    <a:pt x="93" y="102"/>
                    <a:pt x="119" y="47"/>
                    <a:pt x="119" y="47"/>
                  </a:cubicBezTo>
                  <a:cubicBezTo>
                    <a:pt x="119" y="13"/>
                    <a:pt x="95" y="1"/>
                    <a:pt x="70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7" name="Google Shape;1317;p39"/>
            <p:cNvSpPr/>
            <p:nvPr/>
          </p:nvSpPr>
          <p:spPr>
            <a:xfrm>
              <a:off x="-1759378" y="2747175"/>
              <a:ext cx="83676" cy="300366"/>
            </a:xfrm>
            <a:custGeom>
              <a:avLst/>
              <a:gdLst/>
              <a:ahLst/>
              <a:cxnLst/>
              <a:rect l="l" t="t" r="r" b="b"/>
              <a:pathLst>
                <a:path w="441" h="1583" extrusionOk="0">
                  <a:moveTo>
                    <a:pt x="225" y="1"/>
                  </a:moveTo>
                  <a:cubicBezTo>
                    <a:pt x="203" y="1"/>
                    <a:pt x="182" y="48"/>
                    <a:pt x="163" y="158"/>
                  </a:cubicBezTo>
                  <a:cubicBezTo>
                    <a:pt x="163" y="158"/>
                    <a:pt x="1" y="1438"/>
                    <a:pt x="108" y="1535"/>
                  </a:cubicBezTo>
                  <a:cubicBezTo>
                    <a:pt x="140" y="1563"/>
                    <a:pt x="186" y="1583"/>
                    <a:pt x="233" y="1583"/>
                  </a:cubicBezTo>
                  <a:cubicBezTo>
                    <a:pt x="320" y="1583"/>
                    <a:pt x="410" y="1512"/>
                    <a:pt x="419" y="1292"/>
                  </a:cubicBezTo>
                  <a:cubicBezTo>
                    <a:pt x="440" y="1002"/>
                    <a:pt x="326" y="1"/>
                    <a:pt x="225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8" name="Google Shape;1318;p39"/>
            <p:cNvSpPr/>
            <p:nvPr/>
          </p:nvSpPr>
          <p:spPr>
            <a:xfrm>
              <a:off x="-1762414" y="2747934"/>
              <a:ext cx="51800" cy="295433"/>
            </a:xfrm>
            <a:custGeom>
              <a:avLst/>
              <a:gdLst/>
              <a:ahLst/>
              <a:cxnLst/>
              <a:rect l="l" t="t" r="r" b="b"/>
              <a:pathLst>
                <a:path w="273" h="1557" extrusionOk="0">
                  <a:moveTo>
                    <a:pt x="242" y="0"/>
                  </a:moveTo>
                  <a:cubicBezTo>
                    <a:pt x="217" y="0"/>
                    <a:pt x="198" y="45"/>
                    <a:pt x="179" y="154"/>
                  </a:cubicBezTo>
                  <a:cubicBezTo>
                    <a:pt x="179" y="154"/>
                    <a:pt x="1" y="1353"/>
                    <a:pt x="124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98" y="1301"/>
                    <a:pt x="205" y="154"/>
                    <a:pt x="205" y="154"/>
                  </a:cubicBezTo>
                  <a:cubicBezTo>
                    <a:pt x="218" y="5"/>
                    <a:pt x="260" y="44"/>
                    <a:pt x="273" y="18"/>
                  </a:cubicBezTo>
                  <a:cubicBezTo>
                    <a:pt x="261" y="7"/>
                    <a:pt x="251" y="0"/>
                    <a:pt x="242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9" name="Google Shape;1319;p39"/>
            <p:cNvSpPr/>
            <p:nvPr/>
          </p:nvSpPr>
          <p:spPr>
            <a:xfrm>
              <a:off x="-853357" y="3021547"/>
              <a:ext cx="23718" cy="44590"/>
            </a:xfrm>
            <a:custGeom>
              <a:avLst/>
              <a:gdLst/>
              <a:ahLst/>
              <a:cxnLst/>
              <a:rect l="l" t="t" r="r" b="b"/>
              <a:pathLst>
                <a:path w="125" h="235" extrusionOk="0">
                  <a:moveTo>
                    <a:pt x="75" y="1"/>
                  </a:moveTo>
                  <a:cubicBezTo>
                    <a:pt x="40" y="1"/>
                    <a:pt x="1" y="24"/>
                    <a:pt x="18" y="47"/>
                  </a:cubicBezTo>
                  <a:cubicBezTo>
                    <a:pt x="70" y="102"/>
                    <a:pt x="57" y="235"/>
                    <a:pt x="57" y="235"/>
                  </a:cubicBezTo>
                  <a:lnTo>
                    <a:pt x="99" y="235"/>
                  </a:lnTo>
                  <a:cubicBezTo>
                    <a:pt x="99" y="102"/>
                    <a:pt x="125" y="47"/>
                    <a:pt x="125" y="47"/>
                  </a:cubicBezTo>
                  <a:cubicBezTo>
                    <a:pt x="125" y="13"/>
                    <a:pt x="101" y="1"/>
                    <a:pt x="75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0" name="Google Shape;1320;p39"/>
            <p:cNvSpPr/>
            <p:nvPr/>
          </p:nvSpPr>
          <p:spPr>
            <a:xfrm>
              <a:off x="-880870" y="2747175"/>
              <a:ext cx="83676" cy="300366"/>
            </a:xfrm>
            <a:custGeom>
              <a:avLst/>
              <a:gdLst/>
              <a:ahLst/>
              <a:cxnLst/>
              <a:rect l="l" t="t" r="r" b="b"/>
              <a:pathLst>
                <a:path w="441" h="1583" extrusionOk="0">
                  <a:moveTo>
                    <a:pt x="225" y="1"/>
                  </a:moveTo>
                  <a:cubicBezTo>
                    <a:pt x="203" y="1"/>
                    <a:pt x="182" y="48"/>
                    <a:pt x="163" y="158"/>
                  </a:cubicBezTo>
                  <a:cubicBezTo>
                    <a:pt x="163" y="158"/>
                    <a:pt x="1" y="1438"/>
                    <a:pt x="108" y="1535"/>
                  </a:cubicBezTo>
                  <a:cubicBezTo>
                    <a:pt x="140" y="1563"/>
                    <a:pt x="186" y="1583"/>
                    <a:pt x="233" y="1583"/>
                  </a:cubicBezTo>
                  <a:cubicBezTo>
                    <a:pt x="320" y="1583"/>
                    <a:pt x="410" y="1512"/>
                    <a:pt x="419" y="1292"/>
                  </a:cubicBezTo>
                  <a:cubicBezTo>
                    <a:pt x="440" y="1002"/>
                    <a:pt x="326" y="1"/>
                    <a:pt x="225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1" name="Google Shape;1321;p39"/>
            <p:cNvSpPr/>
            <p:nvPr/>
          </p:nvSpPr>
          <p:spPr>
            <a:xfrm>
              <a:off x="-883337" y="2747934"/>
              <a:ext cx="48764" cy="295433"/>
            </a:xfrm>
            <a:custGeom>
              <a:avLst/>
              <a:gdLst/>
              <a:ahLst/>
              <a:cxnLst/>
              <a:rect l="l" t="t" r="r" b="b"/>
              <a:pathLst>
                <a:path w="257" h="1557" extrusionOk="0">
                  <a:moveTo>
                    <a:pt x="234" y="0"/>
                  </a:moveTo>
                  <a:cubicBezTo>
                    <a:pt x="214" y="0"/>
                    <a:pt x="195" y="45"/>
                    <a:pt x="176" y="154"/>
                  </a:cubicBezTo>
                  <a:cubicBezTo>
                    <a:pt x="176" y="154"/>
                    <a:pt x="1" y="1353"/>
                    <a:pt x="121" y="1531"/>
                  </a:cubicBezTo>
                  <a:cubicBezTo>
                    <a:pt x="134" y="1544"/>
                    <a:pt x="147" y="1544"/>
                    <a:pt x="163" y="1557"/>
                  </a:cubicBezTo>
                  <a:cubicBezTo>
                    <a:pt x="95" y="1301"/>
                    <a:pt x="202" y="154"/>
                    <a:pt x="202" y="154"/>
                  </a:cubicBezTo>
                  <a:cubicBezTo>
                    <a:pt x="215" y="5"/>
                    <a:pt x="257" y="44"/>
                    <a:pt x="257" y="18"/>
                  </a:cubicBezTo>
                  <a:cubicBezTo>
                    <a:pt x="249" y="7"/>
                    <a:pt x="241" y="0"/>
                    <a:pt x="234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2" name="Google Shape;1322;p39"/>
            <p:cNvSpPr/>
            <p:nvPr/>
          </p:nvSpPr>
          <p:spPr>
            <a:xfrm>
              <a:off x="-1811367" y="3021547"/>
              <a:ext cx="23908" cy="44590"/>
            </a:xfrm>
            <a:custGeom>
              <a:avLst/>
              <a:gdLst/>
              <a:ahLst/>
              <a:cxnLst/>
              <a:rect l="l" t="t" r="r" b="b"/>
              <a:pathLst>
                <a:path w="126" h="235" extrusionOk="0">
                  <a:moveTo>
                    <a:pt x="71" y="1"/>
                  </a:moveTo>
                  <a:cubicBezTo>
                    <a:pt x="36" y="1"/>
                    <a:pt x="1" y="24"/>
                    <a:pt x="16" y="47"/>
                  </a:cubicBezTo>
                  <a:cubicBezTo>
                    <a:pt x="58" y="102"/>
                    <a:pt x="45" y="235"/>
                    <a:pt x="45" y="235"/>
                  </a:cubicBezTo>
                  <a:lnTo>
                    <a:pt x="97" y="235"/>
                  </a:lnTo>
                  <a:cubicBezTo>
                    <a:pt x="84" y="102"/>
                    <a:pt x="126" y="47"/>
                    <a:pt x="126" y="47"/>
                  </a:cubicBezTo>
                  <a:cubicBezTo>
                    <a:pt x="120" y="13"/>
                    <a:pt x="96" y="1"/>
                    <a:pt x="71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3" name="Google Shape;1323;p39"/>
            <p:cNvSpPr/>
            <p:nvPr/>
          </p:nvSpPr>
          <p:spPr>
            <a:xfrm>
              <a:off x="-1839259" y="2747175"/>
              <a:ext cx="82159" cy="300366"/>
            </a:xfrm>
            <a:custGeom>
              <a:avLst/>
              <a:gdLst/>
              <a:ahLst/>
              <a:cxnLst/>
              <a:rect l="l" t="t" r="r" b="b"/>
              <a:pathLst>
                <a:path w="433" h="1583" extrusionOk="0">
                  <a:moveTo>
                    <a:pt x="218" y="1"/>
                  </a:moveTo>
                  <a:cubicBezTo>
                    <a:pt x="195" y="1"/>
                    <a:pt x="172" y="48"/>
                    <a:pt x="150" y="158"/>
                  </a:cubicBezTo>
                  <a:cubicBezTo>
                    <a:pt x="150" y="158"/>
                    <a:pt x="1" y="1438"/>
                    <a:pt x="111" y="1535"/>
                  </a:cubicBezTo>
                  <a:cubicBezTo>
                    <a:pt x="139" y="1563"/>
                    <a:pt x="183" y="1583"/>
                    <a:pt x="229" y="1583"/>
                  </a:cubicBezTo>
                  <a:cubicBezTo>
                    <a:pt x="316" y="1583"/>
                    <a:pt x="411" y="1512"/>
                    <a:pt x="422" y="1292"/>
                  </a:cubicBezTo>
                  <a:cubicBezTo>
                    <a:pt x="433" y="1002"/>
                    <a:pt x="325" y="1"/>
                    <a:pt x="218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4" name="Google Shape;1324;p39"/>
            <p:cNvSpPr/>
            <p:nvPr/>
          </p:nvSpPr>
          <p:spPr>
            <a:xfrm>
              <a:off x="-1844193" y="2747934"/>
              <a:ext cx="51230" cy="295433"/>
            </a:xfrm>
            <a:custGeom>
              <a:avLst/>
              <a:gdLst/>
              <a:ahLst/>
              <a:cxnLst/>
              <a:rect l="l" t="t" r="r" b="b"/>
              <a:pathLst>
                <a:path w="270" h="1557" extrusionOk="0">
                  <a:moveTo>
                    <a:pt x="246" y="0"/>
                  </a:moveTo>
                  <a:cubicBezTo>
                    <a:pt x="223" y="0"/>
                    <a:pt x="197" y="45"/>
                    <a:pt x="176" y="154"/>
                  </a:cubicBezTo>
                  <a:cubicBezTo>
                    <a:pt x="176" y="154"/>
                    <a:pt x="1" y="1353"/>
                    <a:pt x="137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108" y="1301"/>
                    <a:pt x="205" y="154"/>
                    <a:pt x="205" y="154"/>
                  </a:cubicBezTo>
                  <a:cubicBezTo>
                    <a:pt x="218" y="5"/>
                    <a:pt x="257" y="44"/>
                    <a:pt x="270" y="18"/>
                  </a:cubicBezTo>
                  <a:cubicBezTo>
                    <a:pt x="263" y="7"/>
                    <a:pt x="255" y="0"/>
                    <a:pt x="246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5" name="Google Shape;1325;p39"/>
            <p:cNvSpPr/>
            <p:nvPr/>
          </p:nvSpPr>
          <p:spPr>
            <a:xfrm>
              <a:off x="-1904910" y="3021547"/>
              <a:ext cx="25236" cy="44590"/>
            </a:xfrm>
            <a:custGeom>
              <a:avLst/>
              <a:gdLst/>
              <a:ahLst/>
              <a:cxnLst/>
              <a:rect l="l" t="t" r="r" b="b"/>
              <a:pathLst>
                <a:path w="133" h="235" extrusionOk="0">
                  <a:moveTo>
                    <a:pt x="74" y="1"/>
                  </a:moveTo>
                  <a:cubicBezTo>
                    <a:pt x="37" y="1"/>
                    <a:pt x="0" y="24"/>
                    <a:pt x="23" y="47"/>
                  </a:cubicBezTo>
                  <a:cubicBezTo>
                    <a:pt x="65" y="102"/>
                    <a:pt x="52" y="235"/>
                    <a:pt x="52" y="235"/>
                  </a:cubicBezTo>
                  <a:lnTo>
                    <a:pt x="104" y="235"/>
                  </a:lnTo>
                  <a:cubicBezTo>
                    <a:pt x="91" y="102"/>
                    <a:pt x="133" y="47"/>
                    <a:pt x="133" y="47"/>
                  </a:cubicBezTo>
                  <a:cubicBezTo>
                    <a:pt x="127" y="13"/>
                    <a:pt x="100" y="1"/>
                    <a:pt x="74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6" name="Google Shape;1326;p39"/>
            <p:cNvSpPr/>
            <p:nvPr/>
          </p:nvSpPr>
          <p:spPr>
            <a:xfrm>
              <a:off x="-1933941" y="2747175"/>
              <a:ext cx="84625" cy="300366"/>
            </a:xfrm>
            <a:custGeom>
              <a:avLst/>
              <a:gdLst/>
              <a:ahLst/>
              <a:cxnLst/>
              <a:rect l="l" t="t" r="r" b="b"/>
              <a:pathLst>
                <a:path w="446" h="1583" extrusionOk="0">
                  <a:moveTo>
                    <a:pt x="231" y="1"/>
                  </a:moveTo>
                  <a:cubicBezTo>
                    <a:pt x="208" y="1"/>
                    <a:pt x="185" y="48"/>
                    <a:pt x="163" y="158"/>
                  </a:cubicBezTo>
                  <a:cubicBezTo>
                    <a:pt x="163" y="158"/>
                    <a:pt x="1" y="1438"/>
                    <a:pt x="111" y="1535"/>
                  </a:cubicBezTo>
                  <a:cubicBezTo>
                    <a:pt x="143" y="1563"/>
                    <a:pt x="189" y="1583"/>
                    <a:pt x="235" y="1583"/>
                  </a:cubicBezTo>
                  <a:cubicBezTo>
                    <a:pt x="323" y="1583"/>
                    <a:pt x="416" y="1512"/>
                    <a:pt x="435" y="1292"/>
                  </a:cubicBezTo>
                  <a:cubicBezTo>
                    <a:pt x="446" y="1002"/>
                    <a:pt x="338" y="1"/>
                    <a:pt x="23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7" name="Google Shape;1327;p39"/>
            <p:cNvSpPr/>
            <p:nvPr/>
          </p:nvSpPr>
          <p:spPr>
            <a:xfrm>
              <a:off x="-1936407" y="2747934"/>
              <a:ext cx="51230" cy="295433"/>
            </a:xfrm>
            <a:custGeom>
              <a:avLst/>
              <a:gdLst/>
              <a:ahLst/>
              <a:cxnLst/>
              <a:rect l="l" t="t" r="r" b="b"/>
              <a:pathLst>
                <a:path w="270" h="1557" extrusionOk="0">
                  <a:moveTo>
                    <a:pt x="241" y="0"/>
                  </a:moveTo>
                  <a:cubicBezTo>
                    <a:pt x="217" y="0"/>
                    <a:pt x="197" y="45"/>
                    <a:pt x="176" y="154"/>
                  </a:cubicBezTo>
                  <a:cubicBezTo>
                    <a:pt x="176" y="154"/>
                    <a:pt x="1" y="1353"/>
                    <a:pt x="124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95" y="1301"/>
                    <a:pt x="205" y="154"/>
                    <a:pt x="205" y="154"/>
                  </a:cubicBezTo>
                  <a:cubicBezTo>
                    <a:pt x="218" y="5"/>
                    <a:pt x="257" y="44"/>
                    <a:pt x="270" y="18"/>
                  </a:cubicBezTo>
                  <a:cubicBezTo>
                    <a:pt x="259" y="7"/>
                    <a:pt x="250" y="0"/>
                    <a:pt x="241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8" name="Google Shape;1328;p39"/>
            <p:cNvSpPr/>
            <p:nvPr/>
          </p:nvSpPr>
          <p:spPr>
            <a:xfrm>
              <a:off x="-1890300" y="3191938"/>
              <a:ext cx="333378" cy="7590"/>
            </a:xfrm>
            <a:custGeom>
              <a:avLst/>
              <a:gdLst/>
              <a:ahLst/>
              <a:cxnLst/>
              <a:rect l="l" t="t" r="r" b="b"/>
              <a:pathLst>
                <a:path w="1757" h="40" extrusionOk="0">
                  <a:moveTo>
                    <a:pt x="1" y="1"/>
                  </a:moveTo>
                  <a:lnTo>
                    <a:pt x="1" y="40"/>
                  </a:lnTo>
                  <a:lnTo>
                    <a:pt x="1757" y="4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9" name="Google Shape;1329;p39"/>
            <p:cNvSpPr/>
            <p:nvPr/>
          </p:nvSpPr>
          <p:spPr>
            <a:xfrm>
              <a:off x="-1890300" y="3214707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0" name="Google Shape;1330;p39"/>
            <p:cNvSpPr/>
            <p:nvPr/>
          </p:nvSpPr>
          <p:spPr>
            <a:xfrm>
              <a:off x="-1890300" y="3235010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1" name="Google Shape;1331;p39"/>
            <p:cNvSpPr/>
            <p:nvPr/>
          </p:nvSpPr>
          <p:spPr>
            <a:xfrm>
              <a:off x="-1882331" y="3179035"/>
              <a:ext cx="12523" cy="81970"/>
            </a:xfrm>
            <a:custGeom>
              <a:avLst/>
              <a:gdLst/>
              <a:ahLst/>
              <a:cxnLst/>
              <a:rect l="l" t="t" r="r" b="b"/>
              <a:pathLst>
                <a:path w="6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6" y="432"/>
                  </a:lnTo>
                  <a:lnTo>
                    <a:pt x="6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2" name="Google Shape;1332;p39"/>
            <p:cNvSpPr/>
            <p:nvPr/>
          </p:nvSpPr>
          <p:spPr>
            <a:xfrm>
              <a:off x="-1823890" y="3179035"/>
              <a:ext cx="10626" cy="81970"/>
            </a:xfrm>
            <a:custGeom>
              <a:avLst/>
              <a:gdLst/>
              <a:ahLst/>
              <a:cxnLst/>
              <a:rect l="l" t="t" r="r" b="b"/>
              <a:pathLst>
                <a:path w="5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56" y="432"/>
                  </a:lnTo>
                  <a:lnTo>
                    <a:pt x="5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3" name="Google Shape;1333;p39"/>
            <p:cNvSpPr/>
            <p:nvPr/>
          </p:nvSpPr>
          <p:spPr>
            <a:xfrm>
              <a:off x="-1767347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4" name="Google Shape;1334;p39"/>
            <p:cNvSpPr/>
            <p:nvPr/>
          </p:nvSpPr>
          <p:spPr>
            <a:xfrm>
              <a:off x="-170587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5" name="Google Shape;1335;p39"/>
            <p:cNvSpPr/>
            <p:nvPr/>
          </p:nvSpPr>
          <p:spPr>
            <a:xfrm>
              <a:off x="-1644394" y="3176568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6" name="Google Shape;1336;p39"/>
            <p:cNvSpPr/>
            <p:nvPr/>
          </p:nvSpPr>
          <p:spPr>
            <a:xfrm>
              <a:off x="-158045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7" name="Google Shape;1337;p39"/>
            <p:cNvSpPr/>
            <p:nvPr/>
          </p:nvSpPr>
          <p:spPr>
            <a:xfrm>
              <a:off x="-519980" y="3040711"/>
              <a:ext cx="333378" cy="5123"/>
            </a:xfrm>
            <a:custGeom>
              <a:avLst/>
              <a:gdLst/>
              <a:ahLst/>
              <a:cxnLst/>
              <a:rect l="l" t="t" r="r" b="b"/>
              <a:pathLst>
                <a:path w="1757" h="27" extrusionOk="0">
                  <a:moveTo>
                    <a:pt x="1" y="1"/>
                  </a:moveTo>
                  <a:lnTo>
                    <a:pt x="1" y="27"/>
                  </a:lnTo>
                  <a:lnTo>
                    <a:pt x="1757" y="27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8" name="Google Shape;1338;p39"/>
            <p:cNvSpPr/>
            <p:nvPr/>
          </p:nvSpPr>
          <p:spPr>
            <a:xfrm>
              <a:off x="-519980" y="3063480"/>
              <a:ext cx="333378" cy="5692"/>
            </a:xfrm>
            <a:custGeom>
              <a:avLst/>
              <a:gdLst/>
              <a:ahLst/>
              <a:cxnLst/>
              <a:rect l="l" t="t" r="r" b="b"/>
              <a:pathLst>
                <a:path w="1757" h="30" extrusionOk="0">
                  <a:moveTo>
                    <a:pt x="1" y="1"/>
                  </a:moveTo>
                  <a:lnTo>
                    <a:pt x="1" y="30"/>
                  </a:lnTo>
                  <a:lnTo>
                    <a:pt x="1757" y="3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9" name="Google Shape;1339;p39"/>
            <p:cNvSpPr/>
            <p:nvPr/>
          </p:nvSpPr>
          <p:spPr>
            <a:xfrm>
              <a:off x="-519980" y="3084352"/>
              <a:ext cx="333378" cy="5123"/>
            </a:xfrm>
            <a:custGeom>
              <a:avLst/>
              <a:gdLst/>
              <a:ahLst/>
              <a:cxnLst/>
              <a:rect l="l" t="t" r="r" b="b"/>
              <a:pathLst>
                <a:path w="1757" h="27" extrusionOk="0">
                  <a:moveTo>
                    <a:pt x="1" y="1"/>
                  </a:moveTo>
                  <a:lnTo>
                    <a:pt x="1" y="27"/>
                  </a:lnTo>
                  <a:lnTo>
                    <a:pt x="1757" y="27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0" name="Google Shape;1340;p39"/>
            <p:cNvSpPr/>
            <p:nvPr/>
          </p:nvSpPr>
          <p:spPr>
            <a:xfrm>
              <a:off x="-51201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1" name="Google Shape;1341;p39"/>
            <p:cNvSpPr/>
            <p:nvPr/>
          </p:nvSpPr>
          <p:spPr>
            <a:xfrm>
              <a:off x="-453001" y="3025341"/>
              <a:ext cx="10056" cy="81970"/>
            </a:xfrm>
            <a:custGeom>
              <a:avLst/>
              <a:gdLst/>
              <a:ahLst/>
              <a:cxnLst/>
              <a:rect l="l" t="t" r="r" b="b"/>
              <a:pathLst>
                <a:path w="53" h="432" extrusionOk="0">
                  <a:moveTo>
                    <a:pt x="1" y="1"/>
                  </a:moveTo>
                  <a:lnTo>
                    <a:pt x="1" y="432"/>
                  </a:lnTo>
                  <a:lnTo>
                    <a:pt x="53" y="432"/>
                  </a:lnTo>
                  <a:lnTo>
                    <a:pt x="53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2" name="Google Shape;1342;p39"/>
            <p:cNvSpPr/>
            <p:nvPr/>
          </p:nvSpPr>
          <p:spPr>
            <a:xfrm>
              <a:off x="-397026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3" name="Google Shape;1343;p39"/>
            <p:cNvSpPr/>
            <p:nvPr/>
          </p:nvSpPr>
          <p:spPr>
            <a:xfrm>
              <a:off x="-33555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4" name="Google Shape;1344;p39"/>
            <p:cNvSpPr/>
            <p:nvPr/>
          </p:nvSpPr>
          <p:spPr>
            <a:xfrm>
              <a:off x="-274073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5" name="Google Shape;1345;p39"/>
            <p:cNvSpPr/>
            <p:nvPr/>
          </p:nvSpPr>
          <p:spPr>
            <a:xfrm>
              <a:off x="-21013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6" name="Google Shape;1346;p39"/>
            <p:cNvSpPr/>
            <p:nvPr/>
          </p:nvSpPr>
          <p:spPr>
            <a:xfrm>
              <a:off x="-1488236" y="3191938"/>
              <a:ext cx="333378" cy="7590"/>
            </a:xfrm>
            <a:custGeom>
              <a:avLst/>
              <a:gdLst/>
              <a:ahLst/>
              <a:cxnLst/>
              <a:rect l="l" t="t" r="r" b="b"/>
              <a:pathLst>
                <a:path w="1757" h="40" extrusionOk="0">
                  <a:moveTo>
                    <a:pt x="1" y="1"/>
                  </a:moveTo>
                  <a:lnTo>
                    <a:pt x="1" y="40"/>
                  </a:lnTo>
                  <a:lnTo>
                    <a:pt x="1757" y="4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7" name="Google Shape;1347;p39"/>
            <p:cNvSpPr/>
            <p:nvPr/>
          </p:nvSpPr>
          <p:spPr>
            <a:xfrm>
              <a:off x="-1488236" y="3214707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8" name="Google Shape;1348;p39"/>
            <p:cNvSpPr/>
            <p:nvPr/>
          </p:nvSpPr>
          <p:spPr>
            <a:xfrm>
              <a:off x="-1488236" y="3235010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9" name="Google Shape;1349;p39"/>
            <p:cNvSpPr/>
            <p:nvPr/>
          </p:nvSpPr>
          <p:spPr>
            <a:xfrm>
              <a:off x="-147780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0" name="Google Shape;1350;p39"/>
            <p:cNvSpPr/>
            <p:nvPr/>
          </p:nvSpPr>
          <p:spPr>
            <a:xfrm>
              <a:off x="-1421256" y="3179035"/>
              <a:ext cx="12523" cy="81970"/>
            </a:xfrm>
            <a:custGeom>
              <a:avLst/>
              <a:gdLst/>
              <a:ahLst/>
              <a:cxnLst/>
              <a:rect l="l" t="t" r="r" b="b"/>
              <a:pathLst>
                <a:path w="6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6" y="432"/>
                  </a:lnTo>
                  <a:lnTo>
                    <a:pt x="6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1" name="Google Shape;1351;p39"/>
            <p:cNvSpPr/>
            <p:nvPr/>
          </p:nvSpPr>
          <p:spPr>
            <a:xfrm>
              <a:off x="-136281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2" name="Google Shape;1352;p39"/>
            <p:cNvSpPr/>
            <p:nvPr/>
          </p:nvSpPr>
          <p:spPr>
            <a:xfrm>
              <a:off x="-130380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3" name="Google Shape;1353;p39"/>
            <p:cNvSpPr/>
            <p:nvPr/>
          </p:nvSpPr>
          <p:spPr>
            <a:xfrm>
              <a:off x="-1239863" y="3176568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4" name="Google Shape;1354;p39"/>
            <p:cNvSpPr/>
            <p:nvPr/>
          </p:nvSpPr>
          <p:spPr>
            <a:xfrm>
              <a:off x="-117838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2744111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BC774D-8D75-DB47-F10F-B77BDD55E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58A62AC-F87B-B5DC-A783-65EA5A5DF5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123F91E-572B-E5BE-EFE6-51AA39179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DA40E8E-A8F5-36AA-0BAC-3E69D31547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9E3D2D1-FC73-B762-474D-AA1A3AE99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22909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692800" y="1170433"/>
            <a:ext cx="8806400" cy="157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8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3248600" y="2718267"/>
            <a:ext cx="5694800" cy="49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-1" y="4049700"/>
            <a:ext cx="12191992" cy="2813448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/>
          <p:nvPr/>
        </p:nvSpPr>
        <p:spPr>
          <a:xfrm>
            <a:off x="9163733" y="2833804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" name="Google Shape;13;p2"/>
          <p:cNvSpPr/>
          <p:nvPr/>
        </p:nvSpPr>
        <p:spPr>
          <a:xfrm>
            <a:off x="-349388" y="1313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" name="Google Shape;14;p2"/>
          <p:cNvSpPr/>
          <p:nvPr/>
        </p:nvSpPr>
        <p:spPr>
          <a:xfrm>
            <a:off x="8145065" y="209834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5" name="Google Shape;15;p2"/>
          <p:cNvGrpSpPr/>
          <p:nvPr/>
        </p:nvGrpSpPr>
        <p:grpSpPr>
          <a:xfrm>
            <a:off x="6" y="3971192"/>
            <a:ext cx="12192077" cy="2886833"/>
            <a:chOff x="753162" y="1676328"/>
            <a:chExt cx="1519123" cy="359697"/>
          </a:xfrm>
        </p:grpSpPr>
        <p:sp>
          <p:nvSpPr>
            <p:cNvPr id="16" name="Google Shape;16;p2"/>
            <p:cNvSpPr/>
            <p:nvPr/>
          </p:nvSpPr>
          <p:spPr>
            <a:xfrm>
              <a:off x="1026944" y="1759074"/>
              <a:ext cx="451780" cy="223563"/>
            </a:xfrm>
            <a:custGeom>
              <a:avLst/>
              <a:gdLst/>
              <a:ahLst/>
              <a:cxnLst/>
              <a:rect l="l" t="t" r="r" b="b"/>
              <a:pathLst>
                <a:path w="16112" h="7973" extrusionOk="0">
                  <a:moveTo>
                    <a:pt x="9766" y="0"/>
                  </a:moveTo>
                  <a:cubicBezTo>
                    <a:pt x="9196" y="0"/>
                    <a:pt x="8470" y="635"/>
                    <a:pt x="8470" y="635"/>
                  </a:cubicBezTo>
                  <a:cubicBezTo>
                    <a:pt x="8470" y="635"/>
                    <a:pt x="8317" y="58"/>
                    <a:pt x="8086" y="58"/>
                  </a:cubicBezTo>
                  <a:cubicBezTo>
                    <a:pt x="7855" y="76"/>
                    <a:pt x="7832" y="520"/>
                    <a:pt x="7832" y="520"/>
                  </a:cubicBezTo>
                  <a:cubicBezTo>
                    <a:pt x="7832" y="520"/>
                    <a:pt x="7813" y="99"/>
                    <a:pt x="7527" y="99"/>
                  </a:cubicBezTo>
                  <a:cubicBezTo>
                    <a:pt x="7236" y="99"/>
                    <a:pt x="7139" y="769"/>
                    <a:pt x="7139" y="769"/>
                  </a:cubicBezTo>
                  <a:cubicBezTo>
                    <a:pt x="7139" y="769"/>
                    <a:pt x="7102" y="423"/>
                    <a:pt x="6621" y="404"/>
                  </a:cubicBezTo>
                  <a:cubicBezTo>
                    <a:pt x="6141" y="404"/>
                    <a:pt x="5734" y="792"/>
                    <a:pt x="5734" y="792"/>
                  </a:cubicBezTo>
                  <a:cubicBezTo>
                    <a:pt x="5734" y="792"/>
                    <a:pt x="5637" y="404"/>
                    <a:pt x="5314" y="404"/>
                  </a:cubicBezTo>
                  <a:cubicBezTo>
                    <a:pt x="4967" y="404"/>
                    <a:pt x="4658" y="885"/>
                    <a:pt x="4658" y="885"/>
                  </a:cubicBezTo>
                  <a:cubicBezTo>
                    <a:pt x="4658" y="885"/>
                    <a:pt x="4584" y="597"/>
                    <a:pt x="4229" y="597"/>
                  </a:cubicBezTo>
                  <a:cubicBezTo>
                    <a:pt x="4218" y="597"/>
                    <a:pt x="4207" y="598"/>
                    <a:pt x="4196" y="598"/>
                  </a:cubicBezTo>
                  <a:cubicBezTo>
                    <a:pt x="3789" y="598"/>
                    <a:pt x="3636" y="1675"/>
                    <a:pt x="3636" y="1675"/>
                  </a:cubicBezTo>
                  <a:cubicBezTo>
                    <a:pt x="3636" y="1675"/>
                    <a:pt x="3558" y="1254"/>
                    <a:pt x="3119" y="1254"/>
                  </a:cubicBezTo>
                  <a:cubicBezTo>
                    <a:pt x="2675" y="1254"/>
                    <a:pt x="2347" y="2543"/>
                    <a:pt x="2347" y="2543"/>
                  </a:cubicBezTo>
                  <a:cubicBezTo>
                    <a:pt x="2347" y="2543"/>
                    <a:pt x="2287" y="1984"/>
                    <a:pt x="1539" y="1906"/>
                  </a:cubicBezTo>
                  <a:cubicBezTo>
                    <a:pt x="1517" y="1903"/>
                    <a:pt x="1494" y="1902"/>
                    <a:pt x="1472" y="1902"/>
                  </a:cubicBezTo>
                  <a:cubicBezTo>
                    <a:pt x="1175" y="1902"/>
                    <a:pt x="821" y="2119"/>
                    <a:pt x="499" y="2368"/>
                  </a:cubicBezTo>
                  <a:cubicBezTo>
                    <a:pt x="384" y="2677"/>
                    <a:pt x="0" y="2848"/>
                    <a:pt x="0" y="2848"/>
                  </a:cubicBezTo>
                  <a:cubicBezTo>
                    <a:pt x="0" y="2848"/>
                    <a:pt x="615" y="2908"/>
                    <a:pt x="749" y="3255"/>
                  </a:cubicBezTo>
                  <a:cubicBezTo>
                    <a:pt x="883" y="3583"/>
                    <a:pt x="365" y="3869"/>
                    <a:pt x="365" y="3869"/>
                  </a:cubicBezTo>
                  <a:cubicBezTo>
                    <a:pt x="365" y="3869"/>
                    <a:pt x="1405" y="3930"/>
                    <a:pt x="1654" y="4581"/>
                  </a:cubicBezTo>
                  <a:cubicBezTo>
                    <a:pt x="1922" y="5256"/>
                    <a:pt x="1077" y="5644"/>
                    <a:pt x="1077" y="5644"/>
                  </a:cubicBezTo>
                  <a:cubicBezTo>
                    <a:pt x="1077" y="5644"/>
                    <a:pt x="1125" y="5641"/>
                    <a:pt x="1201" y="5641"/>
                  </a:cubicBezTo>
                  <a:cubicBezTo>
                    <a:pt x="1457" y="5641"/>
                    <a:pt x="2031" y="5676"/>
                    <a:pt x="2135" y="5990"/>
                  </a:cubicBezTo>
                  <a:cubicBezTo>
                    <a:pt x="2269" y="6374"/>
                    <a:pt x="1654" y="6873"/>
                    <a:pt x="1636" y="6891"/>
                  </a:cubicBezTo>
                  <a:cubicBezTo>
                    <a:pt x="1651" y="6876"/>
                    <a:pt x="2372" y="6593"/>
                    <a:pt x="2762" y="6593"/>
                  </a:cubicBezTo>
                  <a:cubicBezTo>
                    <a:pt x="2849" y="6593"/>
                    <a:pt x="2920" y="6607"/>
                    <a:pt x="2962" y="6642"/>
                  </a:cubicBezTo>
                  <a:cubicBezTo>
                    <a:pt x="3193" y="6836"/>
                    <a:pt x="3059" y="7547"/>
                    <a:pt x="3059" y="7547"/>
                  </a:cubicBezTo>
                  <a:cubicBezTo>
                    <a:pt x="3059" y="7547"/>
                    <a:pt x="4078" y="6173"/>
                    <a:pt x="4648" y="6173"/>
                  </a:cubicBezTo>
                  <a:cubicBezTo>
                    <a:pt x="4671" y="6173"/>
                    <a:pt x="4692" y="6175"/>
                    <a:pt x="4713" y="6180"/>
                  </a:cubicBezTo>
                  <a:cubicBezTo>
                    <a:pt x="5291" y="6314"/>
                    <a:pt x="5198" y="7797"/>
                    <a:pt x="5198" y="7797"/>
                  </a:cubicBezTo>
                  <a:cubicBezTo>
                    <a:pt x="5198" y="7797"/>
                    <a:pt x="5580" y="7080"/>
                    <a:pt x="6099" y="7080"/>
                  </a:cubicBezTo>
                  <a:cubicBezTo>
                    <a:pt x="6125" y="7080"/>
                    <a:pt x="6151" y="7082"/>
                    <a:pt x="6178" y="7085"/>
                  </a:cubicBezTo>
                  <a:cubicBezTo>
                    <a:pt x="6737" y="7145"/>
                    <a:pt x="6700" y="7973"/>
                    <a:pt x="6700" y="7973"/>
                  </a:cubicBezTo>
                  <a:cubicBezTo>
                    <a:pt x="6700" y="7973"/>
                    <a:pt x="7199" y="7681"/>
                    <a:pt x="7776" y="7626"/>
                  </a:cubicBezTo>
                  <a:cubicBezTo>
                    <a:pt x="7776" y="7608"/>
                    <a:pt x="7467" y="6452"/>
                    <a:pt x="8141" y="6295"/>
                  </a:cubicBezTo>
                  <a:cubicBezTo>
                    <a:pt x="8208" y="6280"/>
                    <a:pt x="8274" y="6273"/>
                    <a:pt x="8338" y="6273"/>
                  </a:cubicBezTo>
                  <a:cubicBezTo>
                    <a:pt x="8905" y="6273"/>
                    <a:pt x="9359" y="6819"/>
                    <a:pt x="9375" y="6836"/>
                  </a:cubicBezTo>
                  <a:cubicBezTo>
                    <a:pt x="9357" y="6799"/>
                    <a:pt x="8585" y="4794"/>
                    <a:pt x="9491" y="4392"/>
                  </a:cubicBezTo>
                  <a:cubicBezTo>
                    <a:pt x="9618" y="4338"/>
                    <a:pt x="9744" y="4315"/>
                    <a:pt x="9868" y="4315"/>
                  </a:cubicBezTo>
                  <a:cubicBezTo>
                    <a:pt x="10641" y="4315"/>
                    <a:pt x="11297" y="5219"/>
                    <a:pt x="11297" y="5219"/>
                  </a:cubicBezTo>
                  <a:cubicBezTo>
                    <a:pt x="11297" y="5219"/>
                    <a:pt x="11320" y="3985"/>
                    <a:pt x="11856" y="3833"/>
                  </a:cubicBezTo>
                  <a:cubicBezTo>
                    <a:pt x="11891" y="3824"/>
                    <a:pt x="11925" y="3820"/>
                    <a:pt x="11959" y="3820"/>
                  </a:cubicBezTo>
                  <a:cubicBezTo>
                    <a:pt x="12475" y="3820"/>
                    <a:pt x="12915" y="4720"/>
                    <a:pt x="12915" y="4720"/>
                  </a:cubicBezTo>
                  <a:cubicBezTo>
                    <a:pt x="12915" y="4720"/>
                    <a:pt x="12975" y="2964"/>
                    <a:pt x="13936" y="2890"/>
                  </a:cubicBezTo>
                  <a:cubicBezTo>
                    <a:pt x="13971" y="2887"/>
                    <a:pt x="14005" y="2886"/>
                    <a:pt x="14039" y="2886"/>
                  </a:cubicBezTo>
                  <a:cubicBezTo>
                    <a:pt x="14916" y="2886"/>
                    <a:pt x="15400" y="3833"/>
                    <a:pt x="15400" y="3833"/>
                  </a:cubicBezTo>
                  <a:cubicBezTo>
                    <a:pt x="15400" y="3833"/>
                    <a:pt x="15631" y="3255"/>
                    <a:pt x="16112" y="2871"/>
                  </a:cubicBezTo>
                  <a:cubicBezTo>
                    <a:pt x="16075" y="2714"/>
                    <a:pt x="16015" y="2562"/>
                    <a:pt x="15918" y="2543"/>
                  </a:cubicBezTo>
                  <a:cubicBezTo>
                    <a:pt x="15906" y="2542"/>
                    <a:pt x="15894" y="2542"/>
                    <a:pt x="15881" y="2542"/>
                  </a:cubicBezTo>
                  <a:cubicBezTo>
                    <a:pt x="15707" y="2542"/>
                    <a:pt x="15553" y="2659"/>
                    <a:pt x="15553" y="2659"/>
                  </a:cubicBezTo>
                  <a:cubicBezTo>
                    <a:pt x="15553" y="2659"/>
                    <a:pt x="15881" y="2178"/>
                    <a:pt x="15631" y="2021"/>
                  </a:cubicBezTo>
                  <a:cubicBezTo>
                    <a:pt x="15568" y="1987"/>
                    <a:pt x="15508" y="1974"/>
                    <a:pt x="15455" y="1974"/>
                  </a:cubicBezTo>
                  <a:cubicBezTo>
                    <a:pt x="15296" y="1974"/>
                    <a:pt x="15188" y="2086"/>
                    <a:pt x="15188" y="2100"/>
                  </a:cubicBezTo>
                  <a:cubicBezTo>
                    <a:pt x="15188" y="2081"/>
                    <a:pt x="15303" y="1675"/>
                    <a:pt x="15151" y="1601"/>
                  </a:cubicBezTo>
                  <a:cubicBezTo>
                    <a:pt x="15122" y="1583"/>
                    <a:pt x="15091" y="1575"/>
                    <a:pt x="15061" y="1575"/>
                  </a:cubicBezTo>
                  <a:cubicBezTo>
                    <a:pt x="14930" y="1575"/>
                    <a:pt x="14804" y="1716"/>
                    <a:pt x="14804" y="1716"/>
                  </a:cubicBezTo>
                  <a:cubicBezTo>
                    <a:pt x="14860" y="1559"/>
                    <a:pt x="14901" y="1176"/>
                    <a:pt x="14689" y="1116"/>
                  </a:cubicBezTo>
                  <a:cubicBezTo>
                    <a:pt x="14664" y="1110"/>
                    <a:pt x="14640" y="1107"/>
                    <a:pt x="14617" y="1107"/>
                  </a:cubicBezTo>
                  <a:cubicBezTo>
                    <a:pt x="14422" y="1107"/>
                    <a:pt x="14282" y="1291"/>
                    <a:pt x="14282" y="1291"/>
                  </a:cubicBezTo>
                  <a:cubicBezTo>
                    <a:pt x="14282" y="1291"/>
                    <a:pt x="14342" y="501"/>
                    <a:pt x="14033" y="501"/>
                  </a:cubicBezTo>
                  <a:cubicBezTo>
                    <a:pt x="14022" y="500"/>
                    <a:pt x="14011" y="500"/>
                    <a:pt x="14001" y="500"/>
                  </a:cubicBezTo>
                  <a:cubicBezTo>
                    <a:pt x="13719" y="500"/>
                    <a:pt x="13668" y="732"/>
                    <a:pt x="13668" y="732"/>
                  </a:cubicBezTo>
                  <a:cubicBezTo>
                    <a:pt x="13668" y="732"/>
                    <a:pt x="13558" y="403"/>
                    <a:pt x="13305" y="403"/>
                  </a:cubicBezTo>
                  <a:cubicBezTo>
                    <a:pt x="13298" y="403"/>
                    <a:pt x="13291" y="404"/>
                    <a:pt x="13284" y="404"/>
                  </a:cubicBezTo>
                  <a:cubicBezTo>
                    <a:pt x="13030" y="404"/>
                    <a:pt x="12781" y="617"/>
                    <a:pt x="12781" y="617"/>
                  </a:cubicBezTo>
                  <a:cubicBezTo>
                    <a:pt x="12781" y="617"/>
                    <a:pt x="12531" y="192"/>
                    <a:pt x="12263" y="192"/>
                  </a:cubicBezTo>
                  <a:cubicBezTo>
                    <a:pt x="12014" y="215"/>
                    <a:pt x="11819" y="617"/>
                    <a:pt x="11819" y="617"/>
                  </a:cubicBezTo>
                  <a:cubicBezTo>
                    <a:pt x="11819" y="617"/>
                    <a:pt x="11875" y="155"/>
                    <a:pt x="11436" y="136"/>
                  </a:cubicBezTo>
                  <a:cubicBezTo>
                    <a:pt x="11425" y="136"/>
                    <a:pt x="11414" y="135"/>
                    <a:pt x="11403" y="135"/>
                  </a:cubicBezTo>
                  <a:cubicBezTo>
                    <a:pt x="10963" y="135"/>
                    <a:pt x="10396" y="483"/>
                    <a:pt x="10396" y="483"/>
                  </a:cubicBezTo>
                  <a:cubicBezTo>
                    <a:pt x="10396" y="483"/>
                    <a:pt x="10396" y="39"/>
                    <a:pt x="9819" y="2"/>
                  </a:cubicBezTo>
                  <a:cubicBezTo>
                    <a:pt x="9801" y="1"/>
                    <a:pt x="9784" y="0"/>
                    <a:pt x="9766" y="0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" name="Google Shape;17;p2"/>
            <p:cNvSpPr/>
            <p:nvPr/>
          </p:nvSpPr>
          <p:spPr>
            <a:xfrm>
              <a:off x="1608270" y="1820117"/>
              <a:ext cx="462183" cy="191513"/>
            </a:xfrm>
            <a:custGeom>
              <a:avLst/>
              <a:gdLst/>
              <a:ahLst/>
              <a:cxnLst/>
              <a:rect l="l" t="t" r="r" b="b"/>
              <a:pathLst>
                <a:path w="16483" h="6830" extrusionOk="0">
                  <a:moveTo>
                    <a:pt x="7703" y="1"/>
                  </a:moveTo>
                  <a:cubicBezTo>
                    <a:pt x="7697" y="1"/>
                    <a:pt x="7691" y="1"/>
                    <a:pt x="7685" y="1"/>
                  </a:cubicBezTo>
                  <a:cubicBezTo>
                    <a:pt x="7199" y="20"/>
                    <a:pt x="6894" y="1540"/>
                    <a:pt x="6894" y="1540"/>
                  </a:cubicBezTo>
                  <a:cubicBezTo>
                    <a:pt x="6894" y="1540"/>
                    <a:pt x="6603" y="925"/>
                    <a:pt x="6086" y="925"/>
                  </a:cubicBezTo>
                  <a:cubicBezTo>
                    <a:pt x="5582" y="925"/>
                    <a:pt x="5624" y="1808"/>
                    <a:pt x="5624" y="1808"/>
                  </a:cubicBezTo>
                  <a:cubicBezTo>
                    <a:pt x="5624" y="1808"/>
                    <a:pt x="5295" y="992"/>
                    <a:pt x="4685" y="992"/>
                  </a:cubicBezTo>
                  <a:cubicBezTo>
                    <a:pt x="4652" y="992"/>
                    <a:pt x="4618" y="994"/>
                    <a:pt x="4584" y="999"/>
                  </a:cubicBezTo>
                  <a:cubicBezTo>
                    <a:pt x="3910" y="1078"/>
                    <a:pt x="3545" y="1808"/>
                    <a:pt x="3545" y="1808"/>
                  </a:cubicBezTo>
                  <a:cubicBezTo>
                    <a:pt x="3545" y="1808"/>
                    <a:pt x="3082" y="768"/>
                    <a:pt x="2311" y="768"/>
                  </a:cubicBezTo>
                  <a:cubicBezTo>
                    <a:pt x="1539" y="768"/>
                    <a:pt x="1193" y="2543"/>
                    <a:pt x="1193" y="2543"/>
                  </a:cubicBezTo>
                  <a:cubicBezTo>
                    <a:pt x="1193" y="2543"/>
                    <a:pt x="1" y="4580"/>
                    <a:pt x="19" y="5102"/>
                  </a:cubicBezTo>
                  <a:cubicBezTo>
                    <a:pt x="38" y="5620"/>
                    <a:pt x="1946" y="6720"/>
                    <a:pt x="2024" y="6817"/>
                  </a:cubicBezTo>
                  <a:cubicBezTo>
                    <a:pt x="2031" y="6826"/>
                    <a:pt x="2100" y="6829"/>
                    <a:pt x="2217" y="6829"/>
                  </a:cubicBezTo>
                  <a:cubicBezTo>
                    <a:pt x="3335" y="6829"/>
                    <a:pt x="8914" y="6470"/>
                    <a:pt x="8914" y="6470"/>
                  </a:cubicBezTo>
                  <a:cubicBezTo>
                    <a:pt x="8914" y="6470"/>
                    <a:pt x="15674" y="4890"/>
                    <a:pt x="16076" y="4756"/>
                  </a:cubicBezTo>
                  <a:cubicBezTo>
                    <a:pt x="16482" y="4622"/>
                    <a:pt x="14902" y="1540"/>
                    <a:pt x="14458" y="1272"/>
                  </a:cubicBezTo>
                  <a:cubicBezTo>
                    <a:pt x="14351" y="1204"/>
                    <a:pt x="14232" y="1178"/>
                    <a:pt x="14113" y="1178"/>
                  </a:cubicBezTo>
                  <a:cubicBezTo>
                    <a:pt x="13719" y="1178"/>
                    <a:pt x="13322" y="1461"/>
                    <a:pt x="13322" y="1461"/>
                  </a:cubicBezTo>
                  <a:cubicBezTo>
                    <a:pt x="13322" y="1461"/>
                    <a:pt x="13516" y="768"/>
                    <a:pt x="13169" y="731"/>
                  </a:cubicBezTo>
                  <a:cubicBezTo>
                    <a:pt x="13158" y="730"/>
                    <a:pt x="13147" y="730"/>
                    <a:pt x="13136" y="730"/>
                  </a:cubicBezTo>
                  <a:cubicBezTo>
                    <a:pt x="12781" y="730"/>
                    <a:pt x="12148" y="1272"/>
                    <a:pt x="12148" y="1272"/>
                  </a:cubicBezTo>
                  <a:cubicBezTo>
                    <a:pt x="12148" y="1272"/>
                    <a:pt x="12033" y="288"/>
                    <a:pt x="11631" y="209"/>
                  </a:cubicBezTo>
                  <a:cubicBezTo>
                    <a:pt x="11620" y="208"/>
                    <a:pt x="11610" y="207"/>
                    <a:pt x="11600" y="207"/>
                  </a:cubicBezTo>
                  <a:cubicBezTo>
                    <a:pt x="11224" y="207"/>
                    <a:pt x="10877" y="1193"/>
                    <a:pt x="10877" y="1193"/>
                  </a:cubicBezTo>
                  <a:cubicBezTo>
                    <a:pt x="10877" y="1193"/>
                    <a:pt x="10806" y="749"/>
                    <a:pt x="10403" y="749"/>
                  </a:cubicBezTo>
                  <a:cubicBezTo>
                    <a:pt x="10395" y="749"/>
                    <a:pt x="10387" y="750"/>
                    <a:pt x="10378" y="750"/>
                  </a:cubicBezTo>
                  <a:cubicBezTo>
                    <a:pt x="9935" y="768"/>
                    <a:pt x="9838" y="1346"/>
                    <a:pt x="9838" y="1346"/>
                  </a:cubicBezTo>
                  <a:cubicBezTo>
                    <a:pt x="9838" y="1346"/>
                    <a:pt x="9544" y="865"/>
                    <a:pt x="8986" y="865"/>
                  </a:cubicBezTo>
                  <a:cubicBezTo>
                    <a:pt x="8976" y="865"/>
                    <a:pt x="8966" y="865"/>
                    <a:pt x="8955" y="865"/>
                  </a:cubicBezTo>
                  <a:cubicBezTo>
                    <a:pt x="8701" y="865"/>
                    <a:pt x="8124" y="1461"/>
                    <a:pt x="8124" y="1461"/>
                  </a:cubicBezTo>
                  <a:cubicBezTo>
                    <a:pt x="8124" y="1461"/>
                    <a:pt x="8146" y="1"/>
                    <a:pt x="7703" y="1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" name="Google Shape;18;p2"/>
            <p:cNvSpPr/>
            <p:nvPr/>
          </p:nvSpPr>
          <p:spPr>
            <a:xfrm>
              <a:off x="1711401" y="1791517"/>
              <a:ext cx="560884" cy="244509"/>
            </a:xfrm>
            <a:custGeom>
              <a:avLst/>
              <a:gdLst/>
              <a:ahLst/>
              <a:cxnLst/>
              <a:rect l="l" t="t" r="r" b="b"/>
              <a:pathLst>
                <a:path w="20003" h="8720" extrusionOk="0">
                  <a:moveTo>
                    <a:pt x="19388" y="0"/>
                  </a:moveTo>
                  <a:cubicBezTo>
                    <a:pt x="18963" y="0"/>
                    <a:pt x="18908" y="1174"/>
                    <a:pt x="18908" y="1174"/>
                  </a:cubicBezTo>
                  <a:cubicBezTo>
                    <a:pt x="18908" y="1174"/>
                    <a:pt x="18769" y="790"/>
                    <a:pt x="18252" y="693"/>
                  </a:cubicBezTo>
                  <a:cubicBezTo>
                    <a:pt x="18216" y="688"/>
                    <a:pt x="18182" y="686"/>
                    <a:pt x="18149" y="686"/>
                  </a:cubicBezTo>
                  <a:cubicBezTo>
                    <a:pt x="17682" y="686"/>
                    <a:pt x="17480" y="1174"/>
                    <a:pt x="17480" y="1174"/>
                  </a:cubicBezTo>
                  <a:cubicBezTo>
                    <a:pt x="17480" y="1174"/>
                    <a:pt x="17425" y="652"/>
                    <a:pt x="17000" y="615"/>
                  </a:cubicBezTo>
                  <a:cubicBezTo>
                    <a:pt x="16990" y="614"/>
                    <a:pt x="16981" y="614"/>
                    <a:pt x="16971" y="614"/>
                  </a:cubicBezTo>
                  <a:cubicBezTo>
                    <a:pt x="16565" y="614"/>
                    <a:pt x="16367" y="1386"/>
                    <a:pt x="16367" y="1386"/>
                  </a:cubicBezTo>
                  <a:cubicBezTo>
                    <a:pt x="16367" y="1386"/>
                    <a:pt x="15966" y="909"/>
                    <a:pt x="15605" y="909"/>
                  </a:cubicBezTo>
                  <a:cubicBezTo>
                    <a:pt x="15568" y="909"/>
                    <a:pt x="15533" y="914"/>
                    <a:pt x="15498" y="924"/>
                  </a:cubicBezTo>
                  <a:cubicBezTo>
                    <a:pt x="15114" y="1021"/>
                    <a:pt x="15285" y="1885"/>
                    <a:pt x="15285" y="1885"/>
                  </a:cubicBezTo>
                  <a:cubicBezTo>
                    <a:pt x="15285" y="1885"/>
                    <a:pt x="14980" y="1137"/>
                    <a:pt x="14343" y="924"/>
                  </a:cubicBezTo>
                  <a:cubicBezTo>
                    <a:pt x="14311" y="915"/>
                    <a:pt x="14278" y="910"/>
                    <a:pt x="14244" y="910"/>
                  </a:cubicBezTo>
                  <a:cubicBezTo>
                    <a:pt x="13586" y="910"/>
                    <a:pt x="12629" y="2615"/>
                    <a:pt x="12629" y="2615"/>
                  </a:cubicBezTo>
                  <a:cubicBezTo>
                    <a:pt x="12629" y="2615"/>
                    <a:pt x="12224" y="1476"/>
                    <a:pt x="11326" y="1476"/>
                  </a:cubicBezTo>
                  <a:cubicBezTo>
                    <a:pt x="11227" y="1476"/>
                    <a:pt x="11122" y="1490"/>
                    <a:pt x="11011" y="1520"/>
                  </a:cubicBezTo>
                  <a:cubicBezTo>
                    <a:pt x="9875" y="1848"/>
                    <a:pt x="9990" y="3928"/>
                    <a:pt x="9990" y="3928"/>
                  </a:cubicBezTo>
                  <a:cubicBezTo>
                    <a:pt x="9990" y="3928"/>
                    <a:pt x="9788" y="3290"/>
                    <a:pt x="9007" y="3290"/>
                  </a:cubicBezTo>
                  <a:cubicBezTo>
                    <a:pt x="8996" y="3290"/>
                    <a:pt x="8985" y="3290"/>
                    <a:pt x="8974" y="3290"/>
                  </a:cubicBezTo>
                  <a:cubicBezTo>
                    <a:pt x="8142" y="3309"/>
                    <a:pt x="7934" y="5041"/>
                    <a:pt x="7934" y="5041"/>
                  </a:cubicBezTo>
                  <a:cubicBezTo>
                    <a:pt x="7934" y="5041"/>
                    <a:pt x="7335" y="3896"/>
                    <a:pt x="6457" y="3896"/>
                  </a:cubicBezTo>
                  <a:cubicBezTo>
                    <a:pt x="6404" y="3896"/>
                    <a:pt x="6349" y="3900"/>
                    <a:pt x="6294" y="3909"/>
                  </a:cubicBezTo>
                  <a:cubicBezTo>
                    <a:pt x="5351" y="4043"/>
                    <a:pt x="5083" y="5757"/>
                    <a:pt x="5083" y="5757"/>
                  </a:cubicBezTo>
                  <a:cubicBezTo>
                    <a:pt x="5083" y="5757"/>
                    <a:pt x="4771" y="5133"/>
                    <a:pt x="4360" y="5133"/>
                  </a:cubicBezTo>
                  <a:cubicBezTo>
                    <a:pt x="4338" y="5133"/>
                    <a:pt x="4315" y="5135"/>
                    <a:pt x="4293" y="5138"/>
                  </a:cubicBezTo>
                  <a:cubicBezTo>
                    <a:pt x="3891" y="5198"/>
                    <a:pt x="3891" y="5873"/>
                    <a:pt x="3891" y="5873"/>
                  </a:cubicBezTo>
                  <a:cubicBezTo>
                    <a:pt x="3891" y="5873"/>
                    <a:pt x="3224" y="4654"/>
                    <a:pt x="2402" y="4654"/>
                  </a:cubicBezTo>
                  <a:cubicBezTo>
                    <a:pt x="2340" y="4654"/>
                    <a:pt x="2277" y="4661"/>
                    <a:pt x="2214" y="4676"/>
                  </a:cubicBezTo>
                  <a:cubicBezTo>
                    <a:pt x="1308" y="4889"/>
                    <a:pt x="1387" y="6275"/>
                    <a:pt x="1387" y="6275"/>
                  </a:cubicBezTo>
                  <a:lnTo>
                    <a:pt x="1" y="6950"/>
                  </a:lnTo>
                  <a:lnTo>
                    <a:pt x="828" y="8719"/>
                  </a:lnTo>
                  <a:lnTo>
                    <a:pt x="20003" y="8719"/>
                  </a:lnTo>
                  <a:lnTo>
                    <a:pt x="20003" y="536"/>
                  </a:lnTo>
                  <a:cubicBezTo>
                    <a:pt x="20003" y="536"/>
                    <a:pt x="19832" y="0"/>
                    <a:pt x="19388" y="0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1236291" y="1830380"/>
              <a:ext cx="555080" cy="205645"/>
            </a:xfrm>
            <a:custGeom>
              <a:avLst/>
              <a:gdLst/>
              <a:ahLst/>
              <a:cxnLst/>
              <a:rect l="l" t="t" r="r" b="b"/>
              <a:pathLst>
                <a:path w="19796" h="7334" extrusionOk="0">
                  <a:moveTo>
                    <a:pt x="9533" y="0"/>
                  </a:moveTo>
                  <a:cubicBezTo>
                    <a:pt x="9168" y="0"/>
                    <a:pt x="8877" y="153"/>
                    <a:pt x="8646" y="328"/>
                  </a:cubicBezTo>
                  <a:cubicBezTo>
                    <a:pt x="8165" y="712"/>
                    <a:pt x="7934" y="1290"/>
                    <a:pt x="7934" y="1290"/>
                  </a:cubicBezTo>
                  <a:cubicBezTo>
                    <a:pt x="7934" y="1290"/>
                    <a:pt x="7450" y="343"/>
                    <a:pt x="6573" y="343"/>
                  </a:cubicBezTo>
                  <a:cubicBezTo>
                    <a:pt x="6539" y="343"/>
                    <a:pt x="6505" y="344"/>
                    <a:pt x="6470" y="347"/>
                  </a:cubicBezTo>
                  <a:cubicBezTo>
                    <a:pt x="5509" y="421"/>
                    <a:pt x="5449" y="2177"/>
                    <a:pt x="5449" y="2177"/>
                  </a:cubicBezTo>
                  <a:cubicBezTo>
                    <a:pt x="5449" y="2177"/>
                    <a:pt x="5009" y="1277"/>
                    <a:pt x="4493" y="1277"/>
                  </a:cubicBezTo>
                  <a:cubicBezTo>
                    <a:pt x="4459" y="1277"/>
                    <a:pt x="4425" y="1281"/>
                    <a:pt x="4390" y="1290"/>
                  </a:cubicBezTo>
                  <a:cubicBezTo>
                    <a:pt x="3854" y="1442"/>
                    <a:pt x="3831" y="2676"/>
                    <a:pt x="3831" y="2676"/>
                  </a:cubicBezTo>
                  <a:cubicBezTo>
                    <a:pt x="3831" y="2676"/>
                    <a:pt x="3175" y="1772"/>
                    <a:pt x="2402" y="1772"/>
                  </a:cubicBezTo>
                  <a:cubicBezTo>
                    <a:pt x="2278" y="1772"/>
                    <a:pt x="2152" y="1795"/>
                    <a:pt x="2025" y="1849"/>
                  </a:cubicBezTo>
                  <a:cubicBezTo>
                    <a:pt x="1119" y="2251"/>
                    <a:pt x="1891" y="4256"/>
                    <a:pt x="1909" y="4293"/>
                  </a:cubicBezTo>
                  <a:cubicBezTo>
                    <a:pt x="1893" y="4276"/>
                    <a:pt x="1439" y="3730"/>
                    <a:pt x="872" y="3730"/>
                  </a:cubicBezTo>
                  <a:cubicBezTo>
                    <a:pt x="808" y="3730"/>
                    <a:pt x="742" y="3737"/>
                    <a:pt x="675" y="3752"/>
                  </a:cubicBezTo>
                  <a:cubicBezTo>
                    <a:pt x="1" y="3909"/>
                    <a:pt x="310" y="5065"/>
                    <a:pt x="310" y="5083"/>
                  </a:cubicBezTo>
                  <a:lnTo>
                    <a:pt x="292" y="5795"/>
                  </a:lnTo>
                  <a:lnTo>
                    <a:pt x="250" y="7333"/>
                  </a:lnTo>
                  <a:lnTo>
                    <a:pt x="19195" y="7333"/>
                  </a:lnTo>
                  <a:cubicBezTo>
                    <a:pt x="19195" y="7333"/>
                    <a:pt x="19795" y="6409"/>
                    <a:pt x="19426" y="6063"/>
                  </a:cubicBezTo>
                  <a:cubicBezTo>
                    <a:pt x="19310" y="5953"/>
                    <a:pt x="19110" y="5917"/>
                    <a:pt x="18893" y="5917"/>
                  </a:cubicBezTo>
                  <a:cubicBezTo>
                    <a:pt x="18459" y="5917"/>
                    <a:pt x="17960" y="6063"/>
                    <a:pt x="17947" y="6063"/>
                  </a:cubicBezTo>
                  <a:cubicBezTo>
                    <a:pt x="17966" y="6044"/>
                    <a:pt x="18793" y="5272"/>
                    <a:pt x="18118" y="4639"/>
                  </a:cubicBezTo>
                  <a:cubicBezTo>
                    <a:pt x="17910" y="4443"/>
                    <a:pt x="17668" y="4375"/>
                    <a:pt x="17431" y="4375"/>
                  </a:cubicBezTo>
                  <a:cubicBezTo>
                    <a:pt x="16900" y="4375"/>
                    <a:pt x="16398" y="4718"/>
                    <a:pt x="16385" y="4718"/>
                  </a:cubicBezTo>
                  <a:cubicBezTo>
                    <a:pt x="16385" y="4695"/>
                    <a:pt x="16908" y="3350"/>
                    <a:pt x="16233" y="3138"/>
                  </a:cubicBezTo>
                  <a:cubicBezTo>
                    <a:pt x="16128" y="3107"/>
                    <a:pt x="16023" y="3095"/>
                    <a:pt x="15920" y="3095"/>
                  </a:cubicBezTo>
                  <a:cubicBezTo>
                    <a:pt x="15369" y="3095"/>
                    <a:pt x="14899" y="3469"/>
                    <a:pt x="14884" y="3484"/>
                  </a:cubicBezTo>
                  <a:cubicBezTo>
                    <a:pt x="14884" y="3466"/>
                    <a:pt x="15480" y="2329"/>
                    <a:pt x="14690" y="1923"/>
                  </a:cubicBezTo>
                  <a:cubicBezTo>
                    <a:pt x="14517" y="1834"/>
                    <a:pt x="14328" y="1799"/>
                    <a:pt x="14138" y="1799"/>
                  </a:cubicBezTo>
                  <a:cubicBezTo>
                    <a:pt x="13466" y="1799"/>
                    <a:pt x="12786" y="2232"/>
                    <a:pt x="12786" y="2232"/>
                  </a:cubicBezTo>
                  <a:cubicBezTo>
                    <a:pt x="12786" y="2232"/>
                    <a:pt x="13017" y="998"/>
                    <a:pt x="12033" y="924"/>
                  </a:cubicBezTo>
                  <a:cubicBezTo>
                    <a:pt x="11989" y="921"/>
                    <a:pt x="11946" y="919"/>
                    <a:pt x="11904" y="919"/>
                  </a:cubicBezTo>
                  <a:cubicBezTo>
                    <a:pt x="11009" y="919"/>
                    <a:pt x="10360" y="1673"/>
                    <a:pt x="10360" y="1673"/>
                  </a:cubicBezTo>
                  <a:cubicBezTo>
                    <a:pt x="10360" y="1673"/>
                    <a:pt x="10628" y="0"/>
                    <a:pt x="9533" y="0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1351339" y="1805677"/>
              <a:ext cx="58351" cy="39817"/>
            </a:xfrm>
            <a:custGeom>
              <a:avLst/>
              <a:gdLst/>
              <a:ahLst/>
              <a:cxnLst/>
              <a:rect l="l" t="t" r="r" b="b"/>
              <a:pathLst>
                <a:path w="2081" h="1420" extrusionOk="0">
                  <a:moveTo>
                    <a:pt x="1258" y="0"/>
                  </a:moveTo>
                  <a:cubicBezTo>
                    <a:pt x="1153" y="0"/>
                    <a:pt x="1046" y="23"/>
                    <a:pt x="944" y="73"/>
                  </a:cubicBezTo>
                  <a:cubicBezTo>
                    <a:pt x="597" y="244"/>
                    <a:pt x="1" y="1343"/>
                    <a:pt x="1" y="1343"/>
                  </a:cubicBezTo>
                  <a:cubicBezTo>
                    <a:pt x="1" y="1343"/>
                    <a:pt x="547" y="1419"/>
                    <a:pt x="1014" y="1419"/>
                  </a:cubicBezTo>
                  <a:cubicBezTo>
                    <a:pt x="1247" y="1419"/>
                    <a:pt x="1461" y="1400"/>
                    <a:pt x="1577" y="1343"/>
                  </a:cubicBezTo>
                  <a:cubicBezTo>
                    <a:pt x="1923" y="1168"/>
                    <a:pt x="2080" y="747"/>
                    <a:pt x="1905" y="401"/>
                  </a:cubicBezTo>
                  <a:cubicBezTo>
                    <a:pt x="1782" y="152"/>
                    <a:pt x="1527" y="0"/>
                    <a:pt x="1258" y="0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" name="Google Shape;21;p2"/>
            <p:cNvSpPr/>
            <p:nvPr/>
          </p:nvSpPr>
          <p:spPr>
            <a:xfrm>
              <a:off x="1210915" y="1901349"/>
              <a:ext cx="36312" cy="46182"/>
            </a:xfrm>
            <a:custGeom>
              <a:avLst/>
              <a:gdLst/>
              <a:ahLst/>
              <a:cxnLst/>
              <a:rect l="l" t="t" r="r" b="b"/>
              <a:pathLst>
                <a:path w="1295" h="1647" extrusionOk="0">
                  <a:moveTo>
                    <a:pt x="644" y="0"/>
                  </a:moveTo>
                  <a:cubicBezTo>
                    <a:pt x="399" y="0"/>
                    <a:pt x="175" y="147"/>
                    <a:pt x="97" y="394"/>
                  </a:cubicBezTo>
                  <a:cubicBezTo>
                    <a:pt x="0" y="685"/>
                    <a:pt x="273" y="1646"/>
                    <a:pt x="273" y="1646"/>
                  </a:cubicBezTo>
                  <a:cubicBezTo>
                    <a:pt x="273" y="1646"/>
                    <a:pt x="1081" y="1050"/>
                    <a:pt x="1178" y="759"/>
                  </a:cubicBezTo>
                  <a:cubicBezTo>
                    <a:pt x="1294" y="454"/>
                    <a:pt x="1118" y="126"/>
                    <a:pt x="832" y="29"/>
                  </a:cubicBezTo>
                  <a:cubicBezTo>
                    <a:pt x="769" y="10"/>
                    <a:pt x="706" y="0"/>
                    <a:pt x="644" y="0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" name="Google Shape;22;p2"/>
            <p:cNvSpPr/>
            <p:nvPr/>
          </p:nvSpPr>
          <p:spPr>
            <a:xfrm>
              <a:off x="2131945" y="1928015"/>
              <a:ext cx="111711" cy="75007"/>
            </a:xfrm>
            <a:custGeom>
              <a:avLst/>
              <a:gdLst/>
              <a:ahLst/>
              <a:cxnLst/>
              <a:rect l="l" t="t" r="r" b="b"/>
              <a:pathLst>
                <a:path w="3984" h="2675" extrusionOk="0">
                  <a:moveTo>
                    <a:pt x="1527" y="1"/>
                  </a:moveTo>
                  <a:cubicBezTo>
                    <a:pt x="1013" y="1"/>
                    <a:pt x="522" y="310"/>
                    <a:pt x="306" y="811"/>
                  </a:cubicBezTo>
                  <a:cubicBezTo>
                    <a:pt x="1" y="1504"/>
                    <a:pt x="329" y="2294"/>
                    <a:pt x="999" y="2581"/>
                  </a:cubicBezTo>
                  <a:cubicBezTo>
                    <a:pt x="1160" y="2648"/>
                    <a:pt x="1408" y="2674"/>
                    <a:pt x="1693" y="2674"/>
                  </a:cubicBezTo>
                  <a:cubicBezTo>
                    <a:pt x="2634" y="2674"/>
                    <a:pt x="3984" y="2391"/>
                    <a:pt x="3984" y="2391"/>
                  </a:cubicBezTo>
                  <a:cubicBezTo>
                    <a:pt x="3984" y="2391"/>
                    <a:pt x="2755" y="404"/>
                    <a:pt x="2062" y="118"/>
                  </a:cubicBezTo>
                  <a:cubicBezTo>
                    <a:pt x="1888" y="38"/>
                    <a:pt x="1706" y="1"/>
                    <a:pt x="1527" y="1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1988268" y="1933876"/>
              <a:ext cx="92925" cy="92420"/>
            </a:xfrm>
            <a:custGeom>
              <a:avLst/>
              <a:gdLst/>
              <a:ahLst/>
              <a:cxnLst/>
              <a:rect l="l" t="t" r="r" b="b"/>
              <a:pathLst>
                <a:path w="3314" h="3296" extrusionOk="0">
                  <a:moveTo>
                    <a:pt x="1843" y="1"/>
                  </a:moveTo>
                  <a:cubicBezTo>
                    <a:pt x="1483" y="1"/>
                    <a:pt x="1121" y="146"/>
                    <a:pt x="851" y="426"/>
                  </a:cubicBezTo>
                  <a:cubicBezTo>
                    <a:pt x="347" y="967"/>
                    <a:pt x="1" y="3296"/>
                    <a:pt x="1" y="3296"/>
                  </a:cubicBezTo>
                  <a:cubicBezTo>
                    <a:pt x="1" y="3296"/>
                    <a:pt x="2311" y="2797"/>
                    <a:pt x="2815" y="2256"/>
                  </a:cubicBezTo>
                  <a:cubicBezTo>
                    <a:pt x="3314" y="1720"/>
                    <a:pt x="3295" y="870"/>
                    <a:pt x="2755" y="371"/>
                  </a:cubicBezTo>
                  <a:cubicBezTo>
                    <a:pt x="2499" y="122"/>
                    <a:pt x="2172" y="1"/>
                    <a:pt x="184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1090034" y="1847288"/>
              <a:ext cx="41079" cy="28096"/>
            </a:xfrm>
            <a:custGeom>
              <a:avLst/>
              <a:gdLst/>
              <a:ahLst/>
              <a:cxnLst/>
              <a:rect l="l" t="t" r="r" b="b"/>
              <a:pathLst>
                <a:path w="1465" h="1002" extrusionOk="0">
                  <a:moveTo>
                    <a:pt x="884" y="1"/>
                  </a:moveTo>
                  <a:cubicBezTo>
                    <a:pt x="812" y="1"/>
                    <a:pt x="740" y="16"/>
                    <a:pt x="675" y="49"/>
                  </a:cubicBezTo>
                  <a:cubicBezTo>
                    <a:pt x="425" y="164"/>
                    <a:pt x="0" y="936"/>
                    <a:pt x="0" y="936"/>
                  </a:cubicBezTo>
                  <a:cubicBezTo>
                    <a:pt x="0" y="936"/>
                    <a:pt x="424" y="1001"/>
                    <a:pt x="765" y="1001"/>
                  </a:cubicBezTo>
                  <a:cubicBezTo>
                    <a:pt x="912" y="1001"/>
                    <a:pt x="1043" y="989"/>
                    <a:pt x="1118" y="955"/>
                  </a:cubicBezTo>
                  <a:cubicBezTo>
                    <a:pt x="1368" y="821"/>
                    <a:pt x="1465" y="534"/>
                    <a:pt x="1331" y="280"/>
                  </a:cubicBezTo>
                  <a:cubicBezTo>
                    <a:pt x="1248" y="101"/>
                    <a:pt x="1066" y="1"/>
                    <a:pt x="884" y="1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1260153" y="1840615"/>
              <a:ext cx="23217" cy="29610"/>
            </a:xfrm>
            <a:custGeom>
              <a:avLst/>
              <a:gdLst/>
              <a:ahLst/>
              <a:cxnLst/>
              <a:rect l="l" t="t" r="r" b="b"/>
              <a:pathLst>
                <a:path w="828" h="1056" extrusionOk="0">
                  <a:moveTo>
                    <a:pt x="633" y="0"/>
                  </a:moveTo>
                  <a:cubicBezTo>
                    <a:pt x="633" y="0"/>
                    <a:pt x="116" y="384"/>
                    <a:pt x="56" y="578"/>
                  </a:cubicBezTo>
                  <a:cubicBezTo>
                    <a:pt x="0" y="772"/>
                    <a:pt x="92" y="980"/>
                    <a:pt x="287" y="1040"/>
                  </a:cubicBezTo>
                  <a:cubicBezTo>
                    <a:pt x="324" y="1051"/>
                    <a:pt x="362" y="1056"/>
                    <a:pt x="400" y="1056"/>
                  </a:cubicBezTo>
                  <a:cubicBezTo>
                    <a:pt x="557" y="1056"/>
                    <a:pt x="704" y="966"/>
                    <a:pt x="749" y="809"/>
                  </a:cubicBezTo>
                  <a:cubicBezTo>
                    <a:pt x="827" y="615"/>
                    <a:pt x="633" y="0"/>
                    <a:pt x="633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1913765" y="1935053"/>
              <a:ext cx="59501" cy="76549"/>
            </a:xfrm>
            <a:custGeom>
              <a:avLst/>
              <a:gdLst/>
              <a:ahLst/>
              <a:cxnLst/>
              <a:rect l="l" t="t" r="r" b="b"/>
              <a:pathLst>
                <a:path w="2122" h="2730" extrusionOk="0">
                  <a:moveTo>
                    <a:pt x="1660" y="1"/>
                  </a:moveTo>
                  <a:cubicBezTo>
                    <a:pt x="1660" y="1"/>
                    <a:pt x="329" y="1003"/>
                    <a:pt x="176" y="1484"/>
                  </a:cubicBezTo>
                  <a:cubicBezTo>
                    <a:pt x="1" y="1983"/>
                    <a:pt x="273" y="2524"/>
                    <a:pt x="772" y="2676"/>
                  </a:cubicBezTo>
                  <a:cubicBezTo>
                    <a:pt x="875" y="2712"/>
                    <a:pt x="980" y="2730"/>
                    <a:pt x="1083" y="2730"/>
                  </a:cubicBezTo>
                  <a:cubicBezTo>
                    <a:pt x="1478" y="2730"/>
                    <a:pt x="1844" y="2476"/>
                    <a:pt x="1965" y="2080"/>
                  </a:cubicBezTo>
                  <a:cubicBezTo>
                    <a:pt x="2122" y="1581"/>
                    <a:pt x="1660" y="1"/>
                    <a:pt x="1660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1803120" y="1899947"/>
              <a:ext cx="8720" cy="11552"/>
            </a:xfrm>
            <a:custGeom>
              <a:avLst/>
              <a:gdLst/>
              <a:ahLst/>
              <a:cxnLst/>
              <a:rect l="l" t="t" r="r" b="b"/>
              <a:pathLst>
                <a:path w="311" h="412" extrusionOk="0">
                  <a:moveTo>
                    <a:pt x="232" y="1"/>
                  </a:moveTo>
                  <a:cubicBezTo>
                    <a:pt x="232" y="1"/>
                    <a:pt x="42" y="158"/>
                    <a:pt x="19" y="232"/>
                  </a:cubicBezTo>
                  <a:cubicBezTo>
                    <a:pt x="1" y="310"/>
                    <a:pt x="42" y="389"/>
                    <a:pt x="116" y="407"/>
                  </a:cubicBezTo>
                  <a:cubicBezTo>
                    <a:pt x="130" y="410"/>
                    <a:pt x="143" y="412"/>
                    <a:pt x="156" y="412"/>
                  </a:cubicBezTo>
                  <a:cubicBezTo>
                    <a:pt x="220" y="412"/>
                    <a:pt x="277" y="375"/>
                    <a:pt x="292" y="310"/>
                  </a:cubicBezTo>
                  <a:cubicBezTo>
                    <a:pt x="310" y="232"/>
                    <a:pt x="232" y="1"/>
                    <a:pt x="232" y="1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" name="Google Shape;28;p2"/>
            <p:cNvSpPr/>
            <p:nvPr/>
          </p:nvSpPr>
          <p:spPr>
            <a:xfrm>
              <a:off x="1720093" y="1869243"/>
              <a:ext cx="19460" cy="24759"/>
            </a:xfrm>
            <a:custGeom>
              <a:avLst/>
              <a:gdLst/>
              <a:ahLst/>
              <a:cxnLst/>
              <a:rect l="l" t="t" r="r" b="b"/>
              <a:pathLst>
                <a:path w="694" h="883" extrusionOk="0">
                  <a:moveTo>
                    <a:pt x="536" y="1"/>
                  </a:moveTo>
                  <a:cubicBezTo>
                    <a:pt x="536" y="1"/>
                    <a:pt x="93" y="329"/>
                    <a:pt x="56" y="481"/>
                  </a:cubicBezTo>
                  <a:cubicBezTo>
                    <a:pt x="0" y="634"/>
                    <a:pt x="93" y="809"/>
                    <a:pt x="250" y="865"/>
                  </a:cubicBezTo>
                  <a:cubicBezTo>
                    <a:pt x="281" y="877"/>
                    <a:pt x="313" y="883"/>
                    <a:pt x="345" y="883"/>
                  </a:cubicBezTo>
                  <a:cubicBezTo>
                    <a:pt x="469" y="883"/>
                    <a:pt x="589" y="796"/>
                    <a:pt x="633" y="675"/>
                  </a:cubicBezTo>
                  <a:cubicBezTo>
                    <a:pt x="693" y="518"/>
                    <a:pt x="536" y="1"/>
                    <a:pt x="536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" name="Google Shape;29;p2"/>
            <p:cNvSpPr/>
            <p:nvPr/>
          </p:nvSpPr>
          <p:spPr>
            <a:xfrm>
              <a:off x="1145610" y="1787759"/>
              <a:ext cx="37854" cy="35779"/>
            </a:xfrm>
            <a:custGeom>
              <a:avLst/>
              <a:gdLst/>
              <a:ahLst/>
              <a:cxnLst/>
              <a:rect l="l" t="t" r="r" b="b"/>
              <a:pathLst>
                <a:path w="1350" h="1276" extrusionOk="0">
                  <a:moveTo>
                    <a:pt x="1350" y="0"/>
                  </a:moveTo>
                  <a:lnTo>
                    <a:pt x="1350" y="0"/>
                  </a:lnTo>
                  <a:cubicBezTo>
                    <a:pt x="1350" y="0"/>
                    <a:pt x="444" y="153"/>
                    <a:pt x="213" y="365"/>
                  </a:cubicBezTo>
                  <a:cubicBezTo>
                    <a:pt x="0" y="555"/>
                    <a:pt x="0" y="901"/>
                    <a:pt x="213" y="1114"/>
                  </a:cubicBezTo>
                  <a:cubicBezTo>
                    <a:pt x="312" y="1222"/>
                    <a:pt x="451" y="1276"/>
                    <a:pt x="592" y="1276"/>
                  </a:cubicBezTo>
                  <a:cubicBezTo>
                    <a:pt x="726" y="1276"/>
                    <a:pt x="862" y="1227"/>
                    <a:pt x="966" y="1132"/>
                  </a:cubicBezTo>
                  <a:cubicBezTo>
                    <a:pt x="1174" y="924"/>
                    <a:pt x="1350" y="0"/>
                    <a:pt x="1350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1231496" y="1779067"/>
              <a:ext cx="23245" cy="30676"/>
            </a:xfrm>
            <a:custGeom>
              <a:avLst/>
              <a:gdLst/>
              <a:ahLst/>
              <a:cxnLst/>
              <a:rect l="l" t="t" r="r" b="b"/>
              <a:pathLst>
                <a:path w="829" h="1094" extrusionOk="0">
                  <a:moveTo>
                    <a:pt x="190" y="1"/>
                  </a:moveTo>
                  <a:cubicBezTo>
                    <a:pt x="190" y="1"/>
                    <a:pt x="1" y="615"/>
                    <a:pt x="56" y="828"/>
                  </a:cubicBezTo>
                  <a:cubicBezTo>
                    <a:pt x="106" y="987"/>
                    <a:pt x="257" y="1093"/>
                    <a:pt x="415" y="1093"/>
                  </a:cubicBezTo>
                  <a:cubicBezTo>
                    <a:pt x="449" y="1093"/>
                    <a:pt x="484" y="1088"/>
                    <a:pt x="518" y="1077"/>
                  </a:cubicBezTo>
                  <a:cubicBezTo>
                    <a:pt x="712" y="1022"/>
                    <a:pt x="828" y="809"/>
                    <a:pt x="768" y="615"/>
                  </a:cubicBezTo>
                  <a:cubicBezTo>
                    <a:pt x="712" y="403"/>
                    <a:pt x="190" y="1"/>
                    <a:pt x="190" y="1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753162" y="1676328"/>
              <a:ext cx="583568" cy="359697"/>
            </a:xfrm>
            <a:custGeom>
              <a:avLst/>
              <a:gdLst/>
              <a:ahLst/>
              <a:cxnLst/>
              <a:rect l="l" t="t" r="r" b="b"/>
              <a:pathLst>
                <a:path w="20812" h="12828" extrusionOk="0">
                  <a:moveTo>
                    <a:pt x="1174" y="1"/>
                  </a:moveTo>
                  <a:cubicBezTo>
                    <a:pt x="578" y="1"/>
                    <a:pt x="1" y="102"/>
                    <a:pt x="1" y="102"/>
                  </a:cubicBezTo>
                  <a:lnTo>
                    <a:pt x="1" y="12827"/>
                  </a:lnTo>
                  <a:lnTo>
                    <a:pt x="20465" y="12827"/>
                  </a:lnTo>
                  <a:cubicBezTo>
                    <a:pt x="20465" y="12827"/>
                    <a:pt x="20812" y="12079"/>
                    <a:pt x="20313" y="11732"/>
                  </a:cubicBezTo>
                  <a:cubicBezTo>
                    <a:pt x="20153" y="11617"/>
                    <a:pt x="19890" y="11578"/>
                    <a:pt x="19610" y="11578"/>
                  </a:cubicBezTo>
                  <a:cubicBezTo>
                    <a:pt x="19052" y="11578"/>
                    <a:pt x="18428" y="11732"/>
                    <a:pt x="18428" y="11732"/>
                  </a:cubicBezTo>
                  <a:cubicBezTo>
                    <a:pt x="18428" y="11732"/>
                    <a:pt x="18543" y="11367"/>
                    <a:pt x="18483" y="11058"/>
                  </a:cubicBezTo>
                  <a:cubicBezTo>
                    <a:pt x="18446" y="10827"/>
                    <a:pt x="18331" y="10632"/>
                    <a:pt x="18003" y="10577"/>
                  </a:cubicBezTo>
                  <a:cubicBezTo>
                    <a:pt x="17926" y="10568"/>
                    <a:pt x="17849" y="10563"/>
                    <a:pt x="17771" y="10563"/>
                  </a:cubicBezTo>
                  <a:cubicBezTo>
                    <a:pt x="17694" y="10563"/>
                    <a:pt x="17617" y="10568"/>
                    <a:pt x="17540" y="10577"/>
                  </a:cubicBezTo>
                  <a:cubicBezTo>
                    <a:pt x="16963" y="10632"/>
                    <a:pt x="16464" y="10924"/>
                    <a:pt x="16464" y="10924"/>
                  </a:cubicBezTo>
                  <a:cubicBezTo>
                    <a:pt x="16464" y="10924"/>
                    <a:pt x="16501" y="10096"/>
                    <a:pt x="15942" y="10036"/>
                  </a:cubicBezTo>
                  <a:cubicBezTo>
                    <a:pt x="15915" y="10033"/>
                    <a:pt x="15889" y="10031"/>
                    <a:pt x="15863" y="10031"/>
                  </a:cubicBezTo>
                  <a:cubicBezTo>
                    <a:pt x="15344" y="10031"/>
                    <a:pt x="14962" y="10748"/>
                    <a:pt x="14962" y="10748"/>
                  </a:cubicBezTo>
                  <a:cubicBezTo>
                    <a:pt x="14962" y="10748"/>
                    <a:pt x="15055" y="9265"/>
                    <a:pt x="14477" y="9131"/>
                  </a:cubicBezTo>
                  <a:cubicBezTo>
                    <a:pt x="14456" y="9126"/>
                    <a:pt x="14435" y="9124"/>
                    <a:pt x="14412" y="9124"/>
                  </a:cubicBezTo>
                  <a:cubicBezTo>
                    <a:pt x="13842" y="9124"/>
                    <a:pt x="12823" y="10498"/>
                    <a:pt x="12823" y="10498"/>
                  </a:cubicBezTo>
                  <a:cubicBezTo>
                    <a:pt x="12823" y="10498"/>
                    <a:pt x="12957" y="9787"/>
                    <a:pt x="12726" y="9593"/>
                  </a:cubicBezTo>
                  <a:cubicBezTo>
                    <a:pt x="12684" y="9558"/>
                    <a:pt x="12613" y="9544"/>
                    <a:pt x="12526" y="9544"/>
                  </a:cubicBezTo>
                  <a:cubicBezTo>
                    <a:pt x="12136" y="9544"/>
                    <a:pt x="11415" y="9827"/>
                    <a:pt x="11400" y="9842"/>
                  </a:cubicBezTo>
                  <a:cubicBezTo>
                    <a:pt x="11418" y="9824"/>
                    <a:pt x="12033" y="9325"/>
                    <a:pt x="11899" y="8941"/>
                  </a:cubicBezTo>
                  <a:cubicBezTo>
                    <a:pt x="11795" y="8627"/>
                    <a:pt x="11221" y="8592"/>
                    <a:pt x="10965" y="8592"/>
                  </a:cubicBezTo>
                  <a:cubicBezTo>
                    <a:pt x="10889" y="8592"/>
                    <a:pt x="10841" y="8595"/>
                    <a:pt x="10841" y="8595"/>
                  </a:cubicBezTo>
                  <a:cubicBezTo>
                    <a:pt x="10841" y="8595"/>
                    <a:pt x="11686" y="8207"/>
                    <a:pt x="11418" y="7532"/>
                  </a:cubicBezTo>
                  <a:cubicBezTo>
                    <a:pt x="11169" y="6881"/>
                    <a:pt x="10129" y="6820"/>
                    <a:pt x="10129" y="6820"/>
                  </a:cubicBezTo>
                  <a:cubicBezTo>
                    <a:pt x="10129" y="6820"/>
                    <a:pt x="10647" y="6534"/>
                    <a:pt x="10513" y="6206"/>
                  </a:cubicBezTo>
                  <a:cubicBezTo>
                    <a:pt x="10379" y="5859"/>
                    <a:pt x="9764" y="5799"/>
                    <a:pt x="9764" y="5799"/>
                  </a:cubicBezTo>
                  <a:cubicBezTo>
                    <a:pt x="9764" y="5799"/>
                    <a:pt x="10148" y="5628"/>
                    <a:pt x="10263" y="5319"/>
                  </a:cubicBezTo>
                  <a:cubicBezTo>
                    <a:pt x="10319" y="5185"/>
                    <a:pt x="10319" y="5014"/>
                    <a:pt x="10185" y="4820"/>
                  </a:cubicBezTo>
                  <a:cubicBezTo>
                    <a:pt x="9919" y="4474"/>
                    <a:pt x="9373" y="4405"/>
                    <a:pt x="8977" y="4405"/>
                  </a:cubicBezTo>
                  <a:cubicBezTo>
                    <a:pt x="8710" y="4405"/>
                    <a:pt x="8512" y="4436"/>
                    <a:pt x="8512" y="4436"/>
                  </a:cubicBezTo>
                  <a:cubicBezTo>
                    <a:pt x="8512" y="4436"/>
                    <a:pt x="9145" y="3951"/>
                    <a:pt x="8683" y="3646"/>
                  </a:cubicBezTo>
                  <a:cubicBezTo>
                    <a:pt x="8529" y="3543"/>
                    <a:pt x="8309" y="3509"/>
                    <a:pt x="8083" y="3509"/>
                  </a:cubicBezTo>
                  <a:cubicBezTo>
                    <a:pt x="7633" y="3509"/>
                    <a:pt x="7163" y="3646"/>
                    <a:pt x="7163" y="3646"/>
                  </a:cubicBezTo>
                  <a:cubicBezTo>
                    <a:pt x="7163" y="3646"/>
                    <a:pt x="7569" y="3166"/>
                    <a:pt x="6913" y="2588"/>
                  </a:cubicBezTo>
                  <a:cubicBezTo>
                    <a:pt x="6764" y="2457"/>
                    <a:pt x="6545" y="2406"/>
                    <a:pt x="6296" y="2406"/>
                  </a:cubicBezTo>
                  <a:cubicBezTo>
                    <a:pt x="5533" y="2406"/>
                    <a:pt x="4488" y="2883"/>
                    <a:pt x="4302" y="2968"/>
                  </a:cubicBezTo>
                  <a:lnTo>
                    <a:pt x="4302" y="2968"/>
                  </a:lnTo>
                  <a:cubicBezTo>
                    <a:pt x="4455" y="2897"/>
                    <a:pt x="5138" y="2523"/>
                    <a:pt x="4852" y="2278"/>
                  </a:cubicBezTo>
                  <a:cubicBezTo>
                    <a:pt x="4743" y="2181"/>
                    <a:pt x="4563" y="2149"/>
                    <a:pt x="4372" y="2149"/>
                  </a:cubicBezTo>
                  <a:cubicBezTo>
                    <a:pt x="3990" y="2149"/>
                    <a:pt x="3563" y="2278"/>
                    <a:pt x="3563" y="2278"/>
                  </a:cubicBezTo>
                  <a:cubicBezTo>
                    <a:pt x="3563" y="2278"/>
                    <a:pt x="4025" y="1641"/>
                    <a:pt x="3563" y="1373"/>
                  </a:cubicBezTo>
                  <a:cubicBezTo>
                    <a:pt x="3483" y="1330"/>
                    <a:pt x="3390" y="1312"/>
                    <a:pt x="3290" y="1312"/>
                  </a:cubicBezTo>
                  <a:cubicBezTo>
                    <a:pt x="2815" y="1312"/>
                    <a:pt x="2196" y="1719"/>
                    <a:pt x="2196" y="1719"/>
                  </a:cubicBezTo>
                  <a:cubicBezTo>
                    <a:pt x="2196" y="1719"/>
                    <a:pt x="2773" y="1063"/>
                    <a:pt x="2427" y="393"/>
                  </a:cubicBezTo>
                  <a:cubicBezTo>
                    <a:pt x="2263" y="83"/>
                    <a:pt x="1710" y="1"/>
                    <a:pt x="1174" y="1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764574" y="1831417"/>
              <a:ext cx="62081" cy="59473"/>
            </a:xfrm>
            <a:custGeom>
              <a:avLst/>
              <a:gdLst/>
              <a:ahLst/>
              <a:cxnLst/>
              <a:rect l="l" t="t" r="r" b="b"/>
              <a:pathLst>
                <a:path w="2214" h="2121" extrusionOk="0">
                  <a:moveTo>
                    <a:pt x="2214" y="0"/>
                  </a:moveTo>
                  <a:cubicBezTo>
                    <a:pt x="2214" y="0"/>
                    <a:pt x="670" y="328"/>
                    <a:pt x="324" y="656"/>
                  </a:cubicBezTo>
                  <a:cubicBezTo>
                    <a:pt x="0" y="1003"/>
                    <a:pt x="0" y="1539"/>
                    <a:pt x="324" y="1867"/>
                  </a:cubicBezTo>
                  <a:cubicBezTo>
                    <a:pt x="490" y="2033"/>
                    <a:pt x="716" y="2120"/>
                    <a:pt x="941" y="2120"/>
                  </a:cubicBezTo>
                  <a:cubicBezTo>
                    <a:pt x="1159" y="2120"/>
                    <a:pt x="1377" y="2038"/>
                    <a:pt x="1539" y="1867"/>
                  </a:cubicBezTo>
                  <a:cubicBezTo>
                    <a:pt x="1867" y="1539"/>
                    <a:pt x="2214" y="0"/>
                    <a:pt x="2214" y="0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3" name="Google Shape;33;p2"/>
            <p:cNvSpPr/>
            <p:nvPr/>
          </p:nvSpPr>
          <p:spPr>
            <a:xfrm>
              <a:off x="1773986" y="1943746"/>
              <a:ext cx="36817" cy="46518"/>
            </a:xfrm>
            <a:custGeom>
              <a:avLst/>
              <a:gdLst/>
              <a:ahLst/>
              <a:cxnLst/>
              <a:rect l="l" t="t" r="r" b="b"/>
              <a:pathLst>
                <a:path w="1313" h="1659" extrusionOk="0">
                  <a:moveTo>
                    <a:pt x="97" y="0"/>
                  </a:moveTo>
                  <a:cubicBezTo>
                    <a:pt x="97" y="0"/>
                    <a:pt x="0" y="1059"/>
                    <a:pt x="134" y="1345"/>
                  </a:cubicBezTo>
                  <a:cubicBezTo>
                    <a:pt x="245" y="1550"/>
                    <a:pt x="449" y="1658"/>
                    <a:pt x="660" y="1658"/>
                  </a:cubicBezTo>
                  <a:cubicBezTo>
                    <a:pt x="749" y="1658"/>
                    <a:pt x="839" y="1639"/>
                    <a:pt x="924" y="1599"/>
                  </a:cubicBezTo>
                  <a:cubicBezTo>
                    <a:pt x="1197" y="1442"/>
                    <a:pt x="1313" y="1095"/>
                    <a:pt x="1174" y="827"/>
                  </a:cubicBezTo>
                  <a:cubicBezTo>
                    <a:pt x="1021" y="536"/>
                    <a:pt x="97" y="0"/>
                    <a:pt x="9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4" name="Google Shape;34;p2"/>
            <p:cNvSpPr/>
            <p:nvPr/>
          </p:nvSpPr>
          <p:spPr>
            <a:xfrm>
              <a:off x="1828524" y="1899947"/>
              <a:ext cx="37854" cy="27984"/>
            </a:xfrm>
            <a:custGeom>
              <a:avLst/>
              <a:gdLst/>
              <a:ahLst/>
              <a:cxnLst/>
              <a:rect l="l" t="t" r="r" b="b"/>
              <a:pathLst>
                <a:path w="1350" h="998" extrusionOk="0">
                  <a:moveTo>
                    <a:pt x="1350" y="1"/>
                  </a:moveTo>
                  <a:lnTo>
                    <a:pt x="1350" y="1"/>
                  </a:lnTo>
                  <a:cubicBezTo>
                    <a:pt x="1350" y="1"/>
                    <a:pt x="481" y="1"/>
                    <a:pt x="269" y="135"/>
                  </a:cubicBezTo>
                  <a:cubicBezTo>
                    <a:pt x="61" y="292"/>
                    <a:pt x="1" y="578"/>
                    <a:pt x="135" y="791"/>
                  </a:cubicBezTo>
                  <a:cubicBezTo>
                    <a:pt x="220" y="926"/>
                    <a:pt x="368" y="997"/>
                    <a:pt x="524" y="997"/>
                  </a:cubicBezTo>
                  <a:cubicBezTo>
                    <a:pt x="614" y="997"/>
                    <a:pt x="706" y="974"/>
                    <a:pt x="791" y="925"/>
                  </a:cubicBezTo>
                  <a:cubicBezTo>
                    <a:pt x="1003" y="791"/>
                    <a:pt x="1350" y="1"/>
                    <a:pt x="1350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5" name="Google Shape;35;p2"/>
            <p:cNvSpPr/>
            <p:nvPr/>
          </p:nvSpPr>
          <p:spPr>
            <a:xfrm>
              <a:off x="1809597" y="1859542"/>
              <a:ext cx="15702" cy="22740"/>
            </a:xfrm>
            <a:custGeom>
              <a:avLst/>
              <a:gdLst/>
              <a:ahLst/>
              <a:cxnLst/>
              <a:rect l="l" t="t" r="r" b="b"/>
              <a:pathLst>
                <a:path w="560" h="811" extrusionOk="0">
                  <a:moveTo>
                    <a:pt x="213" y="0"/>
                  </a:moveTo>
                  <a:cubicBezTo>
                    <a:pt x="213" y="0"/>
                    <a:pt x="1" y="444"/>
                    <a:pt x="19" y="578"/>
                  </a:cubicBezTo>
                  <a:cubicBezTo>
                    <a:pt x="41" y="718"/>
                    <a:pt x="155" y="811"/>
                    <a:pt x="278" y="811"/>
                  </a:cubicBezTo>
                  <a:cubicBezTo>
                    <a:pt x="289" y="811"/>
                    <a:pt x="300" y="810"/>
                    <a:pt x="310" y="809"/>
                  </a:cubicBezTo>
                  <a:cubicBezTo>
                    <a:pt x="463" y="790"/>
                    <a:pt x="560" y="652"/>
                    <a:pt x="542" y="518"/>
                  </a:cubicBezTo>
                  <a:cubicBezTo>
                    <a:pt x="523" y="365"/>
                    <a:pt x="213" y="0"/>
                    <a:pt x="213" y="0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6" name="Google Shape;36;p2"/>
            <p:cNvSpPr/>
            <p:nvPr/>
          </p:nvSpPr>
          <p:spPr>
            <a:xfrm>
              <a:off x="1872322" y="1861084"/>
              <a:ext cx="18815" cy="29190"/>
            </a:xfrm>
            <a:custGeom>
              <a:avLst/>
              <a:gdLst/>
              <a:ahLst/>
              <a:cxnLst/>
              <a:rect l="l" t="t" r="r" b="b"/>
              <a:pathLst>
                <a:path w="671" h="1041" extrusionOk="0">
                  <a:moveTo>
                    <a:pt x="347" y="0"/>
                  </a:moveTo>
                  <a:cubicBezTo>
                    <a:pt x="347" y="0"/>
                    <a:pt x="0" y="523"/>
                    <a:pt x="0" y="694"/>
                  </a:cubicBezTo>
                  <a:cubicBezTo>
                    <a:pt x="0" y="888"/>
                    <a:pt x="153" y="1040"/>
                    <a:pt x="324" y="1040"/>
                  </a:cubicBezTo>
                  <a:cubicBezTo>
                    <a:pt x="518" y="1040"/>
                    <a:pt x="670" y="906"/>
                    <a:pt x="670" y="712"/>
                  </a:cubicBezTo>
                  <a:cubicBezTo>
                    <a:pt x="670" y="541"/>
                    <a:pt x="347" y="0"/>
                    <a:pt x="347" y="0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1929440" y="1842157"/>
              <a:ext cx="9758" cy="15198"/>
            </a:xfrm>
            <a:custGeom>
              <a:avLst/>
              <a:gdLst/>
              <a:ahLst/>
              <a:cxnLst/>
              <a:rect l="l" t="t" r="r" b="b"/>
              <a:pathLst>
                <a:path w="348" h="542" extrusionOk="0">
                  <a:moveTo>
                    <a:pt x="177" y="1"/>
                  </a:moveTo>
                  <a:cubicBezTo>
                    <a:pt x="177" y="1"/>
                    <a:pt x="1" y="255"/>
                    <a:pt x="1" y="347"/>
                  </a:cubicBezTo>
                  <a:cubicBezTo>
                    <a:pt x="1" y="444"/>
                    <a:pt x="79" y="523"/>
                    <a:pt x="177" y="541"/>
                  </a:cubicBezTo>
                  <a:cubicBezTo>
                    <a:pt x="274" y="541"/>
                    <a:pt x="347" y="463"/>
                    <a:pt x="347" y="371"/>
                  </a:cubicBezTo>
                  <a:cubicBezTo>
                    <a:pt x="347" y="273"/>
                    <a:pt x="177" y="1"/>
                    <a:pt x="177" y="1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" name="Google Shape;38;p2"/>
            <p:cNvSpPr/>
            <p:nvPr/>
          </p:nvSpPr>
          <p:spPr>
            <a:xfrm>
              <a:off x="889212" y="1753747"/>
              <a:ext cx="58323" cy="39929"/>
            </a:xfrm>
            <a:custGeom>
              <a:avLst/>
              <a:gdLst/>
              <a:ahLst/>
              <a:cxnLst/>
              <a:rect l="l" t="t" r="r" b="b"/>
              <a:pathLst>
                <a:path w="2080" h="1424" extrusionOk="0">
                  <a:moveTo>
                    <a:pt x="1273" y="0"/>
                  </a:moveTo>
                  <a:cubicBezTo>
                    <a:pt x="1163" y="0"/>
                    <a:pt x="1050" y="25"/>
                    <a:pt x="943" y="77"/>
                  </a:cubicBezTo>
                  <a:cubicBezTo>
                    <a:pt x="596" y="248"/>
                    <a:pt x="0" y="1347"/>
                    <a:pt x="0" y="1347"/>
                  </a:cubicBezTo>
                  <a:cubicBezTo>
                    <a:pt x="0" y="1347"/>
                    <a:pt x="549" y="1423"/>
                    <a:pt x="1017" y="1423"/>
                  </a:cubicBezTo>
                  <a:cubicBezTo>
                    <a:pt x="1251" y="1423"/>
                    <a:pt x="1465" y="1404"/>
                    <a:pt x="1581" y="1347"/>
                  </a:cubicBezTo>
                  <a:cubicBezTo>
                    <a:pt x="1946" y="1172"/>
                    <a:pt x="2080" y="751"/>
                    <a:pt x="1909" y="405"/>
                  </a:cubicBezTo>
                  <a:cubicBezTo>
                    <a:pt x="1785" y="144"/>
                    <a:pt x="1536" y="0"/>
                    <a:pt x="1273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" name="Google Shape;39;p2"/>
            <p:cNvSpPr/>
            <p:nvPr/>
          </p:nvSpPr>
          <p:spPr>
            <a:xfrm>
              <a:off x="2210204" y="1917500"/>
              <a:ext cx="45901" cy="31685"/>
            </a:xfrm>
            <a:custGeom>
              <a:avLst/>
              <a:gdLst/>
              <a:ahLst/>
              <a:cxnLst/>
              <a:rect l="l" t="t" r="r" b="b"/>
              <a:pathLst>
                <a:path w="1637" h="1130" extrusionOk="0">
                  <a:moveTo>
                    <a:pt x="1008" y="0"/>
                  </a:moveTo>
                  <a:cubicBezTo>
                    <a:pt x="920" y="0"/>
                    <a:pt x="831" y="22"/>
                    <a:pt x="749" y="68"/>
                  </a:cubicBezTo>
                  <a:cubicBezTo>
                    <a:pt x="463" y="202"/>
                    <a:pt x="1" y="1070"/>
                    <a:pt x="1" y="1070"/>
                  </a:cubicBezTo>
                  <a:cubicBezTo>
                    <a:pt x="1" y="1070"/>
                    <a:pt x="428" y="1130"/>
                    <a:pt x="799" y="1130"/>
                  </a:cubicBezTo>
                  <a:cubicBezTo>
                    <a:pt x="984" y="1130"/>
                    <a:pt x="1156" y="1115"/>
                    <a:pt x="1253" y="1070"/>
                  </a:cubicBezTo>
                  <a:cubicBezTo>
                    <a:pt x="1521" y="936"/>
                    <a:pt x="1636" y="590"/>
                    <a:pt x="1502" y="317"/>
                  </a:cubicBezTo>
                  <a:cubicBezTo>
                    <a:pt x="1409" y="117"/>
                    <a:pt x="1211" y="0"/>
                    <a:pt x="1008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" name="Google Shape;40;p2"/>
            <p:cNvSpPr/>
            <p:nvPr/>
          </p:nvSpPr>
          <p:spPr>
            <a:xfrm>
              <a:off x="2179388" y="1844372"/>
              <a:ext cx="59473" cy="50136"/>
            </a:xfrm>
            <a:custGeom>
              <a:avLst/>
              <a:gdLst/>
              <a:ahLst/>
              <a:cxnLst/>
              <a:rect l="l" t="t" r="r" b="b"/>
              <a:pathLst>
                <a:path w="2121" h="1788" extrusionOk="0">
                  <a:moveTo>
                    <a:pt x="0" y="0"/>
                  </a:moveTo>
                  <a:cubicBezTo>
                    <a:pt x="0" y="0"/>
                    <a:pt x="388" y="1350"/>
                    <a:pt x="735" y="1618"/>
                  </a:cubicBezTo>
                  <a:cubicBezTo>
                    <a:pt x="875" y="1733"/>
                    <a:pt x="1047" y="1788"/>
                    <a:pt x="1221" y="1788"/>
                  </a:cubicBezTo>
                  <a:cubicBezTo>
                    <a:pt x="1452" y="1788"/>
                    <a:pt x="1685" y="1690"/>
                    <a:pt x="1848" y="1502"/>
                  </a:cubicBezTo>
                  <a:cubicBezTo>
                    <a:pt x="2121" y="1156"/>
                    <a:pt x="2061" y="657"/>
                    <a:pt x="1714" y="384"/>
                  </a:cubicBezTo>
                  <a:cubicBezTo>
                    <a:pt x="1386" y="9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" name="Google Shape;41;p2"/>
            <p:cNvSpPr/>
            <p:nvPr/>
          </p:nvSpPr>
          <p:spPr>
            <a:xfrm>
              <a:off x="1600250" y="1868066"/>
              <a:ext cx="45369" cy="53472"/>
            </a:xfrm>
            <a:custGeom>
              <a:avLst/>
              <a:gdLst/>
              <a:ahLst/>
              <a:cxnLst/>
              <a:rect l="l" t="t" r="r" b="b"/>
              <a:pathLst>
                <a:path w="1618" h="1907" extrusionOk="0">
                  <a:moveTo>
                    <a:pt x="1576" y="1"/>
                  </a:moveTo>
                  <a:cubicBezTo>
                    <a:pt x="1576" y="1"/>
                    <a:pt x="421" y="486"/>
                    <a:pt x="208" y="810"/>
                  </a:cubicBezTo>
                  <a:cubicBezTo>
                    <a:pt x="0" y="1138"/>
                    <a:pt x="92" y="1581"/>
                    <a:pt x="421" y="1794"/>
                  </a:cubicBezTo>
                  <a:cubicBezTo>
                    <a:pt x="539" y="1870"/>
                    <a:pt x="671" y="1907"/>
                    <a:pt x="803" y="1907"/>
                  </a:cubicBezTo>
                  <a:cubicBezTo>
                    <a:pt x="1038" y="1907"/>
                    <a:pt x="1269" y="1791"/>
                    <a:pt x="1405" y="1581"/>
                  </a:cubicBezTo>
                  <a:cubicBezTo>
                    <a:pt x="1617" y="1253"/>
                    <a:pt x="1576" y="1"/>
                    <a:pt x="1576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1346432" y="1903705"/>
              <a:ext cx="41107" cy="28264"/>
            </a:xfrm>
            <a:custGeom>
              <a:avLst/>
              <a:gdLst/>
              <a:ahLst/>
              <a:cxnLst/>
              <a:rect l="l" t="t" r="r" b="b"/>
              <a:pathLst>
                <a:path w="1466" h="1008" extrusionOk="0">
                  <a:moveTo>
                    <a:pt x="914" y="0"/>
                  </a:moveTo>
                  <a:cubicBezTo>
                    <a:pt x="833" y="0"/>
                    <a:pt x="751" y="20"/>
                    <a:pt x="675" y="61"/>
                  </a:cubicBezTo>
                  <a:cubicBezTo>
                    <a:pt x="425" y="176"/>
                    <a:pt x="0" y="948"/>
                    <a:pt x="0" y="948"/>
                  </a:cubicBezTo>
                  <a:cubicBezTo>
                    <a:pt x="0" y="948"/>
                    <a:pt x="386" y="1007"/>
                    <a:pt x="718" y="1007"/>
                  </a:cubicBezTo>
                  <a:cubicBezTo>
                    <a:pt x="883" y="1007"/>
                    <a:pt x="1035" y="993"/>
                    <a:pt x="1119" y="948"/>
                  </a:cubicBezTo>
                  <a:cubicBezTo>
                    <a:pt x="1368" y="832"/>
                    <a:pt x="1465" y="523"/>
                    <a:pt x="1350" y="273"/>
                  </a:cubicBezTo>
                  <a:cubicBezTo>
                    <a:pt x="1269" y="100"/>
                    <a:pt x="1096" y="0"/>
                    <a:pt x="914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" name="Google Shape;43;p2"/>
            <p:cNvSpPr/>
            <p:nvPr/>
          </p:nvSpPr>
          <p:spPr>
            <a:xfrm>
              <a:off x="1112691" y="1921061"/>
              <a:ext cx="16740" cy="15366"/>
            </a:xfrm>
            <a:custGeom>
              <a:avLst/>
              <a:gdLst/>
              <a:ahLst/>
              <a:cxnLst/>
              <a:rect l="l" t="t" r="r" b="b"/>
              <a:pathLst>
                <a:path w="597" h="548" extrusionOk="0">
                  <a:moveTo>
                    <a:pt x="597" y="1"/>
                  </a:moveTo>
                  <a:cubicBezTo>
                    <a:pt x="597" y="1"/>
                    <a:pt x="195" y="56"/>
                    <a:pt x="98" y="153"/>
                  </a:cubicBezTo>
                  <a:cubicBezTo>
                    <a:pt x="1" y="232"/>
                    <a:pt x="1" y="384"/>
                    <a:pt x="98" y="481"/>
                  </a:cubicBezTo>
                  <a:cubicBezTo>
                    <a:pt x="139" y="523"/>
                    <a:pt x="201" y="547"/>
                    <a:pt x="264" y="547"/>
                  </a:cubicBezTo>
                  <a:cubicBezTo>
                    <a:pt x="322" y="547"/>
                    <a:pt x="380" y="527"/>
                    <a:pt x="426" y="481"/>
                  </a:cubicBezTo>
                  <a:cubicBezTo>
                    <a:pt x="523" y="384"/>
                    <a:pt x="597" y="1"/>
                    <a:pt x="597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4" name="Google Shape;44;p2"/>
            <p:cNvSpPr/>
            <p:nvPr/>
          </p:nvSpPr>
          <p:spPr>
            <a:xfrm>
              <a:off x="856293" y="1815294"/>
              <a:ext cx="36172" cy="36087"/>
            </a:xfrm>
            <a:custGeom>
              <a:avLst/>
              <a:gdLst/>
              <a:ahLst/>
              <a:cxnLst/>
              <a:rect l="l" t="t" r="r" b="b"/>
              <a:pathLst>
                <a:path w="1290" h="1287" extrusionOk="0">
                  <a:moveTo>
                    <a:pt x="576" y="1"/>
                  </a:moveTo>
                  <a:cubicBezTo>
                    <a:pt x="453" y="1"/>
                    <a:pt x="330" y="44"/>
                    <a:pt x="232" y="132"/>
                  </a:cubicBezTo>
                  <a:cubicBezTo>
                    <a:pt x="19" y="344"/>
                    <a:pt x="1" y="672"/>
                    <a:pt x="195" y="885"/>
                  </a:cubicBezTo>
                  <a:cubicBezTo>
                    <a:pt x="403" y="1097"/>
                    <a:pt x="1290" y="1287"/>
                    <a:pt x="1290" y="1287"/>
                  </a:cubicBezTo>
                  <a:cubicBezTo>
                    <a:pt x="1290" y="1287"/>
                    <a:pt x="1156" y="381"/>
                    <a:pt x="962" y="173"/>
                  </a:cubicBezTo>
                  <a:cubicBezTo>
                    <a:pt x="860" y="59"/>
                    <a:pt x="718" y="1"/>
                    <a:pt x="576" y="1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5" name="Google Shape;45;p2"/>
            <p:cNvSpPr/>
            <p:nvPr/>
          </p:nvSpPr>
          <p:spPr>
            <a:xfrm>
              <a:off x="1274650" y="1796424"/>
              <a:ext cx="48621" cy="48481"/>
            </a:xfrm>
            <a:custGeom>
              <a:avLst/>
              <a:gdLst/>
              <a:ahLst/>
              <a:cxnLst/>
              <a:rect l="l" t="t" r="r" b="b"/>
              <a:pathLst>
                <a:path w="1734" h="1729" extrusionOk="0">
                  <a:moveTo>
                    <a:pt x="773" y="0"/>
                  </a:moveTo>
                  <a:cubicBezTo>
                    <a:pt x="604" y="0"/>
                    <a:pt x="437" y="63"/>
                    <a:pt x="310" y="190"/>
                  </a:cubicBezTo>
                  <a:cubicBezTo>
                    <a:pt x="19" y="458"/>
                    <a:pt x="1" y="902"/>
                    <a:pt x="269" y="1193"/>
                  </a:cubicBezTo>
                  <a:cubicBezTo>
                    <a:pt x="523" y="1461"/>
                    <a:pt x="1733" y="1729"/>
                    <a:pt x="1733" y="1729"/>
                  </a:cubicBezTo>
                  <a:cubicBezTo>
                    <a:pt x="1733" y="1729"/>
                    <a:pt x="1562" y="518"/>
                    <a:pt x="1290" y="227"/>
                  </a:cubicBezTo>
                  <a:cubicBezTo>
                    <a:pt x="1149" y="77"/>
                    <a:pt x="960" y="0"/>
                    <a:pt x="773" y="0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6" name="Google Shape;46;p2"/>
            <p:cNvSpPr/>
            <p:nvPr/>
          </p:nvSpPr>
          <p:spPr>
            <a:xfrm>
              <a:off x="759134" y="1976665"/>
              <a:ext cx="32414" cy="42985"/>
            </a:xfrm>
            <a:custGeom>
              <a:avLst/>
              <a:gdLst/>
              <a:ahLst/>
              <a:cxnLst/>
              <a:rect l="l" t="t" r="r" b="b"/>
              <a:pathLst>
                <a:path w="1156" h="1533" extrusionOk="0">
                  <a:moveTo>
                    <a:pt x="827" y="0"/>
                  </a:moveTo>
                  <a:cubicBezTo>
                    <a:pt x="827" y="0"/>
                    <a:pt x="134" y="596"/>
                    <a:pt x="56" y="887"/>
                  </a:cubicBezTo>
                  <a:cubicBezTo>
                    <a:pt x="0" y="1155"/>
                    <a:pt x="153" y="1442"/>
                    <a:pt x="444" y="1520"/>
                  </a:cubicBezTo>
                  <a:cubicBezTo>
                    <a:pt x="482" y="1529"/>
                    <a:pt x="521" y="1533"/>
                    <a:pt x="559" y="1533"/>
                  </a:cubicBezTo>
                  <a:cubicBezTo>
                    <a:pt x="790" y="1533"/>
                    <a:pt x="1014" y="1382"/>
                    <a:pt x="1077" y="1137"/>
                  </a:cubicBezTo>
                  <a:cubicBezTo>
                    <a:pt x="1155" y="864"/>
                    <a:pt x="827" y="0"/>
                    <a:pt x="827" y="0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7" name="Google Shape;47;p2"/>
            <p:cNvSpPr/>
            <p:nvPr/>
          </p:nvSpPr>
          <p:spPr>
            <a:xfrm>
              <a:off x="1176958" y="1975683"/>
              <a:ext cx="43182" cy="42593"/>
            </a:xfrm>
            <a:custGeom>
              <a:avLst/>
              <a:gdLst/>
              <a:ahLst/>
              <a:cxnLst/>
              <a:rect l="l" t="t" r="r" b="b"/>
              <a:pathLst>
                <a:path w="1540" h="1519" extrusionOk="0">
                  <a:moveTo>
                    <a:pt x="701" y="0"/>
                  </a:moveTo>
                  <a:cubicBezTo>
                    <a:pt x="545" y="0"/>
                    <a:pt x="389" y="58"/>
                    <a:pt x="269" y="169"/>
                  </a:cubicBezTo>
                  <a:cubicBezTo>
                    <a:pt x="19" y="400"/>
                    <a:pt x="1" y="784"/>
                    <a:pt x="232" y="1038"/>
                  </a:cubicBezTo>
                  <a:cubicBezTo>
                    <a:pt x="481" y="1287"/>
                    <a:pt x="1539" y="1518"/>
                    <a:pt x="1539" y="1518"/>
                  </a:cubicBezTo>
                  <a:cubicBezTo>
                    <a:pt x="1539" y="1518"/>
                    <a:pt x="1387" y="460"/>
                    <a:pt x="1156" y="206"/>
                  </a:cubicBezTo>
                  <a:cubicBezTo>
                    <a:pt x="1036" y="67"/>
                    <a:pt x="869" y="0"/>
                    <a:pt x="701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8" name="Google Shape;48;p2"/>
            <p:cNvSpPr/>
            <p:nvPr/>
          </p:nvSpPr>
          <p:spPr>
            <a:xfrm>
              <a:off x="797998" y="1731006"/>
              <a:ext cx="42144" cy="53584"/>
            </a:xfrm>
            <a:custGeom>
              <a:avLst/>
              <a:gdLst/>
              <a:ahLst/>
              <a:cxnLst/>
              <a:rect l="l" t="t" r="r" b="b"/>
              <a:pathLst>
                <a:path w="1503" h="1911" extrusionOk="0">
                  <a:moveTo>
                    <a:pt x="1193" y="0"/>
                  </a:moveTo>
                  <a:cubicBezTo>
                    <a:pt x="1193" y="0"/>
                    <a:pt x="250" y="675"/>
                    <a:pt x="134" y="1022"/>
                  </a:cubicBezTo>
                  <a:cubicBezTo>
                    <a:pt x="0" y="1368"/>
                    <a:pt x="195" y="1752"/>
                    <a:pt x="541" y="1867"/>
                  </a:cubicBezTo>
                  <a:cubicBezTo>
                    <a:pt x="617" y="1897"/>
                    <a:pt x="695" y="1910"/>
                    <a:pt x="771" y="1910"/>
                  </a:cubicBezTo>
                  <a:cubicBezTo>
                    <a:pt x="1043" y="1910"/>
                    <a:pt x="1297" y="1736"/>
                    <a:pt x="1387" y="1465"/>
                  </a:cubicBezTo>
                  <a:cubicBezTo>
                    <a:pt x="1502" y="1119"/>
                    <a:pt x="1193" y="0"/>
                    <a:pt x="1193" y="0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" name="Google Shape;49;p2"/>
            <p:cNvSpPr/>
            <p:nvPr/>
          </p:nvSpPr>
          <p:spPr>
            <a:xfrm>
              <a:off x="996605" y="1944138"/>
              <a:ext cx="25432" cy="31517"/>
            </a:xfrm>
            <a:custGeom>
              <a:avLst/>
              <a:gdLst/>
              <a:ahLst/>
              <a:cxnLst/>
              <a:rect l="l" t="t" r="r" b="b"/>
              <a:pathLst>
                <a:path w="907" h="1124" extrusionOk="0">
                  <a:moveTo>
                    <a:pt x="448" y="1"/>
                  </a:moveTo>
                  <a:cubicBezTo>
                    <a:pt x="305" y="1"/>
                    <a:pt x="167" y="84"/>
                    <a:pt x="98" y="236"/>
                  </a:cubicBezTo>
                  <a:cubicBezTo>
                    <a:pt x="1" y="430"/>
                    <a:pt x="98" y="1123"/>
                    <a:pt x="98" y="1123"/>
                  </a:cubicBezTo>
                  <a:cubicBezTo>
                    <a:pt x="98" y="1123"/>
                    <a:pt x="712" y="777"/>
                    <a:pt x="809" y="582"/>
                  </a:cubicBezTo>
                  <a:cubicBezTo>
                    <a:pt x="906" y="388"/>
                    <a:pt x="828" y="139"/>
                    <a:pt x="620" y="42"/>
                  </a:cubicBezTo>
                  <a:cubicBezTo>
                    <a:pt x="564" y="14"/>
                    <a:pt x="506" y="1"/>
                    <a:pt x="448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" name="Google Shape;50;p2"/>
            <p:cNvSpPr/>
            <p:nvPr/>
          </p:nvSpPr>
          <p:spPr>
            <a:xfrm>
              <a:off x="1587296" y="2000891"/>
              <a:ext cx="23217" cy="27255"/>
            </a:xfrm>
            <a:custGeom>
              <a:avLst/>
              <a:gdLst/>
              <a:ahLst/>
              <a:cxnLst/>
              <a:rect l="l" t="t" r="r" b="b"/>
              <a:pathLst>
                <a:path w="828" h="972" extrusionOk="0">
                  <a:moveTo>
                    <a:pt x="749" y="0"/>
                  </a:moveTo>
                  <a:lnTo>
                    <a:pt x="749" y="0"/>
                  </a:lnTo>
                  <a:cubicBezTo>
                    <a:pt x="748" y="0"/>
                    <a:pt x="189" y="273"/>
                    <a:pt x="92" y="444"/>
                  </a:cubicBezTo>
                  <a:cubicBezTo>
                    <a:pt x="0" y="619"/>
                    <a:pt x="55" y="850"/>
                    <a:pt x="231" y="924"/>
                  </a:cubicBezTo>
                  <a:cubicBezTo>
                    <a:pt x="287" y="956"/>
                    <a:pt x="350" y="972"/>
                    <a:pt x="413" y="972"/>
                  </a:cubicBezTo>
                  <a:cubicBezTo>
                    <a:pt x="540" y="972"/>
                    <a:pt x="665" y="908"/>
                    <a:pt x="730" y="790"/>
                  </a:cubicBezTo>
                  <a:cubicBezTo>
                    <a:pt x="827" y="619"/>
                    <a:pt x="749" y="0"/>
                    <a:pt x="749" y="0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" name="Google Shape;51;p2"/>
            <p:cNvSpPr/>
            <p:nvPr/>
          </p:nvSpPr>
          <p:spPr>
            <a:xfrm>
              <a:off x="1769696" y="1889208"/>
              <a:ext cx="17273" cy="21479"/>
            </a:xfrm>
            <a:custGeom>
              <a:avLst/>
              <a:gdLst/>
              <a:ahLst/>
              <a:cxnLst/>
              <a:rect l="l" t="t" r="r" b="b"/>
              <a:pathLst>
                <a:path w="616" h="766" extrusionOk="0">
                  <a:moveTo>
                    <a:pt x="560" y="0"/>
                  </a:moveTo>
                  <a:cubicBezTo>
                    <a:pt x="560" y="0"/>
                    <a:pt x="135" y="231"/>
                    <a:pt x="56" y="365"/>
                  </a:cubicBezTo>
                  <a:cubicBezTo>
                    <a:pt x="1" y="481"/>
                    <a:pt x="38" y="656"/>
                    <a:pt x="172" y="730"/>
                  </a:cubicBezTo>
                  <a:cubicBezTo>
                    <a:pt x="214" y="754"/>
                    <a:pt x="259" y="765"/>
                    <a:pt x="304" y="765"/>
                  </a:cubicBezTo>
                  <a:cubicBezTo>
                    <a:pt x="404" y="765"/>
                    <a:pt x="500" y="708"/>
                    <a:pt x="541" y="615"/>
                  </a:cubicBezTo>
                  <a:cubicBezTo>
                    <a:pt x="615" y="481"/>
                    <a:pt x="560" y="0"/>
                    <a:pt x="560" y="0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2" name="Google Shape;52;p2"/>
            <p:cNvSpPr/>
            <p:nvPr/>
          </p:nvSpPr>
          <p:spPr>
            <a:xfrm>
              <a:off x="1811279" y="1925856"/>
              <a:ext cx="11833" cy="12870"/>
            </a:xfrm>
            <a:custGeom>
              <a:avLst/>
              <a:gdLst/>
              <a:ahLst/>
              <a:cxnLst/>
              <a:rect l="l" t="t" r="r" b="b"/>
              <a:pathLst>
                <a:path w="422" h="459" extrusionOk="0">
                  <a:moveTo>
                    <a:pt x="1" y="1"/>
                  </a:moveTo>
                  <a:cubicBezTo>
                    <a:pt x="1" y="1"/>
                    <a:pt x="19" y="310"/>
                    <a:pt x="75" y="389"/>
                  </a:cubicBezTo>
                  <a:cubicBezTo>
                    <a:pt x="111" y="434"/>
                    <a:pt x="168" y="458"/>
                    <a:pt x="225" y="458"/>
                  </a:cubicBezTo>
                  <a:cubicBezTo>
                    <a:pt x="261" y="458"/>
                    <a:pt x="298" y="448"/>
                    <a:pt x="329" y="426"/>
                  </a:cubicBezTo>
                  <a:cubicBezTo>
                    <a:pt x="403" y="347"/>
                    <a:pt x="421" y="232"/>
                    <a:pt x="366" y="158"/>
                  </a:cubicBezTo>
                  <a:cubicBezTo>
                    <a:pt x="287" y="79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" name="Google Shape;53;p2"/>
            <p:cNvSpPr/>
            <p:nvPr/>
          </p:nvSpPr>
          <p:spPr>
            <a:xfrm>
              <a:off x="1842516" y="1991806"/>
              <a:ext cx="44331" cy="36845"/>
            </a:xfrm>
            <a:custGeom>
              <a:avLst/>
              <a:gdLst/>
              <a:ahLst/>
              <a:cxnLst/>
              <a:rect l="l" t="t" r="r" b="b"/>
              <a:pathLst>
                <a:path w="1581" h="1314" extrusionOk="0">
                  <a:moveTo>
                    <a:pt x="1" y="1"/>
                  </a:moveTo>
                  <a:cubicBezTo>
                    <a:pt x="1" y="1"/>
                    <a:pt x="310" y="980"/>
                    <a:pt x="560" y="1193"/>
                  </a:cubicBezTo>
                  <a:cubicBezTo>
                    <a:pt x="663" y="1273"/>
                    <a:pt x="787" y="1313"/>
                    <a:pt x="912" y="1313"/>
                  </a:cubicBezTo>
                  <a:cubicBezTo>
                    <a:pt x="1088" y="1313"/>
                    <a:pt x="1265" y="1234"/>
                    <a:pt x="1387" y="1077"/>
                  </a:cubicBezTo>
                  <a:cubicBezTo>
                    <a:pt x="1581" y="828"/>
                    <a:pt x="1544" y="463"/>
                    <a:pt x="1271" y="269"/>
                  </a:cubicBezTo>
                  <a:cubicBezTo>
                    <a:pt x="1022" y="56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" name="Google Shape;54;p2"/>
            <p:cNvSpPr/>
            <p:nvPr/>
          </p:nvSpPr>
          <p:spPr>
            <a:xfrm>
              <a:off x="1679015" y="1888675"/>
              <a:ext cx="28657" cy="23582"/>
            </a:xfrm>
            <a:custGeom>
              <a:avLst/>
              <a:gdLst/>
              <a:ahLst/>
              <a:cxnLst/>
              <a:rect l="l" t="t" r="r" b="b"/>
              <a:pathLst>
                <a:path w="1022" h="841" extrusionOk="0">
                  <a:moveTo>
                    <a:pt x="0" y="1"/>
                  </a:moveTo>
                  <a:cubicBezTo>
                    <a:pt x="0" y="1"/>
                    <a:pt x="194" y="634"/>
                    <a:pt x="365" y="768"/>
                  </a:cubicBezTo>
                  <a:cubicBezTo>
                    <a:pt x="429" y="816"/>
                    <a:pt x="511" y="841"/>
                    <a:pt x="593" y="841"/>
                  </a:cubicBezTo>
                  <a:cubicBezTo>
                    <a:pt x="706" y="841"/>
                    <a:pt x="820" y="793"/>
                    <a:pt x="888" y="694"/>
                  </a:cubicBezTo>
                  <a:cubicBezTo>
                    <a:pt x="1022" y="537"/>
                    <a:pt x="1003" y="287"/>
                    <a:pt x="827" y="172"/>
                  </a:cubicBezTo>
                  <a:cubicBezTo>
                    <a:pt x="657" y="38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" name="Google Shape;55;p2"/>
            <p:cNvSpPr/>
            <p:nvPr/>
          </p:nvSpPr>
          <p:spPr>
            <a:xfrm>
              <a:off x="1375566" y="1981403"/>
              <a:ext cx="66511" cy="43939"/>
            </a:xfrm>
            <a:custGeom>
              <a:avLst/>
              <a:gdLst/>
              <a:ahLst/>
              <a:cxnLst/>
              <a:rect l="l" t="t" r="r" b="b"/>
              <a:pathLst>
                <a:path w="2372" h="1567" extrusionOk="0">
                  <a:moveTo>
                    <a:pt x="790" y="1"/>
                  </a:moveTo>
                  <a:cubicBezTo>
                    <a:pt x="778" y="1"/>
                    <a:pt x="766" y="1"/>
                    <a:pt x="754" y="2"/>
                  </a:cubicBezTo>
                  <a:cubicBezTo>
                    <a:pt x="329" y="25"/>
                    <a:pt x="1" y="409"/>
                    <a:pt x="43" y="834"/>
                  </a:cubicBezTo>
                  <a:cubicBezTo>
                    <a:pt x="78" y="1250"/>
                    <a:pt x="408" y="1567"/>
                    <a:pt x="820" y="1567"/>
                  </a:cubicBezTo>
                  <a:cubicBezTo>
                    <a:pt x="843" y="1567"/>
                    <a:pt x="865" y="1566"/>
                    <a:pt x="888" y="1564"/>
                  </a:cubicBezTo>
                  <a:cubicBezTo>
                    <a:pt x="1313" y="1527"/>
                    <a:pt x="2371" y="658"/>
                    <a:pt x="2371" y="658"/>
                  </a:cubicBezTo>
                  <a:cubicBezTo>
                    <a:pt x="2371" y="658"/>
                    <a:pt x="1258" y="1"/>
                    <a:pt x="790" y="1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" name="Google Shape;56;p2"/>
            <p:cNvSpPr/>
            <p:nvPr/>
          </p:nvSpPr>
          <p:spPr>
            <a:xfrm>
              <a:off x="1063593" y="1967440"/>
              <a:ext cx="35134" cy="48369"/>
            </a:xfrm>
            <a:custGeom>
              <a:avLst/>
              <a:gdLst/>
              <a:ahLst/>
              <a:cxnLst/>
              <a:rect l="l" t="t" r="r" b="b"/>
              <a:pathLst>
                <a:path w="1253" h="1725" extrusionOk="0">
                  <a:moveTo>
                    <a:pt x="828" y="1"/>
                  </a:moveTo>
                  <a:cubicBezTo>
                    <a:pt x="828" y="1"/>
                    <a:pt x="116" y="713"/>
                    <a:pt x="56" y="1041"/>
                  </a:cubicBezTo>
                  <a:cubicBezTo>
                    <a:pt x="1" y="1350"/>
                    <a:pt x="213" y="1655"/>
                    <a:pt x="541" y="1715"/>
                  </a:cubicBezTo>
                  <a:cubicBezTo>
                    <a:pt x="574" y="1721"/>
                    <a:pt x="607" y="1724"/>
                    <a:pt x="640" y="1724"/>
                  </a:cubicBezTo>
                  <a:cubicBezTo>
                    <a:pt x="910" y="1724"/>
                    <a:pt x="1162" y="1527"/>
                    <a:pt x="1211" y="1235"/>
                  </a:cubicBezTo>
                  <a:cubicBezTo>
                    <a:pt x="1253" y="925"/>
                    <a:pt x="828" y="1"/>
                    <a:pt x="828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7" name="Google Shape;57;p2"/>
            <p:cNvSpPr/>
            <p:nvPr/>
          </p:nvSpPr>
          <p:spPr>
            <a:xfrm>
              <a:off x="1716196" y="1999293"/>
              <a:ext cx="33592" cy="22208"/>
            </a:xfrm>
            <a:custGeom>
              <a:avLst/>
              <a:gdLst/>
              <a:ahLst/>
              <a:cxnLst/>
              <a:rect l="l" t="t" r="r" b="b"/>
              <a:pathLst>
                <a:path w="1198" h="792" extrusionOk="0">
                  <a:moveTo>
                    <a:pt x="423" y="1"/>
                  </a:moveTo>
                  <a:cubicBezTo>
                    <a:pt x="417" y="1"/>
                    <a:pt x="412" y="1"/>
                    <a:pt x="407" y="2"/>
                  </a:cubicBezTo>
                  <a:cubicBezTo>
                    <a:pt x="176" y="2"/>
                    <a:pt x="0" y="173"/>
                    <a:pt x="24" y="404"/>
                  </a:cubicBezTo>
                  <a:cubicBezTo>
                    <a:pt x="24" y="616"/>
                    <a:pt x="195" y="792"/>
                    <a:pt x="426" y="792"/>
                  </a:cubicBezTo>
                  <a:cubicBezTo>
                    <a:pt x="638" y="773"/>
                    <a:pt x="1197" y="367"/>
                    <a:pt x="1197" y="367"/>
                  </a:cubicBezTo>
                  <a:cubicBezTo>
                    <a:pt x="1197" y="367"/>
                    <a:pt x="646" y="1"/>
                    <a:pt x="42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" name="Google Shape;58;p2"/>
            <p:cNvSpPr/>
            <p:nvPr/>
          </p:nvSpPr>
          <p:spPr>
            <a:xfrm>
              <a:off x="1627701" y="1955018"/>
              <a:ext cx="35667" cy="48369"/>
            </a:xfrm>
            <a:custGeom>
              <a:avLst/>
              <a:gdLst/>
              <a:ahLst/>
              <a:cxnLst/>
              <a:rect l="l" t="t" r="r" b="b"/>
              <a:pathLst>
                <a:path w="1272" h="1725" extrusionOk="0">
                  <a:moveTo>
                    <a:pt x="828" y="0"/>
                  </a:moveTo>
                  <a:cubicBezTo>
                    <a:pt x="828" y="0"/>
                    <a:pt x="116" y="712"/>
                    <a:pt x="61" y="1040"/>
                  </a:cubicBezTo>
                  <a:cubicBezTo>
                    <a:pt x="1" y="1350"/>
                    <a:pt x="213" y="1659"/>
                    <a:pt x="541" y="1715"/>
                  </a:cubicBezTo>
                  <a:cubicBezTo>
                    <a:pt x="576" y="1721"/>
                    <a:pt x="611" y="1725"/>
                    <a:pt x="645" y="1725"/>
                  </a:cubicBezTo>
                  <a:cubicBezTo>
                    <a:pt x="913" y="1725"/>
                    <a:pt x="1163" y="1525"/>
                    <a:pt x="1216" y="1234"/>
                  </a:cubicBezTo>
                  <a:cubicBezTo>
                    <a:pt x="1271" y="924"/>
                    <a:pt x="828" y="0"/>
                    <a:pt x="828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9" name="Google Shape;59;p2"/>
            <p:cNvSpPr/>
            <p:nvPr/>
          </p:nvSpPr>
          <p:spPr>
            <a:xfrm>
              <a:off x="1661125" y="1851354"/>
              <a:ext cx="14160" cy="19039"/>
            </a:xfrm>
            <a:custGeom>
              <a:avLst/>
              <a:gdLst/>
              <a:ahLst/>
              <a:cxnLst/>
              <a:rect l="l" t="t" r="r" b="b"/>
              <a:pathLst>
                <a:path w="505" h="679" extrusionOk="0">
                  <a:moveTo>
                    <a:pt x="329" y="1"/>
                  </a:moveTo>
                  <a:cubicBezTo>
                    <a:pt x="329" y="1"/>
                    <a:pt x="61" y="292"/>
                    <a:pt x="24" y="408"/>
                  </a:cubicBezTo>
                  <a:cubicBezTo>
                    <a:pt x="1" y="542"/>
                    <a:pt x="98" y="657"/>
                    <a:pt x="213" y="676"/>
                  </a:cubicBezTo>
                  <a:cubicBezTo>
                    <a:pt x="227" y="677"/>
                    <a:pt x="240" y="678"/>
                    <a:pt x="253" y="678"/>
                  </a:cubicBezTo>
                  <a:cubicBezTo>
                    <a:pt x="370" y="678"/>
                    <a:pt x="465" y="606"/>
                    <a:pt x="486" y="481"/>
                  </a:cubicBezTo>
                  <a:cubicBezTo>
                    <a:pt x="504" y="366"/>
                    <a:pt x="329" y="1"/>
                    <a:pt x="329" y="1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0" name="Google Shape;60;p2"/>
            <p:cNvSpPr/>
            <p:nvPr/>
          </p:nvSpPr>
          <p:spPr>
            <a:xfrm>
              <a:off x="757452" y="1691105"/>
              <a:ext cx="38359" cy="49350"/>
            </a:xfrm>
            <a:custGeom>
              <a:avLst/>
              <a:gdLst/>
              <a:ahLst/>
              <a:cxnLst/>
              <a:rect l="l" t="t" r="r" b="b"/>
              <a:pathLst>
                <a:path w="1368" h="1760" extrusionOk="0">
                  <a:moveTo>
                    <a:pt x="1021" y="0"/>
                  </a:moveTo>
                  <a:cubicBezTo>
                    <a:pt x="1021" y="0"/>
                    <a:pt x="194" y="675"/>
                    <a:pt x="97" y="980"/>
                  </a:cubicBezTo>
                  <a:cubicBezTo>
                    <a:pt x="0" y="1308"/>
                    <a:pt x="194" y="1636"/>
                    <a:pt x="522" y="1733"/>
                  </a:cubicBezTo>
                  <a:cubicBezTo>
                    <a:pt x="580" y="1751"/>
                    <a:pt x="639" y="1760"/>
                    <a:pt x="697" y="1760"/>
                  </a:cubicBezTo>
                  <a:cubicBezTo>
                    <a:pt x="952" y="1760"/>
                    <a:pt x="1196" y="1594"/>
                    <a:pt x="1271" y="1326"/>
                  </a:cubicBezTo>
                  <a:cubicBezTo>
                    <a:pt x="1368" y="1021"/>
                    <a:pt x="1021" y="0"/>
                    <a:pt x="1021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1" name="Google Shape;61;p2"/>
            <p:cNvSpPr/>
            <p:nvPr/>
          </p:nvSpPr>
          <p:spPr>
            <a:xfrm>
              <a:off x="1286062" y="1893470"/>
              <a:ext cx="28012" cy="34349"/>
            </a:xfrm>
            <a:custGeom>
              <a:avLst/>
              <a:gdLst/>
              <a:ahLst/>
              <a:cxnLst/>
              <a:rect l="l" t="t" r="r" b="b"/>
              <a:pathLst>
                <a:path w="999" h="1225" extrusionOk="0">
                  <a:moveTo>
                    <a:pt x="93" y="1"/>
                  </a:moveTo>
                  <a:cubicBezTo>
                    <a:pt x="93" y="1"/>
                    <a:pt x="0" y="772"/>
                    <a:pt x="93" y="985"/>
                  </a:cubicBezTo>
                  <a:cubicBezTo>
                    <a:pt x="174" y="1134"/>
                    <a:pt x="333" y="1224"/>
                    <a:pt x="494" y="1224"/>
                  </a:cubicBezTo>
                  <a:cubicBezTo>
                    <a:pt x="562" y="1224"/>
                    <a:pt x="630" y="1208"/>
                    <a:pt x="693" y="1174"/>
                  </a:cubicBezTo>
                  <a:cubicBezTo>
                    <a:pt x="924" y="1059"/>
                    <a:pt x="998" y="791"/>
                    <a:pt x="883" y="578"/>
                  </a:cubicBezTo>
                  <a:cubicBezTo>
                    <a:pt x="786" y="366"/>
                    <a:pt x="93" y="1"/>
                    <a:pt x="9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2" name="Google Shape;62;p2"/>
            <p:cNvSpPr/>
            <p:nvPr/>
          </p:nvSpPr>
          <p:spPr>
            <a:xfrm>
              <a:off x="905924" y="1834726"/>
              <a:ext cx="100439" cy="66202"/>
            </a:xfrm>
            <a:custGeom>
              <a:avLst/>
              <a:gdLst/>
              <a:ahLst/>
              <a:cxnLst/>
              <a:rect l="l" t="t" r="r" b="b"/>
              <a:pathLst>
                <a:path w="3582" h="2361" extrusionOk="0">
                  <a:moveTo>
                    <a:pt x="1202" y="0"/>
                  </a:moveTo>
                  <a:cubicBezTo>
                    <a:pt x="1134" y="0"/>
                    <a:pt x="1074" y="5"/>
                    <a:pt x="1022" y="16"/>
                  </a:cubicBezTo>
                  <a:cubicBezTo>
                    <a:pt x="389" y="173"/>
                    <a:pt x="0" y="806"/>
                    <a:pt x="158" y="1444"/>
                  </a:cubicBezTo>
                  <a:cubicBezTo>
                    <a:pt x="288" y="1985"/>
                    <a:pt x="769" y="2360"/>
                    <a:pt x="1304" y="2360"/>
                  </a:cubicBezTo>
                  <a:cubicBezTo>
                    <a:pt x="1395" y="2360"/>
                    <a:pt x="1488" y="2350"/>
                    <a:pt x="1581" y="2327"/>
                  </a:cubicBezTo>
                  <a:cubicBezTo>
                    <a:pt x="2214" y="2174"/>
                    <a:pt x="3581" y="636"/>
                    <a:pt x="3581" y="636"/>
                  </a:cubicBezTo>
                  <a:cubicBezTo>
                    <a:pt x="3581" y="636"/>
                    <a:pt x="1960" y="0"/>
                    <a:pt x="1202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63" name="Google Shape;63;p2"/>
          <p:cNvGrpSpPr/>
          <p:nvPr/>
        </p:nvGrpSpPr>
        <p:grpSpPr>
          <a:xfrm>
            <a:off x="10369163" y="5303699"/>
            <a:ext cx="1509192" cy="1136692"/>
            <a:chOff x="174200" y="1152825"/>
            <a:chExt cx="1519525" cy="1144475"/>
          </a:xfrm>
        </p:grpSpPr>
        <p:sp>
          <p:nvSpPr>
            <p:cNvPr id="64" name="Google Shape;64;p2"/>
            <p:cNvSpPr/>
            <p:nvPr/>
          </p:nvSpPr>
          <p:spPr>
            <a:xfrm>
              <a:off x="177800" y="1152825"/>
              <a:ext cx="1515925" cy="1144475"/>
            </a:xfrm>
            <a:custGeom>
              <a:avLst/>
              <a:gdLst/>
              <a:ahLst/>
              <a:cxnLst/>
              <a:rect l="l" t="t" r="r" b="b"/>
              <a:pathLst>
                <a:path w="60637" h="45779" extrusionOk="0">
                  <a:moveTo>
                    <a:pt x="38109" y="1"/>
                  </a:moveTo>
                  <a:cubicBezTo>
                    <a:pt x="36661" y="1"/>
                    <a:pt x="35336" y="408"/>
                    <a:pt x="34387" y="1394"/>
                  </a:cubicBezTo>
                  <a:cubicBezTo>
                    <a:pt x="33487" y="2294"/>
                    <a:pt x="32875" y="3806"/>
                    <a:pt x="32407" y="5319"/>
                  </a:cubicBezTo>
                  <a:cubicBezTo>
                    <a:pt x="31218" y="10108"/>
                    <a:pt x="31687" y="16553"/>
                    <a:pt x="31687" y="17597"/>
                  </a:cubicBezTo>
                  <a:cubicBezTo>
                    <a:pt x="31362" y="14320"/>
                    <a:pt x="29274" y="6795"/>
                    <a:pt x="27186" y="3050"/>
                  </a:cubicBezTo>
                  <a:cubicBezTo>
                    <a:pt x="26430" y="2006"/>
                    <a:pt x="25817" y="1250"/>
                    <a:pt x="25061" y="962"/>
                  </a:cubicBezTo>
                  <a:cubicBezTo>
                    <a:pt x="24764" y="863"/>
                    <a:pt x="24360" y="814"/>
                    <a:pt x="23879" y="814"/>
                  </a:cubicBezTo>
                  <a:cubicBezTo>
                    <a:pt x="19993" y="814"/>
                    <a:pt x="11135" y="3984"/>
                    <a:pt x="13827" y="9207"/>
                  </a:cubicBezTo>
                  <a:cubicBezTo>
                    <a:pt x="14115" y="9819"/>
                    <a:pt x="14403" y="10396"/>
                    <a:pt x="14727" y="10864"/>
                  </a:cubicBezTo>
                  <a:cubicBezTo>
                    <a:pt x="18004" y="15653"/>
                    <a:pt x="24917" y="19865"/>
                    <a:pt x="26430" y="20766"/>
                  </a:cubicBezTo>
                  <a:cubicBezTo>
                    <a:pt x="24629" y="19865"/>
                    <a:pt x="15916" y="15220"/>
                    <a:pt x="10983" y="14752"/>
                  </a:cubicBezTo>
                  <a:lnTo>
                    <a:pt x="9326" y="14752"/>
                  </a:lnTo>
                  <a:cubicBezTo>
                    <a:pt x="4681" y="15509"/>
                    <a:pt x="1" y="21666"/>
                    <a:pt x="3601" y="26311"/>
                  </a:cubicBezTo>
                  <a:cubicBezTo>
                    <a:pt x="3781" y="26455"/>
                    <a:pt x="3925" y="26743"/>
                    <a:pt x="4069" y="26923"/>
                  </a:cubicBezTo>
                  <a:cubicBezTo>
                    <a:pt x="6212" y="29134"/>
                    <a:pt x="10125" y="29713"/>
                    <a:pt x="13637" y="29713"/>
                  </a:cubicBezTo>
                  <a:cubicBezTo>
                    <a:pt x="17503" y="29713"/>
                    <a:pt x="20884" y="29011"/>
                    <a:pt x="20884" y="29011"/>
                  </a:cubicBezTo>
                  <a:lnTo>
                    <a:pt x="20884" y="29011"/>
                  </a:lnTo>
                  <a:cubicBezTo>
                    <a:pt x="20416" y="29299"/>
                    <a:pt x="9614" y="35312"/>
                    <a:pt x="12315" y="40857"/>
                  </a:cubicBezTo>
                  <a:cubicBezTo>
                    <a:pt x="12459" y="41145"/>
                    <a:pt x="12603" y="41325"/>
                    <a:pt x="12783" y="41613"/>
                  </a:cubicBezTo>
                  <a:cubicBezTo>
                    <a:pt x="14796" y="44372"/>
                    <a:pt x="20231" y="45779"/>
                    <a:pt x="25444" y="45779"/>
                  </a:cubicBezTo>
                  <a:cubicBezTo>
                    <a:pt x="29555" y="45779"/>
                    <a:pt x="33527" y="44904"/>
                    <a:pt x="35575" y="43126"/>
                  </a:cubicBezTo>
                  <a:cubicBezTo>
                    <a:pt x="37232" y="41613"/>
                    <a:pt x="38132" y="39525"/>
                    <a:pt x="38564" y="37257"/>
                  </a:cubicBezTo>
                  <a:cubicBezTo>
                    <a:pt x="39320" y="33368"/>
                    <a:pt x="38420" y="29299"/>
                    <a:pt x="38420" y="29299"/>
                  </a:cubicBezTo>
                  <a:lnTo>
                    <a:pt x="38420" y="29299"/>
                  </a:lnTo>
                  <a:cubicBezTo>
                    <a:pt x="41732" y="30811"/>
                    <a:pt x="44577" y="31568"/>
                    <a:pt x="47277" y="31712"/>
                  </a:cubicBezTo>
                  <a:cubicBezTo>
                    <a:pt x="47536" y="31722"/>
                    <a:pt x="47791" y="31727"/>
                    <a:pt x="48044" y="31727"/>
                  </a:cubicBezTo>
                  <a:cubicBezTo>
                    <a:pt x="51457" y="31727"/>
                    <a:pt x="54377" y="30821"/>
                    <a:pt x="56891" y="29011"/>
                  </a:cubicBezTo>
                  <a:cubicBezTo>
                    <a:pt x="60312" y="26599"/>
                    <a:pt x="60636" y="20153"/>
                    <a:pt x="58224" y="16409"/>
                  </a:cubicBezTo>
                  <a:cubicBezTo>
                    <a:pt x="57791" y="15653"/>
                    <a:pt x="57179" y="15040"/>
                    <a:pt x="56567" y="14608"/>
                  </a:cubicBezTo>
                  <a:cubicBezTo>
                    <a:pt x="55991" y="14140"/>
                    <a:pt x="55379" y="13852"/>
                    <a:pt x="54623" y="13708"/>
                  </a:cubicBezTo>
                  <a:cubicBezTo>
                    <a:pt x="54056" y="13554"/>
                    <a:pt x="53442" y="13484"/>
                    <a:pt x="52797" y="13484"/>
                  </a:cubicBezTo>
                  <a:cubicBezTo>
                    <a:pt x="47124" y="13484"/>
                    <a:pt x="38984" y="18851"/>
                    <a:pt x="38564" y="19109"/>
                  </a:cubicBezTo>
                  <a:cubicBezTo>
                    <a:pt x="38888" y="18821"/>
                    <a:pt x="46377" y="11152"/>
                    <a:pt x="47566" y="7119"/>
                  </a:cubicBezTo>
                  <a:cubicBezTo>
                    <a:pt x="47566" y="6795"/>
                    <a:pt x="47710" y="6507"/>
                    <a:pt x="47710" y="6219"/>
                  </a:cubicBezTo>
                  <a:cubicBezTo>
                    <a:pt x="47710" y="3531"/>
                    <a:pt x="42373" y="1"/>
                    <a:pt x="38109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5" name="Google Shape;65;p2"/>
            <p:cNvSpPr/>
            <p:nvPr/>
          </p:nvSpPr>
          <p:spPr>
            <a:xfrm>
              <a:off x="1359725" y="1518025"/>
              <a:ext cx="333975" cy="427975"/>
            </a:xfrm>
            <a:custGeom>
              <a:avLst/>
              <a:gdLst/>
              <a:ahLst/>
              <a:cxnLst/>
              <a:rect l="l" t="t" r="r" b="b"/>
              <a:pathLst>
                <a:path w="13359" h="17119" extrusionOk="0">
                  <a:moveTo>
                    <a:pt x="9290" y="0"/>
                  </a:moveTo>
                  <a:cubicBezTo>
                    <a:pt x="10947" y="1657"/>
                    <a:pt x="11847" y="4213"/>
                    <a:pt x="11559" y="6590"/>
                  </a:cubicBezTo>
                  <a:cubicBezTo>
                    <a:pt x="11415" y="10190"/>
                    <a:pt x="9002" y="13503"/>
                    <a:pt x="5834" y="15303"/>
                  </a:cubicBezTo>
                  <a:cubicBezTo>
                    <a:pt x="4033" y="16347"/>
                    <a:pt x="2089" y="16960"/>
                    <a:pt x="0" y="17104"/>
                  </a:cubicBezTo>
                  <a:cubicBezTo>
                    <a:pt x="259" y="17114"/>
                    <a:pt x="514" y="17119"/>
                    <a:pt x="767" y="17119"/>
                  </a:cubicBezTo>
                  <a:cubicBezTo>
                    <a:pt x="4180" y="17119"/>
                    <a:pt x="7100" y="16213"/>
                    <a:pt x="9614" y="14403"/>
                  </a:cubicBezTo>
                  <a:cubicBezTo>
                    <a:pt x="13035" y="11991"/>
                    <a:pt x="13359" y="5545"/>
                    <a:pt x="10947" y="1801"/>
                  </a:cubicBezTo>
                  <a:cubicBezTo>
                    <a:pt x="10514" y="1045"/>
                    <a:pt x="9902" y="432"/>
                    <a:pt x="9290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6" name="Google Shape;66;p2"/>
            <p:cNvSpPr/>
            <p:nvPr/>
          </p:nvSpPr>
          <p:spPr>
            <a:xfrm>
              <a:off x="497350" y="2084225"/>
              <a:ext cx="644550" cy="213075"/>
            </a:xfrm>
            <a:custGeom>
              <a:avLst/>
              <a:gdLst/>
              <a:ahLst/>
              <a:cxnLst/>
              <a:rect l="l" t="t" r="r" b="b"/>
              <a:pathLst>
                <a:path w="25782" h="8523" extrusionOk="0">
                  <a:moveTo>
                    <a:pt x="25782" y="1"/>
                  </a:moveTo>
                  <a:cubicBezTo>
                    <a:pt x="23981" y="2989"/>
                    <a:pt x="20993" y="5258"/>
                    <a:pt x="17680" y="6302"/>
                  </a:cubicBezTo>
                  <a:cubicBezTo>
                    <a:pt x="15892" y="6850"/>
                    <a:pt x="14062" y="7081"/>
                    <a:pt x="12218" y="7081"/>
                  </a:cubicBezTo>
                  <a:cubicBezTo>
                    <a:pt x="8974" y="7081"/>
                    <a:pt x="5689" y="6366"/>
                    <a:pt x="2521" y="5402"/>
                  </a:cubicBezTo>
                  <a:cubicBezTo>
                    <a:pt x="1621" y="5114"/>
                    <a:pt x="721" y="4790"/>
                    <a:pt x="1" y="4357"/>
                  </a:cubicBezTo>
                  <a:lnTo>
                    <a:pt x="1" y="4357"/>
                  </a:lnTo>
                  <a:cubicBezTo>
                    <a:pt x="2014" y="7116"/>
                    <a:pt x="7449" y="8523"/>
                    <a:pt x="12662" y="8523"/>
                  </a:cubicBezTo>
                  <a:cubicBezTo>
                    <a:pt x="16773" y="8523"/>
                    <a:pt x="20745" y="7648"/>
                    <a:pt x="22793" y="5870"/>
                  </a:cubicBezTo>
                  <a:cubicBezTo>
                    <a:pt x="24450" y="4357"/>
                    <a:pt x="25350" y="2269"/>
                    <a:pt x="25782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7" name="Google Shape;67;p2"/>
            <p:cNvSpPr/>
            <p:nvPr/>
          </p:nvSpPr>
          <p:spPr>
            <a:xfrm>
              <a:off x="174200" y="1521625"/>
              <a:ext cx="278175" cy="288975"/>
            </a:xfrm>
            <a:custGeom>
              <a:avLst/>
              <a:gdLst/>
              <a:ahLst/>
              <a:cxnLst/>
              <a:rect l="l" t="t" r="r" b="b"/>
              <a:pathLst>
                <a:path w="11127" h="11559" extrusionOk="0">
                  <a:moveTo>
                    <a:pt x="9470" y="0"/>
                  </a:moveTo>
                  <a:cubicBezTo>
                    <a:pt x="4825" y="757"/>
                    <a:pt x="1" y="6914"/>
                    <a:pt x="3745" y="11559"/>
                  </a:cubicBezTo>
                  <a:cubicBezTo>
                    <a:pt x="3169" y="8714"/>
                    <a:pt x="3925" y="5401"/>
                    <a:pt x="5870" y="3169"/>
                  </a:cubicBezTo>
                  <a:cubicBezTo>
                    <a:pt x="7202" y="1513"/>
                    <a:pt x="9002" y="468"/>
                    <a:pt x="1112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" name="Google Shape;68;p2"/>
            <p:cNvSpPr/>
            <p:nvPr/>
          </p:nvSpPr>
          <p:spPr>
            <a:xfrm>
              <a:off x="456175" y="1173175"/>
              <a:ext cx="401275" cy="251250"/>
            </a:xfrm>
            <a:custGeom>
              <a:avLst/>
              <a:gdLst/>
              <a:ahLst/>
              <a:cxnLst/>
              <a:rect l="l" t="t" r="r" b="b"/>
              <a:pathLst>
                <a:path w="16051" h="10050" extrusionOk="0">
                  <a:moveTo>
                    <a:pt x="12744" y="0"/>
                  </a:moveTo>
                  <a:cubicBezTo>
                    <a:pt x="8858" y="0"/>
                    <a:pt x="0" y="3170"/>
                    <a:pt x="2692" y="8393"/>
                  </a:cubicBezTo>
                  <a:cubicBezTo>
                    <a:pt x="2980" y="9005"/>
                    <a:pt x="3268" y="9582"/>
                    <a:pt x="3592" y="10050"/>
                  </a:cubicBezTo>
                  <a:cubicBezTo>
                    <a:pt x="3124" y="8681"/>
                    <a:pt x="3124" y="7025"/>
                    <a:pt x="3736" y="5693"/>
                  </a:cubicBezTo>
                  <a:cubicBezTo>
                    <a:pt x="4781" y="3280"/>
                    <a:pt x="7049" y="1804"/>
                    <a:pt x="9425" y="1192"/>
                  </a:cubicBezTo>
                  <a:cubicBezTo>
                    <a:pt x="10123" y="1080"/>
                    <a:pt x="10842" y="1012"/>
                    <a:pt x="11558" y="1012"/>
                  </a:cubicBezTo>
                  <a:cubicBezTo>
                    <a:pt x="12689" y="1012"/>
                    <a:pt x="13812" y="1183"/>
                    <a:pt x="14826" y="1624"/>
                  </a:cubicBezTo>
                  <a:cubicBezTo>
                    <a:pt x="15295" y="1804"/>
                    <a:pt x="15583" y="2092"/>
                    <a:pt x="16051" y="2236"/>
                  </a:cubicBezTo>
                  <a:cubicBezTo>
                    <a:pt x="15295" y="1192"/>
                    <a:pt x="14682" y="292"/>
                    <a:pt x="13926" y="148"/>
                  </a:cubicBezTo>
                  <a:cubicBezTo>
                    <a:pt x="13629" y="49"/>
                    <a:pt x="13225" y="0"/>
                    <a:pt x="12744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" name="Google Shape;69;p2"/>
            <p:cNvSpPr/>
            <p:nvPr/>
          </p:nvSpPr>
          <p:spPr>
            <a:xfrm>
              <a:off x="987950" y="1152825"/>
              <a:ext cx="382600" cy="177975"/>
            </a:xfrm>
            <a:custGeom>
              <a:avLst/>
              <a:gdLst/>
              <a:ahLst/>
              <a:cxnLst/>
              <a:rect l="l" t="t" r="r" b="b"/>
              <a:pathLst>
                <a:path w="15304" h="7119" extrusionOk="0">
                  <a:moveTo>
                    <a:pt x="5703" y="1"/>
                  </a:moveTo>
                  <a:cubicBezTo>
                    <a:pt x="4255" y="1"/>
                    <a:pt x="2930" y="408"/>
                    <a:pt x="1981" y="1394"/>
                  </a:cubicBezTo>
                  <a:cubicBezTo>
                    <a:pt x="1081" y="2294"/>
                    <a:pt x="469" y="3662"/>
                    <a:pt x="1" y="5319"/>
                  </a:cubicBezTo>
                  <a:cubicBezTo>
                    <a:pt x="1657" y="3194"/>
                    <a:pt x="4213" y="1718"/>
                    <a:pt x="6914" y="1718"/>
                  </a:cubicBezTo>
                  <a:cubicBezTo>
                    <a:pt x="10371" y="1718"/>
                    <a:pt x="13683" y="3950"/>
                    <a:pt x="15160" y="7119"/>
                  </a:cubicBezTo>
                  <a:cubicBezTo>
                    <a:pt x="15160" y="6795"/>
                    <a:pt x="15304" y="6507"/>
                    <a:pt x="15304" y="6219"/>
                  </a:cubicBezTo>
                  <a:cubicBezTo>
                    <a:pt x="15304" y="3531"/>
                    <a:pt x="9967" y="1"/>
                    <a:pt x="570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" name="Google Shape;70;p2"/>
            <p:cNvSpPr/>
            <p:nvPr/>
          </p:nvSpPr>
          <p:spPr>
            <a:xfrm>
              <a:off x="707100" y="1761975"/>
              <a:ext cx="318675" cy="359300"/>
            </a:xfrm>
            <a:custGeom>
              <a:avLst/>
              <a:gdLst/>
              <a:ahLst/>
              <a:cxnLst/>
              <a:rect l="l" t="t" r="r" b="b"/>
              <a:pathLst>
                <a:path w="12747" h="14372" extrusionOk="0">
                  <a:moveTo>
                    <a:pt x="10190" y="0"/>
                  </a:moveTo>
                  <a:cubicBezTo>
                    <a:pt x="7058" y="1477"/>
                    <a:pt x="4033" y="3457"/>
                    <a:pt x="1513" y="5833"/>
                  </a:cubicBezTo>
                  <a:cubicBezTo>
                    <a:pt x="757" y="6445"/>
                    <a:pt x="1" y="7490"/>
                    <a:pt x="433" y="8246"/>
                  </a:cubicBezTo>
                  <a:cubicBezTo>
                    <a:pt x="739" y="8646"/>
                    <a:pt x="1168" y="8846"/>
                    <a:pt x="1589" y="8846"/>
                  </a:cubicBezTo>
                  <a:cubicBezTo>
                    <a:pt x="1813" y="8846"/>
                    <a:pt x="2034" y="8790"/>
                    <a:pt x="2233" y="8678"/>
                  </a:cubicBezTo>
                  <a:cubicBezTo>
                    <a:pt x="2845" y="8534"/>
                    <a:pt x="3457" y="7958"/>
                    <a:pt x="3889" y="7490"/>
                  </a:cubicBezTo>
                  <a:cubicBezTo>
                    <a:pt x="5400" y="5717"/>
                    <a:pt x="6910" y="4063"/>
                    <a:pt x="8420" y="2421"/>
                  </a:cubicBezTo>
                  <a:lnTo>
                    <a:pt x="8420" y="2421"/>
                  </a:lnTo>
                  <a:cubicBezTo>
                    <a:pt x="6210" y="4886"/>
                    <a:pt x="4418" y="7845"/>
                    <a:pt x="3133" y="11090"/>
                  </a:cubicBezTo>
                  <a:cubicBezTo>
                    <a:pt x="2989" y="11558"/>
                    <a:pt x="2701" y="12135"/>
                    <a:pt x="2701" y="12747"/>
                  </a:cubicBezTo>
                  <a:cubicBezTo>
                    <a:pt x="2845" y="13359"/>
                    <a:pt x="3133" y="13935"/>
                    <a:pt x="3601" y="14259"/>
                  </a:cubicBezTo>
                  <a:cubicBezTo>
                    <a:pt x="3763" y="14337"/>
                    <a:pt x="3930" y="14371"/>
                    <a:pt x="4098" y="14371"/>
                  </a:cubicBezTo>
                  <a:cubicBezTo>
                    <a:pt x="4864" y="14371"/>
                    <a:pt x="5656" y="13655"/>
                    <a:pt x="6158" y="13035"/>
                  </a:cubicBezTo>
                  <a:cubicBezTo>
                    <a:pt x="7743" y="11215"/>
                    <a:pt x="8921" y="9084"/>
                    <a:pt x="9634" y="6818"/>
                  </a:cubicBezTo>
                  <a:lnTo>
                    <a:pt x="9634" y="6818"/>
                  </a:lnTo>
                  <a:cubicBezTo>
                    <a:pt x="9486" y="7913"/>
                    <a:pt x="9590" y="9084"/>
                    <a:pt x="9902" y="10190"/>
                  </a:cubicBezTo>
                  <a:cubicBezTo>
                    <a:pt x="10046" y="10802"/>
                    <a:pt x="10334" y="11558"/>
                    <a:pt x="11091" y="11702"/>
                  </a:cubicBezTo>
                  <a:cubicBezTo>
                    <a:pt x="11168" y="11721"/>
                    <a:pt x="11245" y="11729"/>
                    <a:pt x="11321" y="11729"/>
                  </a:cubicBezTo>
                  <a:cubicBezTo>
                    <a:pt x="11850" y="11729"/>
                    <a:pt x="12333" y="11324"/>
                    <a:pt x="12459" y="10946"/>
                  </a:cubicBezTo>
                  <a:cubicBezTo>
                    <a:pt x="12747" y="10334"/>
                    <a:pt x="12747" y="9758"/>
                    <a:pt x="12747" y="9146"/>
                  </a:cubicBezTo>
                  <a:cubicBezTo>
                    <a:pt x="12747" y="6157"/>
                    <a:pt x="12135" y="3133"/>
                    <a:pt x="10190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" name="Google Shape;71;p2"/>
            <p:cNvSpPr/>
            <p:nvPr/>
          </p:nvSpPr>
          <p:spPr>
            <a:xfrm>
              <a:off x="714300" y="1349400"/>
              <a:ext cx="281775" cy="412600"/>
            </a:xfrm>
            <a:custGeom>
              <a:avLst/>
              <a:gdLst/>
              <a:ahLst/>
              <a:cxnLst/>
              <a:rect l="l" t="t" r="r" b="b"/>
              <a:pathLst>
                <a:path w="11271" h="16504" extrusionOk="0">
                  <a:moveTo>
                    <a:pt x="1443" y="1"/>
                  </a:moveTo>
                  <a:cubicBezTo>
                    <a:pt x="1206" y="1"/>
                    <a:pt x="970" y="87"/>
                    <a:pt x="757" y="300"/>
                  </a:cubicBezTo>
                  <a:cubicBezTo>
                    <a:pt x="1" y="732"/>
                    <a:pt x="325" y="1956"/>
                    <a:pt x="613" y="2857"/>
                  </a:cubicBezTo>
                  <a:cubicBezTo>
                    <a:pt x="1945" y="5557"/>
                    <a:pt x="3601" y="8078"/>
                    <a:pt x="5726" y="10202"/>
                  </a:cubicBezTo>
                  <a:cubicBezTo>
                    <a:pt x="5114" y="10202"/>
                    <a:pt x="4645" y="9446"/>
                    <a:pt x="4213" y="8978"/>
                  </a:cubicBezTo>
                  <a:cubicBezTo>
                    <a:pt x="3963" y="8747"/>
                    <a:pt x="3589" y="8598"/>
                    <a:pt x="3251" y="8598"/>
                  </a:cubicBezTo>
                  <a:cubicBezTo>
                    <a:pt x="2957" y="8598"/>
                    <a:pt x="2691" y="8710"/>
                    <a:pt x="2557" y="8978"/>
                  </a:cubicBezTo>
                  <a:cubicBezTo>
                    <a:pt x="2269" y="9302"/>
                    <a:pt x="2701" y="9878"/>
                    <a:pt x="3025" y="10202"/>
                  </a:cubicBezTo>
                  <a:cubicBezTo>
                    <a:pt x="5258" y="12759"/>
                    <a:pt x="7958" y="14847"/>
                    <a:pt x="10803" y="16503"/>
                  </a:cubicBezTo>
                  <a:cubicBezTo>
                    <a:pt x="11271" y="12759"/>
                    <a:pt x="10046" y="9302"/>
                    <a:pt x="8246" y="6133"/>
                  </a:cubicBezTo>
                  <a:cubicBezTo>
                    <a:pt x="8102" y="5845"/>
                    <a:pt x="7958" y="5557"/>
                    <a:pt x="7670" y="5557"/>
                  </a:cubicBezTo>
                  <a:cubicBezTo>
                    <a:pt x="7580" y="5531"/>
                    <a:pt x="7494" y="5518"/>
                    <a:pt x="7412" y="5518"/>
                  </a:cubicBezTo>
                  <a:cubicBezTo>
                    <a:pt x="6940" y="5518"/>
                    <a:pt x="6626" y="5935"/>
                    <a:pt x="6626" y="6457"/>
                  </a:cubicBezTo>
                  <a:cubicBezTo>
                    <a:pt x="6446" y="6889"/>
                    <a:pt x="6770" y="7502"/>
                    <a:pt x="7058" y="7934"/>
                  </a:cubicBezTo>
                  <a:cubicBezTo>
                    <a:pt x="7202" y="8402"/>
                    <a:pt x="7526" y="8834"/>
                    <a:pt x="7526" y="9302"/>
                  </a:cubicBezTo>
                  <a:cubicBezTo>
                    <a:pt x="6446" y="6601"/>
                    <a:pt x="5114" y="3901"/>
                    <a:pt x="3457" y="1488"/>
                  </a:cubicBezTo>
                  <a:cubicBezTo>
                    <a:pt x="3169" y="1056"/>
                    <a:pt x="2701" y="588"/>
                    <a:pt x="2269" y="300"/>
                  </a:cubicBezTo>
                  <a:cubicBezTo>
                    <a:pt x="2014" y="124"/>
                    <a:pt x="1727" y="1"/>
                    <a:pt x="144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" name="Google Shape;72;p2"/>
            <p:cNvSpPr/>
            <p:nvPr/>
          </p:nvSpPr>
          <p:spPr>
            <a:xfrm>
              <a:off x="987950" y="1325100"/>
              <a:ext cx="214275" cy="433300"/>
            </a:xfrm>
            <a:custGeom>
              <a:avLst/>
              <a:gdLst/>
              <a:ahLst/>
              <a:cxnLst/>
              <a:rect l="l" t="t" r="r" b="b"/>
              <a:pathLst>
                <a:path w="8571" h="17332" extrusionOk="0">
                  <a:moveTo>
                    <a:pt x="7478" y="1"/>
                  </a:moveTo>
                  <a:cubicBezTo>
                    <a:pt x="6859" y="1"/>
                    <a:pt x="6188" y="523"/>
                    <a:pt x="5870" y="948"/>
                  </a:cubicBezTo>
                  <a:cubicBezTo>
                    <a:pt x="4439" y="2822"/>
                    <a:pt x="3427" y="4922"/>
                    <a:pt x="2804" y="7186"/>
                  </a:cubicBezTo>
                  <a:lnTo>
                    <a:pt x="2804" y="7186"/>
                  </a:lnTo>
                  <a:cubicBezTo>
                    <a:pt x="2758" y="6892"/>
                    <a:pt x="2432" y="6673"/>
                    <a:pt x="2125" y="6673"/>
                  </a:cubicBezTo>
                  <a:cubicBezTo>
                    <a:pt x="2063" y="6654"/>
                    <a:pt x="2001" y="6645"/>
                    <a:pt x="1940" y="6645"/>
                  </a:cubicBezTo>
                  <a:cubicBezTo>
                    <a:pt x="1544" y="6645"/>
                    <a:pt x="1182" y="7024"/>
                    <a:pt x="901" y="7429"/>
                  </a:cubicBezTo>
                  <a:cubicBezTo>
                    <a:pt x="757" y="7717"/>
                    <a:pt x="613" y="8329"/>
                    <a:pt x="613" y="8762"/>
                  </a:cubicBezTo>
                  <a:cubicBezTo>
                    <a:pt x="469" y="11606"/>
                    <a:pt x="181" y="14451"/>
                    <a:pt x="1" y="17331"/>
                  </a:cubicBezTo>
                  <a:cubicBezTo>
                    <a:pt x="3025" y="14451"/>
                    <a:pt x="5582" y="11174"/>
                    <a:pt x="8102" y="7861"/>
                  </a:cubicBezTo>
                  <a:cubicBezTo>
                    <a:pt x="8282" y="7573"/>
                    <a:pt x="8570" y="7249"/>
                    <a:pt x="8282" y="6961"/>
                  </a:cubicBezTo>
                  <a:cubicBezTo>
                    <a:pt x="8166" y="6742"/>
                    <a:pt x="8018" y="6661"/>
                    <a:pt x="7854" y="6661"/>
                  </a:cubicBezTo>
                  <a:cubicBezTo>
                    <a:pt x="7559" y="6661"/>
                    <a:pt x="7214" y="6920"/>
                    <a:pt x="6914" y="7105"/>
                  </a:cubicBezTo>
                  <a:cubicBezTo>
                    <a:pt x="6158" y="8005"/>
                    <a:pt x="5402" y="8762"/>
                    <a:pt x="4682" y="9518"/>
                  </a:cubicBezTo>
                  <a:cubicBezTo>
                    <a:pt x="6482" y="7249"/>
                    <a:pt x="7814" y="4729"/>
                    <a:pt x="8426" y="1848"/>
                  </a:cubicBezTo>
                  <a:cubicBezTo>
                    <a:pt x="8570" y="1272"/>
                    <a:pt x="8570" y="516"/>
                    <a:pt x="8102" y="228"/>
                  </a:cubicBezTo>
                  <a:cubicBezTo>
                    <a:pt x="7913" y="67"/>
                    <a:pt x="7699" y="1"/>
                    <a:pt x="7478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" name="Google Shape;73;p2"/>
            <p:cNvSpPr/>
            <p:nvPr/>
          </p:nvSpPr>
          <p:spPr>
            <a:xfrm>
              <a:off x="508175" y="1675550"/>
              <a:ext cx="479800" cy="163525"/>
            </a:xfrm>
            <a:custGeom>
              <a:avLst/>
              <a:gdLst/>
              <a:ahLst/>
              <a:cxnLst/>
              <a:rect l="l" t="t" r="r" b="b"/>
              <a:pathLst>
                <a:path w="19192" h="6541" extrusionOk="0">
                  <a:moveTo>
                    <a:pt x="11270" y="1"/>
                  </a:moveTo>
                  <a:cubicBezTo>
                    <a:pt x="10802" y="145"/>
                    <a:pt x="10190" y="613"/>
                    <a:pt x="10370" y="1045"/>
                  </a:cubicBezTo>
                  <a:cubicBezTo>
                    <a:pt x="10370" y="1415"/>
                    <a:pt x="10586" y="1638"/>
                    <a:pt x="10890" y="1787"/>
                  </a:cubicBezTo>
                  <a:lnTo>
                    <a:pt x="10890" y="1787"/>
                  </a:lnTo>
                  <a:cubicBezTo>
                    <a:pt x="8117" y="1062"/>
                    <a:pt x="5323" y="613"/>
                    <a:pt x="2557" y="613"/>
                  </a:cubicBezTo>
                  <a:cubicBezTo>
                    <a:pt x="2088" y="613"/>
                    <a:pt x="1512" y="613"/>
                    <a:pt x="1044" y="901"/>
                  </a:cubicBezTo>
                  <a:cubicBezTo>
                    <a:pt x="612" y="1045"/>
                    <a:pt x="144" y="1513"/>
                    <a:pt x="144" y="2089"/>
                  </a:cubicBezTo>
                  <a:cubicBezTo>
                    <a:pt x="0" y="2989"/>
                    <a:pt x="1368" y="3601"/>
                    <a:pt x="2268" y="3745"/>
                  </a:cubicBezTo>
                  <a:cubicBezTo>
                    <a:pt x="4213" y="4033"/>
                    <a:pt x="6013" y="4213"/>
                    <a:pt x="7958" y="4213"/>
                  </a:cubicBezTo>
                  <a:cubicBezTo>
                    <a:pt x="7489" y="4501"/>
                    <a:pt x="6913" y="4501"/>
                    <a:pt x="6301" y="4501"/>
                  </a:cubicBezTo>
                  <a:cubicBezTo>
                    <a:pt x="5869" y="4501"/>
                    <a:pt x="5257" y="4501"/>
                    <a:pt x="4789" y="4789"/>
                  </a:cubicBezTo>
                  <a:cubicBezTo>
                    <a:pt x="4357" y="5114"/>
                    <a:pt x="4069" y="5834"/>
                    <a:pt x="4501" y="6302"/>
                  </a:cubicBezTo>
                  <a:cubicBezTo>
                    <a:pt x="4670" y="6470"/>
                    <a:pt x="4900" y="6540"/>
                    <a:pt x="5149" y="6540"/>
                  </a:cubicBezTo>
                  <a:cubicBezTo>
                    <a:pt x="5325" y="6540"/>
                    <a:pt x="5510" y="6505"/>
                    <a:pt x="5689" y="6446"/>
                  </a:cubicBezTo>
                  <a:cubicBezTo>
                    <a:pt x="10370" y="6014"/>
                    <a:pt x="14871" y="4934"/>
                    <a:pt x="19192" y="3133"/>
                  </a:cubicBezTo>
                  <a:cubicBezTo>
                    <a:pt x="17103" y="2233"/>
                    <a:pt x="15015" y="1333"/>
                    <a:pt x="12746" y="433"/>
                  </a:cubicBezTo>
                  <a:cubicBezTo>
                    <a:pt x="12314" y="145"/>
                    <a:pt x="11846" y="1"/>
                    <a:pt x="11270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" name="Google Shape;74;p2"/>
            <p:cNvSpPr/>
            <p:nvPr/>
          </p:nvSpPr>
          <p:spPr>
            <a:xfrm>
              <a:off x="969950" y="1606125"/>
              <a:ext cx="476225" cy="211675"/>
            </a:xfrm>
            <a:custGeom>
              <a:avLst/>
              <a:gdLst/>
              <a:ahLst/>
              <a:cxnLst/>
              <a:rect l="l" t="t" r="r" b="b"/>
              <a:pathLst>
                <a:path w="19049" h="8467" extrusionOk="0">
                  <a:moveTo>
                    <a:pt x="14234" y="1"/>
                  </a:moveTo>
                  <a:cubicBezTo>
                    <a:pt x="13101" y="1"/>
                    <a:pt x="11891" y="477"/>
                    <a:pt x="10803" y="977"/>
                  </a:cubicBezTo>
                  <a:cubicBezTo>
                    <a:pt x="7202" y="2490"/>
                    <a:pt x="3601" y="3966"/>
                    <a:pt x="1" y="5622"/>
                  </a:cubicBezTo>
                  <a:cubicBezTo>
                    <a:pt x="3133" y="7422"/>
                    <a:pt x="7022" y="8323"/>
                    <a:pt x="10947" y="8467"/>
                  </a:cubicBezTo>
                  <a:cubicBezTo>
                    <a:pt x="11379" y="8467"/>
                    <a:pt x="11703" y="8467"/>
                    <a:pt x="11991" y="8323"/>
                  </a:cubicBezTo>
                  <a:cubicBezTo>
                    <a:pt x="12423" y="7891"/>
                    <a:pt x="12279" y="7278"/>
                    <a:pt x="11847" y="6990"/>
                  </a:cubicBezTo>
                  <a:cubicBezTo>
                    <a:pt x="11379" y="6666"/>
                    <a:pt x="10803" y="6666"/>
                    <a:pt x="10190" y="6666"/>
                  </a:cubicBezTo>
                  <a:cubicBezTo>
                    <a:pt x="12423" y="6666"/>
                    <a:pt x="14835" y="6378"/>
                    <a:pt x="16924" y="5478"/>
                  </a:cubicBezTo>
                  <a:cubicBezTo>
                    <a:pt x="17536" y="5334"/>
                    <a:pt x="18004" y="5010"/>
                    <a:pt x="18436" y="4722"/>
                  </a:cubicBezTo>
                  <a:cubicBezTo>
                    <a:pt x="18724" y="4290"/>
                    <a:pt x="19048" y="3822"/>
                    <a:pt x="18904" y="3390"/>
                  </a:cubicBezTo>
                  <a:cubicBezTo>
                    <a:pt x="18580" y="2778"/>
                    <a:pt x="17824" y="2634"/>
                    <a:pt x="17104" y="2634"/>
                  </a:cubicBezTo>
                  <a:cubicBezTo>
                    <a:pt x="16797" y="2609"/>
                    <a:pt x="16481" y="2597"/>
                    <a:pt x="16159" y="2597"/>
                  </a:cubicBezTo>
                  <a:cubicBezTo>
                    <a:pt x="14589" y="2597"/>
                    <a:pt x="12872" y="2882"/>
                    <a:pt x="11379" y="3390"/>
                  </a:cubicBezTo>
                  <a:cubicBezTo>
                    <a:pt x="12603" y="2778"/>
                    <a:pt x="13791" y="2165"/>
                    <a:pt x="14979" y="1409"/>
                  </a:cubicBezTo>
                  <a:cubicBezTo>
                    <a:pt x="15303" y="1265"/>
                    <a:pt x="15736" y="977"/>
                    <a:pt x="15591" y="509"/>
                  </a:cubicBezTo>
                  <a:cubicBezTo>
                    <a:pt x="15591" y="221"/>
                    <a:pt x="15303" y="77"/>
                    <a:pt x="14979" y="77"/>
                  </a:cubicBezTo>
                  <a:cubicBezTo>
                    <a:pt x="14736" y="24"/>
                    <a:pt x="14487" y="1"/>
                    <a:pt x="14234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" name="Google Shape;75;p2"/>
            <p:cNvSpPr/>
            <p:nvPr/>
          </p:nvSpPr>
          <p:spPr>
            <a:xfrm>
              <a:off x="807925" y="1589125"/>
              <a:ext cx="172850" cy="164775"/>
            </a:xfrm>
            <a:custGeom>
              <a:avLst/>
              <a:gdLst/>
              <a:ahLst/>
              <a:cxnLst/>
              <a:rect l="l" t="t" r="r" b="b"/>
              <a:pathLst>
                <a:path w="6914" h="6591" extrusionOk="0">
                  <a:moveTo>
                    <a:pt x="612" y="1"/>
                  </a:moveTo>
                  <a:lnTo>
                    <a:pt x="0" y="289"/>
                  </a:lnTo>
                  <a:cubicBezTo>
                    <a:pt x="180" y="613"/>
                    <a:pt x="2413" y="5402"/>
                    <a:pt x="6770" y="6590"/>
                  </a:cubicBezTo>
                  <a:lnTo>
                    <a:pt x="6914" y="5870"/>
                  </a:lnTo>
                  <a:cubicBezTo>
                    <a:pt x="2881" y="4790"/>
                    <a:pt x="612" y="145"/>
                    <a:pt x="612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" name="Google Shape;76;p2"/>
            <p:cNvSpPr/>
            <p:nvPr/>
          </p:nvSpPr>
          <p:spPr>
            <a:xfrm>
              <a:off x="785425" y="1551325"/>
              <a:ext cx="49525" cy="53800"/>
            </a:xfrm>
            <a:custGeom>
              <a:avLst/>
              <a:gdLst/>
              <a:ahLst/>
              <a:cxnLst/>
              <a:rect l="l" t="t" r="r" b="b"/>
              <a:pathLst>
                <a:path w="1981" h="2152" extrusionOk="0">
                  <a:moveTo>
                    <a:pt x="1080" y="1"/>
                  </a:moveTo>
                  <a:cubicBezTo>
                    <a:pt x="468" y="1"/>
                    <a:pt x="0" y="469"/>
                    <a:pt x="0" y="901"/>
                  </a:cubicBezTo>
                  <a:cubicBezTo>
                    <a:pt x="0" y="1513"/>
                    <a:pt x="468" y="2125"/>
                    <a:pt x="900" y="2125"/>
                  </a:cubicBezTo>
                  <a:cubicBezTo>
                    <a:pt x="976" y="2143"/>
                    <a:pt x="1047" y="2151"/>
                    <a:pt x="1113" y="2151"/>
                  </a:cubicBezTo>
                  <a:cubicBezTo>
                    <a:pt x="1579" y="2151"/>
                    <a:pt x="1800" y="1730"/>
                    <a:pt x="1800" y="1225"/>
                  </a:cubicBezTo>
                  <a:cubicBezTo>
                    <a:pt x="1981" y="613"/>
                    <a:pt x="1512" y="181"/>
                    <a:pt x="1080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" name="Google Shape;77;p2"/>
            <p:cNvSpPr/>
            <p:nvPr/>
          </p:nvSpPr>
          <p:spPr>
            <a:xfrm>
              <a:off x="707100" y="1443300"/>
              <a:ext cx="292575" cy="312500"/>
            </a:xfrm>
            <a:custGeom>
              <a:avLst/>
              <a:gdLst/>
              <a:ahLst/>
              <a:cxnLst/>
              <a:rect l="l" t="t" r="r" b="b"/>
              <a:pathLst>
                <a:path w="11703" h="12500" extrusionOk="0">
                  <a:moveTo>
                    <a:pt x="3313" y="1"/>
                  </a:moveTo>
                  <a:lnTo>
                    <a:pt x="2701" y="433"/>
                  </a:lnTo>
                  <a:cubicBezTo>
                    <a:pt x="2845" y="577"/>
                    <a:pt x="6590" y="6878"/>
                    <a:pt x="10334" y="10335"/>
                  </a:cubicBezTo>
                  <a:cubicBezTo>
                    <a:pt x="10803" y="10947"/>
                    <a:pt x="11091" y="11235"/>
                    <a:pt x="10947" y="11379"/>
                  </a:cubicBezTo>
                  <a:cubicBezTo>
                    <a:pt x="10947" y="11523"/>
                    <a:pt x="10803" y="11703"/>
                    <a:pt x="10659" y="11703"/>
                  </a:cubicBezTo>
                  <a:cubicBezTo>
                    <a:pt x="10485" y="11745"/>
                    <a:pt x="10281" y="11766"/>
                    <a:pt x="10050" y="11766"/>
                  </a:cubicBezTo>
                  <a:cubicBezTo>
                    <a:pt x="7889" y="11766"/>
                    <a:pt x="3426" y="9929"/>
                    <a:pt x="433" y="6122"/>
                  </a:cubicBezTo>
                  <a:lnTo>
                    <a:pt x="1" y="6590"/>
                  </a:lnTo>
                  <a:cubicBezTo>
                    <a:pt x="3213" y="10734"/>
                    <a:pt x="7859" y="12499"/>
                    <a:pt x="10102" y="12499"/>
                  </a:cubicBezTo>
                  <a:cubicBezTo>
                    <a:pt x="10373" y="12499"/>
                    <a:pt x="10609" y="12474"/>
                    <a:pt x="10803" y="12423"/>
                  </a:cubicBezTo>
                  <a:lnTo>
                    <a:pt x="11091" y="12423"/>
                  </a:lnTo>
                  <a:cubicBezTo>
                    <a:pt x="11559" y="12135"/>
                    <a:pt x="11703" y="11847"/>
                    <a:pt x="11703" y="11703"/>
                  </a:cubicBezTo>
                  <a:cubicBezTo>
                    <a:pt x="11703" y="11091"/>
                    <a:pt x="11415" y="10479"/>
                    <a:pt x="10659" y="9903"/>
                  </a:cubicBezTo>
                  <a:cubicBezTo>
                    <a:pt x="7058" y="6446"/>
                    <a:pt x="3313" y="1"/>
                    <a:pt x="3313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" name="Google Shape;78;p2"/>
            <p:cNvSpPr/>
            <p:nvPr/>
          </p:nvSpPr>
          <p:spPr>
            <a:xfrm>
              <a:off x="748500" y="1406300"/>
              <a:ext cx="48650" cy="50725"/>
            </a:xfrm>
            <a:custGeom>
              <a:avLst/>
              <a:gdLst/>
              <a:ahLst/>
              <a:cxnLst/>
              <a:rect l="l" t="t" r="r" b="b"/>
              <a:pathLst>
                <a:path w="1946" h="2029" extrusionOk="0">
                  <a:moveTo>
                    <a:pt x="941" y="0"/>
                  </a:moveTo>
                  <a:cubicBezTo>
                    <a:pt x="823" y="0"/>
                    <a:pt x="701" y="36"/>
                    <a:pt x="577" y="113"/>
                  </a:cubicBezTo>
                  <a:cubicBezTo>
                    <a:pt x="145" y="257"/>
                    <a:pt x="1" y="869"/>
                    <a:pt x="289" y="1481"/>
                  </a:cubicBezTo>
                  <a:cubicBezTo>
                    <a:pt x="497" y="1792"/>
                    <a:pt x="798" y="2029"/>
                    <a:pt x="1111" y="2029"/>
                  </a:cubicBezTo>
                  <a:cubicBezTo>
                    <a:pt x="1233" y="2029"/>
                    <a:pt x="1356" y="1993"/>
                    <a:pt x="1477" y="1913"/>
                  </a:cubicBezTo>
                  <a:cubicBezTo>
                    <a:pt x="1801" y="1769"/>
                    <a:pt x="1945" y="1157"/>
                    <a:pt x="1801" y="725"/>
                  </a:cubicBezTo>
                  <a:cubicBezTo>
                    <a:pt x="1563" y="275"/>
                    <a:pt x="1267" y="0"/>
                    <a:pt x="941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" name="Google Shape;79;p2"/>
            <p:cNvSpPr/>
            <p:nvPr/>
          </p:nvSpPr>
          <p:spPr>
            <a:xfrm>
              <a:off x="684600" y="1563750"/>
              <a:ext cx="45025" cy="50725"/>
            </a:xfrm>
            <a:custGeom>
              <a:avLst/>
              <a:gdLst/>
              <a:ahLst/>
              <a:cxnLst/>
              <a:rect l="l" t="t" r="r" b="b"/>
              <a:pathLst>
                <a:path w="1801" h="2029" extrusionOk="0">
                  <a:moveTo>
                    <a:pt x="811" y="1"/>
                  </a:moveTo>
                  <a:cubicBezTo>
                    <a:pt x="688" y="1"/>
                    <a:pt x="562" y="36"/>
                    <a:pt x="432" y="116"/>
                  </a:cubicBezTo>
                  <a:cubicBezTo>
                    <a:pt x="0" y="260"/>
                    <a:pt x="0" y="872"/>
                    <a:pt x="144" y="1304"/>
                  </a:cubicBezTo>
                  <a:cubicBezTo>
                    <a:pt x="356" y="1754"/>
                    <a:pt x="665" y="2028"/>
                    <a:pt x="985" y="2028"/>
                  </a:cubicBezTo>
                  <a:cubicBezTo>
                    <a:pt x="1101" y="2028"/>
                    <a:pt x="1218" y="1993"/>
                    <a:pt x="1333" y="1916"/>
                  </a:cubicBezTo>
                  <a:cubicBezTo>
                    <a:pt x="1801" y="1772"/>
                    <a:pt x="1801" y="1160"/>
                    <a:pt x="1657" y="584"/>
                  </a:cubicBezTo>
                  <a:cubicBezTo>
                    <a:pt x="1422" y="245"/>
                    <a:pt x="1131" y="1"/>
                    <a:pt x="811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" name="Google Shape;80;p2"/>
            <p:cNvSpPr/>
            <p:nvPr/>
          </p:nvSpPr>
          <p:spPr>
            <a:xfrm>
              <a:off x="909650" y="1454100"/>
              <a:ext cx="97225" cy="273675"/>
            </a:xfrm>
            <a:custGeom>
              <a:avLst/>
              <a:gdLst/>
              <a:ahLst/>
              <a:cxnLst/>
              <a:rect l="l" t="t" r="r" b="b"/>
              <a:pathLst>
                <a:path w="3889" h="10947" extrusionOk="0">
                  <a:moveTo>
                    <a:pt x="612" y="1"/>
                  </a:moveTo>
                  <a:lnTo>
                    <a:pt x="0" y="289"/>
                  </a:lnTo>
                  <a:cubicBezTo>
                    <a:pt x="0" y="469"/>
                    <a:pt x="2413" y="5114"/>
                    <a:pt x="3133" y="10947"/>
                  </a:cubicBezTo>
                  <a:lnTo>
                    <a:pt x="3889" y="10947"/>
                  </a:lnTo>
                  <a:cubicBezTo>
                    <a:pt x="2989" y="4970"/>
                    <a:pt x="756" y="145"/>
                    <a:pt x="612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" name="Google Shape;81;p2"/>
            <p:cNvSpPr/>
            <p:nvPr/>
          </p:nvSpPr>
          <p:spPr>
            <a:xfrm>
              <a:off x="883525" y="1417500"/>
              <a:ext cx="52250" cy="52875"/>
            </a:xfrm>
            <a:custGeom>
              <a:avLst/>
              <a:gdLst/>
              <a:ahLst/>
              <a:cxnLst/>
              <a:rect l="l" t="t" r="r" b="b"/>
              <a:pathLst>
                <a:path w="2090" h="2115" extrusionOk="0">
                  <a:moveTo>
                    <a:pt x="999" y="1"/>
                  </a:moveTo>
                  <a:cubicBezTo>
                    <a:pt x="854" y="1"/>
                    <a:pt x="710" y="41"/>
                    <a:pt x="577" y="133"/>
                  </a:cubicBezTo>
                  <a:cubicBezTo>
                    <a:pt x="145" y="277"/>
                    <a:pt x="1" y="853"/>
                    <a:pt x="289" y="1465"/>
                  </a:cubicBezTo>
                  <a:cubicBezTo>
                    <a:pt x="526" y="1851"/>
                    <a:pt x="886" y="2114"/>
                    <a:pt x="1247" y="2114"/>
                  </a:cubicBezTo>
                  <a:cubicBezTo>
                    <a:pt x="1324" y="2114"/>
                    <a:pt x="1401" y="2102"/>
                    <a:pt x="1477" y="2077"/>
                  </a:cubicBezTo>
                  <a:cubicBezTo>
                    <a:pt x="1945" y="1753"/>
                    <a:pt x="2089" y="1177"/>
                    <a:pt x="1945" y="565"/>
                  </a:cubicBezTo>
                  <a:cubicBezTo>
                    <a:pt x="1739" y="255"/>
                    <a:pt x="1366" y="1"/>
                    <a:pt x="999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" name="Google Shape;82;p2"/>
            <p:cNvSpPr/>
            <p:nvPr/>
          </p:nvSpPr>
          <p:spPr>
            <a:xfrm>
              <a:off x="973550" y="1420800"/>
              <a:ext cx="112550" cy="318700"/>
            </a:xfrm>
            <a:custGeom>
              <a:avLst/>
              <a:gdLst/>
              <a:ahLst/>
              <a:cxnLst/>
              <a:rect l="l" t="t" r="r" b="b"/>
              <a:pathLst>
                <a:path w="4502" h="12748" extrusionOk="0">
                  <a:moveTo>
                    <a:pt x="577" y="1"/>
                  </a:moveTo>
                  <a:lnTo>
                    <a:pt x="1" y="289"/>
                  </a:lnTo>
                  <a:cubicBezTo>
                    <a:pt x="3601" y="9903"/>
                    <a:pt x="577" y="11991"/>
                    <a:pt x="433" y="11991"/>
                  </a:cubicBezTo>
                  <a:lnTo>
                    <a:pt x="901" y="12747"/>
                  </a:lnTo>
                  <a:cubicBezTo>
                    <a:pt x="1045" y="12603"/>
                    <a:pt x="4501" y="10335"/>
                    <a:pt x="577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" name="Google Shape;83;p2"/>
            <p:cNvSpPr/>
            <p:nvPr/>
          </p:nvSpPr>
          <p:spPr>
            <a:xfrm>
              <a:off x="947450" y="1380200"/>
              <a:ext cx="48625" cy="52725"/>
            </a:xfrm>
            <a:custGeom>
              <a:avLst/>
              <a:gdLst/>
              <a:ahLst/>
              <a:cxnLst/>
              <a:rect l="l" t="t" r="r" b="b"/>
              <a:pathLst>
                <a:path w="1945" h="2109" extrusionOk="0">
                  <a:moveTo>
                    <a:pt x="940" y="0"/>
                  </a:moveTo>
                  <a:cubicBezTo>
                    <a:pt x="822" y="0"/>
                    <a:pt x="701" y="36"/>
                    <a:pt x="576" y="112"/>
                  </a:cubicBezTo>
                  <a:cubicBezTo>
                    <a:pt x="144" y="400"/>
                    <a:pt x="0" y="1013"/>
                    <a:pt x="144" y="1445"/>
                  </a:cubicBezTo>
                  <a:cubicBezTo>
                    <a:pt x="365" y="1914"/>
                    <a:pt x="777" y="2108"/>
                    <a:pt x="1152" y="2108"/>
                  </a:cubicBezTo>
                  <a:cubicBezTo>
                    <a:pt x="1265" y="2108"/>
                    <a:pt x="1376" y="2090"/>
                    <a:pt x="1477" y="2057"/>
                  </a:cubicBezTo>
                  <a:cubicBezTo>
                    <a:pt x="1801" y="1769"/>
                    <a:pt x="1945" y="1157"/>
                    <a:pt x="1801" y="724"/>
                  </a:cubicBezTo>
                  <a:cubicBezTo>
                    <a:pt x="1563" y="275"/>
                    <a:pt x="1266" y="0"/>
                    <a:pt x="940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84" name="Google Shape;84;p2"/>
          <p:cNvGrpSpPr/>
          <p:nvPr/>
        </p:nvGrpSpPr>
        <p:grpSpPr>
          <a:xfrm>
            <a:off x="6321599" y="6083308"/>
            <a:ext cx="618548" cy="465877"/>
            <a:chOff x="174200" y="1152825"/>
            <a:chExt cx="1519525" cy="1144475"/>
          </a:xfrm>
        </p:grpSpPr>
        <p:sp>
          <p:nvSpPr>
            <p:cNvPr id="85" name="Google Shape;85;p2"/>
            <p:cNvSpPr/>
            <p:nvPr/>
          </p:nvSpPr>
          <p:spPr>
            <a:xfrm>
              <a:off x="177800" y="1152825"/>
              <a:ext cx="1515925" cy="1144475"/>
            </a:xfrm>
            <a:custGeom>
              <a:avLst/>
              <a:gdLst/>
              <a:ahLst/>
              <a:cxnLst/>
              <a:rect l="l" t="t" r="r" b="b"/>
              <a:pathLst>
                <a:path w="60637" h="45779" extrusionOk="0">
                  <a:moveTo>
                    <a:pt x="38109" y="1"/>
                  </a:moveTo>
                  <a:cubicBezTo>
                    <a:pt x="36661" y="1"/>
                    <a:pt x="35336" y="408"/>
                    <a:pt x="34387" y="1394"/>
                  </a:cubicBezTo>
                  <a:cubicBezTo>
                    <a:pt x="33487" y="2294"/>
                    <a:pt x="32875" y="3806"/>
                    <a:pt x="32407" y="5319"/>
                  </a:cubicBezTo>
                  <a:cubicBezTo>
                    <a:pt x="31218" y="10108"/>
                    <a:pt x="31687" y="16553"/>
                    <a:pt x="31687" y="17597"/>
                  </a:cubicBezTo>
                  <a:cubicBezTo>
                    <a:pt x="31362" y="14320"/>
                    <a:pt x="29274" y="6795"/>
                    <a:pt x="27186" y="3050"/>
                  </a:cubicBezTo>
                  <a:cubicBezTo>
                    <a:pt x="26430" y="2006"/>
                    <a:pt x="25817" y="1250"/>
                    <a:pt x="25061" y="962"/>
                  </a:cubicBezTo>
                  <a:cubicBezTo>
                    <a:pt x="24764" y="863"/>
                    <a:pt x="24360" y="814"/>
                    <a:pt x="23879" y="814"/>
                  </a:cubicBezTo>
                  <a:cubicBezTo>
                    <a:pt x="19993" y="814"/>
                    <a:pt x="11135" y="3984"/>
                    <a:pt x="13827" y="9207"/>
                  </a:cubicBezTo>
                  <a:cubicBezTo>
                    <a:pt x="14115" y="9819"/>
                    <a:pt x="14403" y="10396"/>
                    <a:pt x="14727" y="10864"/>
                  </a:cubicBezTo>
                  <a:cubicBezTo>
                    <a:pt x="18004" y="15653"/>
                    <a:pt x="24917" y="19865"/>
                    <a:pt x="26430" y="20766"/>
                  </a:cubicBezTo>
                  <a:cubicBezTo>
                    <a:pt x="24629" y="19865"/>
                    <a:pt x="15916" y="15220"/>
                    <a:pt x="10983" y="14752"/>
                  </a:cubicBezTo>
                  <a:lnTo>
                    <a:pt x="9326" y="14752"/>
                  </a:lnTo>
                  <a:cubicBezTo>
                    <a:pt x="4681" y="15509"/>
                    <a:pt x="1" y="21666"/>
                    <a:pt x="3601" y="26311"/>
                  </a:cubicBezTo>
                  <a:cubicBezTo>
                    <a:pt x="3781" y="26455"/>
                    <a:pt x="3925" y="26743"/>
                    <a:pt x="4069" y="26923"/>
                  </a:cubicBezTo>
                  <a:cubicBezTo>
                    <a:pt x="6212" y="29134"/>
                    <a:pt x="10125" y="29713"/>
                    <a:pt x="13637" y="29713"/>
                  </a:cubicBezTo>
                  <a:cubicBezTo>
                    <a:pt x="17503" y="29713"/>
                    <a:pt x="20884" y="29011"/>
                    <a:pt x="20884" y="29011"/>
                  </a:cubicBezTo>
                  <a:lnTo>
                    <a:pt x="20884" y="29011"/>
                  </a:lnTo>
                  <a:cubicBezTo>
                    <a:pt x="20416" y="29299"/>
                    <a:pt x="9614" y="35312"/>
                    <a:pt x="12315" y="40857"/>
                  </a:cubicBezTo>
                  <a:cubicBezTo>
                    <a:pt x="12459" y="41145"/>
                    <a:pt x="12603" y="41325"/>
                    <a:pt x="12783" y="41613"/>
                  </a:cubicBezTo>
                  <a:cubicBezTo>
                    <a:pt x="14796" y="44372"/>
                    <a:pt x="20231" y="45779"/>
                    <a:pt x="25444" y="45779"/>
                  </a:cubicBezTo>
                  <a:cubicBezTo>
                    <a:pt x="29555" y="45779"/>
                    <a:pt x="33527" y="44904"/>
                    <a:pt x="35575" y="43126"/>
                  </a:cubicBezTo>
                  <a:cubicBezTo>
                    <a:pt x="37232" y="41613"/>
                    <a:pt x="38132" y="39525"/>
                    <a:pt x="38564" y="37257"/>
                  </a:cubicBezTo>
                  <a:cubicBezTo>
                    <a:pt x="39320" y="33368"/>
                    <a:pt x="38420" y="29299"/>
                    <a:pt x="38420" y="29299"/>
                  </a:cubicBezTo>
                  <a:lnTo>
                    <a:pt x="38420" y="29299"/>
                  </a:lnTo>
                  <a:cubicBezTo>
                    <a:pt x="41732" y="30811"/>
                    <a:pt x="44577" y="31568"/>
                    <a:pt x="47277" y="31712"/>
                  </a:cubicBezTo>
                  <a:cubicBezTo>
                    <a:pt x="47536" y="31722"/>
                    <a:pt x="47791" y="31727"/>
                    <a:pt x="48044" y="31727"/>
                  </a:cubicBezTo>
                  <a:cubicBezTo>
                    <a:pt x="51457" y="31727"/>
                    <a:pt x="54377" y="30821"/>
                    <a:pt x="56891" y="29011"/>
                  </a:cubicBezTo>
                  <a:cubicBezTo>
                    <a:pt x="60312" y="26599"/>
                    <a:pt x="60636" y="20153"/>
                    <a:pt x="58224" y="16409"/>
                  </a:cubicBezTo>
                  <a:cubicBezTo>
                    <a:pt x="57791" y="15653"/>
                    <a:pt x="57179" y="15040"/>
                    <a:pt x="56567" y="14608"/>
                  </a:cubicBezTo>
                  <a:cubicBezTo>
                    <a:pt x="55991" y="14140"/>
                    <a:pt x="55379" y="13852"/>
                    <a:pt x="54623" y="13708"/>
                  </a:cubicBezTo>
                  <a:cubicBezTo>
                    <a:pt x="54056" y="13554"/>
                    <a:pt x="53442" y="13484"/>
                    <a:pt x="52797" y="13484"/>
                  </a:cubicBezTo>
                  <a:cubicBezTo>
                    <a:pt x="47124" y="13484"/>
                    <a:pt x="38984" y="18851"/>
                    <a:pt x="38564" y="19109"/>
                  </a:cubicBezTo>
                  <a:cubicBezTo>
                    <a:pt x="38888" y="18821"/>
                    <a:pt x="46377" y="11152"/>
                    <a:pt x="47566" y="7119"/>
                  </a:cubicBezTo>
                  <a:cubicBezTo>
                    <a:pt x="47566" y="6795"/>
                    <a:pt x="47710" y="6507"/>
                    <a:pt x="47710" y="6219"/>
                  </a:cubicBezTo>
                  <a:cubicBezTo>
                    <a:pt x="47710" y="3531"/>
                    <a:pt x="42373" y="1"/>
                    <a:pt x="38109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" name="Google Shape;86;p2"/>
            <p:cNvSpPr/>
            <p:nvPr/>
          </p:nvSpPr>
          <p:spPr>
            <a:xfrm>
              <a:off x="1359725" y="1518025"/>
              <a:ext cx="333975" cy="427975"/>
            </a:xfrm>
            <a:custGeom>
              <a:avLst/>
              <a:gdLst/>
              <a:ahLst/>
              <a:cxnLst/>
              <a:rect l="l" t="t" r="r" b="b"/>
              <a:pathLst>
                <a:path w="13359" h="17119" extrusionOk="0">
                  <a:moveTo>
                    <a:pt x="9290" y="0"/>
                  </a:moveTo>
                  <a:cubicBezTo>
                    <a:pt x="10947" y="1657"/>
                    <a:pt x="11847" y="4213"/>
                    <a:pt x="11559" y="6590"/>
                  </a:cubicBezTo>
                  <a:cubicBezTo>
                    <a:pt x="11415" y="10190"/>
                    <a:pt x="9002" y="13503"/>
                    <a:pt x="5834" y="15303"/>
                  </a:cubicBezTo>
                  <a:cubicBezTo>
                    <a:pt x="4033" y="16347"/>
                    <a:pt x="2089" y="16960"/>
                    <a:pt x="0" y="17104"/>
                  </a:cubicBezTo>
                  <a:cubicBezTo>
                    <a:pt x="259" y="17114"/>
                    <a:pt x="514" y="17119"/>
                    <a:pt x="767" y="17119"/>
                  </a:cubicBezTo>
                  <a:cubicBezTo>
                    <a:pt x="4180" y="17119"/>
                    <a:pt x="7100" y="16213"/>
                    <a:pt x="9614" y="14403"/>
                  </a:cubicBezTo>
                  <a:cubicBezTo>
                    <a:pt x="13035" y="11991"/>
                    <a:pt x="13359" y="5545"/>
                    <a:pt x="10947" y="1801"/>
                  </a:cubicBezTo>
                  <a:cubicBezTo>
                    <a:pt x="10514" y="1045"/>
                    <a:pt x="9902" y="432"/>
                    <a:pt x="9290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" name="Google Shape;87;p2"/>
            <p:cNvSpPr/>
            <p:nvPr/>
          </p:nvSpPr>
          <p:spPr>
            <a:xfrm>
              <a:off x="497350" y="2084225"/>
              <a:ext cx="644550" cy="213075"/>
            </a:xfrm>
            <a:custGeom>
              <a:avLst/>
              <a:gdLst/>
              <a:ahLst/>
              <a:cxnLst/>
              <a:rect l="l" t="t" r="r" b="b"/>
              <a:pathLst>
                <a:path w="25782" h="8523" extrusionOk="0">
                  <a:moveTo>
                    <a:pt x="25782" y="1"/>
                  </a:moveTo>
                  <a:cubicBezTo>
                    <a:pt x="23981" y="2989"/>
                    <a:pt x="20993" y="5258"/>
                    <a:pt x="17680" y="6302"/>
                  </a:cubicBezTo>
                  <a:cubicBezTo>
                    <a:pt x="15892" y="6850"/>
                    <a:pt x="14062" y="7081"/>
                    <a:pt x="12218" y="7081"/>
                  </a:cubicBezTo>
                  <a:cubicBezTo>
                    <a:pt x="8974" y="7081"/>
                    <a:pt x="5689" y="6366"/>
                    <a:pt x="2521" y="5402"/>
                  </a:cubicBezTo>
                  <a:cubicBezTo>
                    <a:pt x="1621" y="5114"/>
                    <a:pt x="721" y="4790"/>
                    <a:pt x="1" y="4357"/>
                  </a:cubicBezTo>
                  <a:lnTo>
                    <a:pt x="1" y="4357"/>
                  </a:lnTo>
                  <a:cubicBezTo>
                    <a:pt x="2014" y="7116"/>
                    <a:pt x="7449" y="8523"/>
                    <a:pt x="12662" y="8523"/>
                  </a:cubicBezTo>
                  <a:cubicBezTo>
                    <a:pt x="16773" y="8523"/>
                    <a:pt x="20745" y="7648"/>
                    <a:pt x="22793" y="5870"/>
                  </a:cubicBezTo>
                  <a:cubicBezTo>
                    <a:pt x="24450" y="4357"/>
                    <a:pt x="25350" y="2269"/>
                    <a:pt x="25782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" name="Google Shape;88;p2"/>
            <p:cNvSpPr/>
            <p:nvPr/>
          </p:nvSpPr>
          <p:spPr>
            <a:xfrm>
              <a:off x="174200" y="1521625"/>
              <a:ext cx="278175" cy="288975"/>
            </a:xfrm>
            <a:custGeom>
              <a:avLst/>
              <a:gdLst/>
              <a:ahLst/>
              <a:cxnLst/>
              <a:rect l="l" t="t" r="r" b="b"/>
              <a:pathLst>
                <a:path w="11127" h="11559" extrusionOk="0">
                  <a:moveTo>
                    <a:pt x="9470" y="0"/>
                  </a:moveTo>
                  <a:cubicBezTo>
                    <a:pt x="4825" y="757"/>
                    <a:pt x="1" y="6914"/>
                    <a:pt x="3745" y="11559"/>
                  </a:cubicBezTo>
                  <a:cubicBezTo>
                    <a:pt x="3169" y="8714"/>
                    <a:pt x="3925" y="5401"/>
                    <a:pt x="5870" y="3169"/>
                  </a:cubicBezTo>
                  <a:cubicBezTo>
                    <a:pt x="7202" y="1513"/>
                    <a:pt x="9002" y="468"/>
                    <a:pt x="1112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" name="Google Shape;89;p2"/>
            <p:cNvSpPr/>
            <p:nvPr/>
          </p:nvSpPr>
          <p:spPr>
            <a:xfrm>
              <a:off x="456175" y="1173175"/>
              <a:ext cx="401275" cy="251250"/>
            </a:xfrm>
            <a:custGeom>
              <a:avLst/>
              <a:gdLst/>
              <a:ahLst/>
              <a:cxnLst/>
              <a:rect l="l" t="t" r="r" b="b"/>
              <a:pathLst>
                <a:path w="16051" h="10050" extrusionOk="0">
                  <a:moveTo>
                    <a:pt x="12744" y="0"/>
                  </a:moveTo>
                  <a:cubicBezTo>
                    <a:pt x="8858" y="0"/>
                    <a:pt x="0" y="3170"/>
                    <a:pt x="2692" y="8393"/>
                  </a:cubicBezTo>
                  <a:cubicBezTo>
                    <a:pt x="2980" y="9005"/>
                    <a:pt x="3268" y="9582"/>
                    <a:pt x="3592" y="10050"/>
                  </a:cubicBezTo>
                  <a:cubicBezTo>
                    <a:pt x="3124" y="8681"/>
                    <a:pt x="3124" y="7025"/>
                    <a:pt x="3736" y="5693"/>
                  </a:cubicBezTo>
                  <a:cubicBezTo>
                    <a:pt x="4781" y="3280"/>
                    <a:pt x="7049" y="1804"/>
                    <a:pt x="9425" y="1192"/>
                  </a:cubicBezTo>
                  <a:cubicBezTo>
                    <a:pt x="10123" y="1080"/>
                    <a:pt x="10842" y="1012"/>
                    <a:pt x="11558" y="1012"/>
                  </a:cubicBezTo>
                  <a:cubicBezTo>
                    <a:pt x="12689" y="1012"/>
                    <a:pt x="13812" y="1183"/>
                    <a:pt x="14826" y="1624"/>
                  </a:cubicBezTo>
                  <a:cubicBezTo>
                    <a:pt x="15295" y="1804"/>
                    <a:pt x="15583" y="2092"/>
                    <a:pt x="16051" y="2236"/>
                  </a:cubicBezTo>
                  <a:cubicBezTo>
                    <a:pt x="15295" y="1192"/>
                    <a:pt x="14682" y="292"/>
                    <a:pt x="13926" y="148"/>
                  </a:cubicBezTo>
                  <a:cubicBezTo>
                    <a:pt x="13629" y="49"/>
                    <a:pt x="13225" y="0"/>
                    <a:pt x="12744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" name="Google Shape;90;p2"/>
            <p:cNvSpPr/>
            <p:nvPr/>
          </p:nvSpPr>
          <p:spPr>
            <a:xfrm>
              <a:off x="987950" y="1152825"/>
              <a:ext cx="382600" cy="177975"/>
            </a:xfrm>
            <a:custGeom>
              <a:avLst/>
              <a:gdLst/>
              <a:ahLst/>
              <a:cxnLst/>
              <a:rect l="l" t="t" r="r" b="b"/>
              <a:pathLst>
                <a:path w="15304" h="7119" extrusionOk="0">
                  <a:moveTo>
                    <a:pt x="5703" y="1"/>
                  </a:moveTo>
                  <a:cubicBezTo>
                    <a:pt x="4255" y="1"/>
                    <a:pt x="2930" y="408"/>
                    <a:pt x="1981" y="1394"/>
                  </a:cubicBezTo>
                  <a:cubicBezTo>
                    <a:pt x="1081" y="2294"/>
                    <a:pt x="469" y="3662"/>
                    <a:pt x="1" y="5319"/>
                  </a:cubicBezTo>
                  <a:cubicBezTo>
                    <a:pt x="1657" y="3194"/>
                    <a:pt x="4213" y="1718"/>
                    <a:pt x="6914" y="1718"/>
                  </a:cubicBezTo>
                  <a:cubicBezTo>
                    <a:pt x="10371" y="1718"/>
                    <a:pt x="13683" y="3950"/>
                    <a:pt x="15160" y="7119"/>
                  </a:cubicBezTo>
                  <a:cubicBezTo>
                    <a:pt x="15160" y="6795"/>
                    <a:pt x="15304" y="6507"/>
                    <a:pt x="15304" y="6219"/>
                  </a:cubicBezTo>
                  <a:cubicBezTo>
                    <a:pt x="15304" y="3531"/>
                    <a:pt x="9967" y="1"/>
                    <a:pt x="570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1" name="Google Shape;91;p2"/>
            <p:cNvSpPr/>
            <p:nvPr/>
          </p:nvSpPr>
          <p:spPr>
            <a:xfrm>
              <a:off x="707100" y="1761975"/>
              <a:ext cx="318675" cy="359300"/>
            </a:xfrm>
            <a:custGeom>
              <a:avLst/>
              <a:gdLst/>
              <a:ahLst/>
              <a:cxnLst/>
              <a:rect l="l" t="t" r="r" b="b"/>
              <a:pathLst>
                <a:path w="12747" h="14372" extrusionOk="0">
                  <a:moveTo>
                    <a:pt x="10190" y="0"/>
                  </a:moveTo>
                  <a:cubicBezTo>
                    <a:pt x="7058" y="1477"/>
                    <a:pt x="4033" y="3457"/>
                    <a:pt x="1513" y="5833"/>
                  </a:cubicBezTo>
                  <a:cubicBezTo>
                    <a:pt x="757" y="6445"/>
                    <a:pt x="1" y="7490"/>
                    <a:pt x="433" y="8246"/>
                  </a:cubicBezTo>
                  <a:cubicBezTo>
                    <a:pt x="739" y="8646"/>
                    <a:pt x="1168" y="8846"/>
                    <a:pt x="1589" y="8846"/>
                  </a:cubicBezTo>
                  <a:cubicBezTo>
                    <a:pt x="1813" y="8846"/>
                    <a:pt x="2034" y="8790"/>
                    <a:pt x="2233" y="8678"/>
                  </a:cubicBezTo>
                  <a:cubicBezTo>
                    <a:pt x="2845" y="8534"/>
                    <a:pt x="3457" y="7958"/>
                    <a:pt x="3889" y="7490"/>
                  </a:cubicBezTo>
                  <a:cubicBezTo>
                    <a:pt x="5400" y="5717"/>
                    <a:pt x="6910" y="4063"/>
                    <a:pt x="8420" y="2421"/>
                  </a:cubicBezTo>
                  <a:lnTo>
                    <a:pt x="8420" y="2421"/>
                  </a:lnTo>
                  <a:cubicBezTo>
                    <a:pt x="6210" y="4886"/>
                    <a:pt x="4418" y="7845"/>
                    <a:pt x="3133" y="11090"/>
                  </a:cubicBezTo>
                  <a:cubicBezTo>
                    <a:pt x="2989" y="11558"/>
                    <a:pt x="2701" y="12135"/>
                    <a:pt x="2701" y="12747"/>
                  </a:cubicBezTo>
                  <a:cubicBezTo>
                    <a:pt x="2845" y="13359"/>
                    <a:pt x="3133" y="13935"/>
                    <a:pt x="3601" y="14259"/>
                  </a:cubicBezTo>
                  <a:cubicBezTo>
                    <a:pt x="3763" y="14337"/>
                    <a:pt x="3930" y="14371"/>
                    <a:pt x="4098" y="14371"/>
                  </a:cubicBezTo>
                  <a:cubicBezTo>
                    <a:pt x="4864" y="14371"/>
                    <a:pt x="5656" y="13655"/>
                    <a:pt x="6158" y="13035"/>
                  </a:cubicBezTo>
                  <a:cubicBezTo>
                    <a:pt x="7743" y="11215"/>
                    <a:pt x="8921" y="9084"/>
                    <a:pt x="9634" y="6818"/>
                  </a:cubicBezTo>
                  <a:lnTo>
                    <a:pt x="9634" y="6818"/>
                  </a:lnTo>
                  <a:cubicBezTo>
                    <a:pt x="9486" y="7913"/>
                    <a:pt x="9590" y="9084"/>
                    <a:pt x="9902" y="10190"/>
                  </a:cubicBezTo>
                  <a:cubicBezTo>
                    <a:pt x="10046" y="10802"/>
                    <a:pt x="10334" y="11558"/>
                    <a:pt x="11091" y="11702"/>
                  </a:cubicBezTo>
                  <a:cubicBezTo>
                    <a:pt x="11168" y="11721"/>
                    <a:pt x="11245" y="11729"/>
                    <a:pt x="11321" y="11729"/>
                  </a:cubicBezTo>
                  <a:cubicBezTo>
                    <a:pt x="11850" y="11729"/>
                    <a:pt x="12333" y="11324"/>
                    <a:pt x="12459" y="10946"/>
                  </a:cubicBezTo>
                  <a:cubicBezTo>
                    <a:pt x="12747" y="10334"/>
                    <a:pt x="12747" y="9758"/>
                    <a:pt x="12747" y="9146"/>
                  </a:cubicBezTo>
                  <a:cubicBezTo>
                    <a:pt x="12747" y="6157"/>
                    <a:pt x="12135" y="3133"/>
                    <a:pt x="10190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" name="Google Shape;92;p2"/>
            <p:cNvSpPr/>
            <p:nvPr/>
          </p:nvSpPr>
          <p:spPr>
            <a:xfrm>
              <a:off x="714300" y="1349400"/>
              <a:ext cx="281775" cy="412600"/>
            </a:xfrm>
            <a:custGeom>
              <a:avLst/>
              <a:gdLst/>
              <a:ahLst/>
              <a:cxnLst/>
              <a:rect l="l" t="t" r="r" b="b"/>
              <a:pathLst>
                <a:path w="11271" h="16504" extrusionOk="0">
                  <a:moveTo>
                    <a:pt x="1443" y="1"/>
                  </a:moveTo>
                  <a:cubicBezTo>
                    <a:pt x="1206" y="1"/>
                    <a:pt x="970" y="87"/>
                    <a:pt x="757" y="300"/>
                  </a:cubicBezTo>
                  <a:cubicBezTo>
                    <a:pt x="1" y="732"/>
                    <a:pt x="325" y="1956"/>
                    <a:pt x="613" y="2857"/>
                  </a:cubicBezTo>
                  <a:cubicBezTo>
                    <a:pt x="1945" y="5557"/>
                    <a:pt x="3601" y="8078"/>
                    <a:pt x="5726" y="10202"/>
                  </a:cubicBezTo>
                  <a:cubicBezTo>
                    <a:pt x="5114" y="10202"/>
                    <a:pt x="4645" y="9446"/>
                    <a:pt x="4213" y="8978"/>
                  </a:cubicBezTo>
                  <a:cubicBezTo>
                    <a:pt x="3963" y="8747"/>
                    <a:pt x="3589" y="8598"/>
                    <a:pt x="3251" y="8598"/>
                  </a:cubicBezTo>
                  <a:cubicBezTo>
                    <a:pt x="2957" y="8598"/>
                    <a:pt x="2691" y="8710"/>
                    <a:pt x="2557" y="8978"/>
                  </a:cubicBezTo>
                  <a:cubicBezTo>
                    <a:pt x="2269" y="9302"/>
                    <a:pt x="2701" y="9878"/>
                    <a:pt x="3025" y="10202"/>
                  </a:cubicBezTo>
                  <a:cubicBezTo>
                    <a:pt x="5258" y="12759"/>
                    <a:pt x="7958" y="14847"/>
                    <a:pt x="10803" y="16503"/>
                  </a:cubicBezTo>
                  <a:cubicBezTo>
                    <a:pt x="11271" y="12759"/>
                    <a:pt x="10046" y="9302"/>
                    <a:pt x="8246" y="6133"/>
                  </a:cubicBezTo>
                  <a:cubicBezTo>
                    <a:pt x="8102" y="5845"/>
                    <a:pt x="7958" y="5557"/>
                    <a:pt x="7670" y="5557"/>
                  </a:cubicBezTo>
                  <a:cubicBezTo>
                    <a:pt x="7580" y="5531"/>
                    <a:pt x="7494" y="5518"/>
                    <a:pt x="7412" y="5518"/>
                  </a:cubicBezTo>
                  <a:cubicBezTo>
                    <a:pt x="6940" y="5518"/>
                    <a:pt x="6626" y="5935"/>
                    <a:pt x="6626" y="6457"/>
                  </a:cubicBezTo>
                  <a:cubicBezTo>
                    <a:pt x="6446" y="6889"/>
                    <a:pt x="6770" y="7502"/>
                    <a:pt x="7058" y="7934"/>
                  </a:cubicBezTo>
                  <a:cubicBezTo>
                    <a:pt x="7202" y="8402"/>
                    <a:pt x="7526" y="8834"/>
                    <a:pt x="7526" y="9302"/>
                  </a:cubicBezTo>
                  <a:cubicBezTo>
                    <a:pt x="6446" y="6601"/>
                    <a:pt x="5114" y="3901"/>
                    <a:pt x="3457" y="1488"/>
                  </a:cubicBezTo>
                  <a:cubicBezTo>
                    <a:pt x="3169" y="1056"/>
                    <a:pt x="2701" y="588"/>
                    <a:pt x="2269" y="300"/>
                  </a:cubicBezTo>
                  <a:cubicBezTo>
                    <a:pt x="2014" y="124"/>
                    <a:pt x="1727" y="1"/>
                    <a:pt x="144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" name="Google Shape;93;p2"/>
            <p:cNvSpPr/>
            <p:nvPr/>
          </p:nvSpPr>
          <p:spPr>
            <a:xfrm>
              <a:off x="987950" y="1325100"/>
              <a:ext cx="214275" cy="433300"/>
            </a:xfrm>
            <a:custGeom>
              <a:avLst/>
              <a:gdLst/>
              <a:ahLst/>
              <a:cxnLst/>
              <a:rect l="l" t="t" r="r" b="b"/>
              <a:pathLst>
                <a:path w="8571" h="17332" extrusionOk="0">
                  <a:moveTo>
                    <a:pt x="7478" y="1"/>
                  </a:moveTo>
                  <a:cubicBezTo>
                    <a:pt x="6859" y="1"/>
                    <a:pt x="6188" y="523"/>
                    <a:pt x="5870" y="948"/>
                  </a:cubicBezTo>
                  <a:cubicBezTo>
                    <a:pt x="4439" y="2822"/>
                    <a:pt x="3427" y="4922"/>
                    <a:pt x="2804" y="7186"/>
                  </a:cubicBezTo>
                  <a:lnTo>
                    <a:pt x="2804" y="7186"/>
                  </a:lnTo>
                  <a:cubicBezTo>
                    <a:pt x="2758" y="6892"/>
                    <a:pt x="2432" y="6673"/>
                    <a:pt x="2125" y="6673"/>
                  </a:cubicBezTo>
                  <a:cubicBezTo>
                    <a:pt x="2063" y="6654"/>
                    <a:pt x="2001" y="6645"/>
                    <a:pt x="1940" y="6645"/>
                  </a:cubicBezTo>
                  <a:cubicBezTo>
                    <a:pt x="1544" y="6645"/>
                    <a:pt x="1182" y="7024"/>
                    <a:pt x="901" y="7429"/>
                  </a:cubicBezTo>
                  <a:cubicBezTo>
                    <a:pt x="757" y="7717"/>
                    <a:pt x="613" y="8329"/>
                    <a:pt x="613" y="8762"/>
                  </a:cubicBezTo>
                  <a:cubicBezTo>
                    <a:pt x="469" y="11606"/>
                    <a:pt x="181" y="14451"/>
                    <a:pt x="1" y="17331"/>
                  </a:cubicBezTo>
                  <a:cubicBezTo>
                    <a:pt x="3025" y="14451"/>
                    <a:pt x="5582" y="11174"/>
                    <a:pt x="8102" y="7861"/>
                  </a:cubicBezTo>
                  <a:cubicBezTo>
                    <a:pt x="8282" y="7573"/>
                    <a:pt x="8570" y="7249"/>
                    <a:pt x="8282" y="6961"/>
                  </a:cubicBezTo>
                  <a:cubicBezTo>
                    <a:pt x="8166" y="6742"/>
                    <a:pt x="8018" y="6661"/>
                    <a:pt x="7854" y="6661"/>
                  </a:cubicBezTo>
                  <a:cubicBezTo>
                    <a:pt x="7559" y="6661"/>
                    <a:pt x="7214" y="6920"/>
                    <a:pt x="6914" y="7105"/>
                  </a:cubicBezTo>
                  <a:cubicBezTo>
                    <a:pt x="6158" y="8005"/>
                    <a:pt x="5402" y="8762"/>
                    <a:pt x="4682" y="9518"/>
                  </a:cubicBezTo>
                  <a:cubicBezTo>
                    <a:pt x="6482" y="7249"/>
                    <a:pt x="7814" y="4729"/>
                    <a:pt x="8426" y="1848"/>
                  </a:cubicBezTo>
                  <a:cubicBezTo>
                    <a:pt x="8570" y="1272"/>
                    <a:pt x="8570" y="516"/>
                    <a:pt x="8102" y="228"/>
                  </a:cubicBezTo>
                  <a:cubicBezTo>
                    <a:pt x="7913" y="67"/>
                    <a:pt x="7699" y="1"/>
                    <a:pt x="7478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" name="Google Shape;94;p2"/>
            <p:cNvSpPr/>
            <p:nvPr/>
          </p:nvSpPr>
          <p:spPr>
            <a:xfrm>
              <a:off x="508175" y="1675550"/>
              <a:ext cx="479800" cy="163525"/>
            </a:xfrm>
            <a:custGeom>
              <a:avLst/>
              <a:gdLst/>
              <a:ahLst/>
              <a:cxnLst/>
              <a:rect l="l" t="t" r="r" b="b"/>
              <a:pathLst>
                <a:path w="19192" h="6541" extrusionOk="0">
                  <a:moveTo>
                    <a:pt x="11270" y="1"/>
                  </a:moveTo>
                  <a:cubicBezTo>
                    <a:pt x="10802" y="145"/>
                    <a:pt x="10190" y="613"/>
                    <a:pt x="10370" y="1045"/>
                  </a:cubicBezTo>
                  <a:cubicBezTo>
                    <a:pt x="10370" y="1415"/>
                    <a:pt x="10586" y="1638"/>
                    <a:pt x="10890" y="1787"/>
                  </a:cubicBezTo>
                  <a:lnTo>
                    <a:pt x="10890" y="1787"/>
                  </a:lnTo>
                  <a:cubicBezTo>
                    <a:pt x="8117" y="1062"/>
                    <a:pt x="5323" y="613"/>
                    <a:pt x="2557" y="613"/>
                  </a:cubicBezTo>
                  <a:cubicBezTo>
                    <a:pt x="2088" y="613"/>
                    <a:pt x="1512" y="613"/>
                    <a:pt x="1044" y="901"/>
                  </a:cubicBezTo>
                  <a:cubicBezTo>
                    <a:pt x="612" y="1045"/>
                    <a:pt x="144" y="1513"/>
                    <a:pt x="144" y="2089"/>
                  </a:cubicBezTo>
                  <a:cubicBezTo>
                    <a:pt x="0" y="2989"/>
                    <a:pt x="1368" y="3601"/>
                    <a:pt x="2268" y="3745"/>
                  </a:cubicBezTo>
                  <a:cubicBezTo>
                    <a:pt x="4213" y="4033"/>
                    <a:pt x="6013" y="4213"/>
                    <a:pt x="7958" y="4213"/>
                  </a:cubicBezTo>
                  <a:cubicBezTo>
                    <a:pt x="7489" y="4501"/>
                    <a:pt x="6913" y="4501"/>
                    <a:pt x="6301" y="4501"/>
                  </a:cubicBezTo>
                  <a:cubicBezTo>
                    <a:pt x="5869" y="4501"/>
                    <a:pt x="5257" y="4501"/>
                    <a:pt x="4789" y="4789"/>
                  </a:cubicBezTo>
                  <a:cubicBezTo>
                    <a:pt x="4357" y="5114"/>
                    <a:pt x="4069" y="5834"/>
                    <a:pt x="4501" y="6302"/>
                  </a:cubicBezTo>
                  <a:cubicBezTo>
                    <a:pt x="4670" y="6470"/>
                    <a:pt x="4900" y="6540"/>
                    <a:pt x="5149" y="6540"/>
                  </a:cubicBezTo>
                  <a:cubicBezTo>
                    <a:pt x="5325" y="6540"/>
                    <a:pt x="5510" y="6505"/>
                    <a:pt x="5689" y="6446"/>
                  </a:cubicBezTo>
                  <a:cubicBezTo>
                    <a:pt x="10370" y="6014"/>
                    <a:pt x="14871" y="4934"/>
                    <a:pt x="19192" y="3133"/>
                  </a:cubicBezTo>
                  <a:cubicBezTo>
                    <a:pt x="17103" y="2233"/>
                    <a:pt x="15015" y="1333"/>
                    <a:pt x="12746" y="433"/>
                  </a:cubicBezTo>
                  <a:cubicBezTo>
                    <a:pt x="12314" y="145"/>
                    <a:pt x="11846" y="1"/>
                    <a:pt x="11270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" name="Google Shape;95;p2"/>
            <p:cNvSpPr/>
            <p:nvPr/>
          </p:nvSpPr>
          <p:spPr>
            <a:xfrm>
              <a:off x="969950" y="1606125"/>
              <a:ext cx="476225" cy="211675"/>
            </a:xfrm>
            <a:custGeom>
              <a:avLst/>
              <a:gdLst/>
              <a:ahLst/>
              <a:cxnLst/>
              <a:rect l="l" t="t" r="r" b="b"/>
              <a:pathLst>
                <a:path w="19049" h="8467" extrusionOk="0">
                  <a:moveTo>
                    <a:pt x="14234" y="1"/>
                  </a:moveTo>
                  <a:cubicBezTo>
                    <a:pt x="13101" y="1"/>
                    <a:pt x="11891" y="477"/>
                    <a:pt x="10803" y="977"/>
                  </a:cubicBezTo>
                  <a:cubicBezTo>
                    <a:pt x="7202" y="2490"/>
                    <a:pt x="3601" y="3966"/>
                    <a:pt x="1" y="5622"/>
                  </a:cubicBezTo>
                  <a:cubicBezTo>
                    <a:pt x="3133" y="7422"/>
                    <a:pt x="7022" y="8323"/>
                    <a:pt x="10947" y="8467"/>
                  </a:cubicBezTo>
                  <a:cubicBezTo>
                    <a:pt x="11379" y="8467"/>
                    <a:pt x="11703" y="8467"/>
                    <a:pt x="11991" y="8323"/>
                  </a:cubicBezTo>
                  <a:cubicBezTo>
                    <a:pt x="12423" y="7891"/>
                    <a:pt x="12279" y="7278"/>
                    <a:pt x="11847" y="6990"/>
                  </a:cubicBezTo>
                  <a:cubicBezTo>
                    <a:pt x="11379" y="6666"/>
                    <a:pt x="10803" y="6666"/>
                    <a:pt x="10190" y="6666"/>
                  </a:cubicBezTo>
                  <a:cubicBezTo>
                    <a:pt x="12423" y="6666"/>
                    <a:pt x="14835" y="6378"/>
                    <a:pt x="16924" y="5478"/>
                  </a:cubicBezTo>
                  <a:cubicBezTo>
                    <a:pt x="17536" y="5334"/>
                    <a:pt x="18004" y="5010"/>
                    <a:pt x="18436" y="4722"/>
                  </a:cubicBezTo>
                  <a:cubicBezTo>
                    <a:pt x="18724" y="4290"/>
                    <a:pt x="19048" y="3822"/>
                    <a:pt x="18904" y="3390"/>
                  </a:cubicBezTo>
                  <a:cubicBezTo>
                    <a:pt x="18580" y="2778"/>
                    <a:pt x="17824" y="2634"/>
                    <a:pt x="17104" y="2634"/>
                  </a:cubicBezTo>
                  <a:cubicBezTo>
                    <a:pt x="16797" y="2609"/>
                    <a:pt x="16481" y="2597"/>
                    <a:pt x="16159" y="2597"/>
                  </a:cubicBezTo>
                  <a:cubicBezTo>
                    <a:pt x="14589" y="2597"/>
                    <a:pt x="12872" y="2882"/>
                    <a:pt x="11379" y="3390"/>
                  </a:cubicBezTo>
                  <a:cubicBezTo>
                    <a:pt x="12603" y="2778"/>
                    <a:pt x="13791" y="2165"/>
                    <a:pt x="14979" y="1409"/>
                  </a:cubicBezTo>
                  <a:cubicBezTo>
                    <a:pt x="15303" y="1265"/>
                    <a:pt x="15736" y="977"/>
                    <a:pt x="15591" y="509"/>
                  </a:cubicBezTo>
                  <a:cubicBezTo>
                    <a:pt x="15591" y="221"/>
                    <a:pt x="15303" y="77"/>
                    <a:pt x="14979" y="77"/>
                  </a:cubicBezTo>
                  <a:cubicBezTo>
                    <a:pt x="14736" y="24"/>
                    <a:pt x="14487" y="1"/>
                    <a:pt x="14234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6" name="Google Shape;96;p2"/>
            <p:cNvSpPr/>
            <p:nvPr/>
          </p:nvSpPr>
          <p:spPr>
            <a:xfrm>
              <a:off x="807925" y="1589125"/>
              <a:ext cx="172850" cy="164775"/>
            </a:xfrm>
            <a:custGeom>
              <a:avLst/>
              <a:gdLst/>
              <a:ahLst/>
              <a:cxnLst/>
              <a:rect l="l" t="t" r="r" b="b"/>
              <a:pathLst>
                <a:path w="6914" h="6591" extrusionOk="0">
                  <a:moveTo>
                    <a:pt x="612" y="1"/>
                  </a:moveTo>
                  <a:lnTo>
                    <a:pt x="0" y="289"/>
                  </a:lnTo>
                  <a:cubicBezTo>
                    <a:pt x="180" y="613"/>
                    <a:pt x="2413" y="5402"/>
                    <a:pt x="6770" y="6590"/>
                  </a:cubicBezTo>
                  <a:lnTo>
                    <a:pt x="6914" y="5870"/>
                  </a:lnTo>
                  <a:cubicBezTo>
                    <a:pt x="2881" y="4790"/>
                    <a:pt x="612" y="145"/>
                    <a:pt x="612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" name="Google Shape;97;p2"/>
            <p:cNvSpPr/>
            <p:nvPr/>
          </p:nvSpPr>
          <p:spPr>
            <a:xfrm>
              <a:off x="785425" y="1551325"/>
              <a:ext cx="49525" cy="53800"/>
            </a:xfrm>
            <a:custGeom>
              <a:avLst/>
              <a:gdLst/>
              <a:ahLst/>
              <a:cxnLst/>
              <a:rect l="l" t="t" r="r" b="b"/>
              <a:pathLst>
                <a:path w="1981" h="2152" extrusionOk="0">
                  <a:moveTo>
                    <a:pt x="1080" y="1"/>
                  </a:moveTo>
                  <a:cubicBezTo>
                    <a:pt x="468" y="1"/>
                    <a:pt x="0" y="469"/>
                    <a:pt x="0" y="901"/>
                  </a:cubicBezTo>
                  <a:cubicBezTo>
                    <a:pt x="0" y="1513"/>
                    <a:pt x="468" y="2125"/>
                    <a:pt x="900" y="2125"/>
                  </a:cubicBezTo>
                  <a:cubicBezTo>
                    <a:pt x="976" y="2143"/>
                    <a:pt x="1047" y="2151"/>
                    <a:pt x="1113" y="2151"/>
                  </a:cubicBezTo>
                  <a:cubicBezTo>
                    <a:pt x="1579" y="2151"/>
                    <a:pt x="1800" y="1730"/>
                    <a:pt x="1800" y="1225"/>
                  </a:cubicBezTo>
                  <a:cubicBezTo>
                    <a:pt x="1981" y="613"/>
                    <a:pt x="1512" y="181"/>
                    <a:pt x="1080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" name="Google Shape;98;p2"/>
            <p:cNvSpPr/>
            <p:nvPr/>
          </p:nvSpPr>
          <p:spPr>
            <a:xfrm>
              <a:off x="707100" y="1443300"/>
              <a:ext cx="292575" cy="312500"/>
            </a:xfrm>
            <a:custGeom>
              <a:avLst/>
              <a:gdLst/>
              <a:ahLst/>
              <a:cxnLst/>
              <a:rect l="l" t="t" r="r" b="b"/>
              <a:pathLst>
                <a:path w="11703" h="12500" extrusionOk="0">
                  <a:moveTo>
                    <a:pt x="3313" y="1"/>
                  </a:moveTo>
                  <a:lnTo>
                    <a:pt x="2701" y="433"/>
                  </a:lnTo>
                  <a:cubicBezTo>
                    <a:pt x="2845" y="577"/>
                    <a:pt x="6590" y="6878"/>
                    <a:pt x="10334" y="10335"/>
                  </a:cubicBezTo>
                  <a:cubicBezTo>
                    <a:pt x="10803" y="10947"/>
                    <a:pt x="11091" y="11235"/>
                    <a:pt x="10947" y="11379"/>
                  </a:cubicBezTo>
                  <a:cubicBezTo>
                    <a:pt x="10947" y="11523"/>
                    <a:pt x="10803" y="11703"/>
                    <a:pt x="10659" y="11703"/>
                  </a:cubicBezTo>
                  <a:cubicBezTo>
                    <a:pt x="10485" y="11745"/>
                    <a:pt x="10281" y="11766"/>
                    <a:pt x="10050" y="11766"/>
                  </a:cubicBezTo>
                  <a:cubicBezTo>
                    <a:pt x="7889" y="11766"/>
                    <a:pt x="3426" y="9929"/>
                    <a:pt x="433" y="6122"/>
                  </a:cubicBezTo>
                  <a:lnTo>
                    <a:pt x="1" y="6590"/>
                  </a:lnTo>
                  <a:cubicBezTo>
                    <a:pt x="3213" y="10734"/>
                    <a:pt x="7859" y="12499"/>
                    <a:pt x="10102" y="12499"/>
                  </a:cubicBezTo>
                  <a:cubicBezTo>
                    <a:pt x="10373" y="12499"/>
                    <a:pt x="10609" y="12474"/>
                    <a:pt x="10803" y="12423"/>
                  </a:cubicBezTo>
                  <a:lnTo>
                    <a:pt x="11091" y="12423"/>
                  </a:lnTo>
                  <a:cubicBezTo>
                    <a:pt x="11559" y="12135"/>
                    <a:pt x="11703" y="11847"/>
                    <a:pt x="11703" y="11703"/>
                  </a:cubicBezTo>
                  <a:cubicBezTo>
                    <a:pt x="11703" y="11091"/>
                    <a:pt x="11415" y="10479"/>
                    <a:pt x="10659" y="9903"/>
                  </a:cubicBezTo>
                  <a:cubicBezTo>
                    <a:pt x="7058" y="6446"/>
                    <a:pt x="3313" y="1"/>
                    <a:pt x="3313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9" name="Google Shape;99;p2"/>
            <p:cNvSpPr/>
            <p:nvPr/>
          </p:nvSpPr>
          <p:spPr>
            <a:xfrm>
              <a:off x="748500" y="1406300"/>
              <a:ext cx="48650" cy="50725"/>
            </a:xfrm>
            <a:custGeom>
              <a:avLst/>
              <a:gdLst/>
              <a:ahLst/>
              <a:cxnLst/>
              <a:rect l="l" t="t" r="r" b="b"/>
              <a:pathLst>
                <a:path w="1946" h="2029" extrusionOk="0">
                  <a:moveTo>
                    <a:pt x="941" y="0"/>
                  </a:moveTo>
                  <a:cubicBezTo>
                    <a:pt x="823" y="0"/>
                    <a:pt x="701" y="36"/>
                    <a:pt x="577" y="113"/>
                  </a:cubicBezTo>
                  <a:cubicBezTo>
                    <a:pt x="145" y="257"/>
                    <a:pt x="1" y="869"/>
                    <a:pt x="289" y="1481"/>
                  </a:cubicBezTo>
                  <a:cubicBezTo>
                    <a:pt x="497" y="1792"/>
                    <a:pt x="798" y="2029"/>
                    <a:pt x="1111" y="2029"/>
                  </a:cubicBezTo>
                  <a:cubicBezTo>
                    <a:pt x="1233" y="2029"/>
                    <a:pt x="1356" y="1993"/>
                    <a:pt x="1477" y="1913"/>
                  </a:cubicBezTo>
                  <a:cubicBezTo>
                    <a:pt x="1801" y="1769"/>
                    <a:pt x="1945" y="1157"/>
                    <a:pt x="1801" y="725"/>
                  </a:cubicBezTo>
                  <a:cubicBezTo>
                    <a:pt x="1563" y="275"/>
                    <a:pt x="1267" y="0"/>
                    <a:pt x="941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0" name="Google Shape;100;p2"/>
            <p:cNvSpPr/>
            <p:nvPr/>
          </p:nvSpPr>
          <p:spPr>
            <a:xfrm>
              <a:off x="684600" y="1563750"/>
              <a:ext cx="45025" cy="50725"/>
            </a:xfrm>
            <a:custGeom>
              <a:avLst/>
              <a:gdLst/>
              <a:ahLst/>
              <a:cxnLst/>
              <a:rect l="l" t="t" r="r" b="b"/>
              <a:pathLst>
                <a:path w="1801" h="2029" extrusionOk="0">
                  <a:moveTo>
                    <a:pt x="811" y="1"/>
                  </a:moveTo>
                  <a:cubicBezTo>
                    <a:pt x="688" y="1"/>
                    <a:pt x="562" y="36"/>
                    <a:pt x="432" y="116"/>
                  </a:cubicBezTo>
                  <a:cubicBezTo>
                    <a:pt x="0" y="260"/>
                    <a:pt x="0" y="872"/>
                    <a:pt x="144" y="1304"/>
                  </a:cubicBezTo>
                  <a:cubicBezTo>
                    <a:pt x="356" y="1754"/>
                    <a:pt x="665" y="2028"/>
                    <a:pt x="985" y="2028"/>
                  </a:cubicBezTo>
                  <a:cubicBezTo>
                    <a:pt x="1101" y="2028"/>
                    <a:pt x="1218" y="1993"/>
                    <a:pt x="1333" y="1916"/>
                  </a:cubicBezTo>
                  <a:cubicBezTo>
                    <a:pt x="1801" y="1772"/>
                    <a:pt x="1801" y="1160"/>
                    <a:pt x="1657" y="584"/>
                  </a:cubicBezTo>
                  <a:cubicBezTo>
                    <a:pt x="1422" y="245"/>
                    <a:pt x="1131" y="1"/>
                    <a:pt x="811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1" name="Google Shape;101;p2"/>
            <p:cNvSpPr/>
            <p:nvPr/>
          </p:nvSpPr>
          <p:spPr>
            <a:xfrm>
              <a:off x="909650" y="1454100"/>
              <a:ext cx="97225" cy="273675"/>
            </a:xfrm>
            <a:custGeom>
              <a:avLst/>
              <a:gdLst/>
              <a:ahLst/>
              <a:cxnLst/>
              <a:rect l="l" t="t" r="r" b="b"/>
              <a:pathLst>
                <a:path w="3889" h="10947" extrusionOk="0">
                  <a:moveTo>
                    <a:pt x="612" y="1"/>
                  </a:moveTo>
                  <a:lnTo>
                    <a:pt x="0" y="289"/>
                  </a:lnTo>
                  <a:cubicBezTo>
                    <a:pt x="0" y="469"/>
                    <a:pt x="2413" y="5114"/>
                    <a:pt x="3133" y="10947"/>
                  </a:cubicBezTo>
                  <a:lnTo>
                    <a:pt x="3889" y="10947"/>
                  </a:lnTo>
                  <a:cubicBezTo>
                    <a:pt x="2989" y="4970"/>
                    <a:pt x="756" y="145"/>
                    <a:pt x="612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2" name="Google Shape;102;p2"/>
            <p:cNvSpPr/>
            <p:nvPr/>
          </p:nvSpPr>
          <p:spPr>
            <a:xfrm>
              <a:off x="883525" y="1417500"/>
              <a:ext cx="52250" cy="52875"/>
            </a:xfrm>
            <a:custGeom>
              <a:avLst/>
              <a:gdLst/>
              <a:ahLst/>
              <a:cxnLst/>
              <a:rect l="l" t="t" r="r" b="b"/>
              <a:pathLst>
                <a:path w="2090" h="2115" extrusionOk="0">
                  <a:moveTo>
                    <a:pt x="999" y="1"/>
                  </a:moveTo>
                  <a:cubicBezTo>
                    <a:pt x="854" y="1"/>
                    <a:pt x="710" y="41"/>
                    <a:pt x="577" y="133"/>
                  </a:cubicBezTo>
                  <a:cubicBezTo>
                    <a:pt x="145" y="277"/>
                    <a:pt x="1" y="853"/>
                    <a:pt x="289" y="1465"/>
                  </a:cubicBezTo>
                  <a:cubicBezTo>
                    <a:pt x="526" y="1851"/>
                    <a:pt x="886" y="2114"/>
                    <a:pt x="1247" y="2114"/>
                  </a:cubicBezTo>
                  <a:cubicBezTo>
                    <a:pt x="1324" y="2114"/>
                    <a:pt x="1401" y="2102"/>
                    <a:pt x="1477" y="2077"/>
                  </a:cubicBezTo>
                  <a:cubicBezTo>
                    <a:pt x="1945" y="1753"/>
                    <a:pt x="2089" y="1177"/>
                    <a:pt x="1945" y="565"/>
                  </a:cubicBezTo>
                  <a:cubicBezTo>
                    <a:pt x="1739" y="255"/>
                    <a:pt x="1366" y="1"/>
                    <a:pt x="999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3" name="Google Shape;103;p2"/>
            <p:cNvSpPr/>
            <p:nvPr/>
          </p:nvSpPr>
          <p:spPr>
            <a:xfrm>
              <a:off x="973550" y="1420800"/>
              <a:ext cx="112550" cy="318700"/>
            </a:xfrm>
            <a:custGeom>
              <a:avLst/>
              <a:gdLst/>
              <a:ahLst/>
              <a:cxnLst/>
              <a:rect l="l" t="t" r="r" b="b"/>
              <a:pathLst>
                <a:path w="4502" h="12748" extrusionOk="0">
                  <a:moveTo>
                    <a:pt x="577" y="1"/>
                  </a:moveTo>
                  <a:lnTo>
                    <a:pt x="1" y="289"/>
                  </a:lnTo>
                  <a:cubicBezTo>
                    <a:pt x="3601" y="9903"/>
                    <a:pt x="577" y="11991"/>
                    <a:pt x="433" y="11991"/>
                  </a:cubicBezTo>
                  <a:lnTo>
                    <a:pt x="901" y="12747"/>
                  </a:lnTo>
                  <a:cubicBezTo>
                    <a:pt x="1045" y="12603"/>
                    <a:pt x="4501" y="10335"/>
                    <a:pt x="577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4" name="Google Shape;104;p2"/>
            <p:cNvSpPr/>
            <p:nvPr/>
          </p:nvSpPr>
          <p:spPr>
            <a:xfrm>
              <a:off x="947450" y="1380200"/>
              <a:ext cx="48625" cy="52725"/>
            </a:xfrm>
            <a:custGeom>
              <a:avLst/>
              <a:gdLst/>
              <a:ahLst/>
              <a:cxnLst/>
              <a:rect l="l" t="t" r="r" b="b"/>
              <a:pathLst>
                <a:path w="1945" h="2109" extrusionOk="0">
                  <a:moveTo>
                    <a:pt x="940" y="0"/>
                  </a:moveTo>
                  <a:cubicBezTo>
                    <a:pt x="822" y="0"/>
                    <a:pt x="701" y="36"/>
                    <a:pt x="576" y="112"/>
                  </a:cubicBezTo>
                  <a:cubicBezTo>
                    <a:pt x="144" y="400"/>
                    <a:pt x="0" y="1013"/>
                    <a:pt x="144" y="1445"/>
                  </a:cubicBezTo>
                  <a:cubicBezTo>
                    <a:pt x="365" y="1914"/>
                    <a:pt x="777" y="2108"/>
                    <a:pt x="1152" y="2108"/>
                  </a:cubicBezTo>
                  <a:cubicBezTo>
                    <a:pt x="1265" y="2108"/>
                    <a:pt x="1376" y="2090"/>
                    <a:pt x="1477" y="2057"/>
                  </a:cubicBezTo>
                  <a:cubicBezTo>
                    <a:pt x="1801" y="1769"/>
                    <a:pt x="1945" y="1157"/>
                    <a:pt x="1801" y="724"/>
                  </a:cubicBezTo>
                  <a:cubicBezTo>
                    <a:pt x="1563" y="275"/>
                    <a:pt x="1266" y="0"/>
                    <a:pt x="940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05" name="Google Shape;105;p2"/>
          <p:cNvGrpSpPr/>
          <p:nvPr/>
        </p:nvGrpSpPr>
        <p:grpSpPr>
          <a:xfrm>
            <a:off x="3399217" y="5026042"/>
            <a:ext cx="618548" cy="465877"/>
            <a:chOff x="174200" y="1152825"/>
            <a:chExt cx="1519525" cy="1144475"/>
          </a:xfrm>
        </p:grpSpPr>
        <p:sp>
          <p:nvSpPr>
            <p:cNvPr id="106" name="Google Shape;106;p2"/>
            <p:cNvSpPr/>
            <p:nvPr/>
          </p:nvSpPr>
          <p:spPr>
            <a:xfrm>
              <a:off x="177800" y="1152825"/>
              <a:ext cx="1515925" cy="1144475"/>
            </a:xfrm>
            <a:custGeom>
              <a:avLst/>
              <a:gdLst/>
              <a:ahLst/>
              <a:cxnLst/>
              <a:rect l="l" t="t" r="r" b="b"/>
              <a:pathLst>
                <a:path w="60637" h="45779" extrusionOk="0">
                  <a:moveTo>
                    <a:pt x="38109" y="1"/>
                  </a:moveTo>
                  <a:cubicBezTo>
                    <a:pt x="36661" y="1"/>
                    <a:pt x="35336" y="408"/>
                    <a:pt x="34387" y="1394"/>
                  </a:cubicBezTo>
                  <a:cubicBezTo>
                    <a:pt x="33487" y="2294"/>
                    <a:pt x="32875" y="3806"/>
                    <a:pt x="32407" y="5319"/>
                  </a:cubicBezTo>
                  <a:cubicBezTo>
                    <a:pt x="31218" y="10108"/>
                    <a:pt x="31687" y="16553"/>
                    <a:pt x="31687" y="17597"/>
                  </a:cubicBezTo>
                  <a:cubicBezTo>
                    <a:pt x="31362" y="14320"/>
                    <a:pt x="29274" y="6795"/>
                    <a:pt x="27186" y="3050"/>
                  </a:cubicBezTo>
                  <a:cubicBezTo>
                    <a:pt x="26430" y="2006"/>
                    <a:pt x="25817" y="1250"/>
                    <a:pt x="25061" y="962"/>
                  </a:cubicBezTo>
                  <a:cubicBezTo>
                    <a:pt x="24764" y="863"/>
                    <a:pt x="24360" y="814"/>
                    <a:pt x="23879" y="814"/>
                  </a:cubicBezTo>
                  <a:cubicBezTo>
                    <a:pt x="19993" y="814"/>
                    <a:pt x="11135" y="3984"/>
                    <a:pt x="13827" y="9207"/>
                  </a:cubicBezTo>
                  <a:cubicBezTo>
                    <a:pt x="14115" y="9819"/>
                    <a:pt x="14403" y="10396"/>
                    <a:pt x="14727" y="10864"/>
                  </a:cubicBezTo>
                  <a:cubicBezTo>
                    <a:pt x="18004" y="15653"/>
                    <a:pt x="24917" y="19865"/>
                    <a:pt x="26430" y="20766"/>
                  </a:cubicBezTo>
                  <a:cubicBezTo>
                    <a:pt x="24629" y="19865"/>
                    <a:pt x="15916" y="15220"/>
                    <a:pt x="10983" y="14752"/>
                  </a:cubicBezTo>
                  <a:lnTo>
                    <a:pt x="9326" y="14752"/>
                  </a:lnTo>
                  <a:cubicBezTo>
                    <a:pt x="4681" y="15509"/>
                    <a:pt x="1" y="21666"/>
                    <a:pt x="3601" y="26311"/>
                  </a:cubicBezTo>
                  <a:cubicBezTo>
                    <a:pt x="3781" y="26455"/>
                    <a:pt x="3925" y="26743"/>
                    <a:pt x="4069" y="26923"/>
                  </a:cubicBezTo>
                  <a:cubicBezTo>
                    <a:pt x="6212" y="29134"/>
                    <a:pt x="10125" y="29713"/>
                    <a:pt x="13637" y="29713"/>
                  </a:cubicBezTo>
                  <a:cubicBezTo>
                    <a:pt x="17503" y="29713"/>
                    <a:pt x="20884" y="29011"/>
                    <a:pt x="20884" y="29011"/>
                  </a:cubicBezTo>
                  <a:lnTo>
                    <a:pt x="20884" y="29011"/>
                  </a:lnTo>
                  <a:cubicBezTo>
                    <a:pt x="20416" y="29299"/>
                    <a:pt x="9614" y="35312"/>
                    <a:pt x="12315" y="40857"/>
                  </a:cubicBezTo>
                  <a:cubicBezTo>
                    <a:pt x="12459" y="41145"/>
                    <a:pt x="12603" y="41325"/>
                    <a:pt x="12783" y="41613"/>
                  </a:cubicBezTo>
                  <a:cubicBezTo>
                    <a:pt x="14796" y="44372"/>
                    <a:pt x="20231" y="45779"/>
                    <a:pt x="25444" y="45779"/>
                  </a:cubicBezTo>
                  <a:cubicBezTo>
                    <a:pt x="29555" y="45779"/>
                    <a:pt x="33527" y="44904"/>
                    <a:pt x="35575" y="43126"/>
                  </a:cubicBezTo>
                  <a:cubicBezTo>
                    <a:pt x="37232" y="41613"/>
                    <a:pt x="38132" y="39525"/>
                    <a:pt x="38564" y="37257"/>
                  </a:cubicBezTo>
                  <a:cubicBezTo>
                    <a:pt x="39320" y="33368"/>
                    <a:pt x="38420" y="29299"/>
                    <a:pt x="38420" y="29299"/>
                  </a:cubicBezTo>
                  <a:lnTo>
                    <a:pt x="38420" y="29299"/>
                  </a:lnTo>
                  <a:cubicBezTo>
                    <a:pt x="41732" y="30811"/>
                    <a:pt x="44577" y="31568"/>
                    <a:pt x="47277" y="31712"/>
                  </a:cubicBezTo>
                  <a:cubicBezTo>
                    <a:pt x="47536" y="31722"/>
                    <a:pt x="47791" y="31727"/>
                    <a:pt x="48044" y="31727"/>
                  </a:cubicBezTo>
                  <a:cubicBezTo>
                    <a:pt x="51457" y="31727"/>
                    <a:pt x="54377" y="30821"/>
                    <a:pt x="56891" y="29011"/>
                  </a:cubicBezTo>
                  <a:cubicBezTo>
                    <a:pt x="60312" y="26599"/>
                    <a:pt x="60636" y="20153"/>
                    <a:pt x="58224" y="16409"/>
                  </a:cubicBezTo>
                  <a:cubicBezTo>
                    <a:pt x="57791" y="15653"/>
                    <a:pt x="57179" y="15040"/>
                    <a:pt x="56567" y="14608"/>
                  </a:cubicBezTo>
                  <a:cubicBezTo>
                    <a:pt x="55991" y="14140"/>
                    <a:pt x="55379" y="13852"/>
                    <a:pt x="54623" y="13708"/>
                  </a:cubicBezTo>
                  <a:cubicBezTo>
                    <a:pt x="54056" y="13554"/>
                    <a:pt x="53442" y="13484"/>
                    <a:pt x="52797" y="13484"/>
                  </a:cubicBezTo>
                  <a:cubicBezTo>
                    <a:pt x="47124" y="13484"/>
                    <a:pt x="38984" y="18851"/>
                    <a:pt x="38564" y="19109"/>
                  </a:cubicBezTo>
                  <a:cubicBezTo>
                    <a:pt x="38888" y="18821"/>
                    <a:pt x="46377" y="11152"/>
                    <a:pt x="47566" y="7119"/>
                  </a:cubicBezTo>
                  <a:cubicBezTo>
                    <a:pt x="47566" y="6795"/>
                    <a:pt x="47710" y="6507"/>
                    <a:pt x="47710" y="6219"/>
                  </a:cubicBezTo>
                  <a:cubicBezTo>
                    <a:pt x="47710" y="3531"/>
                    <a:pt x="42373" y="1"/>
                    <a:pt x="38109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7" name="Google Shape;107;p2"/>
            <p:cNvSpPr/>
            <p:nvPr/>
          </p:nvSpPr>
          <p:spPr>
            <a:xfrm>
              <a:off x="1359725" y="1518025"/>
              <a:ext cx="333975" cy="427975"/>
            </a:xfrm>
            <a:custGeom>
              <a:avLst/>
              <a:gdLst/>
              <a:ahLst/>
              <a:cxnLst/>
              <a:rect l="l" t="t" r="r" b="b"/>
              <a:pathLst>
                <a:path w="13359" h="17119" extrusionOk="0">
                  <a:moveTo>
                    <a:pt x="9290" y="0"/>
                  </a:moveTo>
                  <a:cubicBezTo>
                    <a:pt x="10947" y="1657"/>
                    <a:pt x="11847" y="4213"/>
                    <a:pt x="11559" y="6590"/>
                  </a:cubicBezTo>
                  <a:cubicBezTo>
                    <a:pt x="11415" y="10190"/>
                    <a:pt x="9002" y="13503"/>
                    <a:pt x="5834" y="15303"/>
                  </a:cubicBezTo>
                  <a:cubicBezTo>
                    <a:pt x="4033" y="16347"/>
                    <a:pt x="2089" y="16960"/>
                    <a:pt x="0" y="17104"/>
                  </a:cubicBezTo>
                  <a:cubicBezTo>
                    <a:pt x="259" y="17114"/>
                    <a:pt x="514" y="17119"/>
                    <a:pt x="767" y="17119"/>
                  </a:cubicBezTo>
                  <a:cubicBezTo>
                    <a:pt x="4180" y="17119"/>
                    <a:pt x="7100" y="16213"/>
                    <a:pt x="9614" y="14403"/>
                  </a:cubicBezTo>
                  <a:cubicBezTo>
                    <a:pt x="13035" y="11991"/>
                    <a:pt x="13359" y="5545"/>
                    <a:pt x="10947" y="1801"/>
                  </a:cubicBezTo>
                  <a:cubicBezTo>
                    <a:pt x="10514" y="1045"/>
                    <a:pt x="9902" y="432"/>
                    <a:pt x="9290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" name="Google Shape;108;p2"/>
            <p:cNvSpPr/>
            <p:nvPr/>
          </p:nvSpPr>
          <p:spPr>
            <a:xfrm>
              <a:off x="497350" y="2084225"/>
              <a:ext cx="644550" cy="213075"/>
            </a:xfrm>
            <a:custGeom>
              <a:avLst/>
              <a:gdLst/>
              <a:ahLst/>
              <a:cxnLst/>
              <a:rect l="l" t="t" r="r" b="b"/>
              <a:pathLst>
                <a:path w="25782" h="8523" extrusionOk="0">
                  <a:moveTo>
                    <a:pt x="25782" y="1"/>
                  </a:moveTo>
                  <a:cubicBezTo>
                    <a:pt x="23981" y="2989"/>
                    <a:pt x="20993" y="5258"/>
                    <a:pt x="17680" y="6302"/>
                  </a:cubicBezTo>
                  <a:cubicBezTo>
                    <a:pt x="15892" y="6850"/>
                    <a:pt x="14062" y="7081"/>
                    <a:pt x="12218" y="7081"/>
                  </a:cubicBezTo>
                  <a:cubicBezTo>
                    <a:pt x="8974" y="7081"/>
                    <a:pt x="5689" y="6366"/>
                    <a:pt x="2521" y="5402"/>
                  </a:cubicBezTo>
                  <a:cubicBezTo>
                    <a:pt x="1621" y="5114"/>
                    <a:pt x="721" y="4790"/>
                    <a:pt x="1" y="4357"/>
                  </a:cubicBezTo>
                  <a:lnTo>
                    <a:pt x="1" y="4357"/>
                  </a:lnTo>
                  <a:cubicBezTo>
                    <a:pt x="2014" y="7116"/>
                    <a:pt x="7449" y="8523"/>
                    <a:pt x="12662" y="8523"/>
                  </a:cubicBezTo>
                  <a:cubicBezTo>
                    <a:pt x="16773" y="8523"/>
                    <a:pt x="20745" y="7648"/>
                    <a:pt x="22793" y="5870"/>
                  </a:cubicBezTo>
                  <a:cubicBezTo>
                    <a:pt x="24450" y="4357"/>
                    <a:pt x="25350" y="2269"/>
                    <a:pt x="25782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" name="Google Shape;109;p2"/>
            <p:cNvSpPr/>
            <p:nvPr/>
          </p:nvSpPr>
          <p:spPr>
            <a:xfrm>
              <a:off x="174200" y="1521625"/>
              <a:ext cx="278175" cy="288975"/>
            </a:xfrm>
            <a:custGeom>
              <a:avLst/>
              <a:gdLst/>
              <a:ahLst/>
              <a:cxnLst/>
              <a:rect l="l" t="t" r="r" b="b"/>
              <a:pathLst>
                <a:path w="11127" h="11559" extrusionOk="0">
                  <a:moveTo>
                    <a:pt x="9470" y="0"/>
                  </a:moveTo>
                  <a:cubicBezTo>
                    <a:pt x="4825" y="757"/>
                    <a:pt x="1" y="6914"/>
                    <a:pt x="3745" y="11559"/>
                  </a:cubicBezTo>
                  <a:cubicBezTo>
                    <a:pt x="3169" y="8714"/>
                    <a:pt x="3925" y="5401"/>
                    <a:pt x="5870" y="3169"/>
                  </a:cubicBezTo>
                  <a:cubicBezTo>
                    <a:pt x="7202" y="1513"/>
                    <a:pt x="9002" y="468"/>
                    <a:pt x="1112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" name="Google Shape;110;p2"/>
            <p:cNvSpPr/>
            <p:nvPr/>
          </p:nvSpPr>
          <p:spPr>
            <a:xfrm>
              <a:off x="456175" y="1173175"/>
              <a:ext cx="401275" cy="251250"/>
            </a:xfrm>
            <a:custGeom>
              <a:avLst/>
              <a:gdLst/>
              <a:ahLst/>
              <a:cxnLst/>
              <a:rect l="l" t="t" r="r" b="b"/>
              <a:pathLst>
                <a:path w="16051" h="10050" extrusionOk="0">
                  <a:moveTo>
                    <a:pt x="12744" y="0"/>
                  </a:moveTo>
                  <a:cubicBezTo>
                    <a:pt x="8858" y="0"/>
                    <a:pt x="0" y="3170"/>
                    <a:pt x="2692" y="8393"/>
                  </a:cubicBezTo>
                  <a:cubicBezTo>
                    <a:pt x="2980" y="9005"/>
                    <a:pt x="3268" y="9582"/>
                    <a:pt x="3592" y="10050"/>
                  </a:cubicBezTo>
                  <a:cubicBezTo>
                    <a:pt x="3124" y="8681"/>
                    <a:pt x="3124" y="7025"/>
                    <a:pt x="3736" y="5693"/>
                  </a:cubicBezTo>
                  <a:cubicBezTo>
                    <a:pt x="4781" y="3280"/>
                    <a:pt x="7049" y="1804"/>
                    <a:pt x="9425" y="1192"/>
                  </a:cubicBezTo>
                  <a:cubicBezTo>
                    <a:pt x="10123" y="1080"/>
                    <a:pt x="10842" y="1012"/>
                    <a:pt x="11558" y="1012"/>
                  </a:cubicBezTo>
                  <a:cubicBezTo>
                    <a:pt x="12689" y="1012"/>
                    <a:pt x="13812" y="1183"/>
                    <a:pt x="14826" y="1624"/>
                  </a:cubicBezTo>
                  <a:cubicBezTo>
                    <a:pt x="15295" y="1804"/>
                    <a:pt x="15583" y="2092"/>
                    <a:pt x="16051" y="2236"/>
                  </a:cubicBezTo>
                  <a:cubicBezTo>
                    <a:pt x="15295" y="1192"/>
                    <a:pt x="14682" y="292"/>
                    <a:pt x="13926" y="148"/>
                  </a:cubicBezTo>
                  <a:cubicBezTo>
                    <a:pt x="13629" y="49"/>
                    <a:pt x="13225" y="0"/>
                    <a:pt x="12744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" name="Google Shape;111;p2"/>
            <p:cNvSpPr/>
            <p:nvPr/>
          </p:nvSpPr>
          <p:spPr>
            <a:xfrm>
              <a:off x="987950" y="1152825"/>
              <a:ext cx="382600" cy="177975"/>
            </a:xfrm>
            <a:custGeom>
              <a:avLst/>
              <a:gdLst/>
              <a:ahLst/>
              <a:cxnLst/>
              <a:rect l="l" t="t" r="r" b="b"/>
              <a:pathLst>
                <a:path w="15304" h="7119" extrusionOk="0">
                  <a:moveTo>
                    <a:pt x="5703" y="1"/>
                  </a:moveTo>
                  <a:cubicBezTo>
                    <a:pt x="4255" y="1"/>
                    <a:pt x="2930" y="408"/>
                    <a:pt x="1981" y="1394"/>
                  </a:cubicBezTo>
                  <a:cubicBezTo>
                    <a:pt x="1081" y="2294"/>
                    <a:pt x="469" y="3662"/>
                    <a:pt x="1" y="5319"/>
                  </a:cubicBezTo>
                  <a:cubicBezTo>
                    <a:pt x="1657" y="3194"/>
                    <a:pt x="4213" y="1718"/>
                    <a:pt x="6914" y="1718"/>
                  </a:cubicBezTo>
                  <a:cubicBezTo>
                    <a:pt x="10371" y="1718"/>
                    <a:pt x="13683" y="3950"/>
                    <a:pt x="15160" y="7119"/>
                  </a:cubicBezTo>
                  <a:cubicBezTo>
                    <a:pt x="15160" y="6795"/>
                    <a:pt x="15304" y="6507"/>
                    <a:pt x="15304" y="6219"/>
                  </a:cubicBezTo>
                  <a:cubicBezTo>
                    <a:pt x="15304" y="3531"/>
                    <a:pt x="9967" y="1"/>
                    <a:pt x="570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" name="Google Shape;112;p2"/>
            <p:cNvSpPr/>
            <p:nvPr/>
          </p:nvSpPr>
          <p:spPr>
            <a:xfrm>
              <a:off x="707100" y="1761975"/>
              <a:ext cx="318675" cy="359300"/>
            </a:xfrm>
            <a:custGeom>
              <a:avLst/>
              <a:gdLst/>
              <a:ahLst/>
              <a:cxnLst/>
              <a:rect l="l" t="t" r="r" b="b"/>
              <a:pathLst>
                <a:path w="12747" h="14372" extrusionOk="0">
                  <a:moveTo>
                    <a:pt x="10190" y="0"/>
                  </a:moveTo>
                  <a:cubicBezTo>
                    <a:pt x="7058" y="1477"/>
                    <a:pt x="4033" y="3457"/>
                    <a:pt x="1513" y="5833"/>
                  </a:cubicBezTo>
                  <a:cubicBezTo>
                    <a:pt x="757" y="6445"/>
                    <a:pt x="1" y="7490"/>
                    <a:pt x="433" y="8246"/>
                  </a:cubicBezTo>
                  <a:cubicBezTo>
                    <a:pt x="739" y="8646"/>
                    <a:pt x="1168" y="8846"/>
                    <a:pt x="1589" y="8846"/>
                  </a:cubicBezTo>
                  <a:cubicBezTo>
                    <a:pt x="1813" y="8846"/>
                    <a:pt x="2034" y="8790"/>
                    <a:pt x="2233" y="8678"/>
                  </a:cubicBezTo>
                  <a:cubicBezTo>
                    <a:pt x="2845" y="8534"/>
                    <a:pt x="3457" y="7958"/>
                    <a:pt x="3889" y="7490"/>
                  </a:cubicBezTo>
                  <a:cubicBezTo>
                    <a:pt x="5400" y="5717"/>
                    <a:pt x="6910" y="4063"/>
                    <a:pt x="8420" y="2421"/>
                  </a:cubicBezTo>
                  <a:lnTo>
                    <a:pt x="8420" y="2421"/>
                  </a:lnTo>
                  <a:cubicBezTo>
                    <a:pt x="6210" y="4886"/>
                    <a:pt x="4418" y="7845"/>
                    <a:pt x="3133" y="11090"/>
                  </a:cubicBezTo>
                  <a:cubicBezTo>
                    <a:pt x="2989" y="11558"/>
                    <a:pt x="2701" y="12135"/>
                    <a:pt x="2701" y="12747"/>
                  </a:cubicBezTo>
                  <a:cubicBezTo>
                    <a:pt x="2845" y="13359"/>
                    <a:pt x="3133" y="13935"/>
                    <a:pt x="3601" y="14259"/>
                  </a:cubicBezTo>
                  <a:cubicBezTo>
                    <a:pt x="3763" y="14337"/>
                    <a:pt x="3930" y="14371"/>
                    <a:pt x="4098" y="14371"/>
                  </a:cubicBezTo>
                  <a:cubicBezTo>
                    <a:pt x="4864" y="14371"/>
                    <a:pt x="5656" y="13655"/>
                    <a:pt x="6158" y="13035"/>
                  </a:cubicBezTo>
                  <a:cubicBezTo>
                    <a:pt x="7743" y="11215"/>
                    <a:pt x="8921" y="9084"/>
                    <a:pt x="9634" y="6818"/>
                  </a:cubicBezTo>
                  <a:lnTo>
                    <a:pt x="9634" y="6818"/>
                  </a:lnTo>
                  <a:cubicBezTo>
                    <a:pt x="9486" y="7913"/>
                    <a:pt x="9590" y="9084"/>
                    <a:pt x="9902" y="10190"/>
                  </a:cubicBezTo>
                  <a:cubicBezTo>
                    <a:pt x="10046" y="10802"/>
                    <a:pt x="10334" y="11558"/>
                    <a:pt x="11091" y="11702"/>
                  </a:cubicBezTo>
                  <a:cubicBezTo>
                    <a:pt x="11168" y="11721"/>
                    <a:pt x="11245" y="11729"/>
                    <a:pt x="11321" y="11729"/>
                  </a:cubicBezTo>
                  <a:cubicBezTo>
                    <a:pt x="11850" y="11729"/>
                    <a:pt x="12333" y="11324"/>
                    <a:pt x="12459" y="10946"/>
                  </a:cubicBezTo>
                  <a:cubicBezTo>
                    <a:pt x="12747" y="10334"/>
                    <a:pt x="12747" y="9758"/>
                    <a:pt x="12747" y="9146"/>
                  </a:cubicBezTo>
                  <a:cubicBezTo>
                    <a:pt x="12747" y="6157"/>
                    <a:pt x="12135" y="3133"/>
                    <a:pt x="10190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" name="Google Shape;113;p2"/>
            <p:cNvSpPr/>
            <p:nvPr/>
          </p:nvSpPr>
          <p:spPr>
            <a:xfrm>
              <a:off x="714300" y="1349400"/>
              <a:ext cx="281775" cy="412600"/>
            </a:xfrm>
            <a:custGeom>
              <a:avLst/>
              <a:gdLst/>
              <a:ahLst/>
              <a:cxnLst/>
              <a:rect l="l" t="t" r="r" b="b"/>
              <a:pathLst>
                <a:path w="11271" h="16504" extrusionOk="0">
                  <a:moveTo>
                    <a:pt x="1443" y="1"/>
                  </a:moveTo>
                  <a:cubicBezTo>
                    <a:pt x="1206" y="1"/>
                    <a:pt x="970" y="87"/>
                    <a:pt x="757" y="300"/>
                  </a:cubicBezTo>
                  <a:cubicBezTo>
                    <a:pt x="1" y="732"/>
                    <a:pt x="325" y="1956"/>
                    <a:pt x="613" y="2857"/>
                  </a:cubicBezTo>
                  <a:cubicBezTo>
                    <a:pt x="1945" y="5557"/>
                    <a:pt x="3601" y="8078"/>
                    <a:pt x="5726" y="10202"/>
                  </a:cubicBezTo>
                  <a:cubicBezTo>
                    <a:pt x="5114" y="10202"/>
                    <a:pt x="4645" y="9446"/>
                    <a:pt x="4213" y="8978"/>
                  </a:cubicBezTo>
                  <a:cubicBezTo>
                    <a:pt x="3963" y="8747"/>
                    <a:pt x="3589" y="8598"/>
                    <a:pt x="3251" y="8598"/>
                  </a:cubicBezTo>
                  <a:cubicBezTo>
                    <a:pt x="2957" y="8598"/>
                    <a:pt x="2691" y="8710"/>
                    <a:pt x="2557" y="8978"/>
                  </a:cubicBezTo>
                  <a:cubicBezTo>
                    <a:pt x="2269" y="9302"/>
                    <a:pt x="2701" y="9878"/>
                    <a:pt x="3025" y="10202"/>
                  </a:cubicBezTo>
                  <a:cubicBezTo>
                    <a:pt x="5258" y="12759"/>
                    <a:pt x="7958" y="14847"/>
                    <a:pt x="10803" y="16503"/>
                  </a:cubicBezTo>
                  <a:cubicBezTo>
                    <a:pt x="11271" y="12759"/>
                    <a:pt x="10046" y="9302"/>
                    <a:pt x="8246" y="6133"/>
                  </a:cubicBezTo>
                  <a:cubicBezTo>
                    <a:pt x="8102" y="5845"/>
                    <a:pt x="7958" y="5557"/>
                    <a:pt x="7670" y="5557"/>
                  </a:cubicBezTo>
                  <a:cubicBezTo>
                    <a:pt x="7580" y="5531"/>
                    <a:pt x="7494" y="5518"/>
                    <a:pt x="7412" y="5518"/>
                  </a:cubicBezTo>
                  <a:cubicBezTo>
                    <a:pt x="6940" y="5518"/>
                    <a:pt x="6626" y="5935"/>
                    <a:pt x="6626" y="6457"/>
                  </a:cubicBezTo>
                  <a:cubicBezTo>
                    <a:pt x="6446" y="6889"/>
                    <a:pt x="6770" y="7502"/>
                    <a:pt x="7058" y="7934"/>
                  </a:cubicBezTo>
                  <a:cubicBezTo>
                    <a:pt x="7202" y="8402"/>
                    <a:pt x="7526" y="8834"/>
                    <a:pt x="7526" y="9302"/>
                  </a:cubicBezTo>
                  <a:cubicBezTo>
                    <a:pt x="6446" y="6601"/>
                    <a:pt x="5114" y="3901"/>
                    <a:pt x="3457" y="1488"/>
                  </a:cubicBezTo>
                  <a:cubicBezTo>
                    <a:pt x="3169" y="1056"/>
                    <a:pt x="2701" y="588"/>
                    <a:pt x="2269" y="300"/>
                  </a:cubicBezTo>
                  <a:cubicBezTo>
                    <a:pt x="2014" y="124"/>
                    <a:pt x="1727" y="1"/>
                    <a:pt x="144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" name="Google Shape;114;p2"/>
            <p:cNvSpPr/>
            <p:nvPr/>
          </p:nvSpPr>
          <p:spPr>
            <a:xfrm>
              <a:off x="987950" y="1325100"/>
              <a:ext cx="214275" cy="433300"/>
            </a:xfrm>
            <a:custGeom>
              <a:avLst/>
              <a:gdLst/>
              <a:ahLst/>
              <a:cxnLst/>
              <a:rect l="l" t="t" r="r" b="b"/>
              <a:pathLst>
                <a:path w="8571" h="17332" extrusionOk="0">
                  <a:moveTo>
                    <a:pt x="7478" y="1"/>
                  </a:moveTo>
                  <a:cubicBezTo>
                    <a:pt x="6859" y="1"/>
                    <a:pt x="6188" y="523"/>
                    <a:pt x="5870" y="948"/>
                  </a:cubicBezTo>
                  <a:cubicBezTo>
                    <a:pt x="4439" y="2822"/>
                    <a:pt x="3427" y="4922"/>
                    <a:pt x="2804" y="7186"/>
                  </a:cubicBezTo>
                  <a:lnTo>
                    <a:pt x="2804" y="7186"/>
                  </a:lnTo>
                  <a:cubicBezTo>
                    <a:pt x="2758" y="6892"/>
                    <a:pt x="2432" y="6673"/>
                    <a:pt x="2125" y="6673"/>
                  </a:cubicBezTo>
                  <a:cubicBezTo>
                    <a:pt x="2063" y="6654"/>
                    <a:pt x="2001" y="6645"/>
                    <a:pt x="1940" y="6645"/>
                  </a:cubicBezTo>
                  <a:cubicBezTo>
                    <a:pt x="1544" y="6645"/>
                    <a:pt x="1182" y="7024"/>
                    <a:pt x="901" y="7429"/>
                  </a:cubicBezTo>
                  <a:cubicBezTo>
                    <a:pt x="757" y="7717"/>
                    <a:pt x="613" y="8329"/>
                    <a:pt x="613" y="8762"/>
                  </a:cubicBezTo>
                  <a:cubicBezTo>
                    <a:pt x="469" y="11606"/>
                    <a:pt x="181" y="14451"/>
                    <a:pt x="1" y="17331"/>
                  </a:cubicBezTo>
                  <a:cubicBezTo>
                    <a:pt x="3025" y="14451"/>
                    <a:pt x="5582" y="11174"/>
                    <a:pt x="8102" y="7861"/>
                  </a:cubicBezTo>
                  <a:cubicBezTo>
                    <a:pt x="8282" y="7573"/>
                    <a:pt x="8570" y="7249"/>
                    <a:pt x="8282" y="6961"/>
                  </a:cubicBezTo>
                  <a:cubicBezTo>
                    <a:pt x="8166" y="6742"/>
                    <a:pt x="8018" y="6661"/>
                    <a:pt x="7854" y="6661"/>
                  </a:cubicBezTo>
                  <a:cubicBezTo>
                    <a:pt x="7559" y="6661"/>
                    <a:pt x="7214" y="6920"/>
                    <a:pt x="6914" y="7105"/>
                  </a:cubicBezTo>
                  <a:cubicBezTo>
                    <a:pt x="6158" y="8005"/>
                    <a:pt x="5402" y="8762"/>
                    <a:pt x="4682" y="9518"/>
                  </a:cubicBezTo>
                  <a:cubicBezTo>
                    <a:pt x="6482" y="7249"/>
                    <a:pt x="7814" y="4729"/>
                    <a:pt x="8426" y="1848"/>
                  </a:cubicBezTo>
                  <a:cubicBezTo>
                    <a:pt x="8570" y="1272"/>
                    <a:pt x="8570" y="516"/>
                    <a:pt x="8102" y="228"/>
                  </a:cubicBezTo>
                  <a:cubicBezTo>
                    <a:pt x="7913" y="67"/>
                    <a:pt x="7699" y="1"/>
                    <a:pt x="7478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" name="Google Shape;115;p2"/>
            <p:cNvSpPr/>
            <p:nvPr/>
          </p:nvSpPr>
          <p:spPr>
            <a:xfrm>
              <a:off x="508175" y="1675550"/>
              <a:ext cx="479800" cy="163525"/>
            </a:xfrm>
            <a:custGeom>
              <a:avLst/>
              <a:gdLst/>
              <a:ahLst/>
              <a:cxnLst/>
              <a:rect l="l" t="t" r="r" b="b"/>
              <a:pathLst>
                <a:path w="19192" h="6541" extrusionOk="0">
                  <a:moveTo>
                    <a:pt x="11270" y="1"/>
                  </a:moveTo>
                  <a:cubicBezTo>
                    <a:pt x="10802" y="145"/>
                    <a:pt x="10190" y="613"/>
                    <a:pt x="10370" y="1045"/>
                  </a:cubicBezTo>
                  <a:cubicBezTo>
                    <a:pt x="10370" y="1415"/>
                    <a:pt x="10586" y="1638"/>
                    <a:pt x="10890" y="1787"/>
                  </a:cubicBezTo>
                  <a:lnTo>
                    <a:pt x="10890" y="1787"/>
                  </a:lnTo>
                  <a:cubicBezTo>
                    <a:pt x="8117" y="1062"/>
                    <a:pt x="5323" y="613"/>
                    <a:pt x="2557" y="613"/>
                  </a:cubicBezTo>
                  <a:cubicBezTo>
                    <a:pt x="2088" y="613"/>
                    <a:pt x="1512" y="613"/>
                    <a:pt x="1044" y="901"/>
                  </a:cubicBezTo>
                  <a:cubicBezTo>
                    <a:pt x="612" y="1045"/>
                    <a:pt x="144" y="1513"/>
                    <a:pt x="144" y="2089"/>
                  </a:cubicBezTo>
                  <a:cubicBezTo>
                    <a:pt x="0" y="2989"/>
                    <a:pt x="1368" y="3601"/>
                    <a:pt x="2268" y="3745"/>
                  </a:cubicBezTo>
                  <a:cubicBezTo>
                    <a:pt x="4213" y="4033"/>
                    <a:pt x="6013" y="4213"/>
                    <a:pt x="7958" y="4213"/>
                  </a:cubicBezTo>
                  <a:cubicBezTo>
                    <a:pt x="7489" y="4501"/>
                    <a:pt x="6913" y="4501"/>
                    <a:pt x="6301" y="4501"/>
                  </a:cubicBezTo>
                  <a:cubicBezTo>
                    <a:pt x="5869" y="4501"/>
                    <a:pt x="5257" y="4501"/>
                    <a:pt x="4789" y="4789"/>
                  </a:cubicBezTo>
                  <a:cubicBezTo>
                    <a:pt x="4357" y="5114"/>
                    <a:pt x="4069" y="5834"/>
                    <a:pt x="4501" y="6302"/>
                  </a:cubicBezTo>
                  <a:cubicBezTo>
                    <a:pt x="4670" y="6470"/>
                    <a:pt x="4900" y="6540"/>
                    <a:pt x="5149" y="6540"/>
                  </a:cubicBezTo>
                  <a:cubicBezTo>
                    <a:pt x="5325" y="6540"/>
                    <a:pt x="5510" y="6505"/>
                    <a:pt x="5689" y="6446"/>
                  </a:cubicBezTo>
                  <a:cubicBezTo>
                    <a:pt x="10370" y="6014"/>
                    <a:pt x="14871" y="4934"/>
                    <a:pt x="19192" y="3133"/>
                  </a:cubicBezTo>
                  <a:cubicBezTo>
                    <a:pt x="17103" y="2233"/>
                    <a:pt x="15015" y="1333"/>
                    <a:pt x="12746" y="433"/>
                  </a:cubicBezTo>
                  <a:cubicBezTo>
                    <a:pt x="12314" y="145"/>
                    <a:pt x="11846" y="1"/>
                    <a:pt x="11270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" name="Google Shape;116;p2"/>
            <p:cNvSpPr/>
            <p:nvPr/>
          </p:nvSpPr>
          <p:spPr>
            <a:xfrm>
              <a:off x="969950" y="1606125"/>
              <a:ext cx="476225" cy="211675"/>
            </a:xfrm>
            <a:custGeom>
              <a:avLst/>
              <a:gdLst/>
              <a:ahLst/>
              <a:cxnLst/>
              <a:rect l="l" t="t" r="r" b="b"/>
              <a:pathLst>
                <a:path w="19049" h="8467" extrusionOk="0">
                  <a:moveTo>
                    <a:pt x="14234" y="1"/>
                  </a:moveTo>
                  <a:cubicBezTo>
                    <a:pt x="13101" y="1"/>
                    <a:pt x="11891" y="477"/>
                    <a:pt x="10803" y="977"/>
                  </a:cubicBezTo>
                  <a:cubicBezTo>
                    <a:pt x="7202" y="2490"/>
                    <a:pt x="3601" y="3966"/>
                    <a:pt x="1" y="5622"/>
                  </a:cubicBezTo>
                  <a:cubicBezTo>
                    <a:pt x="3133" y="7422"/>
                    <a:pt x="7022" y="8323"/>
                    <a:pt x="10947" y="8467"/>
                  </a:cubicBezTo>
                  <a:cubicBezTo>
                    <a:pt x="11379" y="8467"/>
                    <a:pt x="11703" y="8467"/>
                    <a:pt x="11991" y="8323"/>
                  </a:cubicBezTo>
                  <a:cubicBezTo>
                    <a:pt x="12423" y="7891"/>
                    <a:pt x="12279" y="7278"/>
                    <a:pt x="11847" y="6990"/>
                  </a:cubicBezTo>
                  <a:cubicBezTo>
                    <a:pt x="11379" y="6666"/>
                    <a:pt x="10803" y="6666"/>
                    <a:pt x="10190" y="6666"/>
                  </a:cubicBezTo>
                  <a:cubicBezTo>
                    <a:pt x="12423" y="6666"/>
                    <a:pt x="14835" y="6378"/>
                    <a:pt x="16924" y="5478"/>
                  </a:cubicBezTo>
                  <a:cubicBezTo>
                    <a:pt x="17536" y="5334"/>
                    <a:pt x="18004" y="5010"/>
                    <a:pt x="18436" y="4722"/>
                  </a:cubicBezTo>
                  <a:cubicBezTo>
                    <a:pt x="18724" y="4290"/>
                    <a:pt x="19048" y="3822"/>
                    <a:pt x="18904" y="3390"/>
                  </a:cubicBezTo>
                  <a:cubicBezTo>
                    <a:pt x="18580" y="2778"/>
                    <a:pt x="17824" y="2634"/>
                    <a:pt x="17104" y="2634"/>
                  </a:cubicBezTo>
                  <a:cubicBezTo>
                    <a:pt x="16797" y="2609"/>
                    <a:pt x="16481" y="2597"/>
                    <a:pt x="16159" y="2597"/>
                  </a:cubicBezTo>
                  <a:cubicBezTo>
                    <a:pt x="14589" y="2597"/>
                    <a:pt x="12872" y="2882"/>
                    <a:pt x="11379" y="3390"/>
                  </a:cubicBezTo>
                  <a:cubicBezTo>
                    <a:pt x="12603" y="2778"/>
                    <a:pt x="13791" y="2165"/>
                    <a:pt x="14979" y="1409"/>
                  </a:cubicBezTo>
                  <a:cubicBezTo>
                    <a:pt x="15303" y="1265"/>
                    <a:pt x="15736" y="977"/>
                    <a:pt x="15591" y="509"/>
                  </a:cubicBezTo>
                  <a:cubicBezTo>
                    <a:pt x="15591" y="221"/>
                    <a:pt x="15303" y="77"/>
                    <a:pt x="14979" y="77"/>
                  </a:cubicBezTo>
                  <a:cubicBezTo>
                    <a:pt x="14736" y="24"/>
                    <a:pt x="14487" y="1"/>
                    <a:pt x="14234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" name="Google Shape;117;p2"/>
            <p:cNvSpPr/>
            <p:nvPr/>
          </p:nvSpPr>
          <p:spPr>
            <a:xfrm>
              <a:off x="807925" y="1589125"/>
              <a:ext cx="172850" cy="164775"/>
            </a:xfrm>
            <a:custGeom>
              <a:avLst/>
              <a:gdLst/>
              <a:ahLst/>
              <a:cxnLst/>
              <a:rect l="l" t="t" r="r" b="b"/>
              <a:pathLst>
                <a:path w="6914" h="6591" extrusionOk="0">
                  <a:moveTo>
                    <a:pt x="612" y="1"/>
                  </a:moveTo>
                  <a:lnTo>
                    <a:pt x="0" y="289"/>
                  </a:lnTo>
                  <a:cubicBezTo>
                    <a:pt x="180" y="613"/>
                    <a:pt x="2413" y="5402"/>
                    <a:pt x="6770" y="6590"/>
                  </a:cubicBezTo>
                  <a:lnTo>
                    <a:pt x="6914" y="5870"/>
                  </a:lnTo>
                  <a:cubicBezTo>
                    <a:pt x="2881" y="4790"/>
                    <a:pt x="612" y="145"/>
                    <a:pt x="612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" name="Google Shape;118;p2"/>
            <p:cNvSpPr/>
            <p:nvPr/>
          </p:nvSpPr>
          <p:spPr>
            <a:xfrm>
              <a:off x="785425" y="1551325"/>
              <a:ext cx="49525" cy="53800"/>
            </a:xfrm>
            <a:custGeom>
              <a:avLst/>
              <a:gdLst/>
              <a:ahLst/>
              <a:cxnLst/>
              <a:rect l="l" t="t" r="r" b="b"/>
              <a:pathLst>
                <a:path w="1981" h="2152" extrusionOk="0">
                  <a:moveTo>
                    <a:pt x="1080" y="1"/>
                  </a:moveTo>
                  <a:cubicBezTo>
                    <a:pt x="468" y="1"/>
                    <a:pt x="0" y="469"/>
                    <a:pt x="0" y="901"/>
                  </a:cubicBezTo>
                  <a:cubicBezTo>
                    <a:pt x="0" y="1513"/>
                    <a:pt x="468" y="2125"/>
                    <a:pt x="900" y="2125"/>
                  </a:cubicBezTo>
                  <a:cubicBezTo>
                    <a:pt x="976" y="2143"/>
                    <a:pt x="1047" y="2151"/>
                    <a:pt x="1113" y="2151"/>
                  </a:cubicBezTo>
                  <a:cubicBezTo>
                    <a:pt x="1579" y="2151"/>
                    <a:pt x="1800" y="1730"/>
                    <a:pt x="1800" y="1225"/>
                  </a:cubicBezTo>
                  <a:cubicBezTo>
                    <a:pt x="1981" y="613"/>
                    <a:pt x="1512" y="181"/>
                    <a:pt x="1080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" name="Google Shape;119;p2"/>
            <p:cNvSpPr/>
            <p:nvPr/>
          </p:nvSpPr>
          <p:spPr>
            <a:xfrm>
              <a:off x="707100" y="1443300"/>
              <a:ext cx="292575" cy="312500"/>
            </a:xfrm>
            <a:custGeom>
              <a:avLst/>
              <a:gdLst/>
              <a:ahLst/>
              <a:cxnLst/>
              <a:rect l="l" t="t" r="r" b="b"/>
              <a:pathLst>
                <a:path w="11703" h="12500" extrusionOk="0">
                  <a:moveTo>
                    <a:pt x="3313" y="1"/>
                  </a:moveTo>
                  <a:lnTo>
                    <a:pt x="2701" y="433"/>
                  </a:lnTo>
                  <a:cubicBezTo>
                    <a:pt x="2845" y="577"/>
                    <a:pt x="6590" y="6878"/>
                    <a:pt x="10334" y="10335"/>
                  </a:cubicBezTo>
                  <a:cubicBezTo>
                    <a:pt x="10803" y="10947"/>
                    <a:pt x="11091" y="11235"/>
                    <a:pt x="10947" y="11379"/>
                  </a:cubicBezTo>
                  <a:cubicBezTo>
                    <a:pt x="10947" y="11523"/>
                    <a:pt x="10803" y="11703"/>
                    <a:pt x="10659" y="11703"/>
                  </a:cubicBezTo>
                  <a:cubicBezTo>
                    <a:pt x="10485" y="11745"/>
                    <a:pt x="10281" y="11766"/>
                    <a:pt x="10050" y="11766"/>
                  </a:cubicBezTo>
                  <a:cubicBezTo>
                    <a:pt x="7889" y="11766"/>
                    <a:pt x="3426" y="9929"/>
                    <a:pt x="433" y="6122"/>
                  </a:cubicBezTo>
                  <a:lnTo>
                    <a:pt x="1" y="6590"/>
                  </a:lnTo>
                  <a:cubicBezTo>
                    <a:pt x="3213" y="10734"/>
                    <a:pt x="7859" y="12499"/>
                    <a:pt x="10102" y="12499"/>
                  </a:cubicBezTo>
                  <a:cubicBezTo>
                    <a:pt x="10373" y="12499"/>
                    <a:pt x="10609" y="12474"/>
                    <a:pt x="10803" y="12423"/>
                  </a:cubicBezTo>
                  <a:lnTo>
                    <a:pt x="11091" y="12423"/>
                  </a:lnTo>
                  <a:cubicBezTo>
                    <a:pt x="11559" y="12135"/>
                    <a:pt x="11703" y="11847"/>
                    <a:pt x="11703" y="11703"/>
                  </a:cubicBezTo>
                  <a:cubicBezTo>
                    <a:pt x="11703" y="11091"/>
                    <a:pt x="11415" y="10479"/>
                    <a:pt x="10659" y="9903"/>
                  </a:cubicBezTo>
                  <a:cubicBezTo>
                    <a:pt x="7058" y="6446"/>
                    <a:pt x="3313" y="1"/>
                    <a:pt x="3313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" name="Google Shape;120;p2"/>
            <p:cNvSpPr/>
            <p:nvPr/>
          </p:nvSpPr>
          <p:spPr>
            <a:xfrm>
              <a:off x="748500" y="1406300"/>
              <a:ext cx="48650" cy="50725"/>
            </a:xfrm>
            <a:custGeom>
              <a:avLst/>
              <a:gdLst/>
              <a:ahLst/>
              <a:cxnLst/>
              <a:rect l="l" t="t" r="r" b="b"/>
              <a:pathLst>
                <a:path w="1946" h="2029" extrusionOk="0">
                  <a:moveTo>
                    <a:pt x="941" y="0"/>
                  </a:moveTo>
                  <a:cubicBezTo>
                    <a:pt x="823" y="0"/>
                    <a:pt x="701" y="36"/>
                    <a:pt x="577" y="113"/>
                  </a:cubicBezTo>
                  <a:cubicBezTo>
                    <a:pt x="145" y="257"/>
                    <a:pt x="1" y="869"/>
                    <a:pt x="289" y="1481"/>
                  </a:cubicBezTo>
                  <a:cubicBezTo>
                    <a:pt x="497" y="1792"/>
                    <a:pt x="798" y="2029"/>
                    <a:pt x="1111" y="2029"/>
                  </a:cubicBezTo>
                  <a:cubicBezTo>
                    <a:pt x="1233" y="2029"/>
                    <a:pt x="1356" y="1993"/>
                    <a:pt x="1477" y="1913"/>
                  </a:cubicBezTo>
                  <a:cubicBezTo>
                    <a:pt x="1801" y="1769"/>
                    <a:pt x="1945" y="1157"/>
                    <a:pt x="1801" y="725"/>
                  </a:cubicBezTo>
                  <a:cubicBezTo>
                    <a:pt x="1563" y="275"/>
                    <a:pt x="1267" y="0"/>
                    <a:pt x="941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" name="Google Shape;121;p2"/>
            <p:cNvSpPr/>
            <p:nvPr/>
          </p:nvSpPr>
          <p:spPr>
            <a:xfrm>
              <a:off x="684600" y="1563750"/>
              <a:ext cx="45025" cy="50725"/>
            </a:xfrm>
            <a:custGeom>
              <a:avLst/>
              <a:gdLst/>
              <a:ahLst/>
              <a:cxnLst/>
              <a:rect l="l" t="t" r="r" b="b"/>
              <a:pathLst>
                <a:path w="1801" h="2029" extrusionOk="0">
                  <a:moveTo>
                    <a:pt x="811" y="1"/>
                  </a:moveTo>
                  <a:cubicBezTo>
                    <a:pt x="688" y="1"/>
                    <a:pt x="562" y="36"/>
                    <a:pt x="432" y="116"/>
                  </a:cubicBezTo>
                  <a:cubicBezTo>
                    <a:pt x="0" y="260"/>
                    <a:pt x="0" y="872"/>
                    <a:pt x="144" y="1304"/>
                  </a:cubicBezTo>
                  <a:cubicBezTo>
                    <a:pt x="356" y="1754"/>
                    <a:pt x="665" y="2028"/>
                    <a:pt x="985" y="2028"/>
                  </a:cubicBezTo>
                  <a:cubicBezTo>
                    <a:pt x="1101" y="2028"/>
                    <a:pt x="1218" y="1993"/>
                    <a:pt x="1333" y="1916"/>
                  </a:cubicBezTo>
                  <a:cubicBezTo>
                    <a:pt x="1801" y="1772"/>
                    <a:pt x="1801" y="1160"/>
                    <a:pt x="1657" y="584"/>
                  </a:cubicBezTo>
                  <a:cubicBezTo>
                    <a:pt x="1422" y="245"/>
                    <a:pt x="1131" y="1"/>
                    <a:pt x="811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" name="Google Shape;122;p2"/>
            <p:cNvSpPr/>
            <p:nvPr/>
          </p:nvSpPr>
          <p:spPr>
            <a:xfrm>
              <a:off x="909650" y="1454100"/>
              <a:ext cx="97225" cy="273675"/>
            </a:xfrm>
            <a:custGeom>
              <a:avLst/>
              <a:gdLst/>
              <a:ahLst/>
              <a:cxnLst/>
              <a:rect l="l" t="t" r="r" b="b"/>
              <a:pathLst>
                <a:path w="3889" h="10947" extrusionOk="0">
                  <a:moveTo>
                    <a:pt x="612" y="1"/>
                  </a:moveTo>
                  <a:lnTo>
                    <a:pt x="0" y="289"/>
                  </a:lnTo>
                  <a:cubicBezTo>
                    <a:pt x="0" y="469"/>
                    <a:pt x="2413" y="5114"/>
                    <a:pt x="3133" y="10947"/>
                  </a:cubicBezTo>
                  <a:lnTo>
                    <a:pt x="3889" y="10947"/>
                  </a:lnTo>
                  <a:cubicBezTo>
                    <a:pt x="2989" y="4970"/>
                    <a:pt x="756" y="145"/>
                    <a:pt x="612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" name="Google Shape;123;p2"/>
            <p:cNvSpPr/>
            <p:nvPr/>
          </p:nvSpPr>
          <p:spPr>
            <a:xfrm>
              <a:off x="883525" y="1417500"/>
              <a:ext cx="52250" cy="52875"/>
            </a:xfrm>
            <a:custGeom>
              <a:avLst/>
              <a:gdLst/>
              <a:ahLst/>
              <a:cxnLst/>
              <a:rect l="l" t="t" r="r" b="b"/>
              <a:pathLst>
                <a:path w="2090" h="2115" extrusionOk="0">
                  <a:moveTo>
                    <a:pt x="999" y="1"/>
                  </a:moveTo>
                  <a:cubicBezTo>
                    <a:pt x="854" y="1"/>
                    <a:pt x="710" y="41"/>
                    <a:pt x="577" y="133"/>
                  </a:cubicBezTo>
                  <a:cubicBezTo>
                    <a:pt x="145" y="277"/>
                    <a:pt x="1" y="853"/>
                    <a:pt x="289" y="1465"/>
                  </a:cubicBezTo>
                  <a:cubicBezTo>
                    <a:pt x="526" y="1851"/>
                    <a:pt x="886" y="2114"/>
                    <a:pt x="1247" y="2114"/>
                  </a:cubicBezTo>
                  <a:cubicBezTo>
                    <a:pt x="1324" y="2114"/>
                    <a:pt x="1401" y="2102"/>
                    <a:pt x="1477" y="2077"/>
                  </a:cubicBezTo>
                  <a:cubicBezTo>
                    <a:pt x="1945" y="1753"/>
                    <a:pt x="2089" y="1177"/>
                    <a:pt x="1945" y="565"/>
                  </a:cubicBezTo>
                  <a:cubicBezTo>
                    <a:pt x="1739" y="255"/>
                    <a:pt x="1366" y="1"/>
                    <a:pt x="999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" name="Google Shape;124;p2"/>
            <p:cNvSpPr/>
            <p:nvPr/>
          </p:nvSpPr>
          <p:spPr>
            <a:xfrm>
              <a:off x="973550" y="1420800"/>
              <a:ext cx="112550" cy="318700"/>
            </a:xfrm>
            <a:custGeom>
              <a:avLst/>
              <a:gdLst/>
              <a:ahLst/>
              <a:cxnLst/>
              <a:rect l="l" t="t" r="r" b="b"/>
              <a:pathLst>
                <a:path w="4502" h="12748" extrusionOk="0">
                  <a:moveTo>
                    <a:pt x="577" y="1"/>
                  </a:moveTo>
                  <a:lnTo>
                    <a:pt x="1" y="289"/>
                  </a:lnTo>
                  <a:cubicBezTo>
                    <a:pt x="3601" y="9903"/>
                    <a:pt x="577" y="11991"/>
                    <a:pt x="433" y="11991"/>
                  </a:cubicBezTo>
                  <a:lnTo>
                    <a:pt x="901" y="12747"/>
                  </a:lnTo>
                  <a:cubicBezTo>
                    <a:pt x="1045" y="12603"/>
                    <a:pt x="4501" y="10335"/>
                    <a:pt x="577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" name="Google Shape;125;p2"/>
            <p:cNvSpPr/>
            <p:nvPr/>
          </p:nvSpPr>
          <p:spPr>
            <a:xfrm>
              <a:off x="947450" y="1380200"/>
              <a:ext cx="48625" cy="52725"/>
            </a:xfrm>
            <a:custGeom>
              <a:avLst/>
              <a:gdLst/>
              <a:ahLst/>
              <a:cxnLst/>
              <a:rect l="l" t="t" r="r" b="b"/>
              <a:pathLst>
                <a:path w="1945" h="2109" extrusionOk="0">
                  <a:moveTo>
                    <a:pt x="940" y="0"/>
                  </a:moveTo>
                  <a:cubicBezTo>
                    <a:pt x="822" y="0"/>
                    <a:pt x="701" y="36"/>
                    <a:pt x="576" y="112"/>
                  </a:cubicBezTo>
                  <a:cubicBezTo>
                    <a:pt x="144" y="400"/>
                    <a:pt x="0" y="1013"/>
                    <a:pt x="144" y="1445"/>
                  </a:cubicBezTo>
                  <a:cubicBezTo>
                    <a:pt x="365" y="1914"/>
                    <a:pt x="777" y="2108"/>
                    <a:pt x="1152" y="2108"/>
                  </a:cubicBezTo>
                  <a:cubicBezTo>
                    <a:pt x="1265" y="2108"/>
                    <a:pt x="1376" y="2090"/>
                    <a:pt x="1477" y="2057"/>
                  </a:cubicBezTo>
                  <a:cubicBezTo>
                    <a:pt x="1801" y="1769"/>
                    <a:pt x="1945" y="1157"/>
                    <a:pt x="1801" y="724"/>
                  </a:cubicBezTo>
                  <a:cubicBezTo>
                    <a:pt x="1563" y="275"/>
                    <a:pt x="1266" y="0"/>
                    <a:pt x="940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26" name="Google Shape;126;p2"/>
          <p:cNvGrpSpPr/>
          <p:nvPr/>
        </p:nvGrpSpPr>
        <p:grpSpPr>
          <a:xfrm>
            <a:off x="347810" y="4467452"/>
            <a:ext cx="720997" cy="472835"/>
            <a:chOff x="2998925" y="1123600"/>
            <a:chExt cx="1154950" cy="757425"/>
          </a:xfrm>
        </p:grpSpPr>
        <p:sp>
          <p:nvSpPr>
            <p:cNvPr id="127" name="Google Shape;127;p2"/>
            <p:cNvSpPr/>
            <p:nvPr/>
          </p:nvSpPr>
          <p:spPr>
            <a:xfrm>
              <a:off x="3133950" y="1299275"/>
              <a:ext cx="318700" cy="211575"/>
            </a:xfrm>
            <a:custGeom>
              <a:avLst/>
              <a:gdLst/>
              <a:ahLst/>
              <a:cxnLst/>
              <a:rect l="l" t="t" r="r" b="b"/>
              <a:pathLst>
                <a:path w="12748" h="8463" extrusionOk="0">
                  <a:moveTo>
                    <a:pt x="3963" y="1"/>
                  </a:moveTo>
                  <a:cubicBezTo>
                    <a:pt x="3276" y="1"/>
                    <a:pt x="2504" y="306"/>
                    <a:pt x="2233" y="937"/>
                  </a:cubicBezTo>
                  <a:cubicBezTo>
                    <a:pt x="1945" y="1693"/>
                    <a:pt x="2089" y="3061"/>
                    <a:pt x="1657" y="3637"/>
                  </a:cubicBezTo>
                  <a:cubicBezTo>
                    <a:pt x="1477" y="3781"/>
                    <a:pt x="1045" y="3961"/>
                    <a:pt x="757" y="4105"/>
                  </a:cubicBezTo>
                  <a:cubicBezTo>
                    <a:pt x="433" y="4250"/>
                    <a:pt x="1" y="4538"/>
                    <a:pt x="1" y="4862"/>
                  </a:cubicBezTo>
                  <a:cubicBezTo>
                    <a:pt x="1" y="5294"/>
                    <a:pt x="433" y="5438"/>
                    <a:pt x="757" y="5582"/>
                  </a:cubicBezTo>
                  <a:cubicBezTo>
                    <a:pt x="1045" y="5582"/>
                    <a:pt x="1333" y="5438"/>
                    <a:pt x="1657" y="5438"/>
                  </a:cubicBezTo>
                  <a:cubicBezTo>
                    <a:pt x="2446" y="5240"/>
                    <a:pt x="3250" y="5145"/>
                    <a:pt x="4048" y="5145"/>
                  </a:cubicBezTo>
                  <a:cubicBezTo>
                    <a:pt x="6892" y="5145"/>
                    <a:pt x="9675" y="6354"/>
                    <a:pt x="11559" y="8462"/>
                  </a:cubicBezTo>
                  <a:cubicBezTo>
                    <a:pt x="11847" y="7994"/>
                    <a:pt x="12135" y="7382"/>
                    <a:pt x="12747" y="6338"/>
                  </a:cubicBezTo>
                  <a:cubicBezTo>
                    <a:pt x="10947" y="3205"/>
                    <a:pt x="8390" y="793"/>
                    <a:pt x="4358" y="37"/>
                  </a:cubicBezTo>
                  <a:cubicBezTo>
                    <a:pt x="4233" y="13"/>
                    <a:pt x="4100" y="1"/>
                    <a:pt x="396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" name="Google Shape;128;p2"/>
            <p:cNvSpPr/>
            <p:nvPr/>
          </p:nvSpPr>
          <p:spPr>
            <a:xfrm>
              <a:off x="3658750" y="1160575"/>
              <a:ext cx="344800" cy="278250"/>
            </a:xfrm>
            <a:custGeom>
              <a:avLst/>
              <a:gdLst/>
              <a:ahLst/>
              <a:cxnLst/>
              <a:rect l="l" t="t" r="r" b="b"/>
              <a:pathLst>
                <a:path w="13792" h="11130" extrusionOk="0">
                  <a:moveTo>
                    <a:pt x="4990" y="1"/>
                  </a:moveTo>
                  <a:cubicBezTo>
                    <a:pt x="4463" y="1"/>
                    <a:pt x="3844" y="331"/>
                    <a:pt x="2989" y="1408"/>
                  </a:cubicBezTo>
                  <a:cubicBezTo>
                    <a:pt x="2089" y="2596"/>
                    <a:pt x="469" y="5909"/>
                    <a:pt x="1" y="9509"/>
                  </a:cubicBezTo>
                  <a:cubicBezTo>
                    <a:pt x="613" y="10230"/>
                    <a:pt x="1189" y="10554"/>
                    <a:pt x="2269" y="11130"/>
                  </a:cubicBezTo>
                  <a:cubicBezTo>
                    <a:pt x="4790" y="8285"/>
                    <a:pt x="8246" y="6053"/>
                    <a:pt x="11847" y="5009"/>
                  </a:cubicBezTo>
                  <a:cubicBezTo>
                    <a:pt x="12747" y="4685"/>
                    <a:pt x="13647" y="4397"/>
                    <a:pt x="13791" y="3640"/>
                  </a:cubicBezTo>
                  <a:cubicBezTo>
                    <a:pt x="13791" y="3208"/>
                    <a:pt x="13647" y="2740"/>
                    <a:pt x="13359" y="2452"/>
                  </a:cubicBezTo>
                  <a:cubicBezTo>
                    <a:pt x="12693" y="1531"/>
                    <a:pt x="11578" y="1058"/>
                    <a:pt x="10385" y="1058"/>
                  </a:cubicBezTo>
                  <a:cubicBezTo>
                    <a:pt x="10225" y="1058"/>
                    <a:pt x="10064" y="1067"/>
                    <a:pt x="9903" y="1084"/>
                  </a:cubicBezTo>
                  <a:cubicBezTo>
                    <a:pt x="9711" y="1110"/>
                    <a:pt x="9509" y="1122"/>
                    <a:pt x="9300" y="1122"/>
                  </a:cubicBezTo>
                  <a:cubicBezTo>
                    <a:pt x="8372" y="1122"/>
                    <a:pt x="7325" y="887"/>
                    <a:pt x="6590" y="652"/>
                  </a:cubicBezTo>
                  <a:cubicBezTo>
                    <a:pt x="6041" y="406"/>
                    <a:pt x="5572" y="1"/>
                    <a:pt x="4990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" name="Google Shape;129;p2"/>
            <p:cNvSpPr/>
            <p:nvPr/>
          </p:nvSpPr>
          <p:spPr>
            <a:xfrm>
              <a:off x="3617350" y="1476625"/>
              <a:ext cx="394300" cy="239450"/>
            </a:xfrm>
            <a:custGeom>
              <a:avLst/>
              <a:gdLst/>
              <a:ahLst/>
              <a:cxnLst/>
              <a:rect l="l" t="t" r="r" b="b"/>
              <a:pathLst>
                <a:path w="15772" h="9578" extrusionOk="0">
                  <a:moveTo>
                    <a:pt x="7058" y="0"/>
                  </a:moveTo>
                  <a:cubicBezTo>
                    <a:pt x="4501" y="0"/>
                    <a:pt x="1945" y="612"/>
                    <a:pt x="1" y="2268"/>
                  </a:cubicBezTo>
                  <a:cubicBezTo>
                    <a:pt x="145" y="2268"/>
                    <a:pt x="325" y="2557"/>
                    <a:pt x="613" y="2845"/>
                  </a:cubicBezTo>
                  <a:cubicBezTo>
                    <a:pt x="901" y="2989"/>
                    <a:pt x="1225" y="3169"/>
                    <a:pt x="1513" y="3169"/>
                  </a:cubicBezTo>
                  <a:cubicBezTo>
                    <a:pt x="4069" y="4069"/>
                    <a:pt x="6302" y="5545"/>
                    <a:pt x="8102" y="7489"/>
                  </a:cubicBezTo>
                  <a:cubicBezTo>
                    <a:pt x="8570" y="8102"/>
                    <a:pt x="9002" y="8714"/>
                    <a:pt x="9758" y="9146"/>
                  </a:cubicBezTo>
                  <a:cubicBezTo>
                    <a:pt x="10110" y="9415"/>
                    <a:pt x="10558" y="9577"/>
                    <a:pt x="10984" y="9577"/>
                  </a:cubicBezTo>
                  <a:cubicBezTo>
                    <a:pt x="11299" y="9577"/>
                    <a:pt x="11602" y="9489"/>
                    <a:pt x="11847" y="9290"/>
                  </a:cubicBezTo>
                  <a:cubicBezTo>
                    <a:pt x="12603" y="8714"/>
                    <a:pt x="12747" y="7670"/>
                    <a:pt x="13359" y="6913"/>
                  </a:cubicBezTo>
                  <a:cubicBezTo>
                    <a:pt x="13647" y="6445"/>
                    <a:pt x="14259" y="6013"/>
                    <a:pt x="14871" y="5689"/>
                  </a:cubicBezTo>
                  <a:cubicBezTo>
                    <a:pt x="15303" y="5257"/>
                    <a:pt x="15772" y="4645"/>
                    <a:pt x="15772" y="4069"/>
                  </a:cubicBezTo>
                  <a:cubicBezTo>
                    <a:pt x="15772" y="3169"/>
                    <a:pt x="15015" y="2557"/>
                    <a:pt x="14115" y="2088"/>
                  </a:cubicBezTo>
                  <a:cubicBezTo>
                    <a:pt x="12027" y="900"/>
                    <a:pt x="9470" y="144"/>
                    <a:pt x="7058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0" name="Google Shape;130;p2"/>
            <p:cNvSpPr/>
            <p:nvPr/>
          </p:nvSpPr>
          <p:spPr>
            <a:xfrm>
              <a:off x="3085350" y="1537725"/>
              <a:ext cx="427600" cy="301150"/>
            </a:xfrm>
            <a:custGeom>
              <a:avLst/>
              <a:gdLst/>
              <a:ahLst/>
              <a:cxnLst/>
              <a:rect l="l" t="t" r="r" b="b"/>
              <a:pathLst>
                <a:path w="17104" h="12046" extrusionOk="0">
                  <a:moveTo>
                    <a:pt x="14888" y="0"/>
                  </a:moveTo>
                  <a:cubicBezTo>
                    <a:pt x="14716" y="0"/>
                    <a:pt x="14552" y="35"/>
                    <a:pt x="14403" y="113"/>
                  </a:cubicBezTo>
                  <a:cubicBezTo>
                    <a:pt x="10334" y="401"/>
                    <a:pt x="4321" y="2813"/>
                    <a:pt x="1045" y="6702"/>
                  </a:cubicBezTo>
                  <a:cubicBezTo>
                    <a:pt x="433" y="7314"/>
                    <a:pt x="1" y="8214"/>
                    <a:pt x="433" y="8970"/>
                  </a:cubicBezTo>
                  <a:cubicBezTo>
                    <a:pt x="730" y="9338"/>
                    <a:pt x="1163" y="9416"/>
                    <a:pt x="1650" y="9416"/>
                  </a:cubicBezTo>
                  <a:cubicBezTo>
                    <a:pt x="2013" y="9416"/>
                    <a:pt x="2404" y="9373"/>
                    <a:pt x="2792" y="9373"/>
                  </a:cubicBezTo>
                  <a:cubicBezTo>
                    <a:pt x="2955" y="9373"/>
                    <a:pt x="3118" y="9380"/>
                    <a:pt x="3277" y="9402"/>
                  </a:cubicBezTo>
                  <a:cubicBezTo>
                    <a:pt x="4321" y="9546"/>
                    <a:pt x="5077" y="10447"/>
                    <a:pt x="5978" y="11203"/>
                  </a:cubicBezTo>
                  <a:cubicBezTo>
                    <a:pt x="6554" y="11594"/>
                    <a:pt x="7440" y="12045"/>
                    <a:pt x="8163" y="12045"/>
                  </a:cubicBezTo>
                  <a:cubicBezTo>
                    <a:pt x="8570" y="12045"/>
                    <a:pt x="8926" y="11903"/>
                    <a:pt x="9146" y="11527"/>
                  </a:cubicBezTo>
                  <a:cubicBezTo>
                    <a:pt x="11847" y="6270"/>
                    <a:pt x="13323" y="4001"/>
                    <a:pt x="17104" y="1769"/>
                  </a:cubicBezTo>
                  <a:cubicBezTo>
                    <a:pt x="16833" y="897"/>
                    <a:pt x="15760" y="0"/>
                    <a:pt x="14888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" name="Google Shape;131;p2"/>
            <p:cNvSpPr/>
            <p:nvPr/>
          </p:nvSpPr>
          <p:spPr>
            <a:xfrm>
              <a:off x="3276175" y="1123600"/>
              <a:ext cx="447450" cy="334125"/>
            </a:xfrm>
            <a:custGeom>
              <a:avLst/>
              <a:gdLst/>
              <a:ahLst/>
              <a:cxnLst/>
              <a:rect l="l" t="t" r="r" b="b"/>
              <a:pathLst>
                <a:path w="17898" h="13365" extrusionOk="0">
                  <a:moveTo>
                    <a:pt x="15388" y="1"/>
                  </a:moveTo>
                  <a:cubicBezTo>
                    <a:pt x="14897" y="1"/>
                    <a:pt x="14354" y="70"/>
                    <a:pt x="13792" y="186"/>
                  </a:cubicBezTo>
                  <a:cubicBezTo>
                    <a:pt x="11091" y="763"/>
                    <a:pt x="8859" y="3175"/>
                    <a:pt x="6014" y="3463"/>
                  </a:cubicBezTo>
                  <a:cubicBezTo>
                    <a:pt x="5834" y="3492"/>
                    <a:pt x="5654" y="3503"/>
                    <a:pt x="5474" y="3503"/>
                  </a:cubicBezTo>
                  <a:cubicBezTo>
                    <a:pt x="4754" y="3503"/>
                    <a:pt x="4034" y="3319"/>
                    <a:pt x="3314" y="3319"/>
                  </a:cubicBezTo>
                  <a:cubicBezTo>
                    <a:pt x="2413" y="3319"/>
                    <a:pt x="1369" y="3463"/>
                    <a:pt x="901" y="4219"/>
                  </a:cubicBezTo>
                  <a:cubicBezTo>
                    <a:pt x="1" y="5263"/>
                    <a:pt x="289" y="6776"/>
                    <a:pt x="1189" y="7676"/>
                  </a:cubicBezTo>
                  <a:cubicBezTo>
                    <a:pt x="1945" y="8720"/>
                    <a:pt x="4970" y="10808"/>
                    <a:pt x="6014" y="13365"/>
                  </a:cubicBezTo>
                  <a:cubicBezTo>
                    <a:pt x="8685" y="13107"/>
                    <a:pt x="12219" y="11642"/>
                    <a:pt x="14534" y="11642"/>
                  </a:cubicBezTo>
                  <a:cubicBezTo>
                    <a:pt x="14809" y="11642"/>
                    <a:pt x="15067" y="11663"/>
                    <a:pt x="15304" y="11709"/>
                  </a:cubicBezTo>
                  <a:cubicBezTo>
                    <a:pt x="16060" y="5731"/>
                    <a:pt x="17248" y="4831"/>
                    <a:pt x="17572" y="2563"/>
                  </a:cubicBezTo>
                  <a:cubicBezTo>
                    <a:pt x="17897" y="640"/>
                    <a:pt x="16878" y="1"/>
                    <a:pt x="15388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" name="Google Shape;132;p2"/>
            <p:cNvSpPr/>
            <p:nvPr/>
          </p:nvSpPr>
          <p:spPr>
            <a:xfrm>
              <a:off x="3400400" y="1231700"/>
              <a:ext cx="247575" cy="207125"/>
            </a:xfrm>
            <a:custGeom>
              <a:avLst/>
              <a:gdLst/>
              <a:ahLst/>
              <a:cxnLst/>
              <a:rect l="l" t="t" r="r" b="b"/>
              <a:pathLst>
                <a:path w="9903" h="8285" extrusionOk="0">
                  <a:moveTo>
                    <a:pt x="3300" y="0"/>
                  </a:moveTo>
                  <a:cubicBezTo>
                    <a:pt x="3244" y="0"/>
                    <a:pt x="3188" y="12"/>
                    <a:pt x="3134" y="39"/>
                  </a:cubicBezTo>
                  <a:cubicBezTo>
                    <a:pt x="2701" y="39"/>
                    <a:pt x="2521" y="363"/>
                    <a:pt x="2521" y="795"/>
                  </a:cubicBezTo>
                  <a:cubicBezTo>
                    <a:pt x="2377" y="1083"/>
                    <a:pt x="2521" y="1552"/>
                    <a:pt x="2521" y="1840"/>
                  </a:cubicBezTo>
                  <a:cubicBezTo>
                    <a:pt x="2701" y="2596"/>
                    <a:pt x="2989" y="3352"/>
                    <a:pt x="3134" y="3964"/>
                  </a:cubicBezTo>
                  <a:cubicBezTo>
                    <a:pt x="3134" y="4396"/>
                    <a:pt x="3278" y="4684"/>
                    <a:pt x="3134" y="5008"/>
                  </a:cubicBezTo>
                  <a:cubicBezTo>
                    <a:pt x="3134" y="5440"/>
                    <a:pt x="2845" y="5764"/>
                    <a:pt x="2521" y="5764"/>
                  </a:cubicBezTo>
                  <a:cubicBezTo>
                    <a:pt x="1945" y="5764"/>
                    <a:pt x="1621" y="5296"/>
                    <a:pt x="1477" y="4864"/>
                  </a:cubicBezTo>
                  <a:cubicBezTo>
                    <a:pt x="1269" y="4525"/>
                    <a:pt x="890" y="4281"/>
                    <a:pt x="588" y="4281"/>
                  </a:cubicBezTo>
                  <a:cubicBezTo>
                    <a:pt x="473" y="4281"/>
                    <a:pt x="369" y="4316"/>
                    <a:pt x="289" y="4396"/>
                  </a:cubicBezTo>
                  <a:cubicBezTo>
                    <a:pt x="1" y="4684"/>
                    <a:pt x="145" y="5296"/>
                    <a:pt x="433" y="5584"/>
                  </a:cubicBezTo>
                  <a:cubicBezTo>
                    <a:pt x="1189" y="6484"/>
                    <a:pt x="1945" y="7385"/>
                    <a:pt x="2701" y="8285"/>
                  </a:cubicBezTo>
                  <a:cubicBezTo>
                    <a:pt x="3890" y="7853"/>
                    <a:pt x="5402" y="7385"/>
                    <a:pt x="6878" y="7385"/>
                  </a:cubicBezTo>
                  <a:cubicBezTo>
                    <a:pt x="7346" y="7385"/>
                    <a:pt x="7778" y="7385"/>
                    <a:pt x="8102" y="7097"/>
                  </a:cubicBezTo>
                  <a:cubicBezTo>
                    <a:pt x="8246" y="6953"/>
                    <a:pt x="8390" y="6664"/>
                    <a:pt x="8390" y="6340"/>
                  </a:cubicBezTo>
                  <a:cubicBezTo>
                    <a:pt x="8823" y="5296"/>
                    <a:pt x="9291" y="4108"/>
                    <a:pt x="9579" y="2884"/>
                  </a:cubicBezTo>
                  <a:cubicBezTo>
                    <a:pt x="9723" y="2452"/>
                    <a:pt x="9903" y="1840"/>
                    <a:pt x="9435" y="1696"/>
                  </a:cubicBezTo>
                  <a:cubicBezTo>
                    <a:pt x="9376" y="1676"/>
                    <a:pt x="9319" y="1667"/>
                    <a:pt x="9265" y="1667"/>
                  </a:cubicBezTo>
                  <a:cubicBezTo>
                    <a:pt x="8918" y="1667"/>
                    <a:pt x="8659" y="2028"/>
                    <a:pt x="8535" y="2308"/>
                  </a:cubicBezTo>
                  <a:cubicBezTo>
                    <a:pt x="8246" y="3064"/>
                    <a:pt x="7922" y="3640"/>
                    <a:pt x="7634" y="4252"/>
                  </a:cubicBezTo>
                  <a:cubicBezTo>
                    <a:pt x="7490" y="4540"/>
                    <a:pt x="7346" y="4864"/>
                    <a:pt x="7022" y="4864"/>
                  </a:cubicBezTo>
                  <a:cubicBezTo>
                    <a:pt x="6734" y="4684"/>
                    <a:pt x="6734" y="4252"/>
                    <a:pt x="6734" y="3964"/>
                  </a:cubicBezTo>
                  <a:cubicBezTo>
                    <a:pt x="6878" y="3352"/>
                    <a:pt x="6878" y="2596"/>
                    <a:pt x="7022" y="1840"/>
                  </a:cubicBezTo>
                  <a:cubicBezTo>
                    <a:pt x="7022" y="1407"/>
                    <a:pt x="6878" y="651"/>
                    <a:pt x="6446" y="651"/>
                  </a:cubicBezTo>
                  <a:cubicBezTo>
                    <a:pt x="5978" y="651"/>
                    <a:pt x="5834" y="1263"/>
                    <a:pt x="5834" y="1696"/>
                  </a:cubicBezTo>
                  <a:lnTo>
                    <a:pt x="5834" y="4108"/>
                  </a:lnTo>
                  <a:cubicBezTo>
                    <a:pt x="5834" y="4396"/>
                    <a:pt x="5690" y="4864"/>
                    <a:pt x="5402" y="4864"/>
                  </a:cubicBezTo>
                  <a:cubicBezTo>
                    <a:pt x="5078" y="4684"/>
                    <a:pt x="5078" y="4540"/>
                    <a:pt x="5078" y="4396"/>
                  </a:cubicBezTo>
                  <a:cubicBezTo>
                    <a:pt x="4790" y="3352"/>
                    <a:pt x="4646" y="2308"/>
                    <a:pt x="4322" y="1407"/>
                  </a:cubicBezTo>
                  <a:cubicBezTo>
                    <a:pt x="4322" y="1083"/>
                    <a:pt x="4178" y="651"/>
                    <a:pt x="4034" y="363"/>
                  </a:cubicBezTo>
                  <a:cubicBezTo>
                    <a:pt x="3800" y="217"/>
                    <a:pt x="3543" y="0"/>
                    <a:pt x="3300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" name="Google Shape;133;p2"/>
            <p:cNvSpPr/>
            <p:nvPr/>
          </p:nvSpPr>
          <p:spPr>
            <a:xfrm>
              <a:off x="2998925" y="1430700"/>
              <a:ext cx="476225" cy="290925"/>
            </a:xfrm>
            <a:custGeom>
              <a:avLst/>
              <a:gdLst/>
              <a:ahLst/>
              <a:cxnLst/>
              <a:rect l="l" t="t" r="r" b="b"/>
              <a:pathLst>
                <a:path w="19049" h="11637" extrusionOk="0">
                  <a:moveTo>
                    <a:pt x="9535" y="1"/>
                  </a:moveTo>
                  <a:cubicBezTo>
                    <a:pt x="8849" y="1"/>
                    <a:pt x="8164" y="60"/>
                    <a:pt x="7490" y="181"/>
                  </a:cubicBezTo>
                  <a:cubicBezTo>
                    <a:pt x="5402" y="505"/>
                    <a:pt x="3133" y="1693"/>
                    <a:pt x="2377" y="3637"/>
                  </a:cubicBezTo>
                  <a:cubicBezTo>
                    <a:pt x="1801" y="5006"/>
                    <a:pt x="1945" y="6626"/>
                    <a:pt x="1189" y="7850"/>
                  </a:cubicBezTo>
                  <a:cubicBezTo>
                    <a:pt x="577" y="8750"/>
                    <a:pt x="1" y="9651"/>
                    <a:pt x="145" y="10695"/>
                  </a:cubicBezTo>
                  <a:cubicBezTo>
                    <a:pt x="145" y="11207"/>
                    <a:pt x="558" y="11637"/>
                    <a:pt x="1194" y="11637"/>
                  </a:cubicBezTo>
                  <a:cubicBezTo>
                    <a:pt x="1497" y="11637"/>
                    <a:pt x="1850" y="11539"/>
                    <a:pt x="2233" y="11307"/>
                  </a:cubicBezTo>
                  <a:cubicBezTo>
                    <a:pt x="6158" y="9038"/>
                    <a:pt x="10659" y="4826"/>
                    <a:pt x="19048" y="4538"/>
                  </a:cubicBezTo>
                  <a:cubicBezTo>
                    <a:pt x="16780" y="1634"/>
                    <a:pt x="13139" y="1"/>
                    <a:pt x="9535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" name="Google Shape;134;p2"/>
            <p:cNvSpPr/>
            <p:nvPr/>
          </p:nvSpPr>
          <p:spPr>
            <a:xfrm>
              <a:off x="3167275" y="1461300"/>
              <a:ext cx="240350" cy="117050"/>
            </a:xfrm>
            <a:custGeom>
              <a:avLst/>
              <a:gdLst/>
              <a:ahLst/>
              <a:cxnLst/>
              <a:rect l="l" t="t" r="r" b="b"/>
              <a:pathLst>
                <a:path w="9614" h="4682" extrusionOk="0">
                  <a:moveTo>
                    <a:pt x="5869" y="1"/>
                  </a:moveTo>
                  <a:cubicBezTo>
                    <a:pt x="5545" y="1"/>
                    <a:pt x="5257" y="1"/>
                    <a:pt x="5113" y="181"/>
                  </a:cubicBezTo>
                  <a:cubicBezTo>
                    <a:pt x="4825" y="469"/>
                    <a:pt x="4969" y="757"/>
                    <a:pt x="5257" y="901"/>
                  </a:cubicBezTo>
                  <a:lnTo>
                    <a:pt x="6301" y="901"/>
                  </a:lnTo>
                  <a:cubicBezTo>
                    <a:pt x="6387" y="863"/>
                    <a:pt x="6499" y="845"/>
                    <a:pt x="6614" y="845"/>
                  </a:cubicBezTo>
                  <a:cubicBezTo>
                    <a:pt x="6934" y="845"/>
                    <a:pt x="7270" y="986"/>
                    <a:pt x="7057" y="1225"/>
                  </a:cubicBezTo>
                  <a:cubicBezTo>
                    <a:pt x="6831" y="1332"/>
                    <a:pt x="6242" y="1359"/>
                    <a:pt x="5490" y="1359"/>
                  </a:cubicBezTo>
                  <a:cubicBezTo>
                    <a:pt x="4667" y="1359"/>
                    <a:pt x="3651" y="1326"/>
                    <a:pt x="2704" y="1326"/>
                  </a:cubicBezTo>
                  <a:cubicBezTo>
                    <a:pt x="2174" y="1326"/>
                    <a:pt x="1665" y="1337"/>
                    <a:pt x="1224" y="1369"/>
                  </a:cubicBezTo>
                  <a:cubicBezTo>
                    <a:pt x="1044" y="1369"/>
                    <a:pt x="756" y="1369"/>
                    <a:pt x="468" y="1513"/>
                  </a:cubicBezTo>
                  <a:cubicBezTo>
                    <a:pt x="144" y="1657"/>
                    <a:pt x="0" y="1801"/>
                    <a:pt x="0" y="2125"/>
                  </a:cubicBezTo>
                  <a:cubicBezTo>
                    <a:pt x="144" y="2269"/>
                    <a:pt x="612" y="2269"/>
                    <a:pt x="900" y="2269"/>
                  </a:cubicBezTo>
                  <a:cubicBezTo>
                    <a:pt x="2845" y="2125"/>
                    <a:pt x="4969" y="1981"/>
                    <a:pt x="7057" y="1657"/>
                  </a:cubicBezTo>
                  <a:lnTo>
                    <a:pt x="7057" y="1657"/>
                  </a:lnTo>
                  <a:lnTo>
                    <a:pt x="1656" y="3458"/>
                  </a:lnTo>
                  <a:cubicBezTo>
                    <a:pt x="1368" y="3458"/>
                    <a:pt x="1044" y="3602"/>
                    <a:pt x="900" y="3926"/>
                  </a:cubicBezTo>
                  <a:cubicBezTo>
                    <a:pt x="900" y="4214"/>
                    <a:pt x="1224" y="4214"/>
                    <a:pt x="1512" y="4214"/>
                  </a:cubicBezTo>
                  <a:cubicBezTo>
                    <a:pt x="2413" y="4214"/>
                    <a:pt x="3457" y="3782"/>
                    <a:pt x="4357" y="3458"/>
                  </a:cubicBezTo>
                  <a:cubicBezTo>
                    <a:pt x="4937" y="3126"/>
                    <a:pt x="6216" y="2774"/>
                    <a:pt x="6781" y="2774"/>
                  </a:cubicBezTo>
                  <a:cubicBezTo>
                    <a:pt x="6952" y="2774"/>
                    <a:pt x="7057" y="2806"/>
                    <a:pt x="7057" y="2881"/>
                  </a:cubicBezTo>
                  <a:cubicBezTo>
                    <a:pt x="7057" y="3170"/>
                    <a:pt x="4969" y="3602"/>
                    <a:pt x="3925" y="3926"/>
                  </a:cubicBezTo>
                  <a:cubicBezTo>
                    <a:pt x="3745" y="4070"/>
                    <a:pt x="3457" y="4214"/>
                    <a:pt x="3457" y="4358"/>
                  </a:cubicBezTo>
                  <a:cubicBezTo>
                    <a:pt x="3457" y="4682"/>
                    <a:pt x="3745" y="4682"/>
                    <a:pt x="4069" y="4682"/>
                  </a:cubicBezTo>
                  <a:cubicBezTo>
                    <a:pt x="4969" y="4358"/>
                    <a:pt x="5869" y="3926"/>
                    <a:pt x="6769" y="3602"/>
                  </a:cubicBezTo>
                  <a:cubicBezTo>
                    <a:pt x="7406" y="3398"/>
                    <a:pt x="8042" y="3194"/>
                    <a:pt x="8628" y="3194"/>
                  </a:cubicBezTo>
                  <a:cubicBezTo>
                    <a:pt x="8871" y="3194"/>
                    <a:pt x="9104" y="3229"/>
                    <a:pt x="9326" y="3314"/>
                  </a:cubicBezTo>
                  <a:cubicBezTo>
                    <a:pt x="9470" y="2557"/>
                    <a:pt x="9614" y="1801"/>
                    <a:pt x="9470" y="1081"/>
                  </a:cubicBezTo>
                  <a:cubicBezTo>
                    <a:pt x="8426" y="613"/>
                    <a:pt x="7057" y="325"/>
                    <a:pt x="5869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" name="Google Shape;135;p2"/>
            <p:cNvSpPr/>
            <p:nvPr/>
          </p:nvSpPr>
          <p:spPr>
            <a:xfrm>
              <a:off x="3632650" y="1282175"/>
              <a:ext cx="521225" cy="251175"/>
            </a:xfrm>
            <a:custGeom>
              <a:avLst/>
              <a:gdLst/>
              <a:ahLst/>
              <a:cxnLst/>
              <a:rect l="l" t="t" r="r" b="b"/>
              <a:pathLst>
                <a:path w="20849" h="10047" extrusionOk="0">
                  <a:moveTo>
                    <a:pt x="16900" y="1"/>
                  </a:moveTo>
                  <a:cubicBezTo>
                    <a:pt x="16350" y="1"/>
                    <a:pt x="15799" y="70"/>
                    <a:pt x="15304" y="145"/>
                  </a:cubicBezTo>
                  <a:cubicBezTo>
                    <a:pt x="8858" y="865"/>
                    <a:pt x="2989" y="4465"/>
                    <a:pt x="1" y="10046"/>
                  </a:cubicBezTo>
                  <a:cubicBezTo>
                    <a:pt x="2475" y="8799"/>
                    <a:pt x="5247" y="8135"/>
                    <a:pt x="7996" y="8135"/>
                  </a:cubicBezTo>
                  <a:cubicBezTo>
                    <a:pt x="9928" y="8135"/>
                    <a:pt x="11849" y="8463"/>
                    <a:pt x="13647" y="9146"/>
                  </a:cubicBezTo>
                  <a:cubicBezTo>
                    <a:pt x="14691" y="9434"/>
                    <a:pt x="15736" y="9866"/>
                    <a:pt x="16816" y="9866"/>
                  </a:cubicBezTo>
                  <a:cubicBezTo>
                    <a:pt x="17860" y="9722"/>
                    <a:pt x="19048" y="8966"/>
                    <a:pt x="19048" y="7922"/>
                  </a:cubicBezTo>
                  <a:cubicBezTo>
                    <a:pt x="19048" y="7166"/>
                    <a:pt x="18616" y="6590"/>
                    <a:pt x="18760" y="5834"/>
                  </a:cubicBezTo>
                  <a:cubicBezTo>
                    <a:pt x="18904" y="5078"/>
                    <a:pt x="19804" y="4645"/>
                    <a:pt x="20236" y="3889"/>
                  </a:cubicBezTo>
                  <a:cubicBezTo>
                    <a:pt x="20849" y="2845"/>
                    <a:pt x="20236" y="1189"/>
                    <a:pt x="19048" y="577"/>
                  </a:cubicBezTo>
                  <a:cubicBezTo>
                    <a:pt x="18439" y="136"/>
                    <a:pt x="17671" y="1"/>
                    <a:pt x="16900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6" name="Google Shape;136;p2"/>
            <p:cNvSpPr/>
            <p:nvPr/>
          </p:nvSpPr>
          <p:spPr>
            <a:xfrm>
              <a:off x="3684875" y="1361725"/>
              <a:ext cx="198950" cy="118525"/>
            </a:xfrm>
            <a:custGeom>
              <a:avLst/>
              <a:gdLst/>
              <a:ahLst/>
              <a:cxnLst/>
              <a:rect l="l" t="t" r="r" b="b"/>
              <a:pathLst>
                <a:path w="7958" h="4741" extrusionOk="0">
                  <a:moveTo>
                    <a:pt x="7462" y="1"/>
                  </a:moveTo>
                  <a:cubicBezTo>
                    <a:pt x="7327" y="1"/>
                    <a:pt x="7177" y="36"/>
                    <a:pt x="7057" y="95"/>
                  </a:cubicBezTo>
                  <a:cubicBezTo>
                    <a:pt x="5354" y="538"/>
                    <a:pt x="2844" y="2819"/>
                    <a:pt x="2335" y="2819"/>
                  </a:cubicBezTo>
                  <a:cubicBezTo>
                    <a:pt x="2306" y="2819"/>
                    <a:pt x="2284" y="2811"/>
                    <a:pt x="2268" y="2796"/>
                  </a:cubicBezTo>
                  <a:cubicBezTo>
                    <a:pt x="1944" y="2652"/>
                    <a:pt x="4069" y="1607"/>
                    <a:pt x="4069" y="1139"/>
                  </a:cubicBezTo>
                  <a:cubicBezTo>
                    <a:pt x="4069" y="1097"/>
                    <a:pt x="4041" y="1080"/>
                    <a:pt x="3994" y="1080"/>
                  </a:cubicBezTo>
                  <a:cubicBezTo>
                    <a:pt x="3882" y="1080"/>
                    <a:pt x="3660" y="1182"/>
                    <a:pt x="3457" y="1283"/>
                  </a:cubicBezTo>
                  <a:cubicBezTo>
                    <a:pt x="2413" y="1896"/>
                    <a:pt x="1368" y="2652"/>
                    <a:pt x="612" y="3552"/>
                  </a:cubicBezTo>
                  <a:cubicBezTo>
                    <a:pt x="324" y="3840"/>
                    <a:pt x="324" y="4452"/>
                    <a:pt x="0" y="4740"/>
                  </a:cubicBezTo>
                  <a:cubicBezTo>
                    <a:pt x="1242" y="4416"/>
                    <a:pt x="2485" y="4254"/>
                    <a:pt x="3727" y="4254"/>
                  </a:cubicBezTo>
                  <a:cubicBezTo>
                    <a:pt x="4141" y="4254"/>
                    <a:pt x="4555" y="4272"/>
                    <a:pt x="4969" y="4308"/>
                  </a:cubicBezTo>
                  <a:cubicBezTo>
                    <a:pt x="5113" y="4380"/>
                    <a:pt x="5221" y="4416"/>
                    <a:pt x="5334" y="4416"/>
                  </a:cubicBezTo>
                  <a:cubicBezTo>
                    <a:pt x="5446" y="4416"/>
                    <a:pt x="5563" y="4380"/>
                    <a:pt x="5725" y="4308"/>
                  </a:cubicBezTo>
                  <a:cubicBezTo>
                    <a:pt x="5869" y="4308"/>
                    <a:pt x="6013" y="3984"/>
                    <a:pt x="5869" y="3840"/>
                  </a:cubicBezTo>
                  <a:cubicBezTo>
                    <a:pt x="5869" y="3696"/>
                    <a:pt x="5545" y="3696"/>
                    <a:pt x="5401" y="3696"/>
                  </a:cubicBezTo>
                  <a:cubicBezTo>
                    <a:pt x="4866" y="3798"/>
                    <a:pt x="3972" y="3900"/>
                    <a:pt x="3442" y="3900"/>
                  </a:cubicBezTo>
                  <a:cubicBezTo>
                    <a:pt x="3223" y="3900"/>
                    <a:pt x="3067" y="3882"/>
                    <a:pt x="3025" y="3840"/>
                  </a:cubicBezTo>
                  <a:cubicBezTo>
                    <a:pt x="2845" y="3696"/>
                    <a:pt x="5113" y="3084"/>
                    <a:pt x="6301" y="2940"/>
                  </a:cubicBezTo>
                  <a:cubicBezTo>
                    <a:pt x="6445" y="2940"/>
                    <a:pt x="6769" y="2796"/>
                    <a:pt x="6913" y="2796"/>
                  </a:cubicBezTo>
                  <a:cubicBezTo>
                    <a:pt x="7057" y="2652"/>
                    <a:pt x="7201" y="2364"/>
                    <a:pt x="7057" y="2184"/>
                  </a:cubicBezTo>
                  <a:cubicBezTo>
                    <a:pt x="6913" y="2040"/>
                    <a:pt x="6625" y="2040"/>
                    <a:pt x="6301" y="2040"/>
                  </a:cubicBezTo>
                  <a:cubicBezTo>
                    <a:pt x="5350" y="2335"/>
                    <a:pt x="3534" y="3107"/>
                    <a:pt x="3217" y="3107"/>
                  </a:cubicBezTo>
                  <a:cubicBezTo>
                    <a:pt x="3185" y="3107"/>
                    <a:pt x="3169" y="3100"/>
                    <a:pt x="3169" y="3084"/>
                  </a:cubicBezTo>
                  <a:cubicBezTo>
                    <a:pt x="3025" y="2940"/>
                    <a:pt x="6301" y="1896"/>
                    <a:pt x="7525" y="851"/>
                  </a:cubicBezTo>
                  <a:cubicBezTo>
                    <a:pt x="7814" y="707"/>
                    <a:pt x="7958" y="563"/>
                    <a:pt x="7814" y="239"/>
                  </a:cubicBezTo>
                  <a:cubicBezTo>
                    <a:pt x="7814" y="71"/>
                    <a:pt x="7653" y="1"/>
                    <a:pt x="7462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7" name="Google Shape;137;p2"/>
            <p:cNvSpPr/>
            <p:nvPr/>
          </p:nvSpPr>
          <p:spPr>
            <a:xfrm>
              <a:off x="3377900" y="1373850"/>
              <a:ext cx="352000" cy="196475"/>
            </a:xfrm>
            <a:custGeom>
              <a:avLst/>
              <a:gdLst/>
              <a:ahLst/>
              <a:cxnLst/>
              <a:rect l="l" t="t" r="r" b="b"/>
              <a:pathLst>
                <a:path w="14080" h="7859" extrusionOk="0">
                  <a:moveTo>
                    <a:pt x="8399" y="1"/>
                  </a:moveTo>
                  <a:cubicBezTo>
                    <a:pt x="7572" y="1"/>
                    <a:pt x="6703" y="114"/>
                    <a:pt x="5834" y="366"/>
                  </a:cubicBezTo>
                  <a:cubicBezTo>
                    <a:pt x="2233" y="1411"/>
                    <a:pt x="1" y="4255"/>
                    <a:pt x="577" y="6199"/>
                  </a:cubicBezTo>
                  <a:cubicBezTo>
                    <a:pt x="942" y="7382"/>
                    <a:pt x="2156" y="7859"/>
                    <a:pt x="3841" y="7859"/>
                  </a:cubicBezTo>
                  <a:cubicBezTo>
                    <a:pt x="4977" y="7859"/>
                    <a:pt x="6328" y="7642"/>
                    <a:pt x="7778" y="7280"/>
                  </a:cubicBezTo>
                  <a:cubicBezTo>
                    <a:pt x="11379" y="6199"/>
                    <a:pt x="14079" y="4399"/>
                    <a:pt x="13647" y="2599"/>
                  </a:cubicBezTo>
                  <a:cubicBezTo>
                    <a:pt x="13183" y="1124"/>
                    <a:pt x="10998" y="1"/>
                    <a:pt x="8399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8" name="Google Shape;138;p2"/>
            <p:cNvSpPr/>
            <p:nvPr/>
          </p:nvSpPr>
          <p:spPr>
            <a:xfrm>
              <a:off x="3418425" y="1393800"/>
              <a:ext cx="172850" cy="102450"/>
            </a:xfrm>
            <a:custGeom>
              <a:avLst/>
              <a:gdLst/>
              <a:ahLst/>
              <a:cxnLst/>
              <a:rect l="l" t="t" r="r" b="b"/>
              <a:pathLst>
                <a:path w="6914" h="4098" extrusionOk="0">
                  <a:moveTo>
                    <a:pt x="6157" y="0"/>
                  </a:moveTo>
                  <a:cubicBezTo>
                    <a:pt x="4069" y="0"/>
                    <a:pt x="1980" y="901"/>
                    <a:pt x="468" y="2413"/>
                  </a:cubicBezTo>
                  <a:cubicBezTo>
                    <a:pt x="324" y="2701"/>
                    <a:pt x="180" y="2881"/>
                    <a:pt x="0" y="3313"/>
                  </a:cubicBezTo>
                  <a:cubicBezTo>
                    <a:pt x="0" y="3601"/>
                    <a:pt x="180" y="3925"/>
                    <a:pt x="468" y="4069"/>
                  </a:cubicBezTo>
                  <a:cubicBezTo>
                    <a:pt x="507" y="4089"/>
                    <a:pt x="550" y="4098"/>
                    <a:pt x="595" y="4098"/>
                  </a:cubicBezTo>
                  <a:cubicBezTo>
                    <a:pt x="880" y="4098"/>
                    <a:pt x="1263" y="3737"/>
                    <a:pt x="1512" y="3457"/>
                  </a:cubicBezTo>
                  <a:cubicBezTo>
                    <a:pt x="2557" y="2413"/>
                    <a:pt x="3925" y="1657"/>
                    <a:pt x="5401" y="1513"/>
                  </a:cubicBezTo>
                  <a:cubicBezTo>
                    <a:pt x="5725" y="1513"/>
                    <a:pt x="6157" y="1513"/>
                    <a:pt x="6481" y="1369"/>
                  </a:cubicBezTo>
                  <a:cubicBezTo>
                    <a:pt x="6769" y="1225"/>
                    <a:pt x="6913" y="901"/>
                    <a:pt x="6913" y="469"/>
                  </a:cubicBezTo>
                  <a:cubicBezTo>
                    <a:pt x="6913" y="180"/>
                    <a:pt x="6481" y="0"/>
                    <a:pt x="615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9" name="Google Shape;139;p2"/>
            <p:cNvSpPr/>
            <p:nvPr/>
          </p:nvSpPr>
          <p:spPr>
            <a:xfrm>
              <a:off x="3343700" y="1520125"/>
              <a:ext cx="472625" cy="360900"/>
            </a:xfrm>
            <a:custGeom>
              <a:avLst/>
              <a:gdLst/>
              <a:ahLst/>
              <a:cxnLst/>
              <a:rect l="l" t="t" r="r" b="b"/>
              <a:pathLst>
                <a:path w="18905" h="14436" extrusionOk="0">
                  <a:moveTo>
                    <a:pt x="9951" y="1"/>
                  </a:moveTo>
                  <a:cubicBezTo>
                    <a:pt x="9733" y="1"/>
                    <a:pt x="9512" y="18"/>
                    <a:pt x="9290" y="60"/>
                  </a:cubicBezTo>
                  <a:cubicBezTo>
                    <a:pt x="8246" y="204"/>
                    <a:pt x="7202" y="528"/>
                    <a:pt x="6446" y="817"/>
                  </a:cubicBezTo>
                  <a:cubicBezTo>
                    <a:pt x="5870" y="1105"/>
                    <a:pt x="5546" y="1429"/>
                    <a:pt x="5257" y="1717"/>
                  </a:cubicBezTo>
                  <a:cubicBezTo>
                    <a:pt x="3889" y="3517"/>
                    <a:pt x="1189" y="6650"/>
                    <a:pt x="289" y="10430"/>
                  </a:cubicBezTo>
                  <a:cubicBezTo>
                    <a:pt x="0" y="11763"/>
                    <a:pt x="145" y="13563"/>
                    <a:pt x="1369" y="14175"/>
                  </a:cubicBezTo>
                  <a:cubicBezTo>
                    <a:pt x="1670" y="14356"/>
                    <a:pt x="2035" y="14436"/>
                    <a:pt x="2410" y="14436"/>
                  </a:cubicBezTo>
                  <a:cubicBezTo>
                    <a:pt x="2931" y="14436"/>
                    <a:pt x="3471" y="14282"/>
                    <a:pt x="3889" y="14031"/>
                  </a:cubicBezTo>
                  <a:cubicBezTo>
                    <a:pt x="4645" y="13707"/>
                    <a:pt x="5402" y="13131"/>
                    <a:pt x="6158" y="12807"/>
                  </a:cubicBezTo>
                  <a:cubicBezTo>
                    <a:pt x="7051" y="12393"/>
                    <a:pt x="8013" y="12268"/>
                    <a:pt x="8995" y="12268"/>
                  </a:cubicBezTo>
                  <a:cubicBezTo>
                    <a:pt x="10149" y="12268"/>
                    <a:pt x="11330" y="12441"/>
                    <a:pt x="12459" y="12519"/>
                  </a:cubicBezTo>
                  <a:cubicBezTo>
                    <a:pt x="12701" y="12535"/>
                    <a:pt x="12949" y="12544"/>
                    <a:pt x="13200" y="12544"/>
                  </a:cubicBezTo>
                  <a:cubicBezTo>
                    <a:pt x="15121" y="12544"/>
                    <a:pt x="17241" y="12022"/>
                    <a:pt x="18292" y="10430"/>
                  </a:cubicBezTo>
                  <a:cubicBezTo>
                    <a:pt x="18904" y="9350"/>
                    <a:pt x="18904" y="7874"/>
                    <a:pt x="18472" y="6506"/>
                  </a:cubicBezTo>
                  <a:cubicBezTo>
                    <a:pt x="18004" y="5029"/>
                    <a:pt x="14547" y="1573"/>
                    <a:pt x="11415" y="204"/>
                  </a:cubicBezTo>
                  <a:cubicBezTo>
                    <a:pt x="10982" y="103"/>
                    <a:pt x="10477" y="1"/>
                    <a:pt x="9951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0" name="Google Shape;140;p2"/>
            <p:cNvSpPr/>
            <p:nvPr/>
          </p:nvSpPr>
          <p:spPr>
            <a:xfrm>
              <a:off x="3445425" y="1521625"/>
              <a:ext cx="270075" cy="255575"/>
            </a:xfrm>
            <a:custGeom>
              <a:avLst/>
              <a:gdLst/>
              <a:ahLst/>
              <a:cxnLst/>
              <a:rect l="l" t="t" r="r" b="b"/>
              <a:pathLst>
                <a:path w="10803" h="10223" extrusionOk="0">
                  <a:moveTo>
                    <a:pt x="5221" y="0"/>
                  </a:moveTo>
                  <a:cubicBezTo>
                    <a:pt x="4177" y="144"/>
                    <a:pt x="3133" y="468"/>
                    <a:pt x="2377" y="757"/>
                  </a:cubicBezTo>
                  <a:cubicBezTo>
                    <a:pt x="1477" y="2269"/>
                    <a:pt x="720" y="3601"/>
                    <a:pt x="144" y="5257"/>
                  </a:cubicBezTo>
                  <a:cubicBezTo>
                    <a:pt x="144" y="5545"/>
                    <a:pt x="0" y="5689"/>
                    <a:pt x="0" y="6014"/>
                  </a:cubicBezTo>
                  <a:cubicBezTo>
                    <a:pt x="0" y="6158"/>
                    <a:pt x="144" y="6446"/>
                    <a:pt x="432" y="6590"/>
                  </a:cubicBezTo>
                  <a:cubicBezTo>
                    <a:pt x="490" y="6626"/>
                    <a:pt x="549" y="6642"/>
                    <a:pt x="608" y="6642"/>
                  </a:cubicBezTo>
                  <a:cubicBezTo>
                    <a:pt x="843" y="6642"/>
                    <a:pt x="1073" y="6388"/>
                    <a:pt x="1188" y="6158"/>
                  </a:cubicBezTo>
                  <a:cubicBezTo>
                    <a:pt x="1801" y="5257"/>
                    <a:pt x="2233" y="2989"/>
                    <a:pt x="2521" y="2557"/>
                  </a:cubicBezTo>
                  <a:cubicBezTo>
                    <a:pt x="2555" y="2529"/>
                    <a:pt x="2588" y="2518"/>
                    <a:pt x="2619" y="2518"/>
                  </a:cubicBezTo>
                  <a:cubicBezTo>
                    <a:pt x="2751" y="2518"/>
                    <a:pt x="2845" y="2728"/>
                    <a:pt x="2845" y="2845"/>
                  </a:cubicBezTo>
                  <a:cubicBezTo>
                    <a:pt x="3277" y="3745"/>
                    <a:pt x="2845" y="7058"/>
                    <a:pt x="3421" y="9146"/>
                  </a:cubicBezTo>
                  <a:cubicBezTo>
                    <a:pt x="3706" y="9684"/>
                    <a:pt x="3963" y="10222"/>
                    <a:pt x="4339" y="10222"/>
                  </a:cubicBezTo>
                  <a:cubicBezTo>
                    <a:pt x="4391" y="10222"/>
                    <a:pt x="4444" y="10212"/>
                    <a:pt x="4501" y="10190"/>
                  </a:cubicBezTo>
                  <a:cubicBezTo>
                    <a:pt x="4789" y="10190"/>
                    <a:pt x="4933" y="9902"/>
                    <a:pt x="4933" y="9470"/>
                  </a:cubicBezTo>
                  <a:cubicBezTo>
                    <a:pt x="5401" y="7490"/>
                    <a:pt x="4177" y="5401"/>
                    <a:pt x="3745" y="3313"/>
                  </a:cubicBezTo>
                  <a:cubicBezTo>
                    <a:pt x="3745" y="2989"/>
                    <a:pt x="3601" y="2557"/>
                    <a:pt x="3889" y="2413"/>
                  </a:cubicBezTo>
                  <a:cubicBezTo>
                    <a:pt x="3956" y="2337"/>
                    <a:pt x="4041" y="2305"/>
                    <a:pt x="4133" y="2305"/>
                  </a:cubicBezTo>
                  <a:cubicBezTo>
                    <a:pt x="4437" y="2305"/>
                    <a:pt x="4823" y="2658"/>
                    <a:pt x="4933" y="2989"/>
                  </a:cubicBezTo>
                  <a:cubicBezTo>
                    <a:pt x="5077" y="3601"/>
                    <a:pt x="5077" y="4069"/>
                    <a:pt x="5221" y="4501"/>
                  </a:cubicBezTo>
                  <a:cubicBezTo>
                    <a:pt x="5401" y="4969"/>
                    <a:pt x="5689" y="5257"/>
                    <a:pt x="5977" y="5257"/>
                  </a:cubicBezTo>
                  <a:cubicBezTo>
                    <a:pt x="6445" y="5257"/>
                    <a:pt x="6589" y="4645"/>
                    <a:pt x="6445" y="4213"/>
                  </a:cubicBezTo>
                  <a:cubicBezTo>
                    <a:pt x="6121" y="3745"/>
                    <a:pt x="5833" y="3313"/>
                    <a:pt x="5689" y="2845"/>
                  </a:cubicBezTo>
                  <a:cubicBezTo>
                    <a:pt x="5545" y="2413"/>
                    <a:pt x="5545" y="1945"/>
                    <a:pt x="5833" y="1801"/>
                  </a:cubicBezTo>
                  <a:cubicBezTo>
                    <a:pt x="5977" y="1801"/>
                    <a:pt x="6301" y="2089"/>
                    <a:pt x="6445" y="2269"/>
                  </a:cubicBezTo>
                  <a:cubicBezTo>
                    <a:pt x="7490" y="3313"/>
                    <a:pt x="8390" y="4357"/>
                    <a:pt x="9146" y="5689"/>
                  </a:cubicBezTo>
                  <a:cubicBezTo>
                    <a:pt x="9434" y="6014"/>
                    <a:pt x="9578" y="6302"/>
                    <a:pt x="9902" y="6446"/>
                  </a:cubicBezTo>
                  <a:cubicBezTo>
                    <a:pt x="9987" y="6530"/>
                    <a:pt x="10171" y="6627"/>
                    <a:pt x="10337" y="6627"/>
                  </a:cubicBezTo>
                  <a:cubicBezTo>
                    <a:pt x="10454" y="6627"/>
                    <a:pt x="10563" y="6579"/>
                    <a:pt x="10622" y="6446"/>
                  </a:cubicBezTo>
                  <a:cubicBezTo>
                    <a:pt x="10802" y="6302"/>
                    <a:pt x="10802" y="5870"/>
                    <a:pt x="10622" y="5545"/>
                  </a:cubicBezTo>
                  <a:cubicBezTo>
                    <a:pt x="10046" y="4213"/>
                    <a:pt x="9146" y="3169"/>
                    <a:pt x="8246" y="2269"/>
                  </a:cubicBezTo>
                  <a:cubicBezTo>
                    <a:pt x="7346" y="1513"/>
                    <a:pt x="6589" y="613"/>
                    <a:pt x="5689" y="144"/>
                  </a:cubicBezTo>
                  <a:cubicBezTo>
                    <a:pt x="5545" y="144"/>
                    <a:pt x="5401" y="0"/>
                    <a:pt x="5221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41" name="Google Shape;141;p2"/>
          <p:cNvGrpSpPr/>
          <p:nvPr/>
        </p:nvGrpSpPr>
        <p:grpSpPr>
          <a:xfrm>
            <a:off x="167086" y="5322660"/>
            <a:ext cx="2209109" cy="1350709"/>
            <a:chOff x="3472050" y="3119850"/>
            <a:chExt cx="1762025" cy="1077350"/>
          </a:xfrm>
        </p:grpSpPr>
        <p:sp>
          <p:nvSpPr>
            <p:cNvPr id="142" name="Google Shape;142;p2"/>
            <p:cNvSpPr/>
            <p:nvPr/>
          </p:nvSpPr>
          <p:spPr>
            <a:xfrm>
              <a:off x="3835200" y="3168400"/>
              <a:ext cx="401500" cy="408325"/>
            </a:xfrm>
            <a:custGeom>
              <a:avLst/>
              <a:gdLst/>
              <a:ahLst/>
              <a:cxnLst/>
              <a:rect l="l" t="t" r="r" b="b"/>
              <a:pathLst>
                <a:path w="16060" h="16333" extrusionOk="0">
                  <a:moveTo>
                    <a:pt x="6983" y="0"/>
                  </a:moveTo>
                  <a:cubicBezTo>
                    <a:pt x="6445" y="0"/>
                    <a:pt x="5927" y="133"/>
                    <a:pt x="5545" y="454"/>
                  </a:cubicBezTo>
                  <a:cubicBezTo>
                    <a:pt x="4789" y="1210"/>
                    <a:pt x="4213" y="3154"/>
                    <a:pt x="3133" y="3587"/>
                  </a:cubicBezTo>
                  <a:cubicBezTo>
                    <a:pt x="2989" y="3635"/>
                    <a:pt x="2825" y="3651"/>
                    <a:pt x="2649" y="3651"/>
                  </a:cubicBezTo>
                  <a:cubicBezTo>
                    <a:pt x="2297" y="3651"/>
                    <a:pt x="1897" y="3587"/>
                    <a:pt x="1512" y="3587"/>
                  </a:cubicBezTo>
                  <a:cubicBezTo>
                    <a:pt x="1044" y="3587"/>
                    <a:pt x="288" y="3731"/>
                    <a:pt x="144" y="4199"/>
                  </a:cubicBezTo>
                  <a:cubicBezTo>
                    <a:pt x="0" y="4631"/>
                    <a:pt x="288" y="5243"/>
                    <a:pt x="612" y="5531"/>
                  </a:cubicBezTo>
                  <a:cubicBezTo>
                    <a:pt x="1044" y="5855"/>
                    <a:pt x="1512" y="5855"/>
                    <a:pt x="2089" y="5999"/>
                  </a:cubicBezTo>
                  <a:cubicBezTo>
                    <a:pt x="7202" y="7043"/>
                    <a:pt x="11702" y="11256"/>
                    <a:pt x="12891" y="16333"/>
                  </a:cubicBezTo>
                  <a:cubicBezTo>
                    <a:pt x="13791" y="15901"/>
                    <a:pt x="14547" y="15289"/>
                    <a:pt x="16059" y="14245"/>
                  </a:cubicBezTo>
                  <a:cubicBezTo>
                    <a:pt x="15591" y="8988"/>
                    <a:pt x="13935" y="4199"/>
                    <a:pt x="9002" y="598"/>
                  </a:cubicBezTo>
                  <a:cubicBezTo>
                    <a:pt x="8483" y="245"/>
                    <a:pt x="7714" y="0"/>
                    <a:pt x="6983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3" name="Google Shape;143;p2"/>
            <p:cNvSpPr/>
            <p:nvPr/>
          </p:nvSpPr>
          <p:spPr>
            <a:xfrm>
              <a:off x="4543625" y="3345100"/>
              <a:ext cx="562625" cy="326150"/>
            </a:xfrm>
            <a:custGeom>
              <a:avLst/>
              <a:gdLst/>
              <a:ahLst/>
              <a:cxnLst/>
              <a:rect l="l" t="t" r="r" b="b"/>
              <a:pathLst>
                <a:path w="22505" h="13046" extrusionOk="0">
                  <a:moveTo>
                    <a:pt x="11879" y="0"/>
                  </a:moveTo>
                  <a:cubicBezTo>
                    <a:pt x="11288" y="0"/>
                    <a:pt x="10520" y="207"/>
                    <a:pt x="9470" y="731"/>
                  </a:cubicBezTo>
                  <a:cubicBezTo>
                    <a:pt x="7382" y="1776"/>
                    <a:pt x="3025" y="5088"/>
                    <a:pt x="1" y="9445"/>
                  </a:cubicBezTo>
                  <a:cubicBezTo>
                    <a:pt x="325" y="10921"/>
                    <a:pt x="1081" y="11533"/>
                    <a:pt x="1981" y="13046"/>
                  </a:cubicBezTo>
                  <a:cubicBezTo>
                    <a:pt x="5622" y="11564"/>
                    <a:pt x="9578" y="10836"/>
                    <a:pt x="13568" y="10836"/>
                  </a:cubicBezTo>
                  <a:cubicBezTo>
                    <a:pt x="15300" y="10836"/>
                    <a:pt x="17038" y="10973"/>
                    <a:pt x="18760" y="11245"/>
                  </a:cubicBezTo>
                  <a:cubicBezTo>
                    <a:pt x="19215" y="11299"/>
                    <a:pt x="19684" y="11352"/>
                    <a:pt x="20134" y="11352"/>
                  </a:cubicBezTo>
                  <a:cubicBezTo>
                    <a:pt x="20894" y="11352"/>
                    <a:pt x="21597" y="11199"/>
                    <a:pt x="22073" y="10633"/>
                  </a:cubicBezTo>
                  <a:cubicBezTo>
                    <a:pt x="22505" y="10165"/>
                    <a:pt x="22505" y="9445"/>
                    <a:pt x="22361" y="8833"/>
                  </a:cubicBezTo>
                  <a:cubicBezTo>
                    <a:pt x="21929" y="7033"/>
                    <a:pt x="20416" y="5520"/>
                    <a:pt x="18616" y="4764"/>
                  </a:cubicBezTo>
                  <a:cubicBezTo>
                    <a:pt x="17104" y="4332"/>
                    <a:pt x="15628" y="3288"/>
                    <a:pt x="14583" y="2064"/>
                  </a:cubicBezTo>
                  <a:cubicBezTo>
                    <a:pt x="13716" y="1222"/>
                    <a:pt x="13318" y="0"/>
                    <a:pt x="11879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4" name="Google Shape;144;p2"/>
            <p:cNvSpPr/>
            <p:nvPr/>
          </p:nvSpPr>
          <p:spPr>
            <a:xfrm>
              <a:off x="4405000" y="3723300"/>
              <a:ext cx="506825" cy="431775"/>
            </a:xfrm>
            <a:custGeom>
              <a:avLst/>
              <a:gdLst/>
              <a:ahLst/>
              <a:cxnLst/>
              <a:rect l="l" t="t" r="r" b="b"/>
              <a:pathLst>
                <a:path w="20273" h="17271" extrusionOk="0">
                  <a:moveTo>
                    <a:pt x="2873" y="0"/>
                  </a:moveTo>
                  <a:cubicBezTo>
                    <a:pt x="1913" y="0"/>
                    <a:pt x="952" y="94"/>
                    <a:pt x="1" y="294"/>
                  </a:cubicBezTo>
                  <a:cubicBezTo>
                    <a:pt x="145" y="438"/>
                    <a:pt x="145" y="1050"/>
                    <a:pt x="469" y="1518"/>
                  </a:cubicBezTo>
                  <a:cubicBezTo>
                    <a:pt x="613" y="1950"/>
                    <a:pt x="1045" y="2238"/>
                    <a:pt x="1369" y="2563"/>
                  </a:cubicBezTo>
                  <a:cubicBezTo>
                    <a:pt x="4069" y="5407"/>
                    <a:pt x="6158" y="8864"/>
                    <a:pt x="7202" y="12608"/>
                  </a:cubicBezTo>
                  <a:cubicBezTo>
                    <a:pt x="7526" y="13653"/>
                    <a:pt x="7670" y="14697"/>
                    <a:pt x="8246" y="15597"/>
                  </a:cubicBezTo>
                  <a:cubicBezTo>
                    <a:pt x="8808" y="16555"/>
                    <a:pt x="9733" y="17271"/>
                    <a:pt x="10689" y="17271"/>
                  </a:cubicBezTo>
                  <a:cubicBezTo>
                    <a:pt x="10775" y="17271"/>
                    <a:pt x="10861" y="17265"/>
                    <a:pt x="10947" y="17253"/>
                  </a:cubicBezTo>
                  <a:cubicBezTo>
                    <a:pt x="12315" y="17109"/>
                    <a:pt x="13215" y="15741"/>
                    <a:pt x="14403" y="15165"/>
                  </a:cubicBezTo>
                  <a:cubicBezTo>
                    <a:pt x="15303" y="14697"/>
                    <a:pt x="16348" y="14553"/>
                    <a:pt x="17248" y="14409"/>
                  </a:cubicBezTo>
                  <a:cubicBezTo>
                    <a:pt x="18148" y="14265"/>
                    <a:pt x="19228" y="13797"/>
                    <a:pt x="19660" y="13041"/>
                  </a:cubicBezTo>
                  <a:cubicBezTo>
                    <a:pt x="20272" y="11852"/>
                    <a:pt x="19516" y="10340"/>
                    <a:pt x="18760" y="9296"/>
                  </a:cubicBezTo>
                  <a:cubicBezTo>
                    <a:pt x="16528" y="6307"/>
                    <a:pt x="13827" y="3751"/>
                    <a:pt x="10659" y="1950"/>
                  </a:cubicBezTo>
                  <a:cubicBezTo>
                    <a:pt x="8221" y="732"/>
                    <a:pt x="5549" y="0"/>
                    <a:pt x="2873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5" name="Google Shape;145;p2"/>
            <p:cNvSpPr/>
            <p:nvPr/>
          </p:nvSpPr>
          <p:spPr>
            <a:xfrm>
              <a:off x="3561550" y="3581175"/>
              <a:ext cx="675150" cy="346400"/>
            </a:xfrm>
            <a:custGeom>
              <a:avLst/>
              <a:gdLst/>
              <a:ahLst/>
              <a:cxnLst/>
              <a:rect l="l" t="t" r="r" b="b"/>
              <a:pathLst>
                <a:path w="27006" h="13856" extrusionOk="0">
                  <a:moveTo>
                    <a:pt x="12994" y="1"/>
                  </a:moveTo>
                  <a:cubicBezTo>
                    <a:pt x="9388" y="1"/>
                    <a:pt x="5701" y="563"/>
                    <a:pt x="2557" y="1946"/>
                  </a:cubicBezTo>
                  <a:cubicBezTo>
                    <a:pt x="1332" y="2378"/>
                    <a:pt x="0" y="3279"/>
                    <a:pt x="288" y="4503"/>
                  </a:cubicBezTo>
                  <a:cubicBezTo>
                    <a:pt x="576" y="5979"/>
                    <a:pt x="2377" y="6123"/>
                    <a:pt x="3601" y="6879"/>
                  </a:cubicBezTo>
                  <a:cubicBezTo>
                    <a:pt x="4933" y="7779"/>
                    <a:pt x="5401" y="9580"/>
                    <a:pt x="5977" y="11092"/>
                  </a:cubicBezTo>
                  <a:cubicBezTo>
                    <a:pt x="6577" y="12292"/>
                    <a:pt x="7835" y="13855"/>
                    <a:pt x="9013" y="13855"/>
                  </a:cubicBezTo>
                  <a:cubicBezTo>
                    <a:pt x="9319" y="13855"/>
                    <a:pt x="9620" y="13750"/>
                    <a:pt x="9902" y="13505"/>
                  </a:cubicBezTo>
                  <a:cubicBezTo>
                    <a:pt x="16959" y="8248"/>
                    <a:pt x="20560" y="6447"/>
                    <a:pt x="26861" y="5979"/>
                  </a:cubicBezTo>
                  <a:cubicBezTo>
                    <a:pt x="27005" y="4323"/>
                    <a:pt x="25961" y="1946"/>
                    <a:pt x="24449" y="1946"/>
                  </a:cubicBezTo>
                  <a:cubicBezTo>
                    <a:pt x="21439" y="793"/>
                    <a:pt x="17273" y="1"/>
                    <a:pt x="12994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6" name="Google Shape;146;p2"/>
            <p:cNvSpPr/>
            <p:nvPr/>
          </p:nvSpPr>
          <p:spPr>
            <a:xfrm>
              <a:off x="4120550" y="3119850"/>
              <a:ext cx="693150" cy="487500"/>
            </a:xfrm>
            <a:custGeom>
              <a:avLst/>
              <a:gdLst/>
              <a:ahLst/>
              <a:cxnLst/>
              <a:rect l="l" t="t" r="r" b="b"/>
              <a:pathLst>
                <a:path w="27726" h="19500" extrusionOk="0">
                  <a:moveTo>
                    <a:pt x="3574" y="1"/>
                  </a:moveTo>
                  <a:cubicBezTo>
                    <a:pt x="3134" y="1"/>
                    <a:pt x="2685" y="81"/>
                    <a:pt x="2233" y="272"/>
                  </a:cubicBezTo>
                  <a:cubicBezTo>
                    <a:pt x="576" y="1028"/>
                    <a:pt x="0" y="3296"/>
                    <a:pt x="432" y="5096"/>
                  </a:cubicBezTo>
                  <a:cubicBezTo>
                    <a:pt x="720" y="6897"/>
                    <a:pt x="3421" y="11542"/>
                    <a:pt x="3277" y="15574"/>
                  </a:cubicBezTo>
                  <a:cubicBezTo>
                    <a:pt x="7490" y="17087"/>
                    <a:pt x="13791" y="17555"/>
                    <a:pt x="16635" y="19499"/>
                  </a:cubicBezTo>
                  <a:cubicBezTo>
                    <a:pt x="21424" y="11974"/>
                    <a:pt x="23549" y="11542"/>
                    <a:pt x="25493" y="8985"/>
                  </a:cubicBezTo>
                  <a:cubicBezTo>
                    <a:pt x="27726" y="5853"/>
                    <a:pt x="25349" y="4196"/>
                    <a:pt x="22181" y="3440"/>
                  </a:cubicBezTo>
                  <a:cubicBezTo>
                    <a:pt x="21088" y="3129"/>
                    <a:pt x="19982" y="3033"/>
                    <a:pt x="18873" y="3033"/>
                  </a:cubicBezTo>
                  <a:cubicBezTo>
                    <a:pt x="17061" y="3033"/>
                    <a:pt x="15238" y="3290"/>
                    <a:pt x="13442" y="3290"/>
                  </a:cubicBezTo>
                  <a:cubicBezTo>
                    <a:pt x="12136" y="3290"/>
                    <a:pt x="10843" y="3154"/>
                    <a:pt x="9578" y="2684"/>
                  </a:cubicBezTo>
                  <a:cubicBezTo>
                    <a:pt x="8390" y="2072"/>
                    <a:pt x="7346" y="1352"/>
                    <a:pt x="6122" y="740"/>
                  </a:cubicBezTo>
                  <a:cubicBezTo>
                    <a:pt x="5326" y="330"/>
                    <a:pt x="4466" y="1"/>
                    <a:pt x="3574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7" name="Google Shape;147;p2"/>
            <p:cNvSpPr/>
            <p:nvPr/>
          </p:nvSpPr>
          <p:spPr>
            <a:xfrm>
              <a:off x="4233075" y="3246300"/>
              <a:ext cx="374500" cy="316025"/>
            </a:xfrm>
            <a:custGeom>
              <a:avLst/>
              <a:gdLst/>
              <a:ahLst/>
              <a:cxnLst/>
              <a:rect l="l" t="t" r="r" b="b"/>
              <a:pathLst>
                <a:path w="14980" h="12641" extrusionOk="0">
                  <a:moveTo>
                    <a:pt x="7037" y="1"/>
                  </a:moveTo>
                  <a:cubicBezTo>
                    <a:pt x="6584" y="1"/>
                    <a:pt x="6244" y="259"/>
                    <a:pt x="5977" y="615"/>
                  </a:cubicBezTo>
                  <a:cubicBezTo>
                    <a:pt x="5689" y="1083"/>
                    <a:pt x="5545" y="1515"/>
                    <a:pt x="5401" y="1983"/>
                  </a:cubicBezTo>
                  <a:cubicBezTo>
                    <a:pt x="5077" y="3171"/>
                    <a:pt x="4933" y="4215"/>
                    <a:pt x="4645" y="5295"/>
                  </a:cubicBezTo>
                  <a:cubicBezTo>
                    <a:pt x="4501" y="5728"/>
                    <a:pt x="4501" y="6340"/>
                    <a:pt x="4033" y="6628"/>
                  </a:cubicBezTo>
                  <a:cubicBezTo>
                    <a:pt x="3824" y="6966"/>
                    <a:pt x="3446" y="7211"/>
                    <a:pt x="3089" y="7211"/>
                  </a:cubicBezTo>
                  <a:cubicBezTo>
                    <a:pt x="2953" y="7211"/>
                    <a:pt x="2820" y="7175"/>
                    <a:pt x="2701" y="7096"/>
                  </a:cubicBezTo>
                  <a:cubicBezTo>
                    <a:pt x="2089" y="6772"/>
                    <a:pt x="1945" y="6016"/>
                    <a:pt x="1945" y="5295"/>
                  </a:cubicBezTo>
                  <a:cubicBezTo>
                    <a:pt x="1811" y="4728"/>
                    <a:pt x="1398" y="3912"/>
                    <a:pt x="736" y="3912"/>
                  </a:cubicBezTo>
                  <a:cubicBezTo>
                    <a:pt x="684" y="3912"/>
                    <a:pt x="631" y="3917"/>
                    <a:pt x="576" y="3927"/>
                  </a:cubicBezTo>
                  <a:cubicBezTo>
                    <a:pt x="0" y="4215"/>
                    <a:pt x="0" y="5115"/>
                    <a:pt x="144" y="5728"/>
                  </a:cubicBezTo>
                  <a:cubicBezTo>
                    <a:pt x="432" y="7384"/>
                    <a:pt x="900" y="9040"/>
                    <a:pt x="1188" y="10696"/>
                  </a:cubicBezTo>
                  <a:cubicBezTo>
                    <a:pt x="3133" y="10840"/>
                    <a:pt x="5545" y="11273"/>
                    <a:pt x="7490" y="12173"/>
                  </a:cubicBezTo>
                  <a:cubicBezTo>
                    <a:pt x="8102" y="12497"/>
                    <a:pt x="8534" y="12641"/>
                    <a:pt x="9146" y="12641"/>
                  </a:cubicBezTo>
                  <a:cubicBezTo>
                    <a:pt x="9578" y="12497"/>
                    <a:pt x="9902" y="12173"/>
                    <a:pt x="10190" y="11885"/>
                  </a:cubicBezTo>
                  <a:cubicBezTo>
                    <a:pt x="11378" y="10516"/>
                    <a:pt x="12747" y="9328"/>
                    <a:pt x="14079" y="7996"/>
                  </a:cubicBezTo>
                  <a:cubicBezTo>
                    <a:pt x="14547" y="7528"/>
                    <a:pt x="14979" y="6772"/>
                    <a:pt x="14547" y="6340"/>
                  </a:cubicBezTo>
                  <a:cubicBezTo>
                    <a:pt x="14384" y="6177"/>
                    <a:pt x="14187" y="6110"/>
                    <a:pt x="13980" y="6110"/>
                  </a:cubicBezTo>
                  <a:cubicBezTo>
                    <a:pt x="13592" y="6110"/>
                    <a:pt x="13173" y="6346"/>
                    <a:pt x="12891" y="6628"/>
                  </a:cubicBezTo>
                  <a:cubicBezTo>
                    <a:pt x="12134" y="7240"/>
                    <a:pt x="11234" y="7996"/>
                    <a:pt x="10478" y="8572"/>
                  </a:cubicBezTo>
                  <a:cubicBezTo>
                    <a:pt x="10273" y="8802"/>
                    <a:pt x="9978" y="9015"/>
                    <a:pt x="9669" y="9015"/>
                  </a:cubicBezTo>
                  <a:cubicBezTo>
                    <a:pt x="9543" y="9015"/>
                    <a:pt x="9415" y="8979"/>
                    <a:pt x="9290" y="8896"/>
                  </a:cubicBezTo>
                  <a:cubicBezTo>
                    <a:pt x="9002" y="8572"/>
                    <a:pt x="9290" y="7996"/>
                    <a:pt x="9434" y="7528"/>
                  </a:cubicBezTo>
                  <a:cubicBezTo>
                    <a:pt x="10046" y="6628"/>
                    <a:pt x="10622" y="5872"/>
                    <a:pt x="11234" y="4971"/>
                  </a:cubicBezTo>
                  <a:cubicBezTo>
                    <a:pt x="11522" y="4395"/>
                    <a:pt x="11846" y="3495"/>
                    <a:pt x="11234" y="3027"/>
                  </a:cubicBezTo>
                  <a:cubicBezTo>
                    <a:pt x="11142" y="2983"/>
                    <a:pt x="11050" y="2964"/>
                    <a:pt x="10960" y="2964"/>
                  </a:cubicBezTo>
                  <a:cubicBezTo>
                    <a:pt x="10454" y="2964"/>
                    <a:pt x="9997" y="3582"/>
                    <a:pt x="9722" y="4071"/>
                  </a:cubicBezTo>
                  <a:cubicBezTo>
                    <a:pt x="9290" y="5115"/>
                    <a:pt x="8822" y="6016"/>
                    <a:pt x="8246" y="7096"/>
                  </a:cubicBezTo>
                  <a:cubicBezTo>
                    <a:pt x="8138" y="7418"/>
                    <a:pt x="7771" y="7840"/>
                    <a:pt x="7397" y="7840"/>
                  </a:cubicBezTo>
                  <a:cubicBezTo>
                    <a:pt x="7269" y="7840"/>
                    <a:pt x="7141" y="7791"/>
                    <a:pt x="7022" y="7672"/>
                  </a:cubicBezTo>
                  <a:cubicBezTo>
                    <a:pt x="6878" y="7528"/>
                    <a:pt x="6878" y="7240"/>
                    <a:pt x="7022" y="6916"/>
                  </a:cubicBezTo>
                  <a:cubicBezTo>
                    <a:pt x="7346" y="5439"/>
                    <a:pt x="7634" y="4071"/>
                    <a:pt x="8102" y="2595"/>
                  </a:cubicBezTo>
                  <a:cubicBezTo>
                    <a:pt x="8102" y="2127"/>
                    <a:pt x="8246" y="1695"/>
                    <a:pt x="8246" y="1083"/>
                  </a:cubicBezTo>
                  <a:cubicBezTo>
                    <a:pt x="8102" y="615"/>
                    <a:pt x="7778" y="182"/>
                    <a:pt x="7346" y="38"/>
                  </a:cubicBezTo>
                  <a:cubicBezTo>
                    <a:pt x="7237" y="13"/>
                    <a:pt x="7134" y="1"/>
                    <a:pt x="7037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8" name="Google Shape;148;p2"/>
            <p:cNvSpPr/>
            <p:nvPr/>
          </p:nvSpPr>
          <p:spPr>
            <a:xfrm>
              <a:off x="3472050" y="3311325"/>
              <a:ext cx="738550" cy="344625"/>
            </a:xfrm>
            <a:custGeom>
              <a:avLst/>
              <a:gdLst/>
              <a:ahLst/>
              <a:cxnLst/>
              <a:rect l="l" t="t" r="r" b="b"/>
              <a:pathLst>
                <a:path w="29542" h="13785" extrusionOk="0">
                  <a:moveTo>
                    <a:pt x="13338" y="0"/>
                  </a:moveTo>
                  <a:cubicBezTo>
                    <a:pt x="11387" y="0"/>
                    <a:pt x="9464" y="507"/>
                    <a:pt x="7937" y="1794"/>
                  </a:cubicBezTo>
                  <a:cubicBezTo>
                    <a:pt x="6281" y="3127"/>
                    <a:pt x="5380" y="5395"/>
                    <a:pt x="3580" y="6583"/>
                  </a:cubicBezTo>
                  <a:cubicBezTo>
                    <a:pt x="2212" y="7339"/>
                    <a:pt x="880" y="8095"/>
                    <a:pt x="412" y="9572"/>
                  </a:cubicBezTo>
                  <a:cubicBezTo>
                    <a:pt x="1" y="10565"/>
                    <a:pt x="664" y="11851"/>
                    <a:pt x="2526" y="11851"/>
                  </a:cubicBezTo>
                  <a:cubicBezTo>
                    <a:pt x="2622" y="11851"/>
                    <a:pt x="2721" y="11847"/>
                    <a:pt x="2824" y="11840"/>
                  </a:cubicBezTo>
                  <a:cubicBezTo>
                    <a:pt x="6287" y="11518"/>
                    <a:pt x="10378" y="10659"/>
                    <a:pt x="15116" y="10659"/>
                  </a:cubicBezTo>
                  <a:cubicBezTo>
                    <a:pt x="19391" y="10659"/>
                    <a:pt x="24195" y="11359"/>
                    <a:pt x="29541" y="13785"/>
                  </a:cubicBezTo>
                  <a:cubicBezTo>
                    <a:pt x="28173" y="7483"/>
                    <a:pt x="23060" y="2370"/>
                    <a:pt x="17083" y="570"/>
                  </a:cubicBezTo>
                  <a:cubicBezTo>
                    <a:pt x="15890" y="215"/>
                    <a:pt x="14608" y="0"/>
                    <a:pt x="13338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9" name="Google Shape;149;p2"/>
            <p:cNvSpPr/>
            <p:nvPr/>
          </p:nvSpPr>
          <p:spPr>
            <a:xfrm>
              <a:off x="3819900" y="3404775"/>
              <a:ext cx="330375" cy="202575"/>
            </a:xfrm>
            <a:custGeom>
              <a:avLst/>
              <a:gdLst/>
              <a:ahLst/>
              <a:cxnLst/>
              <a:rect l="l" t="t" r="r" b="b"/>
              <a:pathLst>
                <a:path w="13215" h="8103" extrusionOk="0">
                  <a:moveTo>
                    <a:pt x="1044" y="1"/>
                  </a:moveTo>
                  <a:cubicBezTo>
                    <a:pt x="612" y="1"/>
                    <a:pt x="144" y="145"/>
                    <a:pt x="144" y="433"/>
                  </a:cubicBezTo>
                  <a:cubicBezTo>
                    <a:pt x="144" y="757"/>
                    <a:pt x="612" y="1045"/>
                    <a:pt x="1044" y="1189"/>
                  </a:cubicBezTo>
                  <a:cubicBezTo>
                    <a:pt x="3925" y="2233"/>
                    <a:pt x="6769" y="3457"/>
                    <a:pt x="9614" y="4501"/>
                  </a:cubicBezTo>
                  <a:cubicBezTo>
                    <a:pt x="6769" y="4033"/>
                    <a:pt x="4069" y="3601"/>
                    <a:pt x="1368" y="3277"/>
                  </a:cubicBezTo>
                  <a:cubicBezTo>
                    <a:pt x="1181" y="3220"/>
                    <a:pt x="977" y="3185"/>
                    <a:pt x="787" y="3185"/>
                  </a:cubicBezTo>
                  <a:cubicBezTo>
                    <a:pt x="503" y="3185"/>
                    <a:pt x="252" y="3263"/>
                    <a:pt x="144" y="3457"/>
                  </a:cubicBezTo>
                  <a:cubicBezTo>
                    <a:pt x="0" y="3745"/>
                    <a:pt x="324" y="4177"/>
                    <a:pt x="756" y="4357"/>
                  </a:cubicBezTo>
                  <a:cubicBezTo>
                    <a:pt x="1944" y="4934"/>
                    <a:pt x="3457" y="4934"/>
                    <a:pt x="4969" y="4934"/>
                  </a:cubicBezTo>
                  <a:cubicBezTo>
                    <a:pt x="6301" y="4934"/>
                    <a:pt x="9146" y="5546"/>
                    <a:pt x="8858" y="5978"/>
                  </a:cubicBezTo>
                  <a:cubicBezTo>
                    <a:pt x="8828" y="6044"/>
                    <a:pt x="8680" y="6071"/>
                    <a:pt x="8449" y="6071"/>
                  </a:cubicBezTo>
                  <a:cubicBezTo>
                    <a:pt x="7548" y="6071"/>
                    <a:pt x="5387" y="5660"/>
                    <a:pt x="4069" y="5546"/>
                  </a:cubicBezTo>
                  <a:cubicBezTo>
                    <a:pt x="3935" y="5486"/>
                    <a:pt x="3782" y="5451"/>
                    <a:pt x="3639" y="5451"/>
                  </a:cubicBezTo>
                  <a:cubicBezTo>
                    <a:pt x="3436" y="5451"/>
                    <a:pt x="3253" y="5521"/>
                    <a:pt x="3169" y="5690"/>
                  </a:cubicBezTo>
                  <a:cubicBezTo>
                    <a:pt x="2845" y="5978"/>
                    <a:pt x="3457" y="6302"/>
                    <a:pt x="3745" y="6446"/>
                  </a:cubicBezTo>
                  <a:cubicBezTo>
                    <a:pt x="5113" y="6734"/>
                    <a:pt x="6625" y="6734"/>
                    <a:pt x="7958" y="6734"/>
                  </a:cubicBezTo>
                  <a:cubicBezTo>
                    <a:pt x="9326" y="6878"/>
                    <a:pt x="10802" y="7202"/>
                    <a:pt x="11702" y="8102"/>
                  </a:cubicBezTo>
                  <a:cubicBezTo>
                    <a:pt x="12314" y="7202"/>
                    <a:pt x="12927" y="6158"/>
                    <a:pt x="13215" y="5258"/>
                  </a:cubicBezTo>
                  <a:cubicBezTo>
                    <a:pt x="12026" y="3889"/>
                    <a:pt x="10658" y="2701"/>
                    <a:pt x="9002" y="1657"/>
                  </a:cubicBezTo>
                  <a:cubicBezTo>
                    <a:pt x="8714" y="1333"/>
                    <a:pt x="8426" y="1189"/>
                    <a:pt x="7958" y="1189"/>
                  </a:cubicBezTo>
                  <a:cubicBezTo>
                    <a:pt x="7526" y="1333"/>
                    <a:pt x="7526" y="1945"/>
                    <a:pt x="7814" y="2233"/>
                  </a:cubicBezTo>
                  <a:cubicBezTo>
                    <a:pt x="8102" y="2557"/>
                    <a:pt x="8714" y="2701"/>
                    <a:pt x="9146" y="2845"/>
                  </a:cubicBezTo>
                  <a:cubicBezTo>
                    <a:pt x="9614" y="2989"/>
                    <a:pt x="10370" y="3601"/>
                    <a:pt x="9902" y="3745"/>
                  </a:cubicBezTo>
                  <a:cubicBezTo>
                    <a:pt x="9877" y="3749"/>
                    <a:pt x="9850" y="3751"/>
                    <a:pt x="9821" y="3751"/>
                  </a:cubicBezTo>
                  <a:cubicBezTo>
                    <a:pt x="8775" y="3751"/>
                    <a:pt x="4755" y="1304"/>
                    <a:pt x="2269" y="289"/>
                  </a:cubicBezTo>
                  <a:cubicBezTo>
                    <a:pt x="1800" y="145"/>
                    <a:pt x="1512" y="1"/>
                    <a:pt x="1044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0" name="Google Shape;150;p2"/>
            <p:cNvSpPr/>
            <p:nvPr/>
          </p:nvSpPr>
          <p:spPr>
            <a:xfrm>
              <a:off x="4423900" y="3617975"/>
              <a:ext cx="810175" cy="397850"/>
            </a:xfrm>
            <a:custGeom>
              <a:avLst/>
              <a:gdLst/>
              <a:ahLst/>
              <a:cxnLst/>
              <a:rect l="l" t="t" r="r" b="b"/>
              <a:pathLst>
                <a:path w="32407" h="15914" extrusionOk="0">
                  <a:moveTo>
                    <a:pt x="16038" y="0"/>
                  </a:moveTo>
                  <a:cubicBezTo>
                    <a:pt x="10293" y="0"/>
                    <a:pt x="4625" y="1585"/>
                    <a:pt x="1" y="4831"/>
                  </a:cubicBezTo>
                  <a:cubicBezTo>
                    <a:pt x="6914" y="4831"/>
                    <a:pt x="13791" y="7676"/>
                    <a:pt x="18760" y="12609"/>
                  </a:cubicBezTo>
                  <a:cubicBezTo>
                    <a:pt x="19804" y="13653"/>
                    <a:pt x="20849" y="15021"/>
                    <a:pt x="22361" y="15633"/>
                  </a:cubicBezTo>
                  <a:cubicBezTo>
                    <a:pt x="22788" y="15818"/>
                    <a:pt x="23296" y="15914"/>
                    <a:pt x="23809" y="15914"/>
                  </a:cubicBezTo>
                  <a:cubicBezTo>
                    <a:pt x="24896" y="15914"/>
                    <a:pt x="26002" y="15483"/>
                    <a:pt x="26394" y="14553"/>
                  </a:cubicBezTo>
                  <a:cubicBezTo>
                    <a:pt x="27006" y="13653"/>
                    <a:pt x="26862" y="12465"/>
                    <a:pt x="27474" y="11564"/>
                  </a:cubicBezTo>
                  <a:cubicBezTo>
                    <a:pt x="28194" y="10664"/>
                    <a:pt x="29706" y="10664"/>
                    <a:pt x="30606" y="10052"/>
                  </a:cubicBezTo>
                  <a:cubicBezTo>
                    <a:pt x="32263" y="9008"/>
                    <a:pt x="32407" y="6451"/>
                    <a:pt x="31363" y="4831"/>
                  </a:cubicBezTo>
                  <a:cubicBezTo>
                    <a:pt x="30318" y="3319"/>
                    <a:pt x="28374" y="2419"/>
                    <a:pt x="26574" y="1807"/>
                  </a:cubicBezTo>
                  <a:cubicBezTo>
                    <a:pt x="23185" y="608"/>
                    <a:pt x="19597" y="0"/>
                    <a:pt x="16038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1" name="Google Shape;151;p2"/>
            <p:cNvSpPr/>
            <p:nvPr/>
          </p:nvSpPr>
          <p:spPr>
            <a:xfrm>
              <a:off x="4529225" y="3648725"/>
              <a:ext cx="333975" cy="138650"/>
            </a:xfrm>
            <a:custGeom>
              <a:avLst/>
              <a:gdLst/>
              <a:ahLst/>
              <a:cxnLst/>
              <a:rect l="l" t="t" r="r" b="b"/>
              <a:pathLst>
                <a:path w="13359" h="5546" extrusionOk="0">
                  <a:moveTo>
                    <a:pt x="6734" y="0"/>
                  </a:moveTo>
                  <a:cubicBezTo>
                    <a:pt x="4933" y="145"/>
                    <a:pt x="3133" y="577"/>
                    <a:pt x="1333" y="1189"/>
                  </a:cubicBezTo>
                  <a:cubicBezTo>
                    <a:pt x="757" y="1333"/>
                    <a:pt x="433" y="2089"/>
                    <a:pt x="0" y="2377"/>
                  </a:cubicBezTo>
                  <a:cubicBezTo>
                    <a:pt x="2377" y="2845"/>
                    <a:pt x="4645" y="3745"/>
                    <a:pt x="6734" y="5077"/>
                  </a:cubicBezTo>
                  <a:cubicBezTo>
                    <a:pt x="7058" y="5221"/>
                    <a:pt x="7346" y="5402"/>
                    <a:pt x="7634" y="5546"/>
                  </a:cubicBezTo>
                  <a:cubicBezTo>
                    <a:pt x="7958" y="5546"/>
                    <a:pt x="8390" y="5221"/>
                    <a:pt x="8246" y="4933"/>
                  </a:cubicBezTo>
                  <a:cubicBezTo>
                    <a:pt x="8246" y="4645"/>
                    <a:pt x="7958" y="4501"/>
                    <a:pt x="7634" y="4501"/>
                  </a:cubicBezTo>
                  <a:cubicBezTo>
                    <a:pt x="6590" y="4033"/>
                    <a:pt x="4501" y="3421"/>
                    <a:pt x="4357" y="3133"/>
                  </a:cubicBezTo>
                  <a:cubicBezTo>
                    <a:pt x="4357" y="3053"/>
                    <a:pt x="4470" y="3019"/>
                    <a:pt x="4664" y="3019"/>
                  </a:cubicBezTo>
                  <a:cubicBezTo>
                    <a:pt x="5516" y="3019"/>
                    <a:pt x="7941" y="3681"/>
                    <a:pt x="9290" y="4033"/>
                  </a:cubicBezTo>
                  <a:cubicBezTo>
                    <a:pt x="9578" y="4177"/>
                    <a:pt x="10046" y="4177"/>
                    <a:pt x="10334" y="4177"/>
                  </a:cubicBezTo>
                  <a:cubicBezTo>
                    <a:pt x="10658" y="4033"/>
                    <a:pt x="10947" y="3889"/>
                    <a:pt x="10802" y="3601"/>
                  </a:cubicBezTo>
                  <a:cubicBezTo>
                    <a:pt x="10802" y="3277"/>
                    <a:pt x="10334" y="2989"/>
                    <a:pt x="10046" y="2989"/>
                  </a:cubicBezTo>
                  <a:cubicBezTo>
                    <a:pt x="8390" y="2521"/>
                    <a:pt x="5077" y="2377"/>
                    <a:pt x="5077" y="2089"/>
                  </a:cubicBezTo>
                  <a:cubicBezTo>
                    <a:pt x="5077" y="2047"/>
                    <a:pt x="5185" y="2030"/>
                    <a:pt x="5376" y="2030"/>
                  </a:cubicBezTo>
                  <a:cubicBezTo>
                    <a:pt x="6153" y="2030"/>
                    <a:pt x="8305" y="2307"/>
                    <a:pt x="10203" y="2307"/>
                  </a:cubicBezTo>
                  <a:cubicBezTo>
                    <a:pt x="11056" y="2307"/>
                    <a:pt x="11857" y="2251"/>
                    <a:pt x="12459" y="2089"/>
                  </a:cubicBezTo>
                  <a:cubicBezTo>
                    <a:pt x="12747" y="2089"/>
                    <a:pt x="13179" y="1945"/>
                    <a:pt x="13179" y="1621"/>
                  </a:cubicBezTo>
                  <a:cubicBezTo>
                    <a:pt x="13359" y="1189"/>
                    <a:pt x="12747" y="901"/>
                    <a:pt x="12279" y="721"/>
                  </a:cubicBezTo>
                  <a:cubicBezTo>
                    <a:pt x="11867" y="633"/>
                    <a:pt x="11400" y="597"/>
                    <a:pt x="10903" y="597"/>
                  </a:cubicBezTo>
                  <a:cubicBezTo>
                    <a:pt x="8661" y="597"/>
                    <a:pt x="5800" y="1327"/>
                    <a:pt x="4586" y="1327"/>
                  </a:cubicBezTo>
                  <a:cubicBezTo>
                    <a:pt x="4302" y="1327"/>
                    <a:pt x="4108" y="1287"/>
                    <a:pt x="4033" y="1189"/>
                  </a:cubicBezTo>
                  <a:cubicBezTo>
                    <a:pt x="3745" y="721"/>
                    <a:pt x="7346" y="721"/>
                    <a:pt x="7634" y="289"/>
                  </a:cubicBezTo>
                  <a:cubicBezTo>
                    <a:pt x="7634" y="0"/>
                    <a:pt x="7058" y="0"/>
                    <a:pt x="6734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2" name="Google Shape;152;p2"/>
            <p:cNvSpPr/>
            <p:nvPr/>
          </p:nvSpPr>
          <p:spPr>
            <a:xfrm>
              <a:off x="4098050" y="3469625"/>
              <a:ext cx="513125" cy="273275"/>
            </a:xfrm>
            <a:custGeom>
              <a:avLst/>
              <a:gdLst/>
              <a:ahLst/>
              <a:cxnLst/>
              <a:rect l="l" t="t" r="r" b="b"/>
              <a:pathLst>
                <a:path w="20525" h="10931" extrusionOk="0">
                  <a:moveTo>
                    <a:pt x="8640" y="1"/>
                  </a:moveTo>
                  <a:cubicBezTo>
                    <a:pt x="4374" y="1"/>
                    <a:pt x="944" y="2056"/>
                    <a:pt x="432" y="4464"/>
                  </a:cubicBezTo>
                  <a:cubicBezTo>
                    <a:pt x="0" y="7309"/>
                    <a:pt x="3889" y="9541"/>
                    <a:pt x="9290" y="10441"/>
                  </a:cubicBezTo>
                  <a:cubicBezTo>
                    <a:pt x="10951" y="10762"/>
                    <a:pt x="12554" y="10930"/>
                    <a:pt x="13991" y="10930"/>
                  </a:cubicBezTo>
                  <a:cubicBezTo>
                    <a:pt x="17228" y="10930"/>
                    <a:pt x="19624" y="10079"/>
                    <a:pt x="19948" y="8209"/>
                  </a:cubicBezTo>
                  <a:cubicBezTo>
                    <a:pt x="20524" y="5364"/>
                    <a:pt x="16635" y="1295"/>
                    <a:pt x="11234" y="251"/>
                  </a:cubicBezTo>
                  <a:cubicBezTo>
                    <a:pt x="10348" y="80"/>
                    <a:pt x="9478" y="1"/>
                    <a:pt x="8640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3" name="Google Shape;153;p2"/>
            <p:cNvSpPr/>
            <p:nvPr/>
          </p:nvSpPr>
          <p:spPr>
            <a:xfrm>
              <a:off x="4169150" y="3490550"/>
              <a:ext cx="284475" cy="77500"/>
            </a:xfrm>
            <a:custGeom>
              <a:avLst/>
              <a:gdLst/>
              <a:ahLst/>
              <a:cxnLst/>
              <a:rect l="l" t="t" r="r" b="b"/>
              <a:pathLst>
                <a:path w="11379" h="3100" extrusionOk="0">
                  <a:moveTo>
                    <a:pt x="5528" y="1"/>
                  </a:moveTo>
                  <a:cubicBezTo>
                    <a:pt x="4197" y="1"/>
                    <a:pt x="2871" y="239"/>
                    <a:pt x="1657" y="746"/>
                  </a:cubicBezTo>
                  <a:cubicBezTo>
                    <a:pt x="1189" y="926"/>
                    <a:pt x="757" y="1215"/>
                    <a:pt x="433" y="1503"/>
                  </a:cubicBezTo>
                  <a:cubicBezTo>
                    <a:pt x="145" y="1827"/>
                    <a:pt x="1" y="2403"/>
                    <a:pt x="289" y="2871"/>
                  </a:cubicBezTo>
                  <a:cubicBezTo>
                    <a:pt x="472" y="3040"/>
                    <a:pt x="723" y="3099"/>
                    <a:pt x="994" y="3099"/>
                  </a:cubicBezTo>
                  <a:cubicBezTo>
                    <a:pt x="1413" y="3099"/>
                    <a:pt x="1883" y="2958"/>
                    <a:pt x="2233" y="2871"/>
                  </a:cubicBezTo>
                  <a:cubicBezTo>
                    <a:pt x="3351" y="2473"/>
                    <a:pt x="4500" y="2284"/>
                    <a:pt x="5641" y="2284"/>
                  </a:cubicBezTo>
                  <a:cubicBezTo>
                    <a:pt x="6668" y="2284"/>
                    <a:pt x="7689" y="2437"/>
                    <a:pt x="8678" y="2727"/>
                  </a:cubicBezTo>
                  <a:cubicBezTo>
                    <a:pt x="9146" y="2871"/>
                    <a:pt x="9579" y="3015"/>
                    <a:pt x="10047" y="3015"/>
                  </a:cubicBezTo>
                  <a:cubicBezTo>
                    <a:pt x="10659" y="3015"/>
                    <a:pt x="11091" y="2871"/>
                    <a:pt x="11235" y="2403"/>
                  </a:cubicBezTo>
                  <a:cubicBezTo>
                    <a:pt x="11379" y="1971"/>
                    <a:pt x="10947" y="1359"/>
                    <a:pt x="10659" y="1215"/>
                  </a:cubicBezTo>
                  <a:cubicBezTo>
                    <a:pt x="9111" y="430"/>
                    <a:pt x="7315" y="1"/>
                    <a:pt x="5528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4" name="Google Shape;154;p2"/>
            <p:cNvSpPr/>
            <p:nvPr/>
          </p:nvSpPr>
          <p:spPr>
            <a:xfrm>
              <a:off x="3835200" y="3671225"/>
              <a:ext cx="727350" cy="525975"/>
            </a:xfrm>
            <a:custGeom>
              <a:avLst/>
              <a:gdLst/>
              <a:ahLst/>
              <a:cxnLst/>
              <a:rect l="l" t="t" r="r" b="b"/>
              <a:pathLst>
                <a:path w="29094" h="21039" extrusionOk="0">
                  <a:moveTo>
                    <a:pt x="16491" y="1"/>
                  </a:moveTo>
                  <a:cubicBezTo>
                    <a:pt x="15591" y="1"/>
                    <a:pt x="14835" y="145"/>
                    <a:pt x="14403" y="433"/>
                  </a:cubicBezTo>
                  <a:cubicBezTo>
                    <a:pt x="11414" y="1801"/>
                    <a:pt x="5833" y="4177"/>
                    <a:pt x="2233" y="8534"/>
                  </a:cubicBezTo>
                  <a:cubicBezTo>
                    <a:pt x="900" y="10047"/>
                    <a:pt x="0" y="12423"/>
                    <a:pt x="1188" y="14223"/>
                  </a:cubicBezTo>
                  <a:cubicBezTo>
                    <a:pt x="1945" y="15304"/>
                    <a:pt x="3313" y="15592"/>
                    <a:pt x="4645" y="15736"/>
                  </a:cubicBezTo>
                  <a:cubicBezTo>
                    <a:pt x="5833" y="15736"/>
                    <a:pt x="7202" y="15448"/>
                    <a:pt x="8390" y="15448"/>
                  </a:cubicBezTo>
                  <a:cubicBezTo>
                    <a:pt x="11558" y="15592"/>
                    <a:pt x="14259" y="17680"/>
                    <a:pt x="16959" y="19192"/>
                  </a:cubicBezTo>
                  <a:cubicBezTo>
                    <a:pt x="18733" y="20185"/>
                    <a:pt x="20832" y="21039"/>
                    <a:pt x="22829" y="21039"/>
                  </a:cubicBezTo>
                  <a:cubicBezTo>
                    <a:pt x="23873" y="21039"/>
                    <a:pt x="24890" y="20805"/>
                    <a:pt x="25817" y="20236"/>
                  </a:cubicBezTo>
                  <a:cubicBezTo>
                    <a:pt x="27617" y="19192"/>
                    <a:pt x="28518" y="17248"/>
                    <a:pt x="28806" y="15304"/>
                  </a:cubicBezTo>
                  <a:cubicBezTo>
                    <a:pt x="29094" y="12891"/>
                    <a:pt x="26717" y="6122"/>
                    <a:pt x="23549" y="2377"/>
                  </a:cubicBezTo>
                  <a:cubicBezTo>
                    <a:pt x="22937" y="1801"/>
                    <a:pt x="21892" y="1189"/>
                    <a:pt x="20848" y="721"/>
                  </a:cubicBezTo>
                  <a:cubicBezTo>
                    <a:pt x="19516" y="289"/>
                    <a:pt x="17860" y="1"/>
                    <a:pt x="16491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5" name="Google Shape;155;p2"/>
            <p:cNvSpPr/>
            <p:nvPr/>
          </p:nvSpPr>
          <p:spPr>
            <a:xfrm>
              <a:off x="4082750" y="3671225"/>
              <a:ext cx="367275" cy="345500"/>
            </a:xfrm>
            <a:custGeom>
              <a:avLst/>
              <a:gdLst/>
              <a:ahLst/>
              <a:cxnLst/>
              <a:rect l="l" t="t" r="r" b="b"/>
              <a:pathLst>
                <a:path w="14691" h="13820" extrusionOk="0">
                  <a:moveTo>
                    <a:pt x="6589" y="1"/>
                  </a:moveTo>
                  <a:cubicBezTo>
                    <a:pt x="4501" y="1333"/>
                    <a:pt x="2557" y="2701"/>
                    <a:pt x="756" y="4502"/>
                  </a:cubicBezTo>
                  <a:cubicBezTo>
                    <a:pt x="432" y="4646"/>
                    <a:pt x="288" y="4934"/>
                    <a:pt x="144" y="5222"/>
                  </a:cubicBezTo>
                  <a:cubicBezTo>
                    <a:pt x="0" y="5546"/>
                    <a:pt x="0" y="5978"/>
                    <a:pt x="144" y="6302"/>
                  </a:cubicBezTo>
                  <a:cubicBezTo>
                    <a:pt x="274" y="6497"/>
                    <a:pt x="470" y="6575"/>
                    <a:pt x="689" y="6575"/>
                  </a:cubicBezTo>
                  <a:cubicBezTo>
                    <a:pt x="955" y="6575"/>
                    <a:pt x="1256" y="6460"/>
                    <a:pt x="1512" y="6302"/>
                  </a:cubicBezTo>
                  <a:cubicBezTo>
                    <a:pt x="2845" y="5546"/>
                    <a:pt x="4933" y="2701"/>
                    <a:pt x="5689" y="2377"/>
                  </a:cubicBezTo>
                  <a:cubicBezTo>
                    <a:pt x="5707" y="2359"/>
                    <a:pt x="5726" y="2351"/>
                    <a:pt x="5745" y="2351"/>
                  </a:cubicBezTo>
                  <a:cubicBezTo>
                    <a:pt x="5873" y="2351"/>
                    <a:pt x="5991" y="2756"/>
                    <a:pt x="5833" y="3133"/>
                  </a:cubicBezTo>
                  <a:cubicBezTo>
                    <a:pt x="5833" y="4502"/>
                    <a:pt x="3133" y="8534"/>
                    <a:pt x="2701" y="11703"/>
                  </a:cubicBezTo>
                  <a:cubicBezTo>
                    <a:pt x="2557" y="12423"/>
                    <a:pt x="2557" y="13503"/>
                    <a:pt x="3133" y="13791"/>
                  </a:cubicBezTo>
                  <a:cubicBezTo>
                    <a:pt x="3195" y="13810"/>
                    <a:pt x="3257" y="13819"/>
                    <a:pt x="3318" y="13819"/>
                  </a:cubicBezTo>
                  <a:cubicBezTo>
                    <a:pt x="3717" y="13819"/>
                    <a:pt x="4095" y="13441"/>
                    <a:pt x="4501" y="13035"/>
                  </a:cubicBezTo>
                  <a:cubicBezTo>
                    <a:pt x="6157" y="10803"/>
                    <a:pt x="6013" y="7202"/>
                    <a:pt x="6733" y="4177"/>
                  </a:cubicBezTo>
                  <a:cubicBezTo>
                    <a:pt x="6913" y="3745"/>
                    <a:pt x="7201" y="3133"/>
                    <a:pt x="7634" y="2989"/>
                  </a:cubicBezTo>
                  <a:cubicBezTo>
                    <a:pt x="8246" y="2989"/>
                    <a:pt x="8714" y="3889"/>
                    <a:pt x="8534" y="4646"/>
                  </a:cubicBezTo>
                  <a:cubicBezTo>
                    <a:pt x="8534" y="5402"/>
                    <a:pt x="8102" y="5978"/>
                    <a:pt x="8102" y="6734"/>
                  </a:cubicBezTo>
                  <a:cubicBezTo>
                    <a:pt x="7958" y="7346"/>
                    <a:pt x="8102" y="8102"/>
                    <a:pt x="8534" y="8246"/>
                  </a:cubicBezTo>
                  <a:cubicBezTo>
                    <a:pt x="8625" y="8289"/>
                    <a:pt x="8713" y="8309"/>
                    <a:pt x="8797" y="8309"/>
                  </a:cubicBezTo>
                  <a:cubicBezTo>
                    <a:pt x="9278" y="8309"/>
                    <a:pt x="9635" y="7665"/>
                    <a:pt x="9758" y="7022"/>
                  </a:cubicBezTo>
                  <a:cubicBezTo>
                    <a:pt x="9758" y="6302"/>
                    <a:pt x="9614" y="5546"/>
                    <a:pt x="9614" y="4790"/>
                  </a:cubicBezTo>
                  <a:cubicBezTo>
                    <a:pt x="9614" y="4240"/>
                    <a:pt x="9962" y="3574"/>
                    <a:pt x="10372" y="3574"/>
                  </a:cubicBezTo>
                  <a:cubicBezTo>
                    <a:pt x="10419" y="3574"/>
                    <a:pt x="10466" y="3583"/>
                    <a:pt x="10514" y="3601"/>
                  </a:cubicBezTo>
                  <a:cubicBezTo>
                    <a:pt x="10802" y="3745"/>
                    <a:pt x="10946" y="4177"/>
                    <a:pt x="11090" y="4502"/>
                  </a:cubicBezTo>
                  <a:cubicBezTo>
                    <a:pt x="11846" y="6446"/>
                    <a:pt x="12314" y="8678"/>
                    <a:pt x="12458" y="10803"/>
                  </a:cubicBezTo>
                  <a:cubicBezTo>
                    <a:pt x="12602" y="11235"/>
                    <a:pt x="12602" y="11847"/>
                    <a:pt x="12746" y="12135"/>
                  </a:cubicBezTo>
                  <a:cubicBezTo>
                    <a:pt x="12984" y="12521"/>
                    <a:pt x="13344" y="12784"/>
                    <a:pt x="13624" y="12784"/>
                  </a:cubicBezTo>
                  <a:cubicBezTo>
                    <a:pt x="13684" y="12784"/>
                    <a:pt x="13740" y="12772"/>
                    <a:pt x="13791" y="12747"/>
                  </a:cubicBezTo>
                  <a:cubicBezTo>
                    <a:pt x="14259" y="12603"/>
                    <a:pt x="14403" y="11991"/>
                    <a:pt x="14403" y="11523"/>
                  </a:cubicBezTo>
                  <a:cubicBezTo>
                    <a:pt x="14691" y="9434"/>
                    <a:pt x="13935" y="7490"/>
                    <a:pt x="13359" y="5546"/>
                  </a:cubicBezTo>
                  <a:cubicBezTo>
                    <a:pt x="12891" y="4033"/>
                    <a:pt x="12314" y="2521"/>
                    <a:pt x="11414" y="1333"/>
                  </a:cubicBezTo>
                  <a:cubicBezTo>
                    <a:pt x="11234" y="1189"/>
                    <a:pt x="11090" y="901"/>
                    <a:pt x="10946" y="721"/>
                  </a:cubicBezTo>
                  <a:cubicBezTo>
                    <a:pt x="9614" y="289"/>
                    <a:pt x="7958" y="1"/>
                    <a:pt x="6589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56" name="Google Shape;156;p2"/>
          <p:cNvGrpSpPr/>
          <p:nvPr/>
        </p:nvGrpSpPr>
        <p:grpSpPr>
          <a:xfrm>
            <a:off x="7681941" y="6083301"/>
            <a:ext cx="919032" cy="602708"/>
            <a:chOff x="2998925" y="1123600"/>
            <a:chExt cx="1154950" cy="757425"/>
          </a:xfrm>
        </p:grpSpPr>
        <p:sp>
          <p:nvSpPr>
            <p:cNvPr id="157" name="Google Shape;157;p2"/>
            <p:cNvSpPr/>
            <p:nvPr/>
          </p:nvSpPr>
          <p:spPr>
            <a:xfrm>
              <a:off x="3133950" y="1299275"/>
              <a:ext cx="318700" cy="211575"/>
            </a:xfrm>
            <a:custGeom>
              <a:avLst/>
              <a:gdLst/>
              <a:ahLst/>
              <a:cxnLst/>
              <a:rect l="l" t="t" r="r" b="b"/>
              <a:pathLst>
                <a:path w="12748" h="8463" extrusionOk="0">
                  <a:moveTo>
                    <a:pt x="3963" y="1"/>
                  </a:moveTo>
                  <a:cubicBezTo>
                    <a:pt x="3276" y="1"/>
                    <a:pt x="2504" y="306"/>
                    <a:pt x="2233" y="937"/>
                  </a:cubicBezTo>
                  <a:cubicBezTo>
                    <a:pt x="1945" y="1693"/>
                    <a:pt x="2089" y="3061"/>
                    <a:pt x="1657" y="3637"/>
                  </a:cubicBezTo>
                  <a:cubicBezTo>
                    <a:pt x="1477" y="3781"/>
                    <a:pt x="1045" y="3961"/>
                    <a:pt x="757" y="4105"/>
                  </a:cubicBezTo>
                  <a:cubicBezTo>
                    <a:pt x="433" y="4250"/>
                    <a:pt x="1" y="4538"/>
                    <a:pt x="1" y="4862"/>
                  </a:cubicBezTo>
                  <a:cubicBezTo>
                    <a:pt x="1" y="5294"/>
                    <a:pt x="433" y="5438"/>
                    <a:pt x="757" y="5582"/>
                  </a:cubicBezTo>
                  <a:cubicBezTo>
                    <a:pt x="1045" y="5582"/>
                    <a:pt x="1333" y="5438"/>
                    <a:pt x="1657" y="5438"/>
                  </a:cubicBezTo>
                  <a:cubicBezTo>
                    <a:pt x="2446" y="5240"/>
                    <a:pt x="3250" y="5145"/>
                    <a:pt x="4048" y="5145"/>
                  </a:cubicBezTo>
                  <a:cubicBezTo>
                    <a:pt x="6892" y="5145"/>
                    <a:pt x="9675" y="6354"/>
                    <a:pt x="11559" y="8462"/>
                  </a:cubicBezTo>
                  <a:cubicBezTo>
                    <a:pt x="11847" y="7994"/>
                    <a:pt x="12135" y="7382"/>
                    <a:pt x="12747" y="6338"/>
                  </a:cubicBezTo>
                  <a:cubicBezTo>
                    <a:pt x="10947" y="3205"/>
                    <a:pt x="8390" y="793"/>
                    <a:pt x="4358" y="37"/>
                  </a:cubicBezTo>
                  <a:cubicBezTo>
                    <a:pt x="4233" y="13"/>
                    <a:pt x="4100" y="1"/>
                    <a:pt x="396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" name="Google Shape;158;p2"/>
            <p:cNvSpPr/>
            <p:nvPr/>
          </p:nvSpPr>
          <p:spPr>
            <a:xfrm>
              <a:off x="3658750" y="1160575"/>
              <a:ext cx="344800" cy="278250"/>
            </a:xfrm>
            <a:custGeom>
              <a:avLst/>
              <a:gdLst/>
              <a:ahLst/>
              <a:cxnLst/>
              <a:rect l="l" t="t" r="r" b="b"/>
              <a:pathLst>
                <a:path w="13792" h="11130" extrusionOk="0">
                  <a:moveTo>
                    <a:pt x="4990" y="1"/>
                  </a:moveTo>
                  <a:cubicBezTo>
                    <a:pt x="4463" y="1"/>
                    <a:pt x="3844" y="331"/>
                    <a:pt x="2989" y="1408"/>
                  </a:cubicBezTo>
                  <a:cubicBezTo>
                    <a:pt x="2089" y="2596"/>
                    <a:pt x="469" y="5909"/>
                    <a:pt x="1" y="9509"/>
                  </a:cubicBezTo>
                  <a:cubicBezTo>
                    <a:pt x="613" y="10230"/>
                    <a:pt x="1189" y="10554"/>
                    <a:pt x="2269" y="11130"/>
                  </a:cubicBezTo>
                  <a:cubicBezTo>
                    <a:pt x="4790" y="8285"/>
                    <a:pt x="8246" y="6053"/>
                    <a:pt x="11847" y="5009"/>
                  </a:cubicBezTo>
                  <a:cubicBezTo>
                    <a:pt x="12747" y="4685"/>
                    <a:pt x="13647" y="4397"/>
                    <a:pt x="13791" y="3640"/>
                  </a:cubicBezTo>
                  <a:cubicBezTo>
                    <a:pt x="13791" y="3208"/>
                    <a:pt x="13647" y="2740"/>
                    <a:pt x="13359" y="2452"/>
                  </a:cubicBezTo>
                  <a:cubicBezTo>
                    <a:pt x="12693" y="1531"/>
                    <a:pt x="11578" y="1058"/>
                    <a:pt x="10385" y="1058"/>
                  </a:cubicBezTo>
                  <a:cubicBezTo>
                    <a:pt x="10225" y="1058"/>
                    <a:pt x="10064" y="1067"/>
                    <a:pt x="9903" y="1084"/>
                  </a:cubicBezTo>
                  <a:cubicBezTo>
                    <a:pt x="9711" y="1110"/>
                    <a:pt x="9509" y="1122"/>
                    <a:pt x="9300" y="1122"/>
                  </a:cubicBezTo>
                  <a:cubicBezTo>
                    <a:pt x="8372" y="1122"/>
                    <a:pt x="7325" y="887"/>
                    <a:pt x="6590" y="652"/>
                  </a:cubicBezTo>
                  <a:cubicBezTo>
                    <a:pt x="6041" y="406"/>
                    <a:pt x="5572" y="1"/>
                    <a:pt x="4990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" name="Google Shape;159;p2"/>
            <p:cNvSpPr/>
            <p:nvPr/>
          </p:nvSpPr>
          <p:spPr>
            <a:xfrm>
              <a:off x="3617350" y="1476625"/>
              <a:ext cx="394300" cy="239450"/>
            </a:xfrm>
            <a:custGeom>
              <a:avLst/>
              <a:gdLst/>
              <a:ahLst/>
              <a:cxnLst/>
              <a:rect l="l" t="t" r="r" b="b"/>
              <a:pathLst>
                <a:path w="15772" h="9578" extrusionOk="0">
                  <a:moveTo>
                    <a:pt x="7058" y="0"/>
                  </a:moveTo>
                  <a:cubicBezTo>
                    <a:pt x="4501" y="0"/>
                    <a:pt x="1945" y="612"/>
                    <a:pt x="1" y="2268"/>
                  </a:cubicBezTo>
                  <a:cubicBezTo>
                    <a:pt x="145" y="2268"/>
                    <a:pt x="325" y="2557"/>
                    <a:pt x="613" y="2845"/>
                  </a:cubicBezTo>
                  <a:cubicBezTo>
                    <a:pt x="901" y="2989"/>
                    <a:pt x="1225" y="3169"/>
                    <a:pt x="1513" y="3169"/>
                  </a:cubicBezTo>
                  <a:cubicBezTo>
                    <a:pt x="4069" y="4069"/>
                    <a:pt x="6302" y="5545"/>
                    <a:pt x="8102" y="7489"/>
                  </a:cubicBezTo>
                  <a:cubicBezTo>
                    <a:pt x="8570" y="8102"/>
                    <a:pt x="9002" y="8714"/>
                    <a:pt x="9758" y="9146"/>
                  </a:cubicBezTo>
                  <a:cubicBezTo>
                    <a:pt x="10110" y="9415"/>
                    <a:pt x="10558" y="9577"/>
                    <a:pt x="10984" y="9577"/>
                  </a:cubicBezTo>
                  <a:cubicBezTo>
                    <a:pt x="11299" y="9577"/>
                    <a:pt x="11602" y="9489"/>
                    <a:pt x="11847" y="9290"/>
                  </a:cubicBezTo>
                  <a:cubicBezTo>
                    <a:pt x="12603" y="8714"/>
                    <a:pt x="12747" y="7670"/>
                    <a:pt x="13359" y="6913"/>
                  </a:cubicBezTo>
                  <a:cubicBezTo>
                    <a:pt x="13647" y="6445"/>
                    <a:pt x="14259" y="6013"/>
                    <a:pt x="14871" y="5689"/>
                  </a:cubicBezTo>
                  <a:cubicBezTo>
                    <a:pt x="15303" y="5257"/>
                    <a:pt x="15772" y="4645"/>
                    <a:pt x="15772" y="4069"/>
                  </a:cubicBezTo>
                  <a:cubicBezTo>
                    <a:pt x="15772" y="3169"/>
                    <a:pt x="15015" y="2557"/>
                    <a:pt x="14115" y="2088"/>
                  </a:cubicBezTo>
                  <a:cubicBezTo>
                    <a:pt x="12027" y="900"/>
                    <a:pt x="9470" y="144"/>
                    <a:pt x="7058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" name="Google Shape;160;p2"/>
            <p:cNvSpPr/>
            <p:nvPr/>
          </p:nvSpPr>
          <p:spPr>
            <a:xfrm>
              <a:off x="3085350" y="1537725"/>
              <a:ext cx="427600" cy="301150"/>
            </a:xfrm>
            <a:custGeom>
              <a:avLst/>
              <a:gdLst/>
              <a:ahLst/>
              <a:cxnLst/>
              <a:rect l="l" t="t" r="r" b="b"/>
              <a:pathLst>
                <a:path w="17104" h="12046" extrusionOk="0">
                  <a:moveTo>
                    <a:pt x="14888" y="0"/>
                  </a:moveTo>
                  <a:cubicBezTo>
                    <a:pt x="14716" y="0"/>
                    <a:pt x="14552" y="35"/>
                    <a:pt x="14403" y="113"/>
                  </a:cubicBezTo>
                  <a:cubicBezTo>
                    <a:pt x="10334" y="401"/>
                    <a:pt x="4321" y="2813"/>
                    <a:pt x="1045" y="6702"/>
                  </a:cubicBezTo>
                  <a:cubicBezTo>
                    <a:pt x="433" y="7314"/>
                    <a:pt x="1" y="8214"/>
                    <a:pt x="433" y="8970"/>
                  </a:cubicBezTo>
                  <a:cubicBezTo>
                    <a:pt x="730" y="9338"/>
                    <a:pt x="1163" y="9416"/>
                    <a:pt x="1650" y="9416"/>
                  </a:cubicBezTo>
                  <a:cubicBezTo>
                    <a:pt x="2013" y="9416"/>
                    <a:pt x="2404" y="9373"/>
                    <a:pt x="2792" y="9373"/>
                  </a:cubicBezTo>
                  <a:cubicBezTo>
                    <a:pt x="2955" y="9373"/>
                    <a:pt x="3118" y="9380"/>
                    <a:pt x="3277" y="9402"/>
                  </a:cubicBezTo>
                  <a:cubicBezTo>
                    <a:pt x="4321" y="9546"/>
                    <a:pt x="5077" y="10447"/>
                    <a:pt x="5978" y="11203"/>
                  </a:cubicBezTo>
                  <a:cubicBezTo>
                    <a:pt x="6554" y="11594"/>
                    <a:pt x="7440" y="12045"/>
                    <a:pt x="8163" y="12045"/>
                  </a:cubicBezTo>
                  <a:cubicBezTo>
                    <a:pt x="8570" y="12045"/>
                    <a:pt x="8926" y="11903"/>
                    <a:pt x="9146" y="11527"/>
                  </a:cubicBezTo>
                  <a:cubicBezTo>
                    <a:pt x="11847" y="6270"/>
                    <a:pt x="13323" y="4001"/>
                    <a:pt x="17104" y="1769"/>
                  </a:cubicBezTo>
                  <a:cubicBezTo>
                    <a:pt x="16833" y="897"/>
                    <a:pt x="15760" y="0"/>
                    <a:pt x="14888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" name="Google Shape;161;p2"/>
            <p:cNvSpPr/>
            <p:nvPr/>
          </p:nvSpPr>
          <p:spPr>
            <a:xfrm>
              <a:off x="3276175" y="1123600"/>
              <a:ext cx="447450" cy="334125"/>
            </a:xfrm>
            <a:custGeom>
              <a:avLst/>
              <a:gdLst/>
              <a:ahLst/>
              <a:cxnLst/>
              <a:rect l="l" t="t" r="r" b="b"/>
              <a:pathLst>
                <a:path w="17898" h="13365" extrusionOk="0">
                  <a:moveTo>
                    <a:pt x="15388" y="1"/>
                  </a:moveTo>
                  <a:cubicBezTo>
                    <a:pt x="14897" y="1"/>
                    <a:pt x="14354" y="70"/>
                    <a:pt x="13792" y="186"/>
                  </a:cubicBezTo>
                  <a:cubicBezTo>
                    <a:pt x="11091" y="763"/>
                    <a:pt x="8859" y="3175"/>
                    <a:pt x="6014" y="3463"/>
                  </a:cubicBezTo>
                  <a:cubicBezTo>
                    <a:pt x="5834" y="3492"/>
                    <a:pt x="5654" y="3503"/>
                    <a:pt x="5474" y="3503"/>
                  </a:cubicBezTo>
                  <a:cubicBezTo>
                    <a:pt x="4754" y="3503"/>
                    <a:pt x="4034" y="3319"/>
                    <a:pt x="3314" y="3319"/>
                  </a:cubicBezTo>
                  <a:cubicBezTo>
                    <a:pt x="2413" y="3319"/>
                    <a:pt x="1369" y="3463"/>
                    <a:pt x="901" y="4219"/>
                  </a:cubicBezTo>
                  <a:cubicBezTo>
                    <a:pt x="1" y="5263"/>
                    <a:pt x="289" y="6776"/>
                    <a:pt x="1189" y="7676"/>
                  </a:cubicBezTo>
                  <a:cubicBezTo>
                    <a:pt x="1945" y="8720"/>
                    <a:pt x="4970" y="10808"/>
                    <a:pt x="6014" y="13365"/>
                  </a:cubicBezTo>
                  <a:cubicBezTo>
                    <a:pt x="8685" y="13107"/>
                    <a:pt x="12219" y="11642"/>
                    <a:pt x="14534" y="11642"/>
                  </a:cubicBezTo>
                  <a:cubicBezTo>
                    <a:pt x="14809" y="11642"/>
                    <a:pt x="15067" y="11663"/>
                    <a:pt x="15304" y="11709"/>
                  </a:cubicBezTo>
                  <a:cubicBezTo>
                    <a:pt x="16060" y="5731"/>
                    <a:pt x="17248" y="4831"/>
                    <a:pt x="17572" y="2563"/>
                  </a:cubicBezTo>
                  <a:cubicBezTo>
                    <a:pt x="17897" y="640"/>
                    <a:pt x="16878" y="1"/>
                    <a:pt x="15388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" name="Google Shape;162;p2"/>
            <p:cNvSpPr/>
            <p:nvPr/>
          </p:nvSpPr>
          <p:spPr>
            <a:xfrm>
              <a:off x="3400400" y="1231700"/>
              <a:ext cx="247575" cy="207125"/>
            </a:xfrm>
            <a:custGeom>
              <a:avLst/>
              <a:gdLst/>
              <a:ahLst/>
              <a:cxnLst/>
              <a:rect l="l" t="t" r="r" b="b"/>
              <a:pathLst>
                <a:path w="9903" h="8285" extrusionOk="0">
                  <a:moveTo>
                    <a:pt x="3300" y="0"/>
                  </a:moveTo>
                  <a:cubicBezTo>
                    <a:pt x="3244" y="0"/>
                    <a:pt x="3188" y="12"/>
                    <a:pt x="3134" y="39"/>
                  </a:cubicBezTo>
                  <a:cubicBezTo>
                    <a:pt x="2701" y="39"/>
                    <a:pt x="2521" y="363"/>
                    <a:pt x="2521" y="795"/>
                  </a:cubicBezTo>
                  <a:cubicBezTo>
                    <a:pt x="2377" y="1083"/>
                    <a:pt x="2521" y="1552"/>
                    <a:pt x="2521" y="1840"/>
                  </a:cubicBezTo>
                  <a:cubicBezTo>
                    <a:pt x="2701" y="2596"/>
                    <a:pt x="2989" y="3352"/>
                    <a:pt x="3134" y="3964"/>
                  </a:cubicBezTo>
                  <a:cubicBezTo>
                    <a:pt x="3134" y="4396"/>
                    <a:pt x="3278" y="4684"/>
                    <a:pt x="3134" y="5008"/>
                  </a:cubicBezTo>
                  <a:cubicBezTo>
                    <a:pt x="3134" y="5440"/>
                    <a:pt x="2845" y="5764"/>
                    <a:pt x="2521" y="5764"/>
                  </a:cubicBezTo>
                  <a:cubicBezTo>
                    <a:pt x="1945" y="5764"/>
                    <a:pt x="1621" y="5296"/>
                    <a:pt x="1477" y="4864"/>
                  </a:cubicBezTo>
                  <a:cubicBezTo>
                    <a:pt x="1269" y="4525"/>
                    <a:pt x="890" y="4281"/>
                    <a:pt x="588" y="4281"/>
                  </a:cubicBezTo>
                  <a:cubicBezTo>
                    <a:pt x="473" y="4281"/>
                    <a:pt x="369" y="4316"/>
                    <a:pt x="289" y="4396"/>
                  </a:cubicBezTo>
                  <a:cubicBezTo>
                    <a:pt x="1" y="4684"/>
                    <a:pt x="145" y="5296"/>
                    <a:pt x="433" y="5584"/>
                  </a:cubicBezTo>
                  <a:cubicBezTo>
                    <a:pt x="1189" y="6484"/>
                    <a:pt x="1945" y="7385"/>
                    <a:pt x="2701" y="8285"/>
                  </a:cubicBezTo>
                  <a:cubicBezTo>
                    <a:pt x="3890" y="7853"/>
                    <a:pt x="5402" y="7385"/>
                    <a:pt x="6878" y="7385"/>
                  </a:cubicBezTo>
                  <a:cubicBezTo>
                    <a:pt x="7346" y="7385"/>
                    <a:pt x="7778" y="7385"/>
                    <a:pt x="8102" y="7097"/>
                  </a:cubicBezTo>
                  <a:cubicBezTo>
                    <a:pt x="8246" y="6953"/>
                    <a:pt x="8390" y="6664"/>
                    <a:pt x="8390" y="6340"/>
                  </a:cubicBezTo>
                  <a:cubicBezTo>
                    <a:pt x="8823" y="5296"/>
                    <a:pt x="9291" y="4108"/>
                    <a:pt x="9579" y="2884"/>
                  </a:cubicBezTo>
                  <a:cubicBezTo>
                    <a:pt x="9723" y="2452"/>
                    <a:pt x="9903" y="1840"/>
                    <a:pt x="9435" y="1696"/>
                  </a:cubicBezTo>
                  <a:cubicBezTo>
                    <a:pt x="9376" y="1676"/>
                    <a:pt x="9319" y="1667"/>
                    <a:pt x="9265" y="1667"/>
                  </a:cubicBezTo>
                  <a:cubicBezTo>
                    <a:pt x="8918" y="1667"/>
                    <a:pt x="8659" y="2028"/>
                    <a:pt x="8535" y="2308"/>
                  </a:cubicBezTo>
                  <a:cubicBezTo>
                    <a:pt x="8246" y="3064"/>
                    <a:pt x="7922" y="3640"/>
                    <a:pt x="7634" y="4252"/>
                  </a:cubicBezTo>
                  <a:cubicBezTo>
                    <a:pt x="7490" y="4540"/>
                    <a:pt x="7346" y="4864"/>
                    <a:pt x="7022" y="4864"/>
                  </a:cubicBezTo>
                  <a:cubicBezTo>
                    <a:pt x="6734" y="4684"/>
                    <a:pt x="6734" y="4252"/>
                    <a:pt x="6734" y="3964"/>
                  </a:cubicBezTo>
                  <a:cubicBezTo>
                    <a:pt x="6878" y="3352"/>
                    <a:pt x="6878" y="2596"/>
                    <a:pt x="7022" y="1840"/>
                  </a:cubicBezTo>
                  <a:cubicBezTo>
                    <a:pt x="7022" y="1407"/>
                    <a:pt x="6878" y="651"/>
                    <a:pt x="6446" y="651"/>
                  </a:cubicBezTo>
                  <a:cubicBezTo>
                    <a:pt x="5978" y="651"/>
                    <a:pt x="5834" y="1263"/>
                    <a:pt x="5834" y="1696"/>
                  </a:cubicBezTo>
                  <a:lnTo>
                    <a:pt x="5834" y="4108"/>
                  </a:lnTo>
                  <a:cubicBezTo>
                    <a:pt x="5834" y="4396"/>
                    <a:pt x="5690" y="4864"/>
                    <a:pt x="5402" y="4864"/>
                  </a:cubicBezTo>
                  <a:cubicBezTo>
                    <a:pt x="5078" y="4684"/>
                    <a:pt x="5078" y="4540"/>
                    <a:pt x="5078" y="4396"/>
                  </a:cubicBezTo>
                  <a:cubicBezTo>
                    <a:pt x="4790" y="3352"/>
                    <a:pt x="4646" y="2308"/>
                    <a:pt x="4322" y="1407"/>
                  </a:cubicBezTo>
                  <a:cubicBezTo>
                    <a:pt x="4322" y="1083"/>
                    <a:pt x="4178" y="651"/>
                    <a:pt x="4034" y="363"/>
                  </a:cubicBezTo>
                  <a:cubicBezTo>
                    <a:pt x="3800" y="217"/>
                    <a:pt x="3543" y="0"/>
                    <a:pt x="3300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" name="Google Shape;163;p2"/>
            <p:cNvSpPr/>
            <p:nvPr/>
          </p:nvSpPr>
          <p:spPr>
            <a:xfrm>
              <a:off x="2998925" y="1430700"/>
              <a:ext cx="476225" cy="290925"/>
            </a:xfrm>
            <a:custGeom>
              <a:avLst/>
              <a:gdLst/>
              <a:ahLst/>
              <a:cxnLst/>
              <a:rect l="l" t="t" r="r" b="b"/>
              <a:pathLst>
                <a:path w="19049" h="11637" extrusionOk="0">
                  <a:moveTo>
                    <a:pt x="9535" y="1"/>
                  </a:moveTo>
                  <a:cubicBezTo>
                    <a:pt x="8849" y="1"/>
                    <a:pt x="8164" y="60"/>
                    <a:pt x="7490" y="181"/>
                  </a:cubicBezTo>
                  <a:cubicBezTo>
                    <a:pt x="5402" y="505"/>
                    <a:pt x="3133" y="1693"/>
                    <a:pt x="2377" y="3637"/>
                  </a:cubicBezTo>
                  <a:cubicBezTo>
                    <a:pt x="1801" y="5006"/>
                    <a:pt x="1945" y="6626"/>
                    <a:pt x="1189" y="7850"/>
                  </a:cubicBezTo>
                  <a:cubicBezTo>
                    <a:pt x="577" y="8750"/>
                    <a:pt x="1" y="9651"/>
                    <a:pt x="145" y="10695"/>
                  </a:cubicBezTo>
                  <a:cubicBezTo>
                    <a:pt x="145" y="11207"/>
                    <a:pt x="558" y="11637"/>
                    <a:pt x="1194" y="11637"/>
                  </a:cubicBezTo>
                  <a:cubicBezTo>
                    <a:pt x="1497" y="11637"/>
                    <a:pt x="1850" y="11539"/>
                    <a:pt x="2233" y="11307"/>
                  </a:cubicBezTo>
                  <a:cubicBezTo>
                    <a:pt x="6158" y="9038"/>
                    <a:pt x="10659" y="4826"/>
                    <a:pt x="19048" y="4538"/>
                  </a:cubicBezTo>
                  <a:cubicBezTo>
                    <a:pt x="16780" y="1634"/>
                    <a:pt x="13139" y="1"/>
                    <a:pt x="9535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" name="Google Shape;164;p2"/>
            <p:cNvSpPr/>
            <p:nvPr/>
          </p:nvSpPr>
          <p:spPr>
            <a:xfrm>
              <a:off x="3167275" y="1461300"/>
              <a:ext cx="240350" cy="117050"/>
            </a:xfrm>
            <a:custGeom>
              <a:avLst/>
              <a:gdLst/>
              <a:ahLst/>
              <a:cxnLst/>
              <a:rect l="l" t="t" r="r" b="b"/>
              <a:pathLst>
                <a:path w="9614" h="4682" extrusionOk="0">
                  <a:moveTo>
                    <a:pt x="5869" y="1"/>
                  </a:moveTo>
                  <a:cubicBezTo>
                    <a:pt x="5545" y="1"/>
                    <a:pt x="5257" y="1"/>
                    <a:pt x="5113" y="181"/>
                  </a:cubicBezTo>
                  <a:cubicBezTo>
                    <a:pt x="4825" y="469"/>
                    <a:pt x="4969" y="757"/>
                    <a:pt x="5257" y="901"/>
                  </a:cubicBezTo>
                  <a:lnTo>
                    <a:pt x="6301" y="901"/>
                  </a:lnTo>
                  <a:cubicBezTo>
                    <a:pt x="6387" y="863"/>
                    <a:pt x="6499" y="845"/>
                    <a:pt x="6614" y="845"/>
                  </a:cubicBezTo>
                  <a:cubicBezTo>
                    <a:pt x="6934" y="845"/>
                    <a:pt x="7270" y="986"/>
                    <a:pt x="7057" y="1225"/>
                  </a:cubicBezTo>
                  <a:cubicBezTo>
                    <a:pt x="6831" y="1332"/>
                    <a:pt x="6242" y="1359"/>
                    <a:pt x="5490" y="1359"/>
                  </a:cubicBezTo>
                  <a:cubicBezTo>
                    <a:pt x="4667" y="1359"/>
                    <a:pt x="3651" y="1326"/>
                    <a:pt x="2704" y="1326"/>
                  </a:cubicBezTo>
                  <a:cubicBezTo>
                    <a:pt x="2174" y="1326"/>
                    <a:pt x="1665" y="1337"/>
                    <a:pt x="1224" y="1369"/>
                  </a:cubicBezTo>
                  <a:cubicBezTo>
                    <a:pt x="1044" y="1369"/>
                    <a:pt x="756" y="1369"/>
                    <a:pt x="468" y="1513"/>
                  </a:cubicBezTo>
                  <a:cubicBezTo>
                    <a:pt x="144" y="1657"/>
                    <a:pt x="0" y="1801"/>
                    <a:pt x="0" y="2125"/>
                  </a:cubicBezTo>
                  <a:cubicBezTo>
                    <a:pt x="144" y="2269"/>
                    <a:pt x="612" y="2269"/>
                    <a:pt x="900" y="2269"/>
                  </a:cubicBezTo>
                  <a:cubicBezTo>
                    <a:pt x="2845" y="2125"/>
                    <a:pt x="4969" y="1981"/>
                    <a:pt x="7057" y="1657"/>
                  </a:cubicBezTo>
                  <a:lnTo>
                    <a:pt x="7057" y="1657"/>
                  </a:lnTo>
                  <a:lnTo>
                    <a:pt x="1656" y="3458"/>
                  </a:lnTo>
                  <a:cubicBezTo>
                    <a:pt x="1368" y="3458"/>
                    <a:pt x="1044" y="3602"/>
                    <a:pt x="900" y="3926"/>
                  </a:cubicBezTo>
                  <a:cubicBezTo>
                    <a:pt x="900" y="4214"/>
                    <a:pt x="1224" y="4214"/>
                    <a:pt x="1512" y="4214"/>
                  </a:cubicBezTo>
                  <a:cubicBezTo>
                    <a:pt x="2413" y="4214"/>
                    <a:pt x="3457" y="3782"/>
                    <a:pt x="4357" y="3458"/>
                  </a:cubicBezTo>
                  <a:cubicBezTo>
                    <a:pt x="4937" y="3126"/>
                    <a:pt x="6216" y="2774"/>
                    <a:pt x="6781" y="2774"/>
                  </a:cubicBezTo>
                  <a:cubicBezTo>
                    <a:pt x="6952" y="2774"/>
                    <a:pt x="7057" y="2806"/>
                    <a:pt x="7057" y="2881"/>
                  </a:cubicBezTo>
                  <a:cubicBezTo>
                    <a:pt x="7057" y="3170"/>
                    <a:pt x="4969" y="3602"/>
                    <a:pt x="3925" y="3926"/>
                  </a:cubicBezTo>
                  <a:cubicBezTo>
                    <a:pt x="3745" y="4070"/>
                    <a:pt x="3457" y="4214"/>
                    <a:pt x="3457" y="4358"/>
                  </a:cubicBezTo>
                  <a:cubicBezTo>
                    <a:pt x="3457" y="4682"/>
                    <a:pt x="3745" y="4682"/>
                    <a:pt x="4069" y="4682"/>
                  </a:cubicBezTo>
                  <a:cubicBezTo>
                    <a:pt x="4969" y="4358"/>
                    <a:pt x="5869" y="3926"/>
                    <a:pt x="6769" y="3602"/>
                  </a:cubicBezTo>
                  <a:cubicBezTo>
                    <a:pt x="7406" y="3398"/>
                    <a:pt x="8042" y="3194"/>
                    <a:pt x="8628" y="3194"/>
                  </a:cubicBezTo>
                  <a:cubicBezTo>
                    <a:pt x="8871" y="3194"/>
                    <a:pt x="9104" y="3229"/>
                    <a:pt x="9326" y="3314"/>
                  </a:cubicBezTo>
                  <a:cubicBezTo>
                    <a:pt x="9470" y="2557"/>
                    <a:pt x="9614" y="1801"/>
                    <a:pt x="9470" y="1081"/>
                  </a:cubicBezTo>
                  <a:cubicBezTo>
                    <a:pt x="8426" y="613"/>
                    <a:pt x="7057" y="325"/>
                    <a:pt x="5869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" name="Google Shape;165;p2"/>
            <p:cNvSpPr/>
            <p:nvPr/>
          </p:nvSpPr>
          <p:spPr>
            <a:xfrm>
              <a:off x="3632650" y="1282175"/>
              <a:ext cx="521225" cy="251175"/>
            </a:xfrm>
            <a:custGeom>
              <a:avLst/>
              <a:gdLst/>
              <a:ahLst/>
              <a:cxnLst/>
              <a:rect l="l" t="t" r="r" b="b"/>
              <a:pathLst>
                <a:path w="20849" h="10047" extrusionOk="0">
                  <a:moveTo>
                    <a:pt x="16900" y="1"/>
                  </a:moveTo>
                  <a:cubicBezTo>
                    <a:pt x="16350" y="1"/>
                    <a:pt x="15799" y="70"/>
                    <a:pt x="15304" y="145"/>
                  </a:cubicBezTo>
                  <a:cubicBezTo>
                    <a:pt x="8858" y="865"/>
                    <a:pt x="2989" y="4465"/>
                    <a:pt x="1" y="10046"/>
                  </a:cubicBezTo>
                  <a:cubicBezTo>
                    <a:pt x="2475" y="8799"/>
                    <a:pt x="5247" y="8135"/>
                    <a:pt x="7996" y="8135"/>
                  </a:cubicBezTo>
                  <a:cubicBezTo>
                    <a:pt x="9928" y="8135"/>
                    <a:pt x="11849" y="8463"/>
                    <a:pt x="13647" y="9146"/>
                  </a:cubicBezTo>
                  <a:cubicBezTo>
                    <a:pt x="14691" y="9434"/>
                    <a:pt x="15736" y="9866"/>
                    <a:pt x="16816" y="9866"/>
                  </a:cubicBezTo>
                  <a:cubicBezTo>
                    <a:pt x="17860" y="9722"/>
                    <a:pt x="19048" y="8966"/>
                    <a:pt x="19048" y="7922"/>
                  </a:cubicBezTo>
                  <a:cubicBezTo>
                    <a:pt x="19048" y="7166"/>
                    <a:pt x="18616" y="6590"/>
                    <a:pt x="18760" y="5834"/>
                  </a:cubicBezTo>
                  <a:cubicBezTo>
                    <a:pt x="18904" y="5078"/>
                    <a:pt x="19804" y="4645"/>
                    <a:pt x="20236" y="3889"/>
                  </a:cubicBezTo>
                  <a:cubicBezTo>
                    <a:pt x="20849" y="2845"/>
                    <a:pt x="20236" y="1189"/>
                    <a:pt x="19048" y="577"/>
                  </a:cubicBezTo>
                  <a:cubicBezTo>
                    <a:pt x="18439" y="136"/>
                    <a:pt x="17671" y="1"/>
                    <a:pt x="16900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" name="Google Shape;166;p2"/>
            <p:cNvSpPr/>
            <p:nvPr/>
          </p:nvSpPr>
          <p:spPr>
            <a:xfrm>
              <a:off x="3684875" y="1361725"/>
              <a:ext cx="198950" cy="118525"/>
            </a:xfrm>
            <a:custGeom>
              <a:avLst/>
              <a:gdLst/>
              <a:ahLst/>
              <a:cxnLst/>
              <a:rect l="l" t="t" r="r" b="b"/>
              <a:pathLst>
                <a:path w="7958" h="4741" extrusionOk="0">
                  <a:moveTo>
                    <a:pt x="7462" y="1"/>
                  </a:moveTo>
                  <a:cubicBezTo>
                    <a:pt x="7327" y="1"/>
                    <a:pt x="7177" y="36"/>
                    <a:pt x="7057" y="95"/>
                  </a:cubicBezTo>
                  <a:cubicBezTo>
                    <a:pt x="5354" y="538"/>
                    <a:pt x="2844" y="2819"/>
                    <a:pt x="2335" y="2819"/>
                  </a:cubicBezTo>
                  <a:cubicBezTo>
                    <a:pt x="2306" y="2819"/>
                    <a:pt x="2284" y="2811"/>
                    <a:pt x="2268" y="2796"/>
                  </a:cubicBezTo>
                  <a:cubicBezTo>
                    <a:pt x="1944" y="2652"/>
                    <a:pt x="4069" y="1607"/>
                    <a:pt x="4069" y="1139"/>
                  </a:cubicBezTo>
                  <a:cubicBezTo>
                    <a:pt x="4069" y="1097"/>
                    <a:pt x="4041" y="1080"/>
                    <a:pt x="3994" y="1080"/>
                  </a:cubicBezTo>
                  <a:cubicBezTo>
                    <a:pt x="3882" y="1080"/>
                    <a:pt x="3660" y="1182"/>
                    <a:pt x="3457" y="1283"/>
                  </a:cubicBezTo>
                  <a:cubicBezTo>
                    <a:pt x="2413" y="1896"/>
                    <a:pt x="1368" y="2652"/>
                    <a:pt x="612" y="3552"/>
                  </a:cubicBezTo>
                  <a:cubicBezTo>
                    <a:pt x="324" y="3840"/>
                    <a:pt x="324" y="4452"/>
                    <a:pt x="0" y="4740"/>
                  </a:cubicBezTo>
                  <a:cubicBezTo>
                    <a:pt x="1242" y="4416"/>
                    <a:pt x="2485" y="4254"/>
                    <a:pt x="3727" y="4254"/>
                  </a:cubicBezTo>
                  <a:cubicBezTo>
                    <a:pt x="4141" y="4254"/>
                    <a:pt x="4555" y="4272"/>
                    <a:pt x="4969" y="4308"/>
                  </a:cubicBezTo>
                  <a:cubicBezTo>
                    <a:pt x="5113" y="4380"/>
                    <a:pt x="5221" y="4416"/>
                    <a:pt x="5334" y="4416"/>
                  </a:cubicBezTo>
                  <a:cubicBezTo>
                    <a:pt x="5446" y="4416"/>
                    <a:pt x="5563" y="4380"/>
                    <a:pt x="5725" y="4308"/>
                  </a:cubicBezTo>
                  <a:cubicBezTo>
                    <a:pt x="5869" y="4308"/>
                    <a:pt x="6013" y="3984"/>
                    <a:pt x="5869" y="3840"/>
                  </a:cubicBezTo>
                  <a:cubicBezTo>
                    <a:pt x="5869" y="3696"/>
                    <a:pt x="5545" y="3696"/>
                    <a:pt x="5401" y="3696"/>
                  </a:cubicBezTo>
                  <a:cubicBezTo>
                    <a:pt x="4866" y="3798"/>
                    <a:pt x="3972" y="3900"/>
                    <a:pt x="3442" y="3900"/>
                  </a:cubicBezTo>
                  <a:cubicBezTo>
                    <a:pt x="3223" y="3900"/>
                    <a:pt x="3067" y="3882"/>
                    <a:pt x="3025" y="3840"/>
                  </a:cubicBezTo>
                  <a:cubicBezTo>
                    <a:pt x="2845" y="3696"/>
                    <a:pt x="5113" y="3084"/>
                    <a:pt x="6301" y="2940"/>
                  </a:cubicBezTo>
                  <a:cubicBezTo>
                    <a:pt x="6445" y="2940"/>
                    <a:pt x="6769" y="2796"/>
                    <a:pt x="6913" y="2796"/>
                  </a:cubicBezTo>
                  <a:cubicBezTo>
                    <a:pt x="7057" y="2652"/>
                    <a:pt x="7201" y="2364"/>
                    <a:pt x="7057" y="2184"/>
                  </a:cubicBezTo>
                  <a:cubicBezTo>
                    <a:pt x="6913" y="2040"/>
                    <a:pt x="6625" y="2040"/>
                    <a:pt x="6301" y="2040"/>
                  </a:cubicBezTo>
                  <a:cubicBezTo>
                    <a:pt x="5350" y="2335"/>
                    <a:pt x="3534" y="3107"/>
                    <a:pt x="3217" y="3107"/>
                  </a:cubicBezTo>
                  <a:cubicBezTo>
                    <a:pt x="3185" y="3107"/>
                    <a:pt x="3169" y="3100"/>
                    <a:pt x="3169" y="3084"/>
                  </a:cubicBezTo>
                  <a:cubicBezTo>
                    <a:pt x="3025" y="2940"/>
                    <a:pt x="6301" y="1896"/>
                    <a:pt x="7525" y="851"/>
                  </a:cubicBezTo>
                  <a:cubicBezTo>
                    <a:pt x="7814" y="707"/>
                    <a:pt x="7958" y="563"/>
                    <a:pt x="7814" y="239"/>
                  </a:cubicBezTo>
                  <a:cubicBezTo>
                    <a:pt x="7814" y="71"/>
                    <a:pt x="7653" y="1"/>
                    <a:pt x="7462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" name="Google Shape;167;p2"/>
            <p:cNvSpPr/>
            <p:nvPr/>
          </p:nvSpPr>
          <p:spPr>
            <a:xfrm>
              <a:off x="3377900" y="1373850"/>
              <a:ext cx="352000" cy="196475"/>
            </a:xfrm>
            <a:custGeom>
              <a:avLst/>
              <a:gdLst/>
              <a:ahLst/>
              <a:cxnLst/>
              <a:rect l="l" t="t" r="r" b="b"/>
              <a:pathLst>
                <a:path w="14080" h="7859" extrusionOk="0">
                  <a:moveTo>
                    <a:pt x="8399" y="1"/>
                  </a:moveTo>
                  <a:cubicBezTo>
                    <a:pt x="7572" y="1"/>
                    <a:pt x="6703" y="114"/>
                    <a:pt x="5834" y="366"/>
                  </a:cubicBezTo>
                  <a:cubicBezTo>
                    <a:pt x="2233" y="1411"/>
                    <a:pt x="1" y="4255"/>
                    <a:pt x="577" y="6199"/>
                  </a:cubicBezTo>
                  <a:cubicBezTo>
                    <a:pt x="942" y="7382"/>
                    <a:pt x="2156" y="7859"/>
                    <a:pt x="3841" y="7859"/>
                  </a:cubicBezTo>
                  <a:cubicBezTo>
                    <a:pt x="4977" y="7859"/>
                    <a:pt x="6328" y="7642"/>
                    <a:pt x="7778" y="7280"/>
                  </a:cubicBezTo>
                  <a:cubicBezTo>
                    <a:pt x="11379" y="6199"/>
                    <a:pt x="14079" y="4399"/>
                    <a:pt x="13647" y="2599"/>
                  </a:cubicBezTo>
                  <a:cubicBezTo>
                    <a:pt x="13183" y="1124"/>
                    <a:pt x="10998" y="1"/>
                    <a:pt x="8399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" name="Google Shape;168;p2"/>
            <p:cNvSpPr/>
            <p:nvPr/>
          </p:nvSpPr>
          <p:spPr>
            <a:xfrm>
              <a:off x="3418425" y="1393800"/>
              <a:ext cx="172850" cy="102450"/>
            </a:xfrm>
            <a:custGeom>
              <a:avLst/>
              <a:gdLst/>
              <a:ahLst/>
              <a:cxnLst/>
              <a:rect l="l" t="t" r="r" b="b"/>
              <a:pathLst>
                <a:path w="6914" h="4098" extrusionOk="0">
                  <a:moveTo>
                    <a:pt x="6157" y="0"/>
                  </a:moveTo>
                  <a:cubicBezTo>
                    <a:pt x="4069" y="0"/>
                    <a:pt x="1980" y="901"/>
                    <a:pt x="468" y="2413"/>
                  </a:cubicBezTo>
                  <a:cubicBezTo>
                    <a:pt x="324" y="2701"/>
                    <a:pt x="180" y="2881"/>
                    <a:pt x="0" y="3313"/>
                  </a:cubicBezTo>
                  <a:cubicBezTo>
                    <a:pt x="0" y="3601"/>
                    <a:pt x="180" y="3925"/>
                    <a:pt x="468" y="4069"/>
                  </a:cubicBezTo>
                  <a:cubicBezTo>
                    <a:pt x="507" y="4089"/>
                    <a:pt x="550" y="4098"/>
                    <a:pt x="595" y="4098"/>
                  </a:cubicBezTo>
                  <a:cubicBezTo>
                    <a:pt x="880" y="4098"/>
                    <a:pt x="1263" y="3737"/>
                    <a:pt x="1512" y="3457"/>
                  </a:cubicBezTo>
                  <a:cubicBezTo>
                    <a:pt x="2557" y="2413"/>
                    <a:pt x="3925" y="1657"/>
                    <a:pt x="5401" y="1513"/>
                  </a:cubicBezTo>
                  <a:cubicBezTo>
                    <a:pt x="5725" y="1513"/>
                    <a:pt x="6157" y="1513"/>
                    <a:pt x="6481" y="1369"/>
                  </a:cubicBezTo>
                  <a:cubicBezTo>
                    <a:pt x="6769" y="1225"/>
                    <a:pt x="6913" y="901"/>
                    <a:pt x="6913" y="469"/>
                  </a:cubicBezTo>
                  <a:cubicBezTo>
                    <a:pt x="6913" y="180"/>
                    <a:pt x="6481" y="0"/>
                    <a:pt x="615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" name="Google Shape;169;p2"/>
            <p:cNvSpPr/>
            <p:nvPr/>
          </p:nvSpPr>
          <p:spPr>
            <a:xfrm>
              <a:off x="3343700" y="1520125"/>
              <a:ext cx="472625" cy="360900"/>
            </a:xfrm>
            <a:custGeom>
              <a:avLst/>
              <a:gdLst/>
              <a:ahLst/>
              <a:cxnLst/>
              <a:rect l="l" t="t" r="r" b="b"/>
              <a:pathLst>
                <a:path w="18905" h="14436" extrusionOk="0">
                  <a:moveTo>
                    <a:pt x="9951" y="1"/>
                  </a:moveTo>
                  <a:cubicBezTo>
                    <a:pt x="9733" y="1"/>
                    <a:pt x="9512" y="18"/>
                    <a:pt x="9290" y="60"/>
                  </a:cubicBezTo>
                  <a:cubicBezTo>
                    <a:pt x="8246" y="204"/>
                    <a:pt x="7202" y="528"/>
                    <a:pt x="6446" y="817"/>
                  </a:cubicBezTo>
                  <a:cubicBezTo>
                    <a:pt x="5870" y="1105"/>
                    <a:pt x="5546" y="1429"/>
                    <a:pt x="5257" y="1717"/>
                  </a:cubicBezTo>
                  <a:cubicBezTo>
                    <a:pt x="3889" y="3517"/>
                    <a:pt x="1189" y="6650"/>
                    <a:pt x="289" y="10430"/>
                  </a:cubicBezTo>
                  <a:cubicBezTo>
                    <a:pt x="0" y="11763"/>
                    <a:pt x="145" y="13563"/>
                    <a:pt x="1369" y="14175"/>
                  </a:cubicBezTo>
                  <a:cubicBezTo>
                    <a:pt x="1670" y="14356"/>
                    <a:pt x="2035" y="14436"/>
                    <a:pt x="2410" y="14436"/>
                  </a:cubicBezTo>
                  <a:cubicBezTo>
                    <a:pt x="2931" y="14436"/>
                    <a:pt x="3471" y="14282"/>
                    <a:pt x="3889" y="14031"/>
                  </a:cubicBezTo>
                  <a:cubicBezTo>
                    <a:pt x="4645" y="13707"/>
                    <a:pt x="5402" y="13131"/>
                    <a:pt x="6158" y="12807"/>
                  </a:cubicBezTo>
                  <a:cubicBezTo>
                    <a:pt x="7051" y="12393"/>
                    <a:pt x="8013" y="12268"/>
                    <a:pt x="8995" y="12268"/>
                  </a:cubicBezTo>
                  <a:cubicBezTo>
                    <a:pt x="10149" y="12268"/>
                    <a:pt x="11330" y="12441"/>
                    <a:pt x="12459" y="12519"/>
                  </a:cubicBezTo>
                  <a:cubicBezTo>
                    <a:pt x="12701" y="12535"/>
                    <a:pt x="12949" y="12544"/>
                    <a:pt x="13200" y="12544"/>
                  </a:cubicBezTo>
                  <a:cubicBezTo>
                    <a:pt x="15121" y="12544"/>
                    <a:pt x="17241" y="12022"/>
                    <a:pt x="18292" y="10430"/>
                  </a:cubicBezTo>
                  <a:cubicBezTo>
                    <a:pt x="18904" y="9350"/>
                    <a:pt x="18904" y="7874"/>
                    <a:pt x="18472" y="6506"/>
                  </a:cubicBezTo>
                  <a:cubicBezTo>
                    <a:pt x="18004" y="5029"/>
                    <a:pt x="14547" y="1573"/>
                    <a:pt x="11415" y="204"/>
                  </a:cubicBezTo>
                  <a:cubicBezTo>
                    <a:pt x="10982" y="103"/>
                    <a:pt x="10477" y="1"/>
                    <a:pt x="9951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" name="Google Shape;170;p2"/>
            <p:cNvSpPr/>
            <p:nvPr/>
          </p:nvSpPr>
          <p:spPr>
            <a:xfrm>
              <a:off x="3445425" y="1521625"/>
              <a:ext cx="270075" cy="255575"/>
            </a:xfrm>
            <a:custGeom>
              <a:avLst/>
              <a:gdLst/>
              <a:ahLst/>
              <a:cxnLst/>
              <a:rect l="l" t="t" r="r" b="b"/>
              <a:pathLst>
                <a:path w="10803" h="10223" extrusionOk="0">
                  <a:moveTo>
                    <a:pt x="5221" y="0"/>
                  </a:moveTo>
                  <a:cubicBezTo>
                    <a:pt x="4177" y="144"/>
                    <a:pt x="3133" y="468"/>
                    <a:pt x="2377" y="757"/>
                  </a:cubicBezTo>
                  <a:cubicBezTo>
                    <a:pt x="1477" y="2269"/>
                    <a:pt x="720" y="3601"/>
                    <a:pt x="144" y="5257"/>
                  </a:cubicBezTo>
                  <a:cubicBezTo>
                    <a:pt x="144" y="5545"/>
                    <a:pt x="0" y="5689"/>
                    <a:pt x="0" y="6014"/>
                  </a:cubicBezTo>
                  <a:cubicBezTo>
                    <a:pt x="0" y="6158"/>
                    <a:pt x="144" y="6446"/>
                    <a:pt x="432" y="6590"/>
                  </a:cubicBezTo>
                  <a:cubicBezTo>
                    <a:pt x="490" y="6626"/>
                    <a:pt x="549" y="6642"/>
                    <a:pt x="608" y="6642"/>
                  </a:cubicBezTo>
                  <a:cubicBezTo>
                    <a:pt x="843" y="6642"/>
                    <a:pt x="1073" y="6388"/>
                    <a:pt x="1188" y="6158"/>
                  </a:cubicBezTo>
                  <a:cubicBezTo>
                    <a:pt x="1801" y="5257"/>
                    <a:pt x="2233" y="2989"/>
                    <a:pt x="2521" y="2557"/>
                  </a:cubicBezTo>
                  <a:cubicBezTo>
                    <a:pt x="2555" y="2529"/>
                    <a:pt x="2588" y="2518"/>
                    <a:pt x="2619" y="2518"/>
                  </a:cubicBezTo>
                  <a:cubicBezTo>
                    <a:pt x="2751" y="2518"/>
                    <a:pt x="2845" y="2728"/>
                    <a:pt x="2845" y="2845"/>
                  </a:cubicBezTo>
                  <a:cubicBezTo>
                    <a:pt x="3277" y="3745"/>
                    <a:pt x="2845" y="7058"/>
                    <a:pt x="3421" y="9146"/>
                  </a:cubicBezTo>
                  <a:cubicBezTo>
                    <a:pt x="3706" y="9684"/>
                    <a:pt x="3963" y="10222"/>
                    <a:pt x="4339" y="10222"/>
                  </a:cubicBezTo>
                  <a:cubicBezTo>
                    <a:pt x="4391" y="10222"/>
                    <a:pt x="4444" y="10212"/>
                    <a:pt x="4501" y="10190"/>
                  </a:cubicBezTo>
                  <a:cubicBezTo>
                    <a:pt x="4789" y="10190"/>
                    <a:pt x="4933" y="9902"/>
                    <a:pt x="4933" y="9470"/>
                  </a:cubicBezTo>
                  <a:cubicBezTo>
                    <a:pt x="5401" y="7490"/>
                    <a:pt x="4177" y="5401"/>
                    <a:pt x="3745" y="3313"/>
                  </a:cubicBezTo>
                  <a:cubicBezTo>
                    <a:pt x="3745" y="2989"/>
                    <a:pt x="3601" y="2557"/>
                    <a:pt x="3889" y="2413"/>
                  </a:cubicBezTo>
                  <a:cubicBezTo>
                    <a:pt x="3956" y="2337"/>
                    <a:pt x="4041" y="2305"/>
                    <a:pt x="4133" y="2305"/>
                  </a:cubicBezTo>
                  <a:cubicBezTo>
                    <a:pt x="4437" y="2305"/>
                    <a:pt x="4823" y="2658"/>
                    <a:pt x="4933" y="2989"/>
                  </a:cubicBezTo>
                  <a:cubicBezTo>
                    <a:pt x="5077" y="3601"/>
                    <a:pt x="5077" y="4069"/>
                    <a:pt x="5221" y="4501"/>
                  </a:cubicBezTo>
                  <a:cubicBezTo>
                    <a:pt x="5401" y="4969"/>
                    <a:pt x="5689" y="5257"/>
                    <a:pt x="5977" y="5257"/>
                  </a:cubicBezTo>
                  <a:cubicBezTo>
                    <a:pt x="6445" y="5257"/>
                    <a:pt x="6589" y="4645"/>
                    <a:pt x="6445" y="4213"/>
                  </a:cubicBezTo>
                  <a:cubicBezTo>
                    <a:pt x="6121" y="3745"/>
                    <a:pt x="5833" y="3313"/>
                    <a:pt x="5689" y="2845"/>
                  </a:cubicBezTo>
                  <a:cubicBezTo>
                    <a:pt x="5545" y="2413"/>
                    <a:pt x="5545" y="1945"/>
                    <a:pt x="5833" y="1801"/>
                  </a:cubicBezTo>
                  <a:cubicBezTo>
                    <a:pt x="5977" y="1801"/>
                    <a:pt x="6301" y="2089"/>
                    <a:pt x="6445" y="2269"/>
                  </a:cubicBezTo>
                  <a:cubicBezTo>
                    <a:pt x="7490" y="3313"/>
                    <a:pt x="8390" y="4357"/>
                    <a:pt x="9146" y="5689"/>
                  </a:cubicBezTo>
                  <a:cubicBezTo>
                    <a:pt x="9434" y="6014"/>
                    <a:pt x="9578" y="6302"/>
                    <a:pt x="9902" y="6446"/>
                  </a:cubicBezTo>
                  <a:cubicBezTo>
                    <a:pt x="9987" y="6530"/>
                    <a:pt x="10171" y="6627"/>
                    <a:pt x="10337" y="6627"/>
                  </a:cubicBezTo>
                  <a:cubicBezTo>
                    <a:pt x="10454" y="6627"/>
                    <a:pt x="10563" y="6579"/>
                    <a:pt x="10622" y="6446"/>
                  </a:cubicBezTo>
                  <a:cubicBezTo>
                    <a:pt x="10802" y="6302"/>
                    <a:pt x="10802" y="5870"/>
                    <a:pt x="10622" y="5545"/>
                  </a:cubicBezTo>
                  <a:cubicBezTo>
                    <a:pt x="10046" y="4213"/>
                    <a:pt x="9146" y="3169"/>
                    <a:pt x="8246" y="2269"/>
                  </a:cubicBezTo>
                  <a:cubicBezTo>
                    <a:pt x="7346" y="1513"/>
                    <a:pt x="6589" y="613"/>
                    <a:pt x="5689" y="144"/>
                  </a:cubicBezTo>
                  <a:cubicBezTo>
                    <a:pt x="5545" y="144"/>
                    <a:pt x="5401" y="0"/>
                    <a:pt x="5221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71" name="Google Shape;171;p2"/>
          <p:cNvGrpSpPr/>
          <p:nvPr/>
        </p:nvGrpSpPr>
        <p:grpSpPr>
          <a:xfrm flipH="1">
            <a:off x="4386308" y="5949901"/>
            <a:ext cx="919032" cy="602708"/>
            <a:chOff x="2998925" y="1123600"/>
            <a:chExt cx="1154950" cy="757425"/>
          </a:xfrm>
        </p:grpSpPr>
        <p:sp>
          <p:nvSpPr>
            <p:cNvPr id="172" name="Google Shape;172;p2"/>
            <p:cNvSpPr/>
            <p:nvPr/>
          </p:nvSpPr>
          <p:spPr>
            <a:xfrm>
              <a:off x="3133950" y="1299275"/>
              <a:ext cx="318700" cy="211575"/>
            </a:xfrm>
            <a:custGeom>
              <a:avLst/>
              <a:gdLst/>
              <a:ahLst/>
              <a:cxnLst/>
              <a:rect l="l" t="t" r="r" b="b"/>
              <a:pathLst>
                <a:path w="12748" h="8463" extrusionOk="0">
                  <a:moveTo>
                    <a:pt x="3963" y="1"/>
                  </a:moveTo>
                  <a:cubicBezTo>
                    <a:pt x="3276" y="1"/>
                    <a:pt x="2504" y="306"/>
                    <a:pt x="2233" y="937"/>
                  </a:cubicBezTo>
                  <a:cubicBezTo>
                    <a:pt x="1945" y="1693"/>
                    <a:pt x="2089" y="3061"/>
                    <a:pt x="1657" y="3637"/>
                  </a:cubicBezTo>
                  <a:cubicBezTo>
                    <a:pt x="1477" y="3781"/>
                    <a:pt x="1045" y="3961"/>
                    <a:pt x="757" y="4105"/>
                  </a:cubicBezTo>
                  <a:cubicBezTo>
                    <a:pt x="433" y="4250"/>
                    <a:pt x="1" y="4538"/>
                    <a:pt x="1" y="4862"/>
                  </a:cubicBezTo>
                  <a:cubicBezTo>
                    <a:pt x="1" y="5294"/>
                    <a:pt x="433" y="5438"/>
                    <a:pt x="757" y="5582"/>
                  </a:cubicBezTo>
                  <a:cubicBezTo>
                    <a:pt x="1045" y="5582"/>
                    <a:pt x="1333" y="5438"/>
                    <a:pt x="1657" y="5438"/>
                  </a:cubicBezTo>
                  <a:cubicBezTo>
                    <a:pt x="2446" y="5240"/>
                    <a:pt x="3250" y="5145"/>
                    <a:pt x="4048" y="5145"/>
                  </a:cubicBezTo>
                  <a:cubicBezTo>
                    <a:pt x="6892" y="5145"/>
                    <a:pt x="9675" y="6354"/>
                    <a:pt x="11559" y="8462"/>
                  </a:cubicBezTo>
                  <a:cubicBezTo>
                    <a:pt x="11847" y="7994"/>
                    <a:pt x="12135" y="7382"/>
                    <a:pt x="12747" y="6338"/>
                  </a:cubicBezTo>
                  <a:cubicBezTo>
                    <a:pt x="10947" y="3205"/>
                    <a:pt x="8390" y="793"/>
                    <a:pt x="4358" y="37"/>
                  </a:cubicBezTo>
                  <a:cubicBezTo>
                    <a:pt x="4233" y="13"/>
                    <a:pt x="4100" y="1"/>
                    <a:pt x="3963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" name="Google Shape;173;p2"/>
            <p:cNvSpPr/>
            <p:nvPr/>
          </p:nvSpPr>
          <p:spPr>
            <a:xfrm>
              <a:off x="3658750" y="1160575"/>
              <a:ext cx="344800" cy="278250"/>
            </a:xfrm>
            <a:custGeom>
              <a:avLst/>
              <a:gdLst/>
              <a:ahLst/>
              <a:cxnLst/>
              <a:rect l="l" t="t" r="r" b="b"/>
              <a:pathLst>
                <a:path w="13792" h="11130" extrusionOk="0">
                  <a:moveTo>
                    <a:pt x="4990" y="1"/>
                  </a:moveTo>
                  <a:cubicBezTo>
                    <a:pt x="4463" y="1"/>
                    <a:pt x="3844" y="331"/>
                    <a:pt x="2989" y="1408"/>
                  </a:cubicBezTo>
                  <a:cubicBezTo>
                    <a:pt x="2089" y="2596"/>
                    <a:pt x="469" y="5909"/>
                    <a:pt x="1" y="9509"/>
                  </a:cubicBezTo>
                  <a:cubicBezTo>
                    <a:pt x="613" y="10230"/>
                    <a:pt x="1189" y="10554"/>
                    <a:pt x="2269" y="11130"/>
                  </a:cubicBezTo>
                  <a:cubicBezTo>
                    <a:pt x="4790" y="8285"/>
                    <a:pt x="8246" y="6053"/>
                    <a:pt x="11847" y="5009"/>
                  </a:cubicBezTo>
                  <a:cubicBezTo>
                    <a:pt x="12747" y="4685"/>
                    <a:pt x="13647" y="4397"/>
                    <a:pt x="13791" y="3640"/>
                  </a:cubicBezTo>
                  <a:cubicBezTo>
                    <a:pt x="13791" y="3208"/>
                    <a:pt x="13647" y="2740"/>
                    <a:pt x="13359" y="2452"/>
                  </a:cubicBezTo>
                  <a:cubicBezTo>
                    <a:pt x="12693" y="1531"/>
                    <a:pt x="11578" y="1058"/>
                    <a:pt x="10385" y="1058"/>
                  </a:cubicBezTo>
                  <a:cubicBezTo>
                    <a:pt x="10225" y="1058"/>
                    <a:pt x="10064" y="1067"/>
                    <a:pt x="9903" y="1084"/>
                  </a:cubicBezTo>
                  <a:cubicBezTo>
                    <a:pt x="9711" y="1110"/>
                    <a:pt x="9509" y="1122"/>
                    <a:pt x="9300" y="1122"/>
                  </a:cubicBezTo>
                  <a:cubicBezTo>
                    <a:pt x="8372" y="1122"/>
                    <a:pt x="7325" y="887"/>
                    <a:pt x="6590" y="652"/>
                  </a:cubicBezTo>
                  <a:cubicBezTo>
                    <a:pt x="6041" y="406"/>
                    <a:pt x="5572" y="1"/>
                    <a:pt x="4990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" name="Google Shape;174;p2"/>
            <p:cNvSpPr/>
            <p:nvPr/>
          </p:nvSpPr>
          <p:spPr>
            <a:xfrm>
              <a:off x="3617350" y="1476625"/>
              <a:ext cx="394300" cy="239450"/>
            </a:xfrm>
            <a:custGeom>
              <a:avLst/>
              <a:gdLst/>
              <a:ahLst/>
              <a:cxnLst/>
              <a:rect l="l" t="t" r="r" b="b"/>
              <a:pathLst>
                <a:path w="15772" h="9578" extrusionOk="0">
                  <a:moveTo>
                    <a:pt x="7058" y="0"/>
                  </a:moveTo>
                  <a:cubicBezTo>
                    <a:pt x="4501" y="0"/>
                    <a:pt x="1945" y="612"/>
                    <a:pt x="1" y="2268"/>
                  </a:cubicBezTo>
                  <a:cubicBezTo>
                    <a:pt x="145" y="2268"/>
                    <a:pt x="325" y="2557"/>
                    <a:pt x="613" y="2845"/>
                  </a:cubicBezTo>
                  <a:cubicBezTo>
                    <a:pt x="901" y="2989"/>
                    <a:pt x="1225" y="3169"/>
                    <a:pt x="1513" y="3169"/>
                  </a:cubicBezTo>
                  <a:cubicBezTo>
                    <a:pt x="4069" y="4069"/>
                    <a:pt x="6302" y="5545"/>
                    <a:pt x="8102" y="7489"/>
                  </a:cubicBezTo>
                  <a:cubicBezTo>
                    <a:pt x="8570" y="8102"/>
                    <a:pt x="9002" y="8714"/>
                    <a:pt x="9758" y="9146"/>
                  </a:cubicBezTo>
                  <a:cubicBezTo>
                    <a:pt x="10110" y="9415"/>
                    <a:pt x="10558" y="9577"/>
                    <a:pt x="10984" y="9577"/>
                  </a:cubicBezTo>
                  <a:cubicBezTo>
                    <a:pt x="11299" y="9577"/>
                    <a:pt x="11602" y="9489"/>
                    <a:pt x="11847" y="9290"/>
                  </a:cubicBezTo>
                  <a:cubicBezTo>
                    <a:pt x="12603" y="8714"/>
                    <a:pt x="12747" y="7670"/>
                    <a:pt x="13359" y="6913"/>
                  </a:cubicBezTo>
                  <a:cubicBezTo>
                    <a:pt x="13647" y="6445"/>
                    <a:pt x="14259" y="6013"/>
                    <a:pt x="14871" y="5689"/>
                  </a:cubicBezTo>
                  <a:cubicBezTo>
                    <a:pt x="15303" y="5257"/>
                    <a:pt x="15772" y="4645"/>
                    <a:pt x="15772" y="4069"/>
                  </a:cubicBezTo>
                  <a:cubicBezTo>
                    <a:pt x="15772" y="3169"/>
                    <a:pt x="15015" y="2557"/>
                    <a:pt x="14115" y="2088"/>
                  </a:cubicBezTo>
                  <a:cubicBezTo>
                    <a:pt x="12027" y="900"/>
                    <a:pt x="9470" y="144"/>
                    <a:pt x="7058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" name="Google Shape;175;p2"/>
            <p:cNvSpPr/>
            <p:nvPr/>
          </p:nvSpPr>
          <p:spPr>
            <a:xfrm>
              <a:off x="3085350" y="1537725"/>
              <a:ext cx="427600" cy="301150"/>
            </a:xfrm>
            <a:custGeom>
              <a:avLst/>
              <a:gdLst/>
              <a:ahLst/>
              <a:cxnLst/>
              <a:rect l="l" t="t" r="r" b="b"/>
              <a:pathLst>
                <a:path w="17104" h="12046" extrusionOk="0">
                  <a:moveTo>
                    <a:pt x="14888" y="0"/>
                  </a:moveTo>
                  <a:cubicBezTo>
                    <a:pt x="14716" y="0"/>
                    <a:pt x="14552" y="35"/>
                    <a:pt x="14403" y="113"/>
                  </a:cubicBezTo>
                  <a:cubicBezTo>
                    <a:pt x="10334" y="401"/>
                    <a:pt x="4321" y="2813"/>
                    <a:pt x="1045" y="6702"/>
                  </a:cubicBezTo>
                  <a:cubicBezTo>
                    <a:pt x="433" y="7314"/>
                    <a:pt x="1" y="8214"/>
                    <a:pt x="433" y="8970"/>
                  </a:cubicBezTo>
                  <a:cubicBezTo>
                    <a:pt x="730" y="9338"/>
                    <a:pt x="1163" y="9416"/>
                    <a:pt x="1650" y="9416"/>
                  </a:cubicBezTo>
                  <a:cubicBezTo>
                    <a:pt x="2013" y="9416"/>
                    <a:pt x="2404" y="9373"/>
                    <a:pt x="2792" y="9373"/>
                  </a:cubicBezTo>
                  <a:cubicBezTo>
                    <a:pt x="2955" y="9373"/>
                    <a:pt x="3118" y="9380"/>
                    <a:pt x="3277" y="9402"/>
                  </a:cubicBezTo>
                  <a:cubicBezTo>
                    <a:pt x="4321" y="9546"/>
                    <a:pt x="5077" y="10447"/>
                    <a:pt x="5978" y="11203"/>
                  </a:cubicBezTo>
                  <a:cubicBezTo>
                    <a:pt x="6554" y="11594"/>
                    <a:pt x="7440" y="12045"/>
                    <a:pt x="8163" y="12045"/>
                  </a:cubicBezTo>
                  <a:cubicBezTo>
                    <a:pt x="8570" y="12045"/>
                    <a:pt x="8926" y="11903"/>
                    <a:pt x="9146" y="11527"/>
                  </a:cubicBezTo>
                  <a:cubicBezTo>
                    <a:pt x="11847" y="6270"/>
                    <a:pt x="13323" y="4001"/>
                    <a:pt x="17104" y="1769"/>
                  </a:cubicBezTo>
                  <a:cubicBezTo>
                    <a:pt x="16833" y="897"/>
                    <a:pt x="15760" y="0"/>
                    <a:pt x="14888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" name="Google Shape;176;p2"/>
            <p:cNvSpPr/>
            <p:nvPr/>
          </p:nvSpPr>
          <p:spPr>
            <a:xfrm>
              <a:off x="3276175" y="1123600"/>
              <a:ext cx="447450" cy="334125"/>
            </a:xfrm>
            <a:custGeom>
              <a:avLst/>
              <a:gdLst/>
              <a:ahLst/>
              <a:cxnLst/>
              <a:rect l="l" t="t" r="r" b="b"/>
              <a:pathLst>
                <a:path w="17898" h="13365" extrusionOk="0">
                  <a:moveTo>
                    <a:pt x="15388" y="1"/>
                  </a:moveTo>
                  <a:cubicBezTo>
                    <a:pt x="14897" y="1"/>
                    <a:pt x="14354" y="70"/>
                    <a:pt x="13792" y="186"/>
                  </a:cubicBezTo>
                  <a:cubicBezTo>
                    <a:pt x="11091" y="763"/>
                    <a:pt x="8859" y="3175"/>
                    <a:pt x="6014" y="3463"/>
                  </a:cubicBezTo>
                  <a:cubicBezTo>
                    <a:pt x="5834" y="3492"/>
                    <a:pt x="5654" y="3503"/>
                    <a:pt x="5474" y="3503"/>
                  </a:cubicBezTo>
                  <a:cubicBezTo>
                    <a:pt x="4754" y="3503"/>
                    <a:pt x="4034" y="3319"/>
                    <a:pt x="3314" y="3319"/>
                  </a:cubicBezTo>
                  <a:cubicBezTo>
                    <a:pt x="2413" y="3319"/>
                    <a:pt x="1369" y="3463"/>
                    <a:pt x="901" y="4219"/>
                  </a:cubicBezTo>
                  <a:cubicBezTo>
                    <a:pt x="1" y="5263"/>
                    <a:pt x="289" y="6776"/>
                    <a:pt x="1189" y="7676"/>
                  </a:cubicBezTo>
                  <a:cubicBezTo>
                    <a:pt x="1945" y="8720"/>
                    <a:pt x="4970" y="10808"/>
                    <a:pt x="6014" y="13365"/>
                  </a:cubicBezTo>
                  <a:cubicBezTo>
                    <a:pt x="8685" y="13107"/>
                    <a:pt x="12219" y="11642"/>
                    <a:pt x="14534" y="11642"/>
                  </a:cubicBezTo>
                  <a:cubicBezTo>
                    <a:pt x="14809" y="11642"/>
                    <a:pt x="15067" y="11663"/>
                    <a:pt x="15304" y="11709"/>
                  </a:cubicBezTo>
                  <a:cubicBezTo>
                    <a:pt x="16060" y="5731"/>
                    <a:pt x="17248" y="4831"/>
                    <a:pt x="17572" y="2563"/>
                  </a:cubicBezTo>
                  <a:cubicBezTo>
                    <a:pt x="17897" y="640"/>
                    <a:pt x="16878" y="1"/>
                    <a:pt x="15388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" name="Google Shape;177;p2"/>
            <p:cNvSpPr/>
            <p:nvPr/>
          </p:nvSpPr>
          <p:spPr>
            <a:xfrm>
              <a:off x="3400400" y="1231700"/>
              <a:ext cx="247575" cy="207125"/>
            </a:xfrm>
            <a:custGeom>
              <a:avLst/>
              <a:gdLst/>
              <a:ahLst/>
              <a:cxnLst/>
              <a:rect l="l" t="t" r="r" b="b"/>
              <a:pathLst>
                <a:path w="9903" h="8285" extrusionOk="0">
                  <a:moveTo>
                    <a:pt x="3300" y="0"/>
                  </a:moveTo>
                  <a:cubicBezTo>
                    <a:pt x="3244" y="0"/>
                    <a:pt x="3188" y="12"/>
                    <a:pt x="3134" y="39"/>
                  </a:cubicBezTo>
                  <a:cubicBezTo>
                    <a:pt x="2701" y="39"/>
                    <a:pt x="2521" y="363"/>
                    <a:pt x="2521" y="795"/>
                  </a:cubicBezTo>
                  <a:cubicBezTo>
                    <a:pt x="2377" y="1083"/>
                    <a:pt x="2521" y="1552"/>
                    <a:pt x="2521" y="1840"/>
                  </a:cubicBezTo>
                  <a:cubicBezTo>
                    <a:pt x="2701" y="2596"/>
                    <a:pt x="2989" y="3352"/>
                    <a:pt x="3134" y="3964"/>
                  </a:cubicBezTo>
                  <a:cubicBezTo>
                    <a:pt x="3134" y="4396"/>
                    <a:pt x="3278" y="4684"/>
                    <a:pt x="3134" y="5008"/>
                  </a:cubicBezTo>
                  <a:cubicBezTo>
                    <a:pt x="3134" y="5440"/>
                    <a:pt x="2845" y="5764"/>
                    <a:pt x="2521" y="5764"/>
                  </a:cubicBezTo>
                  <a:cubicBezTo>
                    <a:pt x="1945" y="5764"/>
                    <a:pt x="1621" y="5296"/>
                    <a:pt x="1477" y="4864"/>
                  </a:cubicBezTo>
                  <a:cubicBezTo>
                    <a:pt x="1269" y="4525"/>
                    <a:pt x="890" y="4281"/>
                    <a:pt x="588" y="4281"/>
                  </a:cubicBezTo>
                  <a:cubicBezTo>
                    <a:pt x="473" y="4281"/>
                    <a:pt x="369" y="4316"/>
                    <a:pt x="289" y="4396"/>
                  </a:cubicBezTo>
                  <a:cubicBezTo>
                    <a:pt x="1" y="4684"/>
                    <a:pt x="145" y="5296"/>
                    <a:pt x="433" y="5584"/>
                  </a:cubicBezTo>
                  <a:cubicBezTo>
                    <a:pt x="1189" y="6484"/>
                    <a:pt x="1945" y="7385"/>
                    <a:pt x="2701" y="8285"/>
                  </a:cubicBezTo>
                  <a:cubicBezTo>
                    <a:pt x="3890" y="7853"/>
                    <a:pt x="5402" y="7385"/>
                    <a:pt x="6878" y="7385"/>
                  </a:cubicBezTo>
                  <a:cubicBezTo>
                    <a:pt x="7346" y="7385"/>
                    <a:pt x="7778" y="7385"/>
                    <a:pt x="8102" y="7097"/>
                  </a:cubicBezTo>
                  <a:cubicBezTo>
                    <a:pt x="8246" y="6953"/>
                    <a:pt x="8390" y="6664"/>
                    <a:pt x="8390" y="6340"/>
                  </a:cubicBezTo>
                  <a:cubicBezTo>
                    <a:pt x="8823" y="5296"/>
                    <a:pt x="9291" y="4108"/>
                    <a:pt x="9579" y="2884"/>
                  </a:cubicBezTo>
                  <a:cubicBezTo>
                    <a:pt x="9723" y="2452"/>
                    <a:pt x="9903" y="1840"/>
                    <a:pt x="9435" y="1696"/>
                  </a:cubicBezTo>
                  <a:cubicBezTo>
                    <a:pt x="9376" y="1676"/>
                    <a:pt x="9319" y="1667"/>
                    <a:pt x="9265" y="1667"/>
                  </a:cubicBezTo>
                  <a:cubicBezTo>
                    <a:pt x="8918" y="1667"/>
                    <a:pt x="8659" y="2028"/>
                    <a:pt x="8535" y="2308"/>
                  </a:cubicBezTo>
                  <a:cubicBezTo>
                    <a:pt x="8246" y="3064"/>
                    <a:pt x="7922" y="3640"/>
                    <a:pt x="7634" y="4252"/>
                  </a:cubicBezTo>
                  <a:cubicBezTo>
                    <a:pt x="7490" y="4540"/>
                    <a:pt x="7346" y="4864"/>
                    <a:pt x="7022" y="4864"/>
                  </a:cubicBezTo>
                  <a:cubicBezTo>
                    <a:pt x="6734" y="4684"/>
                    <a:pt x="6734" y="4252"/>
                    <a:pt x="6734" y="3964"/>
                  </a:cubicBezTo>
                  <a:cubicBezTo>
                    <a:pt x="6878" y="3352"/>
                    <a:pt x="6878" y="2596"/>
                    <a:pt x="7022" y="1840"/>
                  </a:cubicBezTo>
                  <a:cubicBezTo>
                    <a:pt x="7022" y="1407"/>
                    <a:pt x="6878" y="651"/>
                    <a:pt x="6446" y="651"/>
                  </a:cubicBezTo>
                  <a:cubicBezTo>
                    <a:pt x="5978" y="651"/>
                    <a:pt x="5834" y="1263"/>
                    <a:pt x="5834" y="1696"/>
                  </a:cubicBezTo>
                  <a:lnTo>
                    <a:pt x="5834" y="4108"/>
                  </a:lnTo>
                  <a:cubicBezTo>
                    <a:pt x="5834" y="4396"/>
                    <a:pt x="5690" y="4864"/>
                    <a:pt x="5402" y="4864"/>
                  </a:cubicBezTo>
                  <a:cubicBezTo>
                    <a:pt x="5078" y="4684"/>
                    <a:pt x="5078" y="4540"/>
                    <a:pt x="5078" y="4396"/>
                  </a:cubicBezTo>
                  <a:cubicBezTo>
                    <a:pt x="4790" y="3352"/>
                    <a:pt x="4646" y="2308"/>
                    <a:pt x="4322" y="1407"/>
                  </a:cubicBezTo>
                  <a:cubicBezTo>
                    <a:pt x="4322" y="1083"/>
                    <a:pt x="4178" y="651"/>
                    <a:pt x="4034" y="363"/>
                  </a:cubicBezTo>
                  <a:cubicBezTo>
                    <a:pt x="3800" y="217"/>
                    <a:pt x="3543" y="0"/>
                    <a:pt x="3300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" name="Google Shape;178;p2"/>
            <p:cNvSpPr/>
            <p:nvPr/>
          </p:nvSpPr>
          <p:spPr>
            <a:xfrm>
              <a:off x="2998925" y="1430700"/>
              <a:ext cx="476225" cy="290925"/>
            </a:xfrm>
            <a:custGeom>
              <a:avLst/>
              <a:gdLst/>
              <a:ahLst/>
              <a:cxnLst/>
              <a:rect l="l" t="t" r="r" b="b"/>
              <a:pathLst>
                <a:path w="19049" h="11637" extrusionOk="0">
                  <a:moveTo>
                    <a:pt x="9535" y="1"/>
                  </a:moveTo>
                  <a:cubicBezTo>
                    <a:pt x="8849" y="1"/>
                    <a:pt x="8164" y="60"/>
                    <a:pt x="7490" y="181"/>
                  </a:cubicBezTo>
                  <a:cubicBezTo>
                    <a:pt x="5402" y="505"/>
                    <a:pt x="3133" y="1693"/>
                    <a:pt x="2377" y="3637"/>
                  </a:cubicBezTo>
                  <a:cubicBezTo>
                    <a:pt x="1801" y="5006"/>
                    <a:pt x="1945" y="6626"/>
                    <a:pt x="1189" y="7850"/>
                  </a:cubicBezTo>
                  <a:cubicBezTo>
                    <a:pt x="577" y="8750"/>
                    <a:pt x="1" y="9651"/>
                    <a:pt x="145" y="10695"/>
                  </a:cubicBezTo>
                  <a:cubicBezTo>
                    <a:pt x="145" y="11207"/>
                    <a:pt x="558" y="11637"/>
                    <a:pt x="1194" y="11637"/>
                  </a:cubicBezTo>
                  <a:cubicBezTo>
                    <a:pt x="1497" y="11637"/>
                    <a:pt x="1850" y="11539"/>
                    <a:pt x="2233" y="11307"/>
                  </a:cubicBezTo>
                  <a:cubicBezTo>
                    <a:pt x="6158" y="9038"/>
                    <a:pt x="10659" y="4826"/>
                    <a:pt x="19048" y="4538"/>
                  </a:cubicBezTo>
                  <a:cubicBezTo>
                    <a:pt x="16780" y="1634"/>
                    <a:pt x="13139" y="1"/>
                    <a:pt x="9535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" name="Google Shape;179;p2"/>
            <p:cNvSpPr/>
            <p:nvPr/>
          </p:nvSpPr>
          <p:spPr>
            <a:xfrm>
              <a:off x="3167275" y="1461300"/>
              <a:ext cx="240350" cy="117050"/>
            </a:xfrm>
            <a:custGeom>
              <a:avLst/>
              <a:gdLst/>
              <a:ahLst/>
              <a:cxnLst/>
              <a:rect l="l" t="t" r="r" b="b"/>
              <a:pathLst>
                <a:path w="9614" h="4682" extrusionOk="0">
                  <a:moveTo>
                    <a:pt x="5869" y="1"/>
                  </a:moveTo>
                  <a:cubicBezTo>
                    <a:pt x="5545" y="1"/>
                    <a:pt x="5257" y="1"/>
                    <a:pt x="5113" y="181"/>
                  </a:cubicBezTo>
                  <a:cubicBezTo>
                    <a:pt x="4825" y="469"/>
                    <a:pt x="4969" y="757"/>
                    <a:pt x="5257" y="901"/>
                  </a:cubicBezTo>
                  <a:lnTo>
                    <a:pt x="6301" y="901"/>
                  </a:lnTo>
                  <a:cubicBezTo>
                    <a:pt x="6387" y="863"/>
                    <a:pt x="6499" y="845"/>
                    <a:pt x="6614" y="845"/>
                  </a:cubicBezTo>
                  <a:cubicBezTo>
                    <a:pt x="6934" y="845"/>
                    <a:pt x="7270" y="986"/>
                    <a:pt x="7057" y="1225"/>
                  </a:cubicBezTo>
                  <a:cubicBezTo>
                    <a:pt x="6831" y="1332"/>
                    <a:pt x="6242" y="1359"/>
                    <a:pt x="5490" y="1359"/>
                  </a:cubicBezTo>
                  <a:cubicBezTo>
                    <a:pt x="4667" y="1359"/>
                    <a:pt x="3651" y="1326"/>
                    <a:pt x="2704" y="1326"/>
                  </a:cubicBezTo>
                  <a:cubicBezTo>
                    <a:pt x="2174" y="1326"/>
                    <a:pt x="1665" y="1337"/>
                    <a:pt x="1224" y="1369"/>
                  </a:cubicBezTo>
                  <a:cubicBezTo>
                    <a:pt x="1044" y="1369"/>
                    <a:pt x="756" y="1369"/>
                    <a:pt x="468" y="1513"/>
                  </a:cubicBezTo>
                  <a:cubicBezTo>
                    <a:pt x="144" y="1657"/>
                    <a:pt x="0" y="1801"/>
                    <a:pt x="0" y="2125"/>
                  </a:cubicBezTo>
                  <a:cubicBezTo>
                    <a:pt x="144" y="2269"/>
                    <a:pt x="612" y="2269"/>
                    <a:pt x="900" y="2269"/>
                  </a:cubicBezTo>
                  <a:cubicBezTo>
                    <a:pt x="2845" y="2125"/>
                    <a:pt x="4969" y="1981"/>
                    <a:pt x="7057" y="1657"/>
                  </a:cubicBezTo>
                  <a:lnTo>
                    <a:pt x="7057" y="1657"/>
                  </a:lnTo>
                  <a:lnTo>
                    <a:pt x="1656" y="3458"/>
                  </a:lnTo>
                  <a:cubicBezTo>
                    <a:pt x="1368" y="3458"/>
                    <a:pt x="1044" y="3602"/>
                    <a:pt x="900" y="3926"/>
                  </a:cubicBezTo>
                  <a:cubicBezTo>
                    <a:pt x="900" y="4214"/>
                    <a:pt x="1224" y="4214"/>
                    <a:pt x="1512" y="4214"/>
                  </a:cubicBezTo>
                  <a:cubicBezTo>
                    <a:pt x="2413" y="4214"/>
                    <a:pt x="3457" y="3782"/>
                    <a:pt x="4357" y="3458"/>
                  </a:cubicBezTo>
                  <a:cubicBezTo>
                    <a:pt x="4937" y="3126"/>
                    <a:pt x="6216" y="2774"/>
                    <a:pt x="6781" y="2774"/>
                  </a:cubicBezTo>
                  <a:cubicBezTo>
                    <a:pt x="6952" y="2774"/>
                    <a:pt x="7057" y="2806"/>
                    <a:pt x="7057" y="2881"/>
                  </a:cubicBezTo>
                  <a:cubicBezTo>
                    <a:pt x="7057" y="3170"/>
                    <a:pt x="4969" y="3602"/>
                    <a:pt x="3925" y="3926"/>
                  </a:cubicBezTo>
                  <a:cubicBezTo>
                    <a:pt x="3745" y="4070"/>
                    <a:pt x="3457" y="4214"/>
                    <a:pt x="3457" y="4358"/>
                  </a:cubicBezTo>
                  <a:cubicBezTo>
                    <a:pt x="3457" y="4682"/>
                    <a:pt x="3745" y="4682"/>
                    <a:pt x="4069" y="4682"/>
                  </a:cubicBezTo>
                  <a:cubicBezTo>
                    <a:pt x="4969" y="4358"/>
                    <a:pt x="5869" y="3926"/>
                    <a:pt x="6769" y="3602"/>
                  </a:cubicBezTo>
                  <a:cubicBezTo>
                    <a:pt x="7406" y="3398"/>
                    <a:pt x="8042" y="3194"/>
                    <a:pt x="8628" y="3194"/>
                  </a:cubicBezTo>
                  <a:cubicBezTo>
                    <a:pt x="8871" y="3194"/>
                    <a:pt x="9104" y="3229"/>
                    <a:pt x="9326" y="3314"/>
                  </a:cubicBezTo>
                  <a:cubicBezTo>
                    <a:pt x="9470" y="2557"/>
                    <a:pt x="9614" y="1801"/>
                    <a:pt x="9470" y="1081"/>
                  </a:cubicBezTo>
                  <a:cubicBezTo>
                    <a:pt x="8426" y="613"/>
                    <a:pt x="7057" y="325"/>
                    <a:pt x="5869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" name="Google Shape;180;p2"/>
            <p:cNvSpPr/>
            <p:nvPr/>
          </p:nvSpPr>
          <p:spPr>
            <a:xfrm>
              <a:off x="3632650" y="1282175"/>
              <a:ext cx="521225" cy="251175"/>
            </a:xfrm>
            <a:custGeom>
              <a:avLst/>
              <a:gdLst/>
              <a:ahLst/>
              <a:cxnLst/>
              <a:rect l="l" t="t" r="r" b="b"/>
              <a:pathLst>
                <a:path w="20849" h="10047" extrusionOk="0">
                  <a:moveTo>
                    <a:pt x="16900" y="1"/>
                  </a:moveTo>
                  <a:cubicBezTo>
                    <a:pt x="16350" y="1"/>
                    <a:pt x="15799" y="70"/>
                    <a:pt x="15304" y="145"/>
                  </a:cubicBezTo>
                  <a:cubicBezTo>
                    <a:pt x="8858" y="865"/>
                    <a:pt x="2989" y="4465"/>
                    <a:pt x="1" y="10046"/>
                  </a:cubicBezTo>
                  <a:cubicBezTo>
                    <a:pt x="2475" y="8799"/>
                    <a:pt x="5247" y="8135"/>
                    <a:pt x="7996" y="8135"/>
                  </a:cubicBezTo>
                  <a:cubicBezTo>
                    <a:pt x="9928" y="8135"/>
                    <a:pt x="11849" y="8463"/>
                    <a:pt x="13647" y="9146"/>
                  </a:cubicBezTo>
                  <a:cubicBezTo>
                    <a:pt x="14691" y="9434"/>
                    <a:pt x="15736" y="9866"/>
                    <a:pt x="16816" y="9866"/>
                  </a:cubicBezTo>
                  <a:cubicBezTo>
                    <a:pt x="17860" y="9722"/>
                    <a:pt x="19048" y="8966"/>
                    <a:pt x="19048" y="7922"/>
                  </a:cubicBezTo>
                  <a:cubicBezTo>
                    <a:pt x="19048" y="7166"/>
                    <a:pt x="18616" y="6590"/>
                    <a:pt x="18760" y="5834"/>
                  </a:cubicBezTo>
                  <a:cubicBezTo>
                    <a:pt x="18904" y="5078"/>
                    <a:pt x="19804" y="4645"/>
                    <a:pt x="20236" y="3889"/>
                  </a:cubicBezTo>
                  <a:cubicBezTo>
                    <a:pt x="20849" y="2845"/>
                    <a:pt x="20236" y="1189"/>
                    <a:pt x="19048" y="577"/>
                  </a:cubicBezTo>
                  <a:cubicBezTo>
                    <a:pt x="18439" y="136"/>
                    <a:pt x="17671" y="1"/>
                    <a:pt x="16900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" name="Google Shape;181;p2"/>
            <p:cNvSpPr/>
            <p:nvPr/>
          </p:nvSpPr>
          <p:spPr>
            <a:xfrm>
              <a:off x="3684875" y="1361725"/>
              <a:ext cx="198950" cy="118525"/>
            </a:xfrm>
            <a:custGeom>
              <a:avLst/>
              <a:gdLst/>
              <a:ahLst/>
              <a:cxnLst/>
              <a:rect l="l" t="t" r="r" b="b"/>
              <a:pathLst>
                <a:path w="7958" h="4741" extrusionOk="0">
                  <a:moveTo>
                    <a:pt x="7462" y="1"/>
                  </a:moveTo>
                  <a:cubicBezTo>
                    <a:pt x="7327" y="1"/>
                    <a:pt x="7177" y="36"/>
                    <a:pt x="7057" y="95"/>
                  </a:cubicBezTo>
                  <a:cubicBezTo>
                    <a:pt x="5354" y="538"/>
                    <a:pt x="2844" y="2819"/>
                    <a:pt x="2335" y="2819"/>
                  </a:cubicBezTo>
                  <a:cubicBezTo>
                    <a:pt x="2306" y="2819"/>
                    <a:pt x="2284" y="2811"/>
                    <a:pt x="2268" y="2796"/>
                  </a:cubicBezTo>
                  <a:cubicBezTo>
                    <a:pt x="1944" y="2652"/>
                    <a:pt x="4069" y="1607"/>
                    <a:pt x="4069" y="1139"/>
                  </a:cubicBezTo>
                  <a:cubicBezTo>
                    <a:pt x="4069" y="1097"/>
                    <a:pt x="4041" y="1080"/>
                    <a:pt x="3994" y="1080"/>
                  </a:cubicBezTo>
                  <a:cubicBezTo>
                    <a:pt x="3882" y="1080"/>
                    <a:pt x="3660" y="1182"/>
                    <a:pt x="3457" y="1283"/>
                  </a:cubicBezTo>
                  <a:cubicBezTo>
                    <a:pt x="2413" y="1896"/>
                    <a:pt x="1368" y="2652"/>
                    <a:pt x="612" y="3552"/>
                  </a:cubicBezTo>
                  <a:cubicBezTo>
                    <a:pt x="324" y="3840"/>
                    <a:pt x="324" y="4452"/>
                    <a:pt x="0" y="4740"/>
                  </a:cubicBezTo>
                  <a:cubicBezTo>
                    <a:pt x="1242" y="4416"/>
                    <a:pt x="2485" y="4254"/>
                    <a:pt x="3727" y="4254"/>
                  </a:cubicBezTo>
                  <a:cubicBezTo>
                    <a:pt x="4141" y="4254"/>
                    <a:pt x="4555" y="4272"/>
                    <a:pt x="4969" y="4308"/>
                  </a:cubicBezTo>
                  <a:cubicBezTo>
                    <a:pt x="5113" y="4380"/>
                    <a:pt x="5221" y="4416"/>
                    <a:pt x="5334" y="4416"/>
                  </a:cubicBezTo>
                  <a:cubicBezTo>
                    <a:pt x="5446" y="4416"/>
                    <a:pt x="5563" y="4380"/>
                    <a:pt x="5725" y="4308"/>
                  </a:cubicBezTo>
                  <a:cubicBezTo>
                    <a:pt x="5869" y="4308"/>
                    <a:pt x="6013" y="3984"/>
                    <a:pt x="5869" y="3840"/>
                  </a:cubicBezTo>
                  <a:cubicBezTo>
                    <a:pt x="5869" y="3696"/>
                    <a:pt x="5545" y="3696"/>
                    <a:pt x="5401" y="3696"/>
                  </a:cubicBezTo>
                  <a:cubicBezTo>
                    <a:pt x="4866" y="3798"/>
                    <a:pt x="3972" y="3900"/>
                    <a:pt x="3442" y="3900"/>
                  </a:cubicBezTo>
                  <a:cubicBezTo>
                    <a:pt x="3223" y="3900"/>
                    <a:pt x="3067" y="3882"/>
                    <a:pt x="3025" y="3840"/>
                  </a:cubicBezTo>
                  <a:cubicBezTo>
                    <a:pt x="2845" y="3696"/>
                    <a:pt x="5113" y="3084"/>
                    <a:pt x="6301" y="2940"/>
                  </a:cubicBezTo>
                  <a:cubicBezTo>
                    <a:pt x="6445" y="2940"/>
                    <a:pt x="6769" y="2796"/>
                    <a:pt x="6913" y="2796"/>
                  </a:cubicBezTo>
                  <a:cubicBezTo>
                    <a:pt x="7057" y="2652"/>
                    <a:pt x="7201" y="2364"/>
                    <a:pt x="7057" y="2184"/>
                  </a:cubicBezTo>
                  <a:cubicBezTo>
                    <a:pt x="6913" y="2040"/>
                    <a:pt x="6625" y="2040"/>
                    <a:pt x="6301" y="2040"/>
                  </a:cubicBezTo>
                  <a:cubicBezTo>
                    <a:pt x="5350" y="2335"/>
                    <a:pt x="3534" y="3107"/>
                    <a:pt x="3217" y="3107"/>
                  </a:cubicBezTo>
                  <a:cubicBezTo>
                    <a:pt x="3185" y="3107"/>
                    <a:pt x="3169" y="3100"/>
                    <a:pt x="3169" y="3084"/>
                  </a:cubicBezTo>
                  <a:cubicBezTo>
                    <a:pt x="3025" y="2940"/>
                    <a:pt x="6301" y="1896"/>
                    <a:pt x="7525" y="851"/>
                  </a:cubicBezTo>
                  <a:cubicBezTo>
                    <a:pt x="7814" y="707"/>
                    <a:pt x="7958" y="563"/>
                    <a:pt x="7814" y="239"/>
                  </a:cubicBezTo>
                  <a:cubicBezTo>
                    <a:pt x="7814" y="71"/>
                    <a:pt x="7653" y="1"/>
                    <a:pt x="7462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" name="Google Shape;182;p2"/>
            <p:cNvSpPr/>
            <p:nvPr/>
          </p:nvSpPr>
          <p:spPr>
            <a:xfrm>
              <a:off x="3377900" y="1373850"/>
              <a:ext cx="352000" cy="196475"/>
            </a:xfrm>
            <a:custGeom>
              <a:avLst/>
              <a:gdLst/>
              <a:ahLst/>
              <a:cxnLst/>
              <a:rect l="l" t="t" r="r" b="b"/>
              <a:pathLst>
                <a:path w="14080" h="7859" extrusionOk="0">
                  <a:moveTo>
                    <a:pt x="8399" y="1"/>
                  </a:moveTo>
                  <a:cubicBezTo>
                    <a:pt x="7572" y="1"/>
                    <a:pt x="6703" y="114"/>
                    <a:pt x="5834" y="366"/>
                  </a:cubicBezTo>
                  <a:cubicBezTo>
                    <a:pt x="2233" y="1411"/>
                    <a:pt x="1" y="4255"/>
                    <a:pt x="577" y="6199"/>
                  </a:cubicBezTo>
                  <a:cubicBezTo>
                    <a:pt x="942" y="7382"/>
                    <a:pt x="2156" y="7859"/>
                    <a:pt x="3841" y="7859"/>
                  </a:cubicBezTo>
                  <a:cubicBezTo>
                    <a:pt x="4977" y="7859"/>
                    <a:pt x="6328" y="7642"/>
                    <a:pt x="7778" y="7280"/>
                  </a:cubicBezTo>
                  <a:cubicBezTo>
                    <a:pt x="11379" y="6199"/>
                    <a:pt x="14079" y="4399"/>
                    <a:pt x="13647" y="2599"/>
                  </a:cubicBezTo>
                  <a:cubicBezTo>
                    <a:pt x="13183" y="1124"/>
                    <a:pt x="10998" y="1"/>
                    <a:pt x="8399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" name="Google Shape;183;p2"/>
            <p:cNvSpPr/>
            <p:nvPr/>
          </p:nvSpPr>
          <p:spPr>
            <a:xfrm>
              <a:off x="3418425" y="1393800"/>
              <a:ext cx="172850" cy="102450"/>
            </a:xfrm>
            <a:custGeom>
              <a:avLst/>
              <a:gdLst/>
              <a:ahLst/>
              <a:cxnLst/>
              <a:rect l="l" t="t" r="r" b="b"/>
              <a:pathLst>
                <a:path w="6914" h="4098" extrusionOk="0">
                  <a:moveTo>
                    <a:pt x="6157" y="0"/>
                  </a:moveTo>
                  <a:cubicBezTo>
                    <a:pt x="4069" y="0"/>
                    <a:pt x="1980" y="901"/>
                    <a:pt x="468" y="2413"/>
                  </a:cubicBezTo>
                  <a:cubicBezTo>
                    <a:pt x="324" y="2701"/>
                    <a:pt x="180" y="2881"/>
                    <a:pt x="0" y="3313"/>
                  </a:cubicBezTo>
                  <a:cubicBezTo>
                    <a:pt x="0" y="3601"/>
                    <a:pt x="180" y="3925"/>
                    <a:pt x="468" y="4069"/>
                  </a:cubicBezTo>
                  <a:cubicBezTo>
                    <a:pt x="507" y="4089"/>
                    <a:pt x="550" y="4098"/>
                    <a:pt x="595" y="4098"/>
                  </a:cubicBezTo>
                  <a:cubicBezTo>
                    <a:pt x="880" y="4098"/>
                    <a:pt x="1263" y="3737"/>
                    <a:pt x="1512" y="3457"/>
                  </a:cubicBezTo>
                  <a:cubicBezTo>
                    <a:pt x="2557" y="2413"/>
                    <a:pt x="3925" y="1657"/>
                    <a:pt x="5401" y="1513"/>
                  </a:cubicBezTo>
                  <a:cubicBezTo>
                    <a:pt x="5725" y="1513"/>
                    <a:pt x="6157" y="1513"/>
                    <a:pt x="6481" y="1369"/>
                  </a:cubicBezTo>
                  <a:cubicBezTo>
                    <a:pt x="6769" y="1225"/>
                    <a:pt x="6913" y="901"/>
                    <a:pt x="6913" y="469"/>
                  </a:cubicBezTo>
                  <a:cubicBezTo>
                    <a:pt x="6913" y="180"/>
                    <a:pt x="6481" y="0"/>
                    <a:pt x="615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4" name="Google Shape;184;p2"/>
            <p:cNvSpPr/>
            <p:nvPr/>
          </p:nvSpPr>
          <p:spPr>
            <a:xfrm>
              <a:off x="3343700" y="1520125"/>
              <a:ext cx="472625" cy="360900"/>
            </a:xfrm>
            <a:custGeom>
              <a:avLst/>
              <a:gdLst/>
              <a:ahLst/>
              <a:cxnLst/>
              <a:rect l="l" t="t" r="r" b="b"/>
              <a:pathLst>
                <a:path w="18905" h="14436" extrusionOk="0">
                  <a:moveTo>
                    <a:pt x="9951" y="1"/>
                  </a:moveTo>
                  <a:cubicBezTo>
                    <a:pt x="9733" y="1"/>
                    <a:pt x="9512" y="18"/>
                    <a:pt x="9290" y="60"/>
                  </a:cubicBezTo>
                  <a:cubicBezTo>
                    <a:pt x="8246" y="204"/>
                    <a:pt x="7202" y="528"/>
                    <a:pt x="6446" y="817"/>
                  </a:cubicBezTo>
                  <a:cubicBezTo>
                    <a:pt x="5870" y="1105"/>
                    <a:pt x="5546" y="1429"/>
                    <a:pt x="5257" y="1717"/>
                  </a:cubicBezTo>
                  <a:cubicBezTo>
                    <a:pt x="3889" y="3517"/>
                    <a:pt x="1189" y="6650"/>
                    <a:pt x="289" y="10430"/>
                  </a:cubicBezTo>
                  <a:cubicBezTo>
                    <a:pt x="0" y="11763"/>
                    <a:pt x="145" y="13563"/>
                    <a:pt x="1369" y="14175"/>
                  </a:cubicBezTo>
                  <a:cubicBezTo>
                    <a:pt x="1670" y="14356"/>
                    <a:pt x="2035" y="14436"/>
                    <a:pt x="2410" y="14436"/>
                  </a:cubicBezTo>
                  <a:cubicBezTo>
                    <a:pt x="2931" y="14436"/>
                    <a:pt x="3471" y="14282"/>
                    <a:pt x="3889" y="14031"/>
                  </a:cubicBezTo>
                  <a:cubicBezTo>
                    <a:pt x="4645" y="13707"/>
                    <a:pt x="5402" y="13131"/>
                    <a:pt x="6158" y="12807"/>
                  </a:cubicBezTo>
                  <a:cubicBezTo>
                    <a:pt x="7051" y="12393"/>
                    <a:pt x="8013" y="12268"/>
                    <a:pt x="8995" y="12268"/>
                  </a:cubicBezTo>
                  <a:cubicBezTo>
                    <a:pt x="10149" y="12268"/>
                    <a:pt x="11330" y="12441"/>
                    <a:pt x="12459" y="12519"/>
                  </a:cubicBezTo>
                  <a:cubicBezTo>
                    <a:pt x="12701" y="12535"/>
                    <a:pt x="12949" y="12544"/>
                    <a:pt x="13200" y="12544"/>
                  </a:cubicBezTo>
                  <a:cubicBezTo>
                    <a:pt x="15121" y="12544"/>
                    <a:pt x="17241" y="12022"/>
                    <a:pt x="18292" y="10430"/>
                  </a:cubicBezTo>
                  <a:cubicBezTo>
                    <a:pt x="18904" y="9350"/>
                    <a:pt x="18904" y="7874"/>
                    <a:pt x="18472" y="6506"/>
                  </a:cubicBezTo>
                  <a:cubicBezTo>
                    <a:pt x="18004" y="5029"/>
                    <a:pt x="14547" y="1573"/>
                    <a:pt x="11415" y="204"/>
                  </a:cubicBezTo>
                  <a:cubicBezTo>
                    <a:pt x="10982" y="103"/>
                    <a:pt x="10477" y="1"/>
                    <a:pt x="9951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5" name="Google Shape;185;p2"/>
            <p:cNvSpPr/>
            <p:nvPr/>
          </p:nvSpPr>
          <p:spPr>
            <a:xfrm>
              <a:off x="3445425" y="1521625"/>
              <a:ext cx="270075" cy="255575"/>
            </a:xfrm>
            <a:custGeom>
              <a:avLst/>
              <a:gdLst/>
              <a:ahLst/>
              <a:cxnLst/>
              <a:rect l="l" t="t" r="r" b="b"/>
              <a:pathLst>
                <a:path w="10803" h="10223" extrusionOk="0">
                  <a:moveTo>
                    <a:pt x="5221" y="0"/>
                  </a:moveTo>
                  <a:cubicBezTo>
                    <a:pt x="4177" y="144"/>
                    <a:pt x="3133" y="468"/>
                    <a:pt x="2377" y="757"/>
                  </a:cubicBezTo>
                  <a:cubicBezTo>
                    <a:pt x="1477" y="2269"/>
                    <a:pt x="720" y="3601"/>
                    <a:pt x="144" y="5257"/>
                  </a:cubicBezTo>
                  <a:cubicBezTo>
                    <a:pt x="144" y="5545"/>
                    <a:pt x="0" y="5689"/>
                    <a:pt x="0" y="6014"/>
                  </a:cubicBezTo>
                  <a:cubicBezTo>
                    <a:pt x="0" y="6158"/>
                    <a:pt x="144" y="6446"/>
                    <a:pt x="432" y="6590"/>
                  </a:cubicBezTo>
                  <a:cubicBezTo>
                    <a:pt x="490" y="6626"/>
                    <a:pt x="549" y="6642"/>
                    <a:pt x="608" y="6642"/>
                  </a:cubicBezTo>
                  <a:cubicBezTo>
                    <a:pt x="843" y="6642"/>
                    <a:pt x="1073" y="6388"/>
                    <a:pt x="1188" y="6158"/>
                  </a:cubicBezTo>
                  <a:cubicBezTo>
                    <a:pt x="1801" y="5257"/>
                    <a:pt x="2233" y="2989"/>
                    <a:pt x="2521" y="2557"/>
                  </a:cubicBezTo>
                  <a:cubicBezTo>
                    <a:pt x="2555" y="2529"/>
                    <a:pt x="2588" y="2518"/>
                    <a:pt x="2619" y="2518"/>
                  </a:cubicBezTo>
                  <a:cubicBezTo>
                    <a:pt x="2751" y="2518"/>
                    <a:pt x="2845" y="2728"/>
                    <a:pt x="2845" y="2845"/>
                  </a:cubicBezTo>
                  <a:cubicBezTo>
                    <a:pt x="3277" y="3745"/>
                    <a:pt x="2845" y="7058"/>
                    <a:pt x="3421" y="9146"/>
                  </a:cubicBezTo>
                  <a:cubicBezTo>
                    <a:pt x="3706" y="9684"/>
                    <a:pt x="3963" y="10222"/>
                    <a:pt x="4339" y="10222"/>
                  </a:cubicBezTo>
                  <a:cubicBezTo>
                    <a:pt x="4391" y="10222"/>
                    <a:pt x="4444" y="10212"/>
                    <a:pt x="4501" y="10190"/>
                  </a:cubicBezTo>
                  <a:cubicBezTo>
                    <a:pt x="4789" y="10190"/>
                    <a:pt x="4933" y="9902"/>
                    <a:pt x="4933" y="9470"/>
                  </a:cubicBezTo>
                  <a:cubicBezTo>
                    <a:pt x="5401" y="7490"/>
                    <a:pt x="4177" y="5401"/>
                    <a:pt x="3745" y="3313"/>
                  </a:cubicBezTo>
                  <a:cubicBezTo>
                    <a:pt x="3745" y="2989"/>
                    <a:pt x="3601" y="2557"/>
                    <a:pt x="3889" y="2413"/>
                  </a:cubicBezTo>
                  <a:cubicBezTo>
                    <a:pt x="3956" y="2337"/>
                    <a:pt x="4041" y="2305"/>
                    <a:pt x="4133" y="2305"/>
                  </a:cubicBezTo>
                  <a:cubicBezTo>
                    <a:pt x="4437" y="2305"/>
                    <a:pt x="4823" y="2658"/>
                    <a:pt x="4933" y="2989"/>
                  </a:cubicBezTo>
                  <a:cubicBezTo>
                    <a:pt x="5077" y="3601"/>
                    <a:pt x="5077" y="4069"/>
                    <a:pt x="5221" y="4501"/>
                  </a:cubicBezTo>
                  <a:cubicBezTo>
                    <a:pt x="5401" y="4969"/>
                    <a:pt x="5689" y="5257"/>
                    <a:pt x="5977" y="5257"/>
                  </a:cubicBezTo>
                  <a:cubicBezTo>
                    <a:pt x="6445" y="5257"/>
                    <a:pt x="6589" y="4645"/>
                    <a:pt x="6445" y="4213"/>
                  </a:cubicBezTo>
                  <a:cubicBezTo>
                    <a:pt x="6121" y="3745"/>
                    <a:pt x="5833" y="3313"/>
                    <a:pt x="5689" y="2845"/>
                  </a:cubicBezTo>
                  <a:cubicBezTo>
                    <a:pt x="5545" y="2413"/>
                    <a:pt x="5545" y="1945"/>
                    <a:pt x="5833" y="1801"/>
                  </a:cubicBezTo>
                  <a:cubicBezTo>
                    <a:pt x="5977" y="1801"/>
                    <a:pt x="6301" y="2089"/>
                    <a:pt x="6445" y="2269"/>
                  </a:cubicBezTo>
                  <a:cubicBezTo>
                    <a:pt x="7490" y="3313"/>
                    <a:pt x="8390" y="4357"/>
                    <a:pt x="9146" y="5689"/>
                  </a:cubicBezTo>
                  <a:cubicBezTo>
                    <a:pt x="9434" y="6014"/>
                    <a:pt x="9578" y="6302"/>
                    <a:pt x="9902" y="6446"/>
                  </a:cubicBezTo>
                  <a:cubicBezTo>
                    <a:pt x="9987" y="6530"/>
                    <a:pt x="10171" y="6627"/>
                    <a:pt x="10337" y="6627"/>
                  </a:cubicBezTo>
                  <a:cubicBezTo>
                    <a:pt x="10454" y="6627"/>
                    <a:pt x="10563" y="6579"/>
                    <a:pt x="10622" y="6446"/>
                  </a:cubicBezTo>
                  <a:cubicBezTo>
                    <a:pt x="10802" y="6302"/>
                    <a:pt x="10802" y="5870"/>
                    <a:pt x="10622" y="5545"/>
                  </a:cubicBezTo>
                  <a:cubicBezTo>
                    <a:pt x="10046" y="4213"/>
                    <a:pt x="9146" y="3169"/>
                    <a:pt x="8246" y="2269"/>
                  </a:cubicBezTo>
                  <a:cubicBezTo>
                    <a:pt x="7346" y="1513"/>
                    <a:pt x="6589" y="613"/>
                    <a:pt x="5689" y="144"/>
                  </a:cubicBezTo>
                  <a:cubicBezTo>
                    <a:pt x="5545" y="144"/>
                    <a:pt x="5401" y="0"/>
                    <a:pt x="5221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86" name="Google Shape;186;p2"/>
          <p:cNvGrpSpPr/>
          <p:nvPr/>
        </p:nvGrpSpPr>
        <p:grpSpPr>
          <a:xfrm>
            <a:off x="2256737" y="5659161"/>
            <a:ext cx="635831" cy="521044"/>
            <a:chOff x="6372100" y="3764900"/>
            <a:chExt cx="1018525" cy="834650"/>
          </a:xfrm>
        </p:grpSpPr>
        <p:sp>
          <p:nvSpPr>
            <p:cNvPr id="187" name="Google Shape;187;p2"/>
            <p:cNvSpPr/>
            <p:nvPr/>
          </p:nvSpPr>
          <p:spPr>
            <a:xfrm>
              <a:off x="6372100" y="3764900"/>
              <a:ext cx="1018525" cy="834650"/>
            </a:xfrm>
            <a:custGeom>
              <a:avLst/>
              <a:gdLst/>
              <a:ahLst/>
              <a:cxnLst/>
              <a:rect l="l" t="t" r="r" b="b"/>
              <a:pathLst>
                <a:path w="40741" h="33386" extrusionOk="0">
                  <a:moveTo>
                    <a:pt x="12520" y="0"/>
                  </a:moveTo>
                  <a:cubicBezTo>
                    <a:pt x="11938" y="0"/>
                    <a:pt x="11391" y="131"/>
                    <a:pt x="10901" y="430"/>
                  </a:cubicBezTo>
                  <a:cubicBezTo>
                    <a:pt x="7157" y="2987"/>
                    <a:pt x="15546" y="6156"/>
                    <a:pt x="15546" y="6156"/>
                  </a:cubicBezTo>
                  <a:cubicBezTo>
                    <a:pt x="15546" y="6156"/>
                    <a:pt x="13122" y="5432"/>
                    <a:pt x="10246" y="5432"/>
                  </a:cubicBezTo>
                  <a:cubicBezTo>
                    <a:pt x="7714" y="5432"/>
                    <a:pt x="4832" y="5993"/>
                    <a:pt x="2944" y="8100"/>
                  </a:cubicBezTo>
                  <a:cubicBezTo>
                    <a:pt x="1" y="11251"/>
                    <a:pt x="2182" y="12820"/>
                    <a:pt x="4854" y="12820"/>
                  </a:cubicBezTo>
                  <a:cubicBezTo>
                    <a:pt x="5877" y="12820"/>
                    <a:pt x="6970" y="12591"/>
                    <a:pt x="7877" y="12133"/>
                  </a:cubicBezTo>
                  <a:cubicBezTo>
                    <a:pt x="11189" y="10332"/>
                    <a:pt x="17346" y="10044"/>
                    <a:pt x="17347" y="10044"/>
                  </a:cubicBezTo>
                  <a:lnTo>
                    <a:pt x="17347" y="10044"/>
                  </a:lnTo>
                  <a:cubicBezTo>
                    <a:pt x="17346" y="10044"/>
                    <a:pt x="7877" y="14257"/>
                    <a:pt x="6401" y="18902"/>
                  </a:cubicBezTo>
                  <a:cubicBezTo>
                    <a:pt x="5103" y="22540"/>
                    <a:pt x="7584" y="25251"/>
                    <a:pt x="9723" y="25251"/>
                  </a:cubicBezTo>
                  <a:cubicBezTo>
                    <a:pt x="10315" y="25251"/>
                    <a:pt x="10881" y="25044"/>
                    <a:pt x="11334" y="24591"/>
                  </a:cubicBezTo>
                  <a:cubicBezTo>
                    <a:pt x="13458" y="22503"/>
                    <a:pt x="19578" y="13934"/>
                    <a:pt x="19579" y="13933"/>
                  </a:cubicBezTo>
                  <a:lnTo>
                    <a:pt x="19579" y="13933"/>
                  </a:lnTo>
                  <a:cubicBezTo>
                    <a:pt x="19579" y="13934"/>
                    <a:pt x="16446" y="21891"/>
                    <a:pt x="15546" y="26391"/>
                  </a:cubicBezTo>
                  <a:cubicBezTo>
                    <a:pt x="15103" y="28610"/>
                    <a:pt x="16374" y="29849"/>
                    <a:pt x="18027" y="29849"/>
                  </a:cubicBezTo>
                  <a:cubicBezTo>
                    <a:pt x="19728" y="29849"/>
                    <a:pt x="21833" y="28538"/>
                    <a:pt x="22892" y="25635"/>
                  </a:cubicBezTo>
                  <a:cubicBezTo>
                    <a:pt x="24980" y="19947"/>
                    <a:pt x="24260" y="14258"/>
                    <a:pt x="24260" y="14257"/>
                  </a:cubicBezTo>
                  <a:lnTo>
                    <a:pt x="24260" y="14257"/>
                  </a:lnTo>
                  <a:cubicBezTo>
                    <a:pt x="24260" y="14259"/>
                    <a:pt x="25880" y="20991"/>
                    <a:pt x="25448" y="28192"/>
                  </a:cubicBezTo>
                  <a:cubicBezTo>
                    <a:pt x="25215" y="31843"/>
                    <a:pt x="26255" y="33386"/>
                    <a:pt x="27506" y="33386"/>
                  </a:cubicBezTo>
                  <a:cubicBezTo>
                    <a:pt x="28771" y="33386"/>
                    <a:pt x="30252" y="31807"/>
                    <a:pt x="30849" y="29236"/>
                  </a:cubicBezTo>
                  <a:cubicBezTo>
                    <a:pt x="32037" y="24159"/>
                    <a:pt x="29949" y="18291"/>
                    <a:pt x="29949" y="18290"/>
                  </a:cubicBezTo>
                  <a:lnTo>
                    <a:pt x="29949" y="18290"/>
                  </a:lnTo>
                  <a:cubicBezTo>
                    <a:pt x="29950" y="18291"/>
                    <a:pt x="34738" y="24303"/>
                    <a:pt x="36538" y="28480"/>
                  </a:cubicBezTo>
                  <a:cubicBezTo>
                    <a:pt x="36841" y="29213"/>
                    <a:pt x="37209" y="29539"/>
                    <a:pt x="37563" y="29539"/>
                  </a:cubicBezTo>
                  <a:cubicBezTo>
                    <a:pt x="39313" y="29539"/>
                    <a:pt x="40740" y="21602"/>
                    <a:pt x="32506" y="15733"/>
                  </a:cubicBezTo>
                  <a:lnTo>
                    <a:pt x="32506" y="15733"/>
                  </a:lnTo>
                  <a:cubicBezTo>
                    <a:pt x="32506" y="15733"/>
                    <a:pt x="34594" y="16490"/>
                    <a:pt x="36394" y="17678"/>
                  </a:cubicBezTo>
                  <a:cubicBezTo>
                    <a:pt x="36544" y="17802"/>
                    <a:pt x="36678" y="17859"/>
                    <a:pt x="36792" y="17859"/>
                  </a:cubicBezTo>
                  <a:cubicBezTo>
                    <a:pt x="37934" y="17859"/>
                    <a:pt x="37028" y="12101"/>
                    <a:pt x="29661" y="10332"/>
                  </a:cubicBezTo>
                  <a:cubicBezTo>
                    <a:pt x="21703" y="8244"/>
                    <a:pt x="22280" y="6300"/>
                    <a:pt x="22280" y="6300"/>
                  </a:cubicBezTo>
                  <a:cubicBezTo>
                    <a:pt x="22280" y="6300"/>
                    <a:pt x="16558" y="0"/>
                    <a:pt x="12520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8" name="Google Shape;188;p2"/>
            <p:cNvSpPr/>
            <p:nvPr/>
          </p:nvSpPr>
          <p:spPr>
            <a:xfrm>
              <a:off x="6779650" y="3989900"/>
              <a:ext cx="221475" cy="251150"/>
            </a:xfrm>
            <a:custGeom>
              <a:avLst/>
              <a:gdLst/>
              <a:ahLst/>
              <a:cxnLst/>
              <a:rect l="l" t="t" r="r" b="b"/>
              <a:pathLst>
                <a:path w="8859" h="10046" extrusionOk="0">
                  <a:moveTo>
                    <a:pt x="8246" y="0"/>
                  </a:moveTo>
                  <a:cubicBezTo>
                    <a:pt x="5257" y="288"/>
                    <a:pt x="2377" y="1800"/>
                    <a:pt x="0" y="4357"/>
                  </a:cubicBezTo>
                  <a:cubicBezTo>
                    <a:pt x="0" y="4501"/>
                    <a:pt x="0" y="4789"/>
                    <a:pt x="144" y="4789"/>
                  </a:cubicBezTo>
                  <a:cubicBezTo>
                    <a:pt x="144" y="4861"/>
                    <a:pt x="217" y="4897"/>
                    <a:pt x="289" y="4897"/>
                  </a:cubicBezTo>
                  <a:cubicBezTo>
                    <a:pt x="361" y="4897"/>
                    <a:pt x="433" y="4861"/>
                    <a:pt x="433" y="4789"/>
                  </a:cubicBezTo>
                  <a:cubicBezTo>
                    <a:pt x="1945" y="3133"/>
                    <a:pt x="4357" y="1188"/>
                    <a:pt x="7490" y="756"/>
                  </a:cubicBezTo>
                  <a:lnTo>
                    <a:pt x="7490" y="756"/>
                  </a:lnTo>
                  <a:cubicBezTo>
                    <a:pt x="5690" y="3457"/>
                    <a:pt x="4789" y="6589"/>
                    <a:pt x="4033" y="9758"/>
                  </a:cubicBezTo>
                  <a:cubicBezTo>
                    <a:pt x="3889" y="9902"/>
                    <a:pt x="4033" y="10046"/>
                    <a:pt x="4177" y="10046"/>
                  </a:cubicBezTo>
                  <a:lnTo>
                    <a:pt x="4357" y="10046"/>
                  </a:lnTo>
                  <a:cubicBezTo>
                    <a:pt x="4501" y="10046"/>
                    <a:pt x="4501" y="10046"/>
                    <a:pt x="4645" y="9902"/>
                  </a:cubicBezTo>
                  <a:cubicBezTo>
                    <a:pt x="5401" y="6589"/>
                    <a:pt x="6302" y="3133"/>
                    <a:pt x="8390" y="432"/>
                  </a:cubicBezTo>
                  <a:lnTo>
                    <a:pt x="885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9" name="Google Shape;189;p2"/>
            <p:cNvSpPr/>
            <p:nvPr/>
          </p:nvSpPr>
          <p:spPr>
            <a:xfrm>
              <a:off x="7008300" y="4000700"/>
              <a:ext cx="60325" cy="247575"/>
            </a:xfrm>
            <a:custGeom>
              <a:avLst/>
              <a:gdLst/>
              <a:ahLst/>
              <a:cxnLst/>
              <a:rect l="l" t="t" r="r" b="b"/>
              <a:pathLst>
                <a:path w="2413" h="9903" extrusionOk="0">
                  <a:moveTo>
                    <a:pt x="144" y="0"/>
                  </a:moveTo>
                  <a:cubicBezTo>
                    <a:pt x="0" y="0"/>
                    <a:pt x="0" y="144"/>
                    <a:pt x="0" y="324"/>
                  </a:cubicBezTo>
                  <a:cubicBezTo>
                    <a:pt x="756" y="3457"/>
                    <a:pt x="1332" y="6625"/>
                    <a:pt x="1801" y="9614"/>
                  </a:cubicBezTo>
                  <a:cubicBezTo>
                    <a:pt x="1801" y="9758"/>
                    <a:pt x="1945" y="9902"/>
                    <a:pt x="2089" y="9902"/>
                  </a:cubicBezTo>
                  <a:cubicBezTo>
                    <a:pt x="2233" y="9902"/>
                    <a:pt x="2413" y="9758"/>
                    <a:pt x="2413" y="9614"/>
                  </a:cubicBezTo>
                  <a:cubicBezTo>
                    <a:pt x="1945" y="6445"/>
                    <a:pt x="1332" y="3313"/>
                    <a:pt x="612" y="144"/>
                  </a:cubicBezTo>
                  <a:cubicBezTo>
                    <a:pt x="612" y="0"/>
                    <a:pt x="288" y="0"/>
                    <a:pt x="144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0" name="Google Shape;190;p2"/>
            <p:cNvSpPr/>
            <p:nvPr/>
          </p:nvSpPr>
          <p:spPr>
            <a:xfrm>
              <a:off x="7041600" y="4034900"/>
              <a:ext cx="139550" cy="202550"/>
            </a:xfrm>
            <a:custGeom>
              <a:avLst/>
              <a:gdLst/>
              <a:ahLst/>
              <a:cxnLst/>
              <a:rect l="l" t="t" r="r" b="b"/>
              <a:pathLst>
                <a:path w="5582" h="8102" extrusionOk="0">
                  <a:moveTo>
                    <a:pt x="325" y="0"/>
                  </a:moveTo>
                  <a:cubicBezTo>
                    <a:pt x="180" y="144"/>
                    <a:pt x="0" y="288"/>
                    <a:pt x="180" y="432"/>
                  </a:cubicBezTo>
                  <a:cubicBezTo>
                    <a:pt x="469" y="1333"/>
                    <a:pt x="1081" y="1945"/>
                    <a:pt x="1657" y="2557"/>
                  </a:cubicBezTo>
                  <a:lnTo>
                    <a:pt x="1801" y="2989"/>
                  </a:lnTo>
                  <a:cubicBezTo>
                    <a:pt x="3169" y="4501"/>
                    <a:pt x="4213" y="6158"/>
                    <a:pt x="4825" y="7958"/>
                  </a:cubicBezTo>
                  <a:cubicBezTo>
                    <a:pt x="4969" y="8102"/>
                    <a:pt x="5113" y="8102"/>
                    <a:pt x="5113" y="8102"/>
                  </a:cubicBezTo>
                  <a:lnTo>
                    <a:pt x="5257" y="8102"/>
                  </a:lnTo>
                  <a:cubicBezTo>
                    <a:pt x="5401" y="8102"/>
                    <a:pt x="5581" y="7958"/>
                    <a:pt x="5401" y="7778"/>
                  </a:cubicBezTo>
                  <a:cubicBezTo>
                    <a:pt x="4681" y="5834"/>
                    <a:pt x="3601" y="4033"/>
                    <a:pt x="2269" y="2557"/>
                  </a:cubicBezTo>
                  <a:lnTo>
                    <a:pt x="2125" y="2233"/>
                  </a:lnTo>
                  <a:cubicBezTo>
                    <a:pt x="1513" y="1657"/>
                    <a:pt x="901" y="901"/>
                    <a:pt x="757" y="288"/>
                  </a:cubicBezTo>
                  <a:cubicBezTo>
                    <a:pt x="613" y="0"/>
                    <a:pt x="469" y="0"/>
                    <a:pt x="325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1" name="Google Shape;191;p2"/>
            <p:cNvSpPr/>
            <p:nvPr/>
          </p:nvSpPr>
          <p:spPr>
            <a:xfrm>
              <a:off x="7068600" y="4023200"/>
              <a:ext cx="161150" cy="112550"/>
            </a:xfrm>
            <a:custGeom>
              <a:avLst/>
              <a:gdLst/>
              <a:ahLst/>
              <a:cxnLst/>
              <a:rect l="l" t="t" r="r" b="b"/>
              <a:pathLst>
                <a:path w="6446" h="4502" extrusionOk="0">
                  <a:moveTo>
                    <a:pt x="433" y="0"/>
                  </a:moveTo>
                  <a:cubicBezTo>
                    <a:pt x="289" y="0"/>
                    <a:pt x="145" y="0"/>
                    <a:pt x="145" y="144"/>
                  </a:cubicBezTo>
                  <a:cubicBezTo>
                    <a:pt x="1" y="324"/>
                    <a:pt x="145" y="612"/>
                    <a:pt x="289" y="612"/>
                  </a:cubicBezTo>
                  <a:cubicBezTo>
                    <a:pt x="2521" y="1225"/>
                    <a:pt x="4501" y="2557"/>
                    <a:pt x="5834" y="4357"/>
                  </a:cubicBezTo>
                  <a:lnTo>
                    <a:pt x="5978" y="4501"/>
                  </a:lnTo>
                  <a:cubicBezTo>
                    <a:pt x="6122" y="4501"/>
                    <a:pt x="6122" y="4501"/>
                    <a:pt x="6302" y="4357"/>
                  </a:cubicBezTo>
                  <a:cubicBezTo>
                    <a:pt x="6446" y="4357"/>
                    <a:pt x="6446" y="4069"/>
                    <a:pt x="6302" y="3925"/>
                  </a:cubicBezTo>
                  <a:cubicBezTo>
                    <a:pt x="4790" y="2125"/>
                    <a:pt x="2701" y="756"/>
                    <a:pt x="433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2" name="Google Shape;192;p2"/>
            <p:cNvSpPr/>
            <p:nvPr/>
          </p:nvSpPr>
          <p:spPr>
            <a:xfrm>
              <a:off x="6667125" y="3854875"/>
              <a:ext cx="299775" cy="131450"/>
            </a:xfrm>
            <a:custGeom>
              <a:avLst/>
              <a:gdLst/>
              <a:ahLst/>
              <a:cxnLst/>
              <a:rect l="l" t="t" r="r" b="b"/>
              <a:pathLst>
                <a:path w="11991" h="5258" extrusionOk="0">
                  <a:moveTo>
                    <a:pt x="4357" y="0"/>
                  </a:moveTo>
                  <a:cubicBezTo>
                    <a:pt x="4177" y="0"/>
                    <a:pt x="4033" y="0"/>
                    <a:pt x="4033" y="144"/>
                  </a:cubicBezTo>
                  <a:cubicBezTo>
                    <a:pt x="3889" y="288"/>
                    <a:pt x="4033" y="576"/>
                    <a:pt x="4177" y="576"/>
                  </a:cubicBezTo>
                  <a:cubicBezTo>
                    <a:pt x="6302" y="1188"/>
                    <a:pt x="8246" y="2232"/>
                    <a:pt x="10047" y="3601"/>
                  </a:cubicBezTo>
                  <a:cubicBezTo>
                    <a:pt x="9215" y="3554"/>
                    <a:pt x="8259" y="3503"/>
                    <a:pt x="7222" y="3503"/>
                  </a:cubicBezTo>
                  <a:cubicBezTo>
                    <a:pt x="5070" y="3503"/>
                    <a:pt x="2575" y="3721"/>
                    <a:pt x="145" y="4645"/>
                  </a:cubicBezTo>
                  <a:cubicBezTo>
                    <a:pt x="1" y="4789"/>
                    <a:pt x="1" y="4933"/>
                    <a:pt x="1" y="5077"/>
                  </a:cubicBezTo>
                  <a:cubicBezTo>
                    <a:pt x="1" y="5257"/>
                    <a:pt x="145" y="5257"/>
                    <a:pt x="289" y="5257"/>
                  </a:cubicBezTo>
                  <a:lnTo>
                    <a:pt x="433" y="5257"/>
                  </a:lnTo>
                  <a:cubicBezTo>
                    <a:pt x="2754" y="4363"/>
                    <a:pt x="5213" y="4098"/>
                    <a:pt x="7305" y="4098"/>
                  </a:cubicBezTo>
                  <a:cubicBezTo>
                    <a:pt x="8750" y="4098"/>
                    <a:pt x="10020" y="4224"/>
                    <a:pt x="10947" y="4357"/>
                  </a:cubicBezTo>
                  <a:lnTo>
                    <a:pt x="11991" y="4501"/>
                  </a:lnTo>
                  <a:lnTo>
                    <a:pt x="11235" y="3889"/>
                  </a:lnTo>
                  <a:cubicBezTo>
                    <a:pt x="9290" y="2088"/>
                    <a:pt x="6878" y="756"/>
                    <a:pt x="4357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3" name="Google Shape;193;p2"/>
            <p:cNvSpPr/>
            <p:nvPr/>
          </p:nvSpPr>
          <p:spPr>
            <a:xfrm>
              <a:off x="6861575" y="3867350"/>
              <a:ext cx="288975" cy="206775"/>
            </a:xfrm>
            <a:custGeom>
              <a:avLst/>
              <a:gdLst/>
              <a:ahLst/>
              <a:cxnLst/>
              <a:rect l="l" t="t" r="r" b="b"/>
              <a:pathLst>
                <a:path w="11559" h="8271" extrusionOk="0">
                  <a:moveTo>
                    <a:pt x="4106" y="0"/>
                  </a:moveTo>
                  <a:cubicBezTo>
                    <a:pt x="2810" y="0"/>
                    <a:pt x="1711" y="489"/>
                    <a:pt x="1080" y="1445"/>
                  </a:cubicBezTo>
                  <a:cubicBezTo>
                    <a:pt x="0" y="3246"/>
                    <a:pt x="1800" y="4902"/>
                    <a:pt x="4357" y="6558"/>
                  </a:cubicBezTo>
                  <a:cubicBezTo>
                    <a:pt x="5920" y="7549"/>
                    <a:pt x="7482" y="8270"/>
                    <a:pt x="8700" y="8270"/>
                  </a:cubicBezTo>
                  <a:cubicBezTo>
                    <a:pt x="9474" y="8270"/>
                    <a:pt x="10108" y="7978"/>
                    <a:pt x="10514" y="7279"/>
                  </a:cubicBezTo>
                  <a:cubicBezTo>
                    <a:pt x="11558" y="5478"/>
                    <a:pt x="10370" y="2778"/>
                    <a:pt x="7814" y="1157"/>
                  </a:cubicBezTo>
                  <a:cubicBezTo>
                    <a:pt x="6548" y="381"/>
                    <a:pt x="5250" y="0"/>
                    <a:pt x="4106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94" name="Google Shape;194;p2"/>
          <p:cNvGrpSpPr/>
          <p:nvPr/>
        </p:nvGrpSpPr>
        <p:grpSpPr>
          <a:xfrm>
            <a:off x="9648928" y="5561397"/>
            <a:ext cx="1134024" cy="1042113"/>
            <a:chOff x="5645775" y="1072250"/>
            <a:chExt cx="1623125" cy="1491575"/>
          </a:xfrm>
        </p:grpSpPr>
        <p:sp>
          <p:nvSpPr>
            <p:cNvPr id="195" name="Google Shape;195;p2"/>
            <p:cNvSpPr/>
            <p:nvPr/>
          </p:nvSpPr>
          <p:spPr>
            <a:xfrm>
              <a:off x="5645775" y="1072250"/>
              <a:ext cx="1623125" cy="1491575"/>
            </a:xfrm>
            <a:custGeom>
              <a:avLst/>
              <a:gdLst/>
              <a:ahLst/>
              <a:cxnLst/>
              <a:rect l="l" t="t" r="r" b="b"/>
              <a:pathLst>
                <a:path w="64925" h="59663" extrusionOk="0">
                  <a:moveTo>
                    <a:pt x="32762" y="0"/>
                  </a:moveTo>
                  <a:cubicBezTo>
                    <a:pt x="31292" y="0"/>
                    <a:pt x="29632" y="1058"/>
                    <a:pt x="28252" y="3573"/>
                  </a:cubicBezTo>
                  <a:cubicBezTo>
                    <a:pt x="25096" y="9440"/>
                    <a:pt x="28772" y="23349"/>
                    <a:pt x="29126" y="24647"/>
                  </a:cubicBezTo>
                  <a:lnTo>
                    <a:pt x="29126" y="24647"/>
                  </a:lnTo>
                  <a:cubicBezTo>
                    <a:pt x="26851" y="16418"/>
                    <a:pt x="22688" y="10762"/>
                    <a:pt x="17738" y="7641"/>
                  </a:cubicBezTo>
                  <a:cubicBezTo>
                    <a:pt x="16834" y="7034"/>
                    <a:pt x="15898" y="6775"/>
                    <a:pt x="15017" y="6775"/>
                  </a:cubicBezTo>
                  <a:cubicBezTo>
                    <a:pt x="11092" y="6775"/>
                    <a:pt x="8257" y="11908"/>
                    <a:pt x="14138" y="14231"/>
                  </a:cubicBezTo>
                  <a:cubicBezTo>
                    <a:pt x="21339" y="17075"/>
                    <a:pt x="26128" y="25645"/>
                    <a:pt x="26128" y="25645"/>
                  </a:cubicBezTo>
                  <a:cubicBezTo>
                    <a:pt x="21178" y="20076"/>
                    <a:pt x="13182" y="18046"/>
                    <a:pt x="7942" y="18046"/>
                  </a:cubicBezTo>
                  <a:cubicBezTo>
                    <a:pt x="5559" y="18046"/>
                    <a:pt x="3745" y="18466"/>
                    <a:pt x="3047" y="19164"/>
                  </a:cubicBezTo>
                  <a:cubicBezTo>
                    <a:pt x="875" y="21336"/>
                    <a:pt x="651" y="26250"/>
                    <a:pt x="11044" y="26250"/>
                  </a:cubicBezTo>
                  <a:cubicBezTo>
                    <a:pt x="11502" y="26250"/>
                    <a:pt x="11981" y="26241"/>
                    <a:pt x="12481" y="26221"/>
                  </a:cubicBezTo>
                  <a:cubicBezTo>
                    <a:pt x="13869" y="26171"/>
                    <a:pt x="15110" y="26149"/>
                    <a:pt x="16221" y="26149"/>
                  </a:cubicBezTo>
                  <a:cubicBezTo>
                    <a:pt x="24735" y="26149"/>
                    <a:pt x="25552" y="27445"/>
                    <a:pt x="25552" y="27445"/>
                  </a:cubicBezTo>
                  <a:cubicBezTo>
                    <a:pt x="20583" y="27445"/>
                    <a:pt x="5892" y="27589"/>
                    <a:pt x="1823" y="34034"/>
                  </a:cubicBezTo>
                  <a:cubicBezTo>
                    <a:pt x="0" y="37012"/>
                    <a:pt x="2126" y="39249"/>
                    <a:pt x="5746" y="39249"/>
                  </a:cubicBezTo>
                  <a:cubicBezTo>
                    <a:pt x="7774" y="39249"/>
                    <a:pt x="10271" y="38547"/>
                    <a:pt x="12805" y="36879"/>
                  </a:cubicBezTo>
                  <a:cubicBezTo>
                    <a:pt x="20006" y="32090"/>
                    <a:pt x="26883" y="30434"/>
                    <a:pt x="26884" y="30434"/>
                  </a:cubicBezTo>
                  <a:lnTo>
                    <a:pt x="26884" y="30434"/>
                  </a:lnTo>
                  <a:cubicBezTo>
                    <a:pt x="16810" y="35216"/>
                    <a:pt x="12579" y="49990"/>
                    <a:pt x="16839" y="49990"/>
                  </a:cubicBezTo>
                  <a:cubicBezTo>
                    <a:pt x="17391" y="49990"/>
                    <a:pt x="18085" y="49742"/>
                    <a:pt x="18926" y="49193"/>
                  </a:cubicBezTo>
                  <a:cubicBezTo>
                    <a:pt x="26451" y="44549"/>
                    <a:pt x="29440" y="31768"/>
                    <a:pt x="29440" y="31766"/>
                  </a:cubicBezTo>
                  <a:lnTo>
                    <a:pt x="29440" y="31766"/>
                  </a:lnTo>
                  <a:cubicBezTo>
                    <a:pt x="29440" y="31767"/>
                    <a:pt x="29008" y="34649"/>
                    <a:pt x="28108" y="46493"/>
                  </a:cubicBezTo>
                  <a:cubicBezTo>
                    <a:pt x="27502" y="54377"/>
                    <a:pt x="30229" y="59662"/>
                    <a:pt x="32944" y="59662"/>
                  </a:cubicBezTo>
                  <a:cubicBezTo>
                    <a:pt x="34258" y="59662"/>
                    <a:pt x="35570" y="58423"/>
                    <a:pt x="36498" y="55639"/>
                  </a:cubicBezTo>
                  <a:cubicBezTo>
                    <a:pt x="39342" y="47069"/>
                    <a:pt x="33186" y="31623"/>
                    <a:pt x="33185" y="31622"/>
                  </a:cubicBezTo>
                  <a:lnTo>
                    <a:pt x="33185" y="31622"/>
                  </a:lnTo>
                  <a:cubicBezTo>
                    <a:pt x="37398" y="36591"/>
                    <a:pt x="40711" y="52182"/>
                    <a:pt x="43987" y="53082"/>
                  </a:cubicBezTo>
                  <a:cubicBezTo>
                    <a:pt x="44605" y="53277"/>
                    <a:pt x="45300" y="53389"/>
                    <a:pt x="45998" y="53389"/>
                  </a:cubicBezTo>
                  <a:cubicBezTo>
                    <a:pt x="49040" y="53389"/>
                    <a:pt x="52120" y="51256"/>
                    <a:pt x="48956" y="44548"/>
                  </a:cubicBezTo>
                  <a:cubicBezTo>
                    <a:pt x="45212" y="36267"/>
                    <a:pt x="37830" y="30866"/>
                    <a:pt x="37830" y="30866"/>
                  </a:cubicBezTo>
                  <a:lnTo>
                    <a:pt x="37830" y="30866"/>
                  </a:lnTo>
                  <a:cubicBezTo>
                    <a:pt x="44455" y="32846"/>
                    <a:pt x="51513" y="42568"/>
                    <a:pt x="56158" y="44368"/>
                  </a:cubicBezTo>
                  <a:cubicBezTo>
                    <a:pt x="56698" y="44555"/>
                    <a:pt x="57206" y="44643"/>
                    <a:pt x="57676" y="44643"/>
                  </a:cubicBezTo>
                  <a:cubicBezTo>
                    <a:pt x="61368" y="44643"/>
                    <a:pt x="62670" y="39242"/>
                    <a:pt x="58390" y="34322"/>
                  </a:cubicBezTo>
                  <a:cubicBezTo>
                    <a:pt x="53601" y="28777"/>
                    <a:pt x="38298" y="27733"/>
                    <a:pt x="38298" y="27733"/>
                  </a:cubicBezTo>
                  <a:cubicBezTo>
                    <a:pt x="39682" y="27408"/>
                    <a:pt x="41219" y="27278"/>
                    <a:pt x="42824" y="27278"/>
                  </a:cubicBezTo>
                  <a:cubicBezTo>
                    <a:pt x="48692" y="27278"/>
                    <a:pt x="55468" y="29022"/>
                    <a:pt x="59002" y="29390"/>
                  </a:cubicBezTo>
                  <a:cubicBezTo>
                    <a:pt x="59126" y="29401"/>
                    <a:pt x="59247" y="29407"/>
                    <a:pt x="59366" y="29407"/>
                  </a:cubicBezTo>
                  <a:cubicBezTo>
                    <a:pt x="63586" y="29407"/>
                    <a:pt x="64924" y="22143"/>
                    <a:pt x="56590" y="20532"/>
                  </a:cubicBezTo>
                  <a:cubicBezTo>
                    <a:pt x="55557" y="20331"/>
                    <a:pt x="54477" y="20243"/>
                    <a:pt x="53378" y="20243"/>
                  </a:cubicBezTo>
                  <a:cubicBezTo>
                    <a:pt x="45394" y="20243"/>
                    <a:pt x="36354" y="24889"/>
                    <a:pt x="36354" y="24889"/>
                  </a:cubicBezTo>
                  <a:cubicBezTo>
                    <a:pt x="36354" y="24889"/>
                    <a:pt x="42655" y="21576"/>
                    <a:pt x="48200" y="17219"/>
                  </a:cubicBezTo>
                  <a:cubicBezTo>
                    <a:pt x="53157" y="13423"/>
                    <a:pt x="55736" y="6237"/>
                    <a:pt x="50767" y="6237"/>
                  </a:cubicBezTo>
                  <a:cubicBezTo>
                    <a:pt x="50034" y="6237"/>
                    <a:pt x="49135" y="6394"/>
                    <a:pt x="48056" y="6741"/>
                  </a:cubicBezTo>
                  <a:cubicBezTo>
                    <a:pt x="39630" y="9442"/>
                    <a:pt x="33185" y="23845"/>
                    <a:pt x="33185" y="23845"/>
                  </a:cubicBezTo>
                  <a:cubicBezTo>
                    <a:pt x="33185" y="23845"/>
                    <a:pt x="35886" y="11530"/>
                    <a:pt x="36498" y="5841"/>
                  </a:cubicBezTo>
                  <a:cubicBezTo>
                    <a:pt x="36757" y="2400"/>
                    <a:pt x="34975" y="0"/>
                    <a:pt x="32762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6" name="Google Shape;196;p2"/>
            <p:cNvSpPr/>
            <p:nvPr/>
          </p:nvSpPr>
          <p:spPr>
            <a:xfrm>
              <a:off x="6506000" y="1514425"/>
              <a:ext cx="164750" cy="187250"/>
            </a:xfrm>
            <a:custGeom>
              <a:avLst/>
              <a:gdLst/>
              <a:ahLst/>
              <a:cxnLst/>
              <a:rect l="l" t="t" r="r" b="b"/>
              <a:pathLst>
                <a:path w="6590" h="7490" extrusionOk="0">
                  <a:moveTo>
                    <a:pt x="5978" y="0"/>
                  </a:moveTo>
                  <a:cubicBezTo>
                    <a:pt x="3601" y="1945"/>
                    <a:pt x="1477" y="4357"/>
                    <a:pt x="0" y="7058"/>
                  </a:cubicBezTo>
                  <a:cubicBezTo>
                    <a:pt x="0" y="7202"/>
                    <a:pt x="0" y="7346"/>
                    <a:pt x="144" y="7490"/>
                  </a:cubicBezTo>
                  <a:lnTo>
                    <a:pt x="288" y="7490"/>
                  </a:lnTo>
                  <a:cubicBezTo>
                    <a:pt x="288" y="7490"/>
                    <a:pt x="432" y="7490"/>
                    <a:pt x="576" y="7346"/>
                  </a:cubicBezTo>
                  <a:cubicBezTo>
                    <a:pt x="1945" y="4645"/>
                    <a:pt x="4033" y="2377"/>
                    <a:pt x="6446" y="432"/>
                  </a:cubicBezTo>
                  <a:cubicBezTo>
                    <a:pt x="6590" y="432"/>
                    <a:pt x="6590" y="144"/>
                    <a:pt x="6446" y="144"/>
                  </a:cubicBezTo>
                  <a:cubicBezTo>
                    <a:pt x="6302" y="0"/>
                    <a:pt x="6122" y="0"/>
                    <a:pt x="5978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7" name="Google Shape;197;p2"/>
            <p:cNvSpPr/>
            <p:nvPr/>
          </p:nvSpPr>
          <p:spPr>
            <a:xfrm>
              <a:off x="6569000" y="1679150"/>
              <a:ext cx="198975" cy="60350"/>
            </a:xfrm>
            <a:custGeom>
              <a:avLst/>
              <a:gdLst/>
              <a:ahLst/>
              <a:cxnLst/>
              <a:rect l="l" t="t" r="r" b="b"/>
              <a:pathLst>
                <a:path w="7959" h="2414" extrusionOk="0">
                  <a:moveTo>
                    <a:pt x="7670" y="1"/>
                  </a:moveTo>
                  <a:cubicBezTo>
                    <a:pt x="5258" y="145"/>
                    <a:pt x="2269" y="289"/>
                    <a:pt x="181" y="1945"/>
                  </a:cubicBezTo>
                  <a:cubicBezTo>
                    <a:pt x="1" y="1945"/>
                    <a:pt x="1" y="2089"/>
                    <a:pt x="1" y="2269"/>
                  </a:cubicBezTo>
                  <a:cubicBezTo>
                    <a:pt x="181" y="2413"/>
                    <a:pt x="181" y="2413"/>
                    <a:pt x="325" y="2413"/>
                  </a:cubicBezTo>
                  <a:lnTo>
                    <a:pt x="469" y="2413"/>
                  </a:lnTo>
                  <a:cubicBezTo>
                    <a:pt x="2557" y="901"/>
                    <a:pt x="5258" y="757"/>
                    <a:pt x="7670" y="613"/>
                  </a:cubicBezTo>
                  <a:cubicBezTo>
                    <a:pt x="7814" y="613"/>
                    <a:pt x="7958" y="469"/>
                    <a:pt x="7958" y="289"/>
                  </a:cubicBezTo>
                  <a:cubicBezTo>
                    <a:pt x="7958" y="145"/>
                    <a:pt x="7814" y="1"/>
                    <a:pt x="7670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8" name="Google Shape;198;p2"/>
            <p:cNvSpPr/>
            <p:nvPr/>
          </p:nvSpPr>
          <p:spPr>
            <a:xfrm>
              <a:off x="6591525" y="1788075"/>
              <a:ext cx="195350" cy="74725"/>
            </a:xfrm>
            <a:custGeom>
              <a:avLst/>
              <a:gdLst/>
              <a:ahLst/>
              <a:cxnLst/>
              <a:rect l="l" t="t" r="r" b="b"/>
              <a:pathLst>
                <a:path w="7814" h="2989" extrusionOk="0">
                  <a:moveTo>
                    <a:pt x="324" y="0"/>
                  </a:moveTo>
                  <a:cubicBezTo>
                    <a:pt x="180" y="0"/>
                    <a:pt x="0" y="144"/>
                    <a:pt x="0" y="288"/>
                  </a:cubicBezTo>
                  <a:cubicBezTo>
                    <a:pt x="0" y="433"/>
                    <a:pt x="180" y="613"/>
                    <a:pt x="324" y="613"/>
                  </a:cubicBezTo>
                  <a:cubicBezTo>
                    <a:pt x="2701" y="757"/>
                    <a:pt x="5113" y="1657"/>
                    <a:pt x="7201" y="2989"/>
                  </a:cubicBezTo>
                  <a:lnTo>
                    <a:pt x="7669" y="2989"/>
                  </a:lnTo>
                  <a:cubicBezTo>
                    <a:pt x="7814" y="2845"/>
                    <a:pt x="7669" y="2557"/>
                    <a:pt x="7525" y="2557"/>
                  </a:cubicBezTo>
                  <a:cubicBezTo>
                    <a:pt x="5401" y="1045"/>
                    <a:pt x="2881" y="144"/>
                    <a:pt x="324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9" name="Google Shape;199;p2"/>
            <p:cNvSpPr/>
            <p:nvPr/>
          </p:nvSpPr>
          <p:spPr>
            <a:xfrm>
              <a:off x="6542900" y="1830375"/>
              <a:ext cx="116150" cy="189975"/>
            </a:xfrm>
            <a:custGeom>
              <a:avLst/>
              <a:gdLst/>
              <a:ahLst/>
              <a:cxnLst/>
              <a:rect l="l" t="t" r="r" b="b"/>
              <a:pathLst>
                <a:path w="4646" h="7599" extrusionOk="0">
                  <a:moveTo>
                    <a:pt x="392" y="1"/>
                  </a:moveTo>
                  <a:cubicBezTo>
                    <a:pt x="316" y="1"/>
                    <a:pt x="235" y="37"/>
                    <a:pt x="145" y="109"/>
                  </a:cubicBezTo>
                  <a:cubicBezTo>
                    <a:pt x="1" y="253"/>
                    <a:pt x="1" y="397"/>
                    <a:pt x="145" y="541"/>
                  </a:cubicBezTo>
                  <a:cubicBezTo>
                    <a:pt x="1945" y="2809"/>
                    <a:pt x="3601" y="4898"/>
                    <a:pt x="4069" y="7310"/>
                  </a:cubicBezTo>
                  <a:cubicBezTo>
                    <a:pt x="4069" y="7454"/>
                    <a:pt x="4213" y="7598"/>
                    <a:pt x="4357" y="7598"/>
                  </a:cubicBezTo>
                  <a:cubicBezTo>
                    <a:pt x="4502" y="7598"/>
                    <a:pt x="4646" y="7454"/>
                    <a:pt x="4646" y="7310"/>
                  </a:cubicBezTo>
                  <a:cubicBezTo>
                    <a:pt x="4213" y="4610"/>
                    <a:pt x="2557" y="2521"/>
                    <a:pt x="613" y="109"/>
                  </a:cubicBezTo>
                  <a:cubicBezTo>
                    <a:pt x="541" y="37"/>
                    <a:pt x="469" y="1"/>
                    <a:pt x="392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0" name="Google Shape;200;p2"/>
            <p:cNvSpPr/>
            <p:nvPr/>
          </p:nvSpPr>
          <p:spPr>
            <a:xfrm>
              <a:off x="6426775" y="1825875"/>
              <a:ext cx="37850" cy="228675"/>
            </a:xfrm>
            <a:custGeom>
              <a:avLst/>
              <a:gdLst/>
              <a:ahLst/>
              <a:cxnLst/>
              <a:rect l="l" t="t" r="r" b="b"/>
              <a:pathLst>
                <a:path w="1514" h="9147" extrusionOk="0">
                  <a:moveTo>
                    <a:pt x="1369" y="1"/>
                  </a:moveTo>
                  <a:cubicBezTo>
                    <a:pt x="1189" y="1"/>
                    <a:pt x="1045" y="145"/>
                    <a:pt x="901" y="289"/>
                  </a:cubicBezTo>
                  <a:cubicBezTo>
                    <a:pt x="145" y="2989"/>
                    <a:pt x="1" y="5978"/>
                    <a:pt x="145" y="8822"/>
                  </a:cubicBezTo>
                  <a:cubicBezTo>
                    <a:pt x="145" y="9002"/>
                    <a:pt x="289" y="9146"/>
                    <a:pt x="469" y="9146"/>
                  </a:cubicBezTo>
                  <a:cubicBezTo>
                    <a:pt x="613" y="9146"/>
                    <a:pt x="757" y="9002"/>
                    <a:pt x="757" y="8822"/>
                  </a:cubicBezTo>
                  <a:cubicBezTo>
                    <a:pt x="613" y="5978"/>
                    <a:pt x="757" y="3133"/>
                    <a:pt x="1513" y="433"/>
                  </a:cubicBezTo>
                  <a:cubicBezTo>
                    <a:pt x="1513" y="289"/>
                    <a:pt x="1513" y="145"/>
                    <a:pt x="1369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1" name="Google Shape;201;p2"/>
            <p:cNvSpPr/>
            <p:nvPr/>
          </p:nvSpPr>
          <p:spPr>
            <a:xfrm>
              <a:off x="6239550" y="1804275"/>
              <a:ext cx="149450" cy="216075"/>
            </a:xfrm>
            <a:custGeom>
              <a:avLst/>
              <a:gdLst/>
              <a:ahLst/>
              <a:cxnLst/>
              <a:rect l="l" t="t" r="r" b="b"/>
              <a:pathLst>
                <a:path w="5978" h="8643" extrusionOk="0">
                  <a:moveTo>
                    <a:pt x="5689" y="1"/>
                  </a:moveTo>
                  <a:cubicBezTo>
                    <a:pt x="5617" y="1"/>
                    <a:pt x="5545" y="37"/>
                    <a:pt x="5545" y="109"/>
                  </a:cubicBezTo>
                  <a:cubicBezTo>
                    <a:pt x="3133" y="2485"/>
                    <a:pt x="1333" y="5186"/>
                    <a:pt x="0" y="8210"/>
                  </a:cubicBezTo>
                  <a:cubicBezTo>
                    <a:pt x="0" y="8354"/>
                    <a:pt x="0" y="8498"/>
                    <a:pt x="144" y="8642"/>
                  </a:cubicBezTo>
                  <a:lnTo>
                    <a:pt x="288" y="8642"/>
                  </a:lnTo>
                  <a:cubicBezTo>
                    <a:pt x="432" y="8642"/>
                    <a:pt x="432" y="8498"/>
                    <a:pt x="576" y="8498"/>
                  </a:cubicBezTo>
                  <a:cubicBezTo>
                    <a:pt x="1801" y="5510"/>
                    <a:pt x="3601" y="2809"/>
                    <a:pt x="5833" y="541"/>
                  </a:cubicBezTo>
                  <a:cubicBezTo>
                    <a:pt x="5978" y="397"/>
                    <a:pt x="5978" y="253"/>
                    <a:pt x="5833" y="109"/>
                  </a:cubicBezTo>
                  <a:cubicBezTo>
                    <a:pt x="5833" y="37"/>
                    <a:pt x="5761" y="1"/>
                    <a:pt x="5689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2" name="Google Shape;202;p2"/>
            <p:cNvSpPr/>
            <p:nvPr/>
          </p:nvSpPr>
          <p:spPr>
            <a:xfrm>
              <a:off x="6123425" y="1772775"/>
              <a:ext cx="225075" cy="60325"/>
            </a:xfrm>
            <a:custGeom>
              <a:avLst/>
              <a:gdLst/>
              <a:ahLst/>
              <a:cxnLst/>
              <a:rect l="l" t="t" r="r" b="b"/>
              <a:pathLst>
                <a:path w="9003" h="2413" extrusionOk="0">
                  <a:moveTo>
                    <a:pt x="8678" y="0"/>
                  </a:moveTo>
                  <a:cubicBezTo>
                    <a:pt x="5690" y="0"/>
                    <a:pt x="2989" y="612"/>
                    <a:pt x="289" y="1801"/>
                  </a:cubicBezTo>
                  <a:cubicBezTo>
                    <a:pt x="145" y="1801"/>
                    <a:pt x="0" y="2125"/>
                    <a:pt x="145" y="2269"/>
                  </a:cubicBezTo>
                  <a:lnTo>
                    <a:pt x="289" y="2413"/>
                  </a:lnTo>
                  <a:lnTo>
                    <a:pt x="433" y="2413"/>
                  </a:lnTo>
                  <a:cubicBezTo>
                    <a:pt x="3133" y="1225"/>
                    <a:pt x="5834" y="612"/>
                    <a:pt x="8678" y="612"/>
                  </a:cubicBezTo>
                  <a:cubicBezTo>
                    <a:pt x="8822" y="612"/>
                    <a:pt x="9002" y="468"/>
                    <a:pt x="9002" y="324"/>
                  </a:cubicBezTo>
                  <a:cubicBezTo>
                    <a:pt x="9002" y="144"/>
                    <a:pt x="8822" y="0"/>
                    <a:pt x="8678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3" name="Google Shape;203;p2"/>
            <p:cNvSpPr/>
            <p:nvPr/>
          </p:nvSpPr>
          <p:spPr>
            <a:xfrm>
              <a:off x="6153125" y="1670450"/>
              <a:ext cx="153950" cy="60925"/>
            </a:xfrm>
            <a:custGeom>
              <a:avLst/>
              <a:gdLst/>
              <a:ahLst/>
              <a:cxnLst/>
              <a:rect l="l" t="t" r="r" b="b"/>
              <a:pathLst>
                <a:path w="6158" h="2437" extrusionOk="0">
                  <a:moveTo>
                    <a:pt x="306" y="1"/>
                  </a:moveTo>
                  <a:cubicBezTo>
                    <a:pt x="204" y="1"/>
                    <a:pt x="103" y="103"/>
                    <a:pt x="1" y="205"/>
                  </a:cubicBezTo>
                  <a:cubicBezTo>
                    <a:pt x="1" y="349"/>
                    <a:pt x="145" y="493"/>
                    <a:pt x="289" y="637"/>
                  </a:cubicBezTo>
                  <a:cubicBezTo>
                    <a:pt x="2089" y="961"/>
                    <a:pt x="3889" y="1537"/>
                    <a:pt x="5546" y="2437"/>
                  </a:cubicBezTo>
                  <a:lnTo>
                    <a:pt x="5690" y="2437"/>
                  </a:lnTo>
                  <a:cubicBezTo>
                    <a:pt x="5834" y="2437"/>
                    <a:pt x="6014" y="2437"/>
                    <a:pt x="6014" y="2293"/>
                  </a:cubicBezTo>
                  <a:cubicBezTo>
                    <a:pt x="6158" y="2149"/>
                    <a:pt x="6014" y="2005"/>
                    <a:pt x="5834" y="1861"/>
                  </a:cubicBezTo>
                  <a:cubicBezTo>
                    <a:pt x="4214" y="961"/>
                    <a:pt x="2233" y="349"/>
                    <a:pt x="433" y="61"/>
                  </a:cubicBezTo>
                  <a:cubicBezTo>
                    <a:pt x="391" y="18"/>
                    <a:pt x="348" y="1"/>
                    <a:pt x="306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4" name="Google Shape;204;p2"/>
            <p:cNvSpPr/>
            <p:nvPr/>
          </p:nvSpPr>
          <p:spPr>
            <a:xfrm>
              <a:off x="6231450" y="1533325"/>
              <a:ext cx="108950" cy="161150"/>
            </a:xfrm>
            <a:custGeom>
              <a:avLst/>
              <a:gdLst/>
              <a:ahLst/>
              <a:cxnLst/>
              <a:rect l="l" t="t" r="r" b="b"/>
              <a:pathLst>
                <a:path w="4358" h="6446" extrusionOk="0">
                  <a:moveTo>
                    <a:pt x="180" y="0"/>
                  </a:moveTo>
                  <a:cubicBezTo>
                    <a:pt x="0" y="145"/>
                    <a:pt x="0" y="289"/>
                    <a:pt x="180" y="433"/>
                  </a:cubicBezTo>
                  <a:cubicBezTo>
                    <a:pt x="1801" y="2089"/>
                    <a:pt x="3025" y="4033"/>
                    <a:pt x="3781" y="6302"/>
                  </a:cubicBezTo>
                  <a:cubicBezTo>
                    <a:pt x="3781" y="6446"/>
                    <a:pt x="3925" y="6446"/>
                    <a:pt x="4069" y="6446"/>
                  </a:cubicBezTo>
                  <a:cubicBezTo>
                    <a:pt x="4357" y="6446"/>
                    <a:pt x="4357" y="6122"/>
                    <a:pt x="4357" y="5978"/>
                  </a:cubicBezTo>
                  <a:cubicBezTo>
                    <a:pt x="3457" y="3745"/>
                    <a:pt x="2269" y="1801"/>
                    <a:pt x="612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5" name="Google Shape;205;p2"/>
            <p:cNvSpPr/>
            <p:nvPr/>
          </p:nvSpPr>
          <p:spPr>
            <a:xfrm>
              <a:off x="6407875" y="1426525"/>
              <a:ext cx="41425" cy="271550"/>
            </a:xfrm>
            <a:custGeom>
              <a:avLst/>
              <a:gdLst/>
              <a:ahLst/>
              <a:cxnLst/>
              <a:rect l="l" t="t" r="r" b="b"/>
              <a:pathLst>
                <a:path w="1657" h="10862" extrusionOk="0">
                  <a:moveTo>
                    <a:pt x="1235" y="0"/>
                  </a:moveTo>
                  <a:cubicBezTo>
                    <a:pt x="1123" y="0"/>
                    <a:pt x="1003" y="102"/>
                    <a:pt x="901" y="204"/>
                  </a:cubicBezTo>
                  <a:cubicBezTo>
                    <a:pt x="145" y="3660"/>
                    <a:pt x="1" y="7117"/>
                    <a:pt x="757" y="10574"/>
                  </a:cubicBezTo>
                  <a:cubicBezTo>
                    <a:pt x="901" y="10718"/>
                    <a:pt x="1045" y="10862"/>
                    <a:pt x="1045" y="10862"/>
                  </a:cubicBezTo>
                  <a:lnTo>
                    <a:pt x="1225" y="10862"/>
                  </a:lnTo>
                  <a:cubicBezTo>
                    <a:pt x="1369" y="10718"/>
                    <a:pt x="1513" y="10574"/>
                    <a:pt x="1369" y="10394"/>
                  </a:cubicBezTo>
                  <a:cubicBezTo>
                    <a:pt x="613" y="7117"/>
                    <a:pt x="757" y="3660"/>
                    <a:pt x="1513" y="348"/>
                  </a:cubicBezTo>
                  <a:cubicBezTo>
                    <a:pt x="1657" y="204"/>
                    <a:pt x="1513" y="60"/>
                    <a:pt x="1369" y="60"/>
                  </a:cubicBezTo>
                  <a:cubicBezTo>
                    <a:pt x="1327" y="18"/>
                    <a:pt x="1281" y="0"/>
                    <a:pt x="1235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6" name="Google Shape;206;p2"/>
            <p:cNvSpPr/>
            <p:nvPr/>
          </p:nvSpPr>
          <p:spPr>
            <a:xfrm>
              <a:off x="6262050" y="1640600"/>
              <a:ext cx="386200" cy="248100"/>
            </a:xfrm>
            <a:custGeom>
              <a:avLst/>
              <a:gdLst/>
              <a:ahLst/>
              <a:cxnLst/>
              <a:rect l="l" t="t" r="r" b="b"/>
              <a:pathLst>
                <a:path w="15448" h="9924" extrusionOk="0">
                  <a:moveTo>
                    <a:pt x="6530" y="1"/>
                  </a:moveTo>
                  <a:cubicBezTo>
                    <a:pt x="3498" y="1"/>
                    <a:pt x="930" y="1292"/>
                    <a:pt x="433" y="3487"/>
                  </a:cubicBezTo>
                  <a:cubicBezTo>
                    <a:pt x="1" y="6043"/>
                    <a:pt x="2701" y="8888"/>
                    <a:pt x="6734" y="9644"/>
                  </a:cubicBezTo>
                  <a:cubicBezTo>
                    <a:pt x="7559" y="9833"/>
                    <a:pt x="8376" y="9924"/>
                    <a:pt x="9155" y="9924"/>
                  </a:cubicBezTo>
                  <a:cubicBezTo>
                    <a:pt x="12086" y="9924"/>
                    <a:pt x="14494" y="8645"/>
                    <a:pt x="14835" y="6512"/>
                  </a:cubicBezTo>
                  <a:cubicBezTo>
                    <a:pt x="15447" y="3955"/>
                    <a:pt x="12747" y="1111"/>
                    <a:pt x="8678" y="210"/>
                  </a:cubicBezTo>
                  <a:cubicBezTo>
                    <a:pt x="7951" y="69"/>
                    <a:pt x="7228" y="1"/>
                    <a:pt x="6530" y="1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07" name="Google Shape;207;p2"/>
          <p:cNvGrpSpPr/>
          <p:nvPr/>
        </p:nvGrpSpPr>
        <p:grpSpPr>
          <a:xfrm>
            <a:off x="5839737" y="5737494"/>
            <a:ext cx="635831" cy="521044"/>
            <a:chOff x="6372100" y="3764900"/>
            <a:chExt cx="1018525" cy="834650"/>
          </a:xfrm>
        </p:grpSpPr>
        <p:sp>
          <p:nvSpPr>
            <p:cNvPr id="208" name="Google Shape;208;p2"/>
            <p:cNvSpPr/>
            <p:nvPr/>
          </p:nvSpPr>
          <p:spPr>
            <a:xfrm>
              <a:off x="6372100" y="3764900"/>
              <a:ext cx="1018525" cy="834650"/>
            </a:xfrm>
            <a:custGeom>
              <a:avLst/>
              <a:gdLst/>
              <a:ahLst/>
              <a:cxnLst/>
              <a:rect l="l" t="t" r="r" b="b"/>
              <a:pathLst>
                <a:path w="40741" h="33386" extrusionOk="0">
                  <a:moveTo>
                    <a:pt x="12520" y="0"/>
                  </a:moveTo>
                  <a:cubicBezTo>
                    <a:pt x="11938" y="0"/>
                    <a:pt x="11391" y="131"/>
                    <a:pt x="10901" y="430"/>
                  </a:cubicBezTo>
                  <a:cubicBezTo>
                    <a:pt x="7157" y="2987"/>
                    <a:pt x="15546" y="6156"/>
                    <a:pt x="15546" y="6156"/>
                  </a:cubicBezTo>
                  <a:cubicBezTo>
                    <a:pt x="15546" y="6156"/>
                    <a:pt x="13122" y="5432"/>
                    <a:pt x="10246" y="5432"/>
                  </a:cubicBezTo>
                  <a:cubicBezTo>
                    <a:pt x="7714" y="5432"/>
                    <a:pt x="4832" y="5993"/>
                    <a:pt x="2944" y="8100"/>
                  </a:cubicBezTo>
                  <a:cubicBezTo>
                    <a:pt x="1" y="11251"/>
                    <a:pt x="2182" y="12820"/>
                    <a:pt x="4854" y="12820"/>
                  </a:cubicBezTo>
                  <a:cubicBezTo>
                    <a:pt x="5877" y="12820"/>
                    <a:pt x="6970" y="12591"/>
                    <a:pt x="7877" y="12133"/>
                  </a:cubicBezTo>
                  <a:cubicBezTo>
                    <a:pt x="11189" y="10332"/>
                    <a:pt x="17346" y="10044"/>
                    <a:pt x="17347" y="10044"/>
                  </a:cubicBezTo>
                  <a:lnTo>
                    <a:pt x="17347" y="10044"/>
                  </a:lnTo>
                  <a:cubicBezTo>
                    <a:pt x="17346" y="10044"/>
                    <a:pt x="7877" y="14257"/>
                    <a:pt x="6401" y="18902"/>
                  </a:cubicBezTo>
                  <a:cubicBezTo>
                    <a:pt x="5103" y="22540"/>
                    <a:pt x="7584" y="25251"/>
                    <a:pt x="9723" y="25251"/>
                  </a:cubicBezTo>
                  <a:cubicBezTo>
                    <a:pt x="10315" y="25251"/>
                    <a:pt x="10881" y="25044"/>
                    <a:pt x="11334" y="24591"/>
                  </a:cubicBezTo>
                  <a:cubicBezTo>
                    <a:pt x="13458" y="22503"/>
                    <a:pt x="19578" y="13934"/>
                    <a:pt x="19579" y="13933"/>
                  </a:cubicBezTo>
                  <a:lnTo>
                    <a:pt x="19579" y="13933"/>
                  </a:lnTo>
                  <a:cubicBezTo>
                    <a:pt x="19579" y="13934"/>
                    <a:pt x="16446" y="21891"/>
                    <a:pt x="15546" y="26391"/>
                  </a:cubicBezTo>
                  <a:cubicBezTo>
                    <a:pt x="15103" y="28610"/>
                    <a:pt x="16374" y="29849"/>
                    <a:pt x="18027" y="29849"/>
                  </a:cubicBezTo>
                  <a:cubicBezTo>
                    <a:pt x="19728" y="29849"/>
                    <a:pt x="21833" y="28538"/>
                    <a:pt x="22892" y="25635"/>
                  </a:cubicBezTo>
                  <a:cubicBezTo>
                    <a:pt x="24980" y="19947"/>
                    <a:pt x="24260" y="14258"/>
                    <a:pt x="24260" y="14257"/>
                  </a:cubicBezTo>
                  <a:lnTo>
                    <a:pt x="24260" y="14257"/>
                  </a:lnTo>
                  <a:cubicBezTo>
                    <a:pt x="24260" y="14259"/>
                    <a:pt x="25880" y="20991"/>
                    <a:pt x="25448" y="28192"/>
                  </a:cubicBezTo>
                  <a:cubicBezTo>
                    <a:pt x="25215" y="31843"/>
                    <a:pt x="26255" y="33386"/>
                    <a:pt x="27506" y="33386"/>
                  </a:cubicBezTo>
                  <a:cubicBezTo>
                    <a:pt x="28771" y="33386"/>
                    <a:pt x="30252" y="31807"/>
                    <a:pt x="30849" y="29236"/>
                  </a:cubicBezTo>
                  <a:cubicBezTo>
                    <a:pt x="32037" y="24159"/>
                    <a:pt x="29949" y="18291"/>
                    <a:pt x="29949" y="18290"/>
                  </a:cubicBezTo>
                  <a:lnTo>
                    <a:pt x="29949" y="18290"/>
                  </a:lnTo>
                  <a:cubicBezTo>
                    <a:pt x="29950" y="18291"/>
                    <a:pt x="34738" y="24303"/>
                    <a:pt x="36538" y="28480"/>
                  </a:cubicBezTo>
                  <a:cubicBezTo>
                    <a:pt x="36841" y="29213"/>
                    <a:pt x="37209" y="29539"/>
                    <a:pt x="37563" y="29539"/>
                  </a:cubicBezTo>
                  <a:cubicBezTo>
                    <a:pt x="39313" y="29539"/>
                    <a:pt x="40740" y="21602"/>
                    <a:pt x="32506" y="15733"/>
                  </a:cubicBezTo>
                  <a:lnTo>
                    <a:pt x="32506" y="15733"/>
                  </a:lnTo>
                  <a:cubicBezTo>
                    <a:pt x="32506" y="15733"/>
                    <a:pt x="34594" y="16490"/>
                    <a:pt x="36394" y="17678"/>
                  </a:cubicBezTo>
                  <a:cubicBezTo>
                    <a:pt x="36544" y="17802"/>
                    <a:pt x="36678" y="17859"/>
                    <a:pt x="36792" y="17859"/>
                  </a:cubicBezTo>
                  <a:cubicBezTo>
                    <a:pt x="37934" y="17859"/>
                    <a:pt x="37028" y="12101"/>
                    <a:pt x="29661" y="10332"/>
                  </a:cubicBezTo>
                  <a:cubicBezTo>
                    <a:pt x="21703" y="8244"/>
                    <a:pt x="22280" y="6300"/>
                    <a:pt x="22280" y="6300"/>
                  </a:cubicBezTo>
                  <a:cubicBezTo>
                    <a:pt x="22280" y="6300"/>
                    <a:pt x="16558" y="0"/>
                    <a:pt x="12520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9" name="Google Shape;209;p2"/>
            <p:cNvSpPr/>
            <p:nvPr/>
          </p:nvSpPr>
          <p:spPr>
            <a:xfrm>
              <a:off x="6779650" y="3989900"/>
              <a:ext cx="221475" cy="251150"/>
            </a:xfrm>
            <a:custGeom>
              <a:avLst/>
              <a:gdLst/>
              <a:ahLst/>
              <a:cxnLst/>
              <a:rect l="l" t="t" r="r" b="b"/>
              <a:pathLst>
                <a:path w="8859" h="10046" extrusionOk="0">
                  <a:moveTo>
                    <a:pt x="8246" y="0"/>
                  </a:moveTo>
                  <a:cubicBezTo>
                    <a:pt x="5257" y="288"/>
                    <a:pt x="2377" y="1800"/>
                    <a:pt x="0" y="4357"/>
                  </a:cubicBezTo>
                  <a:cubicBezTo>
                    <a:pt x="0" y="4501"/>
                    <a:pt x="0" y="4789"/>
                    <a:pt x="144" y="4789"/>
                  </a:cubicBezTo>
                  <a:cubicBezTo>
                    <a:pt x="144" y="4861"/>
                    <a:pt x="217" y="4897"/>
                    <a:pt x="289" y="4897"/>
                  </a:cubicBezTo>
                  <a:cubicBezTo>
                    <a:pt x="361" y="4897"/>
                    <a:pt x="433" y="4861"/>
                    <a:pt x="433" y="4789"/>
                  </a:cubicBezTo>
                  <a:cubicBezTo>
                    <a:pt x="1945" y="3133"/>
                    <a:pt x="4357" y="1188"/>
                    <a:pt x="7490" y="756"/>
                  </a:cubicBezTo>
                  <a:lnTo>
                    <a:pt x="7490" y="756"/>
                  </a:lnTo>
                  <a:cubicBezTo>
                    <a:pt x="5690" y="3457"/>
                    <a:pt x="4789" y="6589"/>
                    <a:pt x="4033" y="9758"/>
                  </a:cubicBezTo>
                  <a:cubicBezTo>
                    <a:pt x="3889" y="9902"/>
                    <a:pt x="4033" y="10046"/>
                    <a:pt x="4177" y="10046"/>
                  </a:cubicBezTo>
                  <a:lnTo>
                    <a:pt x="4357" y="10046"/>
                  </a:lnTo>
                  <a:cubicBezTo>
                    <a:pt x="4501" y="10046"/>
                    <a:pt x="4501" y="10046"/>
                    <a:pt x="4645" y="9902"/>
                  </a:cubicBezTo>
                  <a:cubicBezTo>
                    <a:pt x="5401" y="6589"/>
                    <a:pt x="6302" y="3133"/>
                    <a:pt x="8390" y="432"/>
                  </a:cubicBezTo>
                  <a:lnTo>
                    <a:pt x="885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0" name="Google Shape;210;p2"/>
            <p:cNvSpPr/>
            <p:nvPr/>
          </p:nvSpPr>
          <p:spPr>
            <a:xfrm>
              <a:off x="7008300" y="4000700"/>
              <a:ext cx="60325" cy="247575"/>
            </a:xfrm>
            <a:custGeom>
              <a:avLst/>
              <a:gdLst/>
              <a:ahLst/>
              <a:cxnLst/>
              <a:rect l="l" t="t" r="r" b="b"/>
              <a:pathLst>
                <a:path w="2413" h="9903" extrusionOk="0">
                  <a:moveTo>
                    <a:pt x="144" y="0"/>
                  </a:moveTo>
                  <a:cubicBezTo>
                    <a:pt x="0" y="0"/>
                    <a:pt x="0" y="144"/>
                    <a:pt x="0" y="324"/>
                  </a:cubicBezTo>
                  <a:cubicBezTo>
                    <a:pt x="756" y="3457"/>
                    <a:pt x="1332" y="6625"/>
                    <a:pt x="1801" y="9614"/>
                  </a:cubicBezTo>
                  <a:cubicBezTo>
                    <a:pt x="1801" y="9758"/>
                    <a:pt x="1945" y="9902"/>
                    <a:pt x="2089" y="9902"/>
                  </a:cubicBezTo>
                  <a:cubicBezTo>
                    <a:pt x="2233" y="9902"/>
                    <a:pt x="2413" y="9758"/>
                    <a:pt x="2413" y="9614"/>
                  </a:cubicBezTo>
                  <a:cubicBezTo>
                    <a:pt x="1945" y="6445"/>
                    <a:pt x="1332" y="3313"/>
                    <a:pt x="612" y="144"/>
                  </a:cubicBezTo>
                  <a:cubicBezTo>
                    <a:pt x="612" y="0"/>
                    <a:pt x="288" y="0"/>
                    <a:pt x="144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1" name="Google Shape;211;p2"/>
            <p:cNvSpPr/>
            <p:nvPr/>
          </p:nvSpPr>
          <p:spPr>
            <a:xfrm>
              <a:off x="7041600" y="4034900"/>
              <a:ext cx="139550" cy="202550"/>
            </a:xfrm>
            <a:custGeom>
              <a:avLst/>
              <a:gdLst/>
              <a:ahLst/>
              <a:cxnLst/>
              <a:rect l="l" t="t" r="r" b="b"/>
              <a:pathLst>
                <a:path w="5582" h="8102" extrusionOk="0">
                  <a:moveTo>
                    <a:pt x="325" y="0"/>
                  </a:moveTo>
                  <a:cubicBezTo>
                    <a:pt x="180" y="144"/>
                    <a:pt x="0" y="288"/>
                    <a:pt x="180" y="432"/>
                  </a:cubicBezTo>
                  <a:cubicBezTo>
                    <a:pt x="469" y="1333"/>
                    <a:pt x="1081" y="1945"/>
                    <a:pt x="1657" y="2557"/>
                  </a:cubicBezTo>
                  <a:lnTo>
                    <a:pt x="1801" y="2989"/>
                  </a:lnTo>
                  <a:cubicBezTo>
                    <a:pt x="3169" y="4501"/>
                    <a:pt x="4213" y="6158"/>
                    <a:pt x="4825" y="7958"/>
                  </a:cubicBezTo>
                  <a:cubicBezTo>
                    <a:pt x="4969" y="8102"/>
                    <a:pt x="5113" y="8102"/>
                    <a:pt x="5113" y="8102"/>
                  </a:cubicBezTo>
                  <a:lnTo>
                    <a:pt x="5257" y="8102"/>
                  </a:lnTo>
                  <a:cubicBezTo>
                    <a:pt x="5401" y="8102"/>
                    <a:pt x="5581" y="7958"/>
                    <a:pt x="5401" y="7778"/>
                  </a:cubicBezTo>
                  <a:cubicBezTo>
                    <a:pt x="4681" y="5834"/>
                    <a:pt x="3601" y="4033"/>
                    <a:pt x="2269" y="2557"/>
                  </a:cubicBezTo>
                  <a:lnTo>
                    <a:pt x="2125" y="2233"/>
                  </a:lnTo>
                  <a:cubicBezTo>
                    <a:pt x="1513" y="1657"/>
                    <a:pt x="901" y="901"/>
                    <a:pt x="757" y="288"/>
                  </a:cubicBezTo>
                  <a:cubicBezTo>
                    <a:pt x="613" y="0"/>
                    <a:pt x="469" y="0"/>
                    <a:pt x="325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2" name="Google Shape;212;p2"/>
            <p:cNvSpPr/>
            <p:nvPr/>
          </p:nvSpPr>
          <p:spPr>
            <a:xfrm>
              <a:off x="7068600" y="4023200"/>
              <a:ext cx="161150" cy="112550"/>
            </a:xfrm>
            <a:custGeom>
              <a:avLst/>
              <a:gdLst/>
              <a:ahLst/>
              <a:cxnLst/>
              <a:rect l="l" t="t" r="r" b="b"/>
              <a:pathLst>
                <a:path w="6446" h="4502" extrusionOk="0">
                  <a:moveTo>
                    <a:pt x="433" y="0"/>
                  </a:moveTo>
                  <a:cubicBezTo>
                    <a:pt x="289" y="0"/>
                    <a:pt x="145" y="0"/>
                    <a:pt x="145" y="144"/>
                  </a:cubicBezTo>
                  <a:cubicBezTo>
                    <a:pt x="1" y="324"/>
                    <a:pt x="145" y="612"/>
                    <a:pt x="289" y="612"/>
                  </a:cubicBezTo>
                  <a:cubicBezTo>
                    <a:pt x="2521" y="1225"/>
                    <a:pt x="4501" y="2557"/>
                    <a:pt x="5834" y="4357"/>
                  </a:cubicBezTo>
                  <a:lnTo>
                    <a:pt x="5978" y="4501"/>
                  </a:lnTo>
                  <a:cubicBezTo>
                    <a:pt x="6122" y="4501"/>
                    <a:pt x="6122" y="4501"/>
                    <a:pt x="6302" y="4357"/>
                  </a:cubicBezTo>
                  <a:cubicBezTo>
                    <a:pt x="6446" y="4357"/>
                    <a:pt x="6446" y="4069"/>
                    <a:pt x="6302" y="3925"/>
                  </a:cubicBezTo>
                  <a:cubicBezTo>
                    <a:pt x="4790" y="2125"/>
                    <a:pt x="2701" y="756"/>
                    <a:pt x="433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" name="Google Shape;213;p2"/>
            <p:cNvSpPr/>
            <p:nvPr/>
          </p:nvSpPr>
          <p:spPr>
            <a:xfrm>
              <a:off x="6667125" y="3854875"/>
              <a:ext cx="299775" cy="131450"/>
            </a:xfrm>
            <a:custGeom>
              <a:avLst/>
              <a:gdLst/>
              <a:ahLst/>
              <a:cxnLst/>
              <a:rect l="l" t="t" r="r" b="b"/>
              <a:pathLst>
                <a:path w="11991" h="5258" extrusionOk="0">
                  <a:moveTo>
                    <a:pt x="4357" y="0"/>
                  </a:moveTo>
                  <a:cubicBezTo>
                    <a:pt x="4177" y="0"/>
                    <a:pt x="4033" y="0"/>
                    <a:pt x="4033" y="144"/>
                  </a:cubicBezTo>
                  <a:cubicBezTo>
                    <a:pt x="3889" y="288"/>
                    <a:pt x="4033" y="576"/>
                    <a:pt x="4177" y="576"/>
                  </a:cubicBezTo>
                  <a:cubicBezTo>
                    <a:pt x="6302" y="1188"/>
                    <a:pt x="8246" y="2232"/>
                    <a:pt x="10047" y="3601"/>
                  </a:cubicBezTo>
                  <a:cubicBezTo>
                    <a:pt x="9215" y="3554"/>
                    <a:pt x="8259" y="3503"/>
                    <a:pt x="7222" y="3503"/>
                  </a:cubicBezTo>
                  <a:cubicBezTo>
                    <a:pt x="5070" y="3503"/>
                    <a:pt x="2575" y="3721"/>
                    <a:pt x="145" y="4645"/>
                  </a:cubicBezTo>
                  <a:cubicBezTo>
                    <a:pt x="1" y="4789"/>
                    <a:pt x="1" y="4933"/>
                    <a:pt x="1" y="5077"/>
                  </a:cubicBezTo>
                  <a:cubicBezTo>
                    <a:pt x="1" y="5257"/>
                    <a:pt x="145" y="5257"/>
                    <a:pt x="289" y="5257"/>
                  </a:cubicBezTo>
                  <a:lnTo>
                    <a:pt x="433" y="5257"/>
                  </a:lnTo>
                  <a:cubicBezTo>
                    <a:pt x="2754" y="4363"/>
                    <a:pt x="5213" y="4098"/>
                    <a:pt x="7305" y="4098"/>
                  </a:cubicBezTo>
                  <a:cubicBezTo>
                    <a:pt x="8750" y="4098"/>
                    <a:pt x="10020" y="4224"/>
                    <a:pt x="10947" y="4357"/>
                  </a:cubicBezTo>
                  <a:lnTo>
                    <a:pt x="11991" y="4501"/>
                  </a:lnTo>
                  <a:lnTo>
                    <a:pt x="11235" y="3889"/>
                  </a:lnTo>
                  <a:cubicBezTo>
                    <a:pt x="9290" y="2088"/>
                    <a:pt x="6878" y="756"/>
                    <a:pt x="4357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" name="Google Shape;214;p2"/>
            <p:cNvSpPr/>
            <p:nvPr/>
          </p:nvSpPr>
          <p:spPr>
            <a:xfrm>
              <a:off x="6861575" y="3867350"/>
              <a:ext cx="288975" cy="206775"/>
            </a:xfrm>
            <a:custGeom>
              <a:avLst/>
              <a:gdLst/>
              <a:ahLst/>
              <a:cxnLst/>
              <a:rect l="l" t="t" r="r" b="b"/>
              <a:pathLst>
                <a:path w="11559" h="8271" extrusionOk="0">
                  <a:moveTo>
                    <a:pt x="4106" y="0"/>
                  </a:moveTo>
                  <a:cubicBezTo>
                    <a:pt x="2810" y="0"/>
                    <a:pt x="1711" y="489"/>
                    <a:pt x="1080" y="1445"/>
                  </a:cubicBezTo>
                  <a:cubicBezTo>
                    <a:pt x="0" y="3246"/>
                    <a:pt x="1800" y="4902"/>
                    <a:pt x="4357" y="6558"/>
                  </a:cubicBezTo>
                  <a:cubicBezTo>
                    <a:pt x="5920" y="7549"/>
                    <a:pt x="7482" y="8270"/>
                    <a:pt x="8700" y="8270"/>
                  </a:cubicBezTo>
                  <a:cubicBezTo>
                    <a:pt x="9474" y="8270"/>
                    <a:pt x="10108" y="7978"/>
                    <a:pt x="10514" y="7279"/>
                  </a:cubicBezTo>
                  <a:cubicBezTo>
                    <a:pt x="11558" y="5478"/>
                    <a:pt x="10370" y="2778"/>
                    <a:pt x="7814" y="1157"/>
                  </a:cubicBezTo>
                  <a:cubicBezTo>
                    <a:pt x="6548" y="381"/>
                    <a:pt x="5250" y="0"/>
                    <a:pt x="4106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15" name="Google Shape;215;p2"/>
          <p:cNvGrpSpPr/>
          <p:nvPr/>
        </p:nvGrpSpPr>
        <p:grpSpPr>
          <a:xfrm>
            <a:off x="4386303" y="4998461"/>
            <a:ext cx="635831" cy="521044"/>
            <a:chOff x="6372100" y="3764900"/>
            <a:chExt cx="1018525" cy="834650"/>
          </a:xfrm>
        </p:grpSpPr>
        <p:sp>
          <p:nvSpPr>
            <p:cNvPr id="216" name="Google Shape;216;p2"/>
            <p:cNvSpPr/>
            <p:nvPr/>
          </p:nvSpPr>
          <p:spPr>
            <a:xfrm>
              <a:off x="6372100" y="3764900"/>
              <a:ext cx="1018525" cy="834650"/>
            </a:xfrm>
            <a:custGeom>
              <a:avLst/>
              <a:gdLst/>
              <a:ahLst/>
              <a:cxnLst/>
              <a:rect l="l" t="t" r="r" b="b"/>
              <a:pathLst>
                <a:path w="40741" h="33386" extrusionOk="0">
                  <a:moveTo>
                    <a:pt x="12520" y="0"/>
                  </a:moveTo>
                  <a:cubicBezTo>
                    <a:pt x="11938" y="0"/>
                    <a:pt x="11391" y="131"/>
                    <a:pt x="10901" y="430"/>
                  </a:cubicBezTo>
                  <a:cubicBezTo>
                    <a:pt x="7157" y="2987"/>
                    <a:pt x="15546" y="6156"/>
                    <a:pt x="15546" y="6156"/>
                  </a:cubicBezTo>
                  <a:cubicBezTo>
                    <a:pt x="15546" y="6156"/>
                    <a:pt x="13122" y="5432"/>
                    <a:pt x="10246" y="5432"/>
                  </a:cubicBezTo>
                  <a:cubicBezTo>
                    <a:pt x="7714" y="5432"/>
                    <a:pt x="4832" y="5993"/>
                    <a:pt x="2944" y="8100"/>
                  </a:cubicBezTo>
                  <a:cubicBezTo>
                    <a:pt x="1" y="11251"/>
                    <a:pt x="2182" y="12820"/>
                    <a:pt x="4854" y="12820"/>
                  </a:cubicBezTo>
                  <a:cubicBezTo>
                    <a:pt x="5877" y="12820"/>
                    <a:pt x="6970" y="12591"/>
                    <a:pt x="7877" y="12133"/>
                  </a:cubicBezTo>
                  <a:cubicBezTo>
                    <a:pt x="11189" y="10332"/>
                    <a:pt x="17346" y="10044"/>
                    <a:pt x="17347" y="10044"/>
                  </a:cubicBezTo>
                  <a:lnTo>
                    <a:pt x="17347" y="10044"/>
                  </a:lnTo>
                  <a:cubicBezTo>
                    <a:pt x="17346" y="10044"/>
                    <a:pt x="7877" y="14257"/>
                    <a:pt x="6401" y="18902"/>
                  </a:cubicBezTo>
                  <a:cubicBezTo>
                    <a:pt x="5103" y="22540"/>
                    <a:pt x="7584" y="25251"/>
                    <a:pt x="9723" y="25251"/>
                  </a:cubicBezTo>
                  <a:cubicBezTo>
                    <a:pt x="10315" y="25251"/>
                    <a:pt x="10881" y="25044"/>
                    <a:pt x="11334" y="24591"/>
                  </a:cubicBezTo>
                  <a:cubicBezTo>
                    <a:pt x="13458" y="22503"/>
                    <a:pt x="19578" y="13934"/>
                    <a:pt x="19579" y="13933"/>
                  </a:cubicBezTo>
                  <a:lnTo>
                    <a:pt x="19579" y="13933"/>
                  </a:lnTo>
                  <a:cubicBezTo>
                    <a:pt x="19579" y="13934"/>
                    <a:pt x="16446" y="21891"/>
                    <a:pt x="15546" y="26391"/>
                  </a:cubicBezTo>
                  <a:cubicBezTo>
                    <a:pt x="15103" y="28610"/>
                    <a:pt x="16374" y="29849"/>
                    <a:pt x="18027" y="29849"/>
                  </a:cubicBezTo>
                  <a:cubicBezTo>
                    <a:pt x="19728" y="29849"/>
                    <a:pt x="21833" y="28538"/>
                    <a:pt x="22892" y="25635"/>
                  </a:cubicBezTo>
                  <a:cubicBezTo>
                    <a:pt x="24980" y="19947"/>
                    <a:pt x="24260" y="14258"/>
                    <a:pt x="24260" y="14257"/>
                  </a:cubicBezTo>
                  <a:lnTo>
                    <a:pt x="24260" y="14257"/>
                  </a:lnTo>
                  <a:cubicBezTo>
                    <a:pt x="24260" y="14259"/>
                    <a:pt x="25880" y="20991"/>
                    <a:pt x="25448" y="28192"/>
                  </a:cubicBezTo>
                  <a:cubicBezTo>
                    <a:pt x="25215" y="31843"/>
                    <a:pt x="26255" y="33386"/>
                    <a:pt x="27506" y="33386"/>
                  </a:cubicBezTo>
                  <a:cubicBezTo>
                    <a:pt x="28771" y="33386"/>
                    <a:pt x="30252" y="31807"/>
                    <a:pt x="30849" y="29236"/>
                  </a:cubicBezTo>
                  <a:cubicBezTo>
                    <a:pt x="32037" y="24159"/>
                    <a:pt x="29949" y="18291"/>
                    <a:pt x="29949" y="18290"/>
                  </a:cubicBezTo>
                  <a:lnTo>
                    <a:pt x="29949" y="18290"/>
                  </a:lnTo>
                  <a:cubicBezTo>
                    <a:pt x="29950" y="18291"/>
                    <a:pt x="34738" y="24303"/>
                    <a:pt x="36538" y="28480"/>
                  </a:cubicBezTo>
                  <a:cubicBezTo>
                    <a:pt x="36841" y="29213"/>
                    <a:pt x="37209" y="29539"/>
                    <a:pt x="37563" y="29539"/>
                  </a:cubicBezTo>
                  <a:cubicBezTo>
                    <a:pt x="39313" y="29539"/>
                    <a:pt x="40740" y="21602"/>
                    <a:pt x="32506" y="15733"/>
                  </a:cubicBezTo>
                  <a:lnTo>
                    <a:pt x="32506" y="15733"/>
                  </a:lnTo>
                  <a:cubicBezTo>
                    <a:pt x="32506" y="15733"/>
                    <a:pt x="34594" y="16490"/>
                    <a:pt x="36394" y="17678"/>
                  </a:cubicBezTo>
                  <a:cubicBezTo>
                    <a:pt x="36544" y="17802"/>
                    <a:pt x="36678" y="17859"/>
                    <a:pt x="36792" y="17859"/>
                  </a:cubicBezTo>
                  <a:cubicBezTo>
                    <a:pt x="37934" y="17859"/>
                    <a:pt x="37028" y="12101"/>
                    <a:pt x="29661" y="10332"/>
                  </a:cubicBezTo>
                  <a:cubicBezTo>
                    <a:pt x="21703" y="8244"/>
                    <a:pt x="22280" y="6300"/>
                    <a:pt x="22280" y="6300"/>
                  </a:cubicBezTo>
                  <a:cubicBezTo>
                    <a:pt x="22280" y="6300"/>
                    <a:pt x="16558" y="0"/>
                    <a:pt x="12520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" name="Google Shape;217;p2"/>
            <p:cNvSpPr/>
            <p:nvPr/>
          </p:nvSpPr>
          <p:spPr>
            <a:xfrm>
              <a:off x="6779650" y="3989900"/>
              <a:ext cx="221475" cy="251150"/>
            </a:xfrm>
            <a:custGeom>
              <a:avLst/>
              <a:gdLst/>
              <a:ahLst/>
              <a:cxnLst/>
              <a:rect l="l" t="t" r="r" b="b"/>
              <a:pathLst>
                <a:path w="8859" h="10046" extrusionOk="0">
                  <a:moveTo>
                    <a:pt x="8246" y="0"/>
                  </a:moveTo>
                  <a:cubicBezTo>
                    <a:pt x="5257" y="288"/>
                    <a:pt x="2377" y="1800"/>
                    <a:pt x="0" y="4357"/>
                  </a:cubicBezTo>
                  <a:cubicBezTo>
                    <a:pt x="0" y="4501"/>
                    <a:pt x="0" y="4789"/>
                    <a:pt x="144" y="4789"/>
                  </a:cubicBezTo>
                  <a:cubicBezTo>
                    <a:pt x="144" y="4861"/>
                    <a:pt x="217" y="4897"/>
                    <a:pt x="289" y="4897"/>
                  </a:cubicBezTo>
                  <a:cubicBezTo>
                    <a:pt x="361" y="4897"/>
                    <a:pt x="433" y="4861"/>
                    <a:pt x="433" y="4789"/>
                  </a:cubicBezTo>
                  <a:cubicBezTo>
                    <a:pt x="1945" y="3133"/>
                    <a:pt x="4357" y="1188"/>
                    <a:pt x="7490" y="756"/>
                  </a:cubicBezTo>
                  <a:lnTo>
                    <a:pt x="7490" y="756"/>
                  </a:lnTo>
                  <a:cubicBezTo>
                    <a:pt x="5690" y="3457"/>
                    <a:pt x="4789" y="6589"/>
                    <a:pt x="4033" y="9758"/>
                  </a:cubicBezTo>
                  <a:cubicBezTo>
                    <a:pt x="3889" y="9902"/>
                    <a:pt x="4033" y="10046"/>
                    <a:pt x="4177" y="10046"/>
                  </a:cubicBezTo>
                  <a:lnTo>
                    <a:pt x="4357" y="10046"/>
                  </a:lnTo>
                  <a:cubicBezTo>
                    <a:pt x="4501" y="10046"/>
                    <a:pt x="4501" y="10046"/>
                    <a:pt x="4645" y="9902"/>
                  </a:cubicBezTo>
                  <a:cubicBezTo>
                    <a:pt x="5401" y="6589"/>
                    <a:pt x="6302" y="3133"/>
                    <a:pt x="8390" y="432"/>
                  </a:cubicBezTo>
                  <a:lnTo>
                    <a:pt x="885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" name="Google Shape;218;p2"/>
            <p:cNvSpPr/>
            <p:nvPr/>
          </p:nvSpPr>
          <p:spPr>
            <a:xfrm>
              <a:off x="7008300" y="4000700"/>
              <a:ext cx="60325" cy="247575"/>
            </a:xfrm>
            <a:custGeom>
              <a:avLst/>
              <a:gdLst/>
              <a:ahLst/>
              <a:cxnLst/>
              <a:rect l="l" t="t" r="r" b="b"/>
              <a:pathLst>
                <a:path w="2413" h="9903" extrusionOk="0">
                  <a:moveTo>
                    <a:pt x="144" y="0"/>
                  </a:moveTo>
                  <a:cubicBezTo>
                    <a:pt x="0" y="0"/>
                    <a:pt x="0" y="144"/>
                    <a:pt x="0" y="324"/>
                  </a:cubicBezTo>
                  <a:cubicBezTo>
                    <a:pt x="756" y="3457"/>
                    <a:pt x="1332" y="6625"/>
                    <a:pt x="1801" y="9614"/>
                  </a:cubicBezTo>
                  <a:cubicBezTo>
                    <a:pt x="1801" y="9758"/>
                    <a:pt x="1945" y="9902"/>
                    <a:pt x="2089" y="9902"/>
                  </a:cubicBezTo>
                  <a:cubicBezTo>
                    <a:pt x="2233" y="9902"/>
                    <a:pt x="2413" y="9758"/>
                    <a:pt x="2413" y="9614"/>
                  </a:cubicBezTo>
                  <a:cubicBezTo>
                    <a:pt x="1945" y="6445"/>
                    <a:pt x="1332" y="3313"/>
                    <a:pt x="612" y="144"/>
                  </a:cubicBezTo>
                  <a:cubicBezTo>
                    <a:pt x="612" y="0"/>
                    <a:pt x="288" y="0"/>
                    <a:pt x="144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" name="Google Shape;219;p2"/>
            <p:cNvSpPr/>
            <p:nvPr/>
          </p:nvSpPr>
          <p:spPr>
            <a:xfrm>
              <a:off x="7041600" y="4034900"/>
              <a:ext cx="139550" cy="202550"/>
            </a:xfrm>
            <a:custGeom>
              <a:avLst/>
              <a:gdLst/>
              <a:ahLst/>
              <a:cxnLst/>
              <a:rect l="l" t="t" r="r" b="b"/>
              <a:pathLst>
                <a:path w="5582" h="8102" extrusionOk="0">
                  <a:moveTo>
                    <a:pt x="325" y="0"/>
                  </a:moveTo>
                  <a:cubicBezTo>
                    <a:pt x="180" y="144"/>
                    <a:pt x="0" y="288"/>
                    <a:pt x="180" y="432"/>
                  </a:cubicBezTo>
                  <a:cubicBezTo>
                    <a:pt x="469" y="1333"/>
                    <a:pt x="1081" y="1945"/>
                    <a:pt x="1657" y="2557"/>
                  </a:cubicBezTo>
                  <a:lnTo>
                    <a:pt x="1801" y="2989"/>
                  </a:lnTo>
                  <a:cubicBezTo>
                    <a:pt x="3169" y="4501"/>
                    <a:pt x="4213" y="6158"/>
                    <a:pt x="4825" y="7958"/>
                  </a:cubicBezTo>
                  <a:cubicBezTo>
                    <a:pt x="4969" y="8102"/>
                    <a:pt x="5113" y="8102"/>
                    <a:pt x="5113" y="8102"/>
                  </a:cubicBezTo>
                  <a:lnTo>
                    <a:pt x="5257" y="8102"/>
                  </a:lnTo>
                  <a:cubicBezTo>
                    <a:pt x="5401" y="8102"/>
                    <a:pt x="5581" y="7958"/>
                    <a:pt x="5401" y="7778"/>
                  </a:cubicBezTo>
                  <a:cubicBezTo>
                    <a:pt x="4681" y="5834"/>
                    <a:pt x="3601" y="4033"/>
                    <a:pt x="2269" y="2557"/>
                  </a:cubicBezTo>
                  <a:lnTo>
                    <a:pt x="2125" y="2233"/>
                  </a:lnTo>
                  <a:cubicBezTo>
                    <a:pt x="1513" y="1657"/>
                    <a:pt x="901" y="901"/>
                    <a:pt x="757" y="288"/>
                  </a:cubicBezTo>
                  <a:cubicBezTo>
                    <a:pt x="613" y="0"/>
                    <a:pt x="469" y="0"/>
                    <a:pt x="325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" name="Google Shape;220;p2"/>
            <p:cNvSpPr/>
            <p:nvPr/>
          </p:nvSpPr>
          <p:spPr>
            <a:xfrm>
              <a:off x="7068600" y="4023200"/>
              <a:ext cx="161150" cy="112550"/>
            </a:xfrm>
            <a:custGeom>
              <a:avLst/>
              <a:gdLst/>
              <a:ahLst/>
              <a:cxnLst/>
              <a:rect l="l" t="t" r="r" b="b"/>
              <a:pathLst>
                <a:path w="6446" h="4502" extrusionOk="0">
                  <a:moveTo>
                    <a:pt x="433" y="0"/>
                  </a:moveTo>
                  <a:cubicBezTo>
                    <a:pt x="289" y="0"/>
                    <a:pt x="145" y="0"/>
                    <a:pt x="145" y="144"/>
                  </a:cubicBezTo>
                  <a:cubicBezTo>
                    <a:pt x="1" y="324"/>
                    <a:pt x="145" y="612"/>
                    <a:pt x="289" y="612"/>
                  </a:cubicBezTo>
                  <a:cubicBezTo>
                    <a:pt x="2521" y="1225"/>
                    <a:pt x="4501" y="2557"/>
                    <a:pt x="5834" y="4357"/>
                  </a:cubicBezTo>
                  <a:lnTo>
                    <a:pt x="5978" y="4501"/>
                  </a:lnTo>
                  <a:cubicBezTo>
                    <a:pt x="6122" y="4501"/>
                    <a:pt x="6122" y="4501"/>
                    <a:pt x="6302" y="4357"/>
                  </a:cubicBezTo>
                  <a:cubicBezTo>
                    <a:pt x="6446" y="4357"/>
                    <a:pt x="6446" y="4069"/>
                    <a:pt x="6302" y="3925"/>
                  </a:cubicBezTo>
                  <a:cubicBezTo>
                    <a:pt x="4790" y="2125"/>
                    <a:pt x="2701" y="756"/>
                    <a:pt x="433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" name="Google Shape;221;p2"/>
            <p:cNvSpPr/>
            <p:nvPr/>
          </p:nvSpPr>
          <p:spPr>
            <a:xfrm>
              <a:off x="6667125" y="3854875"/>
              <a:ext cx="299775" cy="131450"/>
            </a:xfrm>
            <a:custGeom>
              <a:avLst/>
              <a:gdLst/>
              <a:ahLst/>
              <a:cxnLst/>
              <a:rect l="l" t="t" r="r" b="b"/>
              <a:pathLst>
                <a:path w="11991" h="5258" extrusionOk="0">
                  <a:moveTo>
                    <a:pt x="4357" y="0"/>
                  </a:moveTo>
                  <a:cubicBezTo>
                    <a:pt x="4177" y="0"/>
                    <a:pt x="4033" y="0"/>
                    <a:pt x="4033" y="144"/>
                  </a:cubicBezTo>
                  <a:cubicBezTo>
                    <a:pt x="3889" y="288"/>
                    <a:pt x="4033" y="576"/>
                    <a:pt x="4177" y="576"/>
                  </a:cubicBezTo>
                  <a:cubicBezTo>
                    <a:pt x="6302" y="1188"/>
                    <a:pt x="8246" y="2232"/>
                    <a:pt x="10047" y="3601"/>
                  </a:cubicBezTo>
                  <a:cubicBezTo>
                    <a:pt x="9215" y="3554"/>
                    <a:pt x="8259" y="3503"/>
                    <a:pt x="7222" y="3503"/>
                  </a:cubicBezTo>
                  <a:cubicBezTo>
                    <a:pt x="5070" y="3503"/>
                    <a:pt x="2575" y="3721"/>
                    <a:pt x="145" y="4645"/>
                  </a:cubicBezTo>
                  <a:cubicBezTo>
                    <a:pt x="1" y="4789"/>
                    <a:pt x="1" y="4933"/>
                    <a:pt x="1" y="5077"/>
                  </a:cubicBezTo>
                  <a:cubicBezTo>
                    <a:pt x="1" y="5257"/>
                    <a:pt x="145" y="5257"/>
                    <a:pt x="289" y="5257"/>
                  </a:cubicBezTo>
                  <a:lnTo>
                    <a:pt x="433" y="5257"/>
                  </a:lnTo>
                  <a:cubicBezTo>
                    <a:pt x="2754" y="4363"/>
                    <a:pt x="5213" y="4098"/>
                    <a:pt x="7305" y="4098"/>
                  </a:cubicBezTo>
                  <a:cubicBezTo>
                    <a:pt x="8750" y="4098"/>
                    <a:pt x="10020" y="4224"/>
                    <a:pt x="10947" y="4357"/>
                  </a:cubicBezTo>
                  <a:lnTo>
                    <a:pt x="11991" y="4501"/>
                  </a:lnTo>
                  <a:lnTo>
                    <a:pt x="11235" y="3889"/>
                  </a:lnTo>
                  <a:cubicBezTo>
                    <a:pt x="9290" y="2088"/>
                    <a:pt x="6878" y="756"/>
                    <a:pt x="4357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" name="Google Shape;222;p2"/>
            <p:cNvSpPr/>
            <p:nvPr/>
          </p:nvSpPr>
          <p:spPr>
            <a:xfrm>
              <a:off x="6861575" y="3867350"/>
              <a:ext cx="288975" cy="206775"/>
            </a:xfrm>
            <a:custGeom>
              <a:avLst/>
              <a:gdLst/>
              <a:ahLst/>
              <a:cxnLst/>
              <a:rect l="l" t="t" r="r" b="b"/>
              <a:pathLst>
                <a:path w="11559" h="8271" extrusionOk="0">
                  <a:moveTo>
                    <a:pt x="4106" y="0"/>
                  </a:moveTo>
                  <a:cubicBezTo>
                    <a:pt x="2810" y="0"/>
                    <a:pt x="1711" y="489"/>
                    <a:pt x="1080" y="1445"/>
                  </a:cubicBezTo>
                  <a:cubicBezTo>
                    <a:pt x="0" y="3246"/>
                    <a:pt x="1800" y="4902"/>
                    <a:pt x="4357" y="6558"/>
                  </a:cubicBezTo>
                  <a:cubicBezTo>
                    <a:pt x="5920" y="7549"/>
                    <a:pt x="7482" y="8270"/>
                    <a:pt x="8700" y="8270"/>
                  </a:cubicBezTo>
                  <a:cubicBezTo>
                    <a:pt x="9474" y="8270"/>
                    <a:pt x="10108" y="7978"/>
                    <a:pt x="10514" y="7279"/>
                  </a:cubicBezTo>
                  <a:cubicBezTo>
                    <a:pt x="11558" y="5478"/>
                    <a:pt x="10370" y="2778"/>
                    <a:pt x="7814" y="1157"/>
                  </a:cubicBezTo>
                  <a:cubicBezTo>
                    <a:pt x="6548" y="381"/>
                    <a:pt x="5250" y="0"/>
                    <a:pt x="4106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305953053"/>
      </p:ext>
    </p:extLst>
  </p:cSld>
  <p:clrMapOvr>
    <a:masterClrMapping/>
  </p:clrMapOvr>
  <p:transition spd="slow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4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49" name="Google Shape;249;p4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60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Livvic"/>
              <a:buChar char="●"/>
              <a:defRPr sz="3200">
                <a:latin typeface="Itim"/>
                <a:ea typeface="Itim"/>
                <a:cs typeface="Itim"/>
                <a:sym typeface="Itim"/>
              </a:defRPr>
            </a:lvl1pPr>
            <a:lvl2pPr marL="1219170" lvl="1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○"/>
              <a:defRPr/>
            </a:lvl2pPr>
            <a:lvl3pPr marL="1828754" lvl="2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■"/>
              <a:defRPr/>
            </a:lvl3pPr>
            <a:lvl4pPr marL="2438339" lvl="3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●"/>
              <a:defRPr/>
            </a:lvl4pPr>
            <a:lvl5pPr marL="3047924" lvl="4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○"/>
              <a:defRPr/>
            </a:lvl5pPr>
            <a:lvl6pPr marL="3657509" lvl="5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■"/>
              <a:defRPr/>
            </a:lvl6pPr>
            <a:lvl7pPr marL="4267093" lvl="6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●"/>
              <a:defRPr/>
            </a:lvl7pPr>
            <a:lvl8pPr marL="4876678" lvl="7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○"/>
              <a:defRPr/>
            </a:lvl8pPr>
            <a:lvl9pPr marL="5486263" lvl="8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■"/>
              <a:defRPr/>
            </a:lvl9pPr>
          </a:lstStyle>
          <a:p>
            <a:endParaRPr/>
          </a:p>
        </p:txBody>
      </p:sp>
      <p:sp>
        <p:nvSpPr>
          <p:cNvPr id="250" name="Google Shape;250;p4"/>
          <p:cNvSpPr/>
          <p:nvPr/>
        </p:nvSpPr>
        <p:spPr>
          <a:xfrm>
            <a:off x="0" y="4724663"/>
            <a:ext cx="12191992" cy="2138463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1" name="Google Shape;251;p4"/>
          <p:cNvSpPr/>
          <p:nvPr/>
        </p:nvSpPr>
        <p:spPr>
          <a:xfrm flipH="1">
            <a:off x="8" y="5014966"/>
            <a:ext cx="12191992" cy="1848157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2" name="Google Shape;252;p4"/>
          <p:cNvSpPr/>
          <p:nvPr/>
        </p:nvSpPr>
        <p:spPr>
          <a:xfrm>
            <a:off x="0" y="5651698"/>
            <a:ext cx="12191955" cy="1206319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917385746"/>
      </p:ext>
    </p:extLst>
  </p:cSld>
  <p:clrMapOvr>
    <a:masterClrMapping/>
  </p:clrMapOvr>
  <p:transition spd="slow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5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5" name="Google Shape;255;p5"/>
          <p:cNvSpPr txBox="1">
            <a:spLocks noGrp="1"/>
          </p:cNvSpPr>
          <p:nvPr>
            <p:ph type="subTitle" idx="1"/>
          </p:nvPr>
        </p:nvSpPr>
        <p:spPr>
          <a:xfrm>
            <a:off x="1824203" y="2618300"/>
            <a:ext cx="3407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256" name="Google Shape;256;p5"/>
          <p:cNvSpPr txBox="1">
            <a:spLocks noGrp="1"/>
          </p:cNvSpPr>
          <p:nvPr>
            <p:ph type="title" idx="2"/>
          </p:nvPr>
        </p:nvSpPr>
        <p:spPr>
          <a:xfrm>
            <a:off x="1824200" y="2137101"/>
            <a:ext cx="3407600" cy="55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257" name="Google Shape;257;p5"/>
          <p:cNvSpPr txBox="1">
            <a:spLocks noGrp="1"/>
          </p:cNvSpPr>
          <p:nvPr>
            <p:ph type="subTitle" idx="3"/>
          </p:nvPr>
        </p:nvSpPr>
        <p:spPr>
          <a:xfrm>
            <a:off x="1824203" y="4306133"/>
            <a:ext cx="3407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258" name="Google Shape;258;p5"/>
          <p:cNvSpPr txBox="1">
            <a:spLocks noGrp="1"/>
          </p:cNvSpPr>
          <p:nvPr>
            <p:ph type="title" idx="4"/>
          </p:nvPr>
        </p:nvSpPr>
        <p:spPr>
          <a:xfrm>
            <a:off x="1824200" y="3824935"/>
            <a:ext cx="3407600" cy="55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259" name="Google Shape;259;p5"/>
          <p:cNvSpPr/>
          <p:nvPr/>
        </p:nvSpPr>
        <p:spPr>
          <a:xfrm>
            <a:off x="0" y="5363828"/>
            <a:ext cx="12191992" cy="1499296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0" name="Google Shape;260;p5"/>
          <p:cNvSpPr/>
          <p:nvPr/>
        </p:nvSpPr>
        <p:spPr>
          <a:xfrm flipH="1">
            <a:off x="28" y="5805434"/>
            <a:ext cx="12191955" cy="1052580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1" name="Google Shape;261;p5"/>
          <p:cNvSpPr/>
          <p:nvPr/>
        </p:nvSpPr>
        <p:spPr>
          <a:xfrm>
            <a:off x="9163733" y="1921504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2" name="Google Shape;262;p5"/>
          <p:cNvSpPr/>
          <p:nvPr/>
        </p:nvSpPr>
        <p:spPr>
          <a:xfrm>
            <a:off x="-2062522" y="10000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3" name="Google Shape;263;p5"/>
          <p:cNvSpPr/>
          <p:nvPr/>
        </p:nvSpPr>
        <p:spPr>
          <a:xfrm>
            <a:off x="10615399" y="230600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4199207891"/>
      </p:ext>
    </p:extLst>
  </p:cSld>
  <p:clrMapOvr>
    <a:masterClrMapping/>
  </p:clrMapOvr>
  <p:transition spd="slow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6"/>
          <p:cNvSpPr/>
          <p:nvPr/>
        </p:nvSpPr>
        <p:spPr>
          <a:xfrm>
            <a:off x="0" y="4306865"/>
            <a:ext cx="12191992" cy="2556257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6" name="Google Shape;266;p6"/>
          <p:cNvSpPr/>
          <p:nvPr/>
        </p:nvSpPr>
        <p:spPr>
          <a:xfrm>
            <a:off x="9589767" y="454304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7" name="Google Shape;267;p6"/>
          <p:cNvSpPr/>
          <p:nvPr/>
        </p:nvSpPr>
        <p:spPr>
          <a:xfrm>
            <a:off x="-2749688" y="1313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8" name="Google Shape;268;p6"/>
          <p:cNvSpPr/>
          <p:nvPr/>
        </p:nvSpPr>
        <p:spPr>
          <a:xfrm>
            <a:off x="11438965" y="3901767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9" name="Google Shape;269;p6"/>
          <p:cNvSpPr/>
          <p:nvPr/>
        </p:nvSpPr>
        <p:spPr>
          <a:xfrm>
            <a:off x="8" y="6081933"/>
            <a:ext cx="12191992" cy="781183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0" name="Google Shape;270;p6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93688935"/>
      </p:ext>
    </p:extLst>
  </p:cSld>
  <p:clrMapOvr>
    <a:masterClrMapping/>
  </p:clrMapOvr>
  <p:transition spd="slow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2" name="Google Shape;272;p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p7"/>
          <p:cNvSpPr txBox="1">
            <a:spLocks noGrp="1"/>
          </p:cNvSpPr>
          <p:nvPr>
            <p:ph type="title"/>
          </p:nvPr>
        </p:nvSpPr>
        <p:spPr>
          <a:xfrm>
            <a:off x="5430533" y="705969"/>
            <a:ext cx="5362400" cy="129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274" name="Google Shape;274;p7"/>
          <p:cNvSpPr txBox="1">
            <a:spLocks noGrp="1"/>
          </p:cNvSpPr>
          <p:nvPr>
            <p:ph type="subTitle" idx="1"/>
          </p:nvPr>
        </p:nvSpPr>
        <p:spPr>
          <a:xfrm>
            <a:off x="5430533" y="2153500"/>
            <a:ext cx="5780400" cy="270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27452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lvl="1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 sz="28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28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28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28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28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28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28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21278277"/>
      </p:ext>
    </p:extLst>
  </p:cSld>
  <p:clrMapOvr>
    <a:masterClrMapping/>
  </p:clrMapOvr>
  <p:transition spd="slow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" name="Google Shape;276;p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77" name="Google Shape;277;p8"/>
          <p:cNvSpPr txBox="1">
            <a:spLocks noGrp="1"/>
          </p:cNvSpPr>
          <p:nvPr>
            <p:ph type="title"/>
          </p:nvPr>
        </p:nvSpPr>
        <p:spPr>
          <a:xfrm>
            <a:off x="1157899" y="1519533"/>
            <a:ext cx="9876400" cy="148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96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278" name="Google Shape;278;p8"/>
          <p:cNvSpPr txBox="1">
            <a:spLocks noGrp="1"/>
          </p:cNvSpPr>
          <p:nvPr>
            <p:ph type="subTitle" idx="1"/>
          </p:nvPr>
        </p:nvSpPr>
        <p:spPr>
          <a:xfrm>
            <a:off x="1157800" y="2878801"/>
            <a:ext cx="9876400" cy="50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40304852"/>
      </p:ext>
    </p:extLst>
  </p:cSld>
  <p:clrMapOvr>
    <a:masterClrMapping/>
  </p:clrMapOvr>
  <p:transition spd="slow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9"/>
          <p:cNvSpPr txBox="1">
            <a:spLocks noGrp="1"/>
          </p:cNvSpPr>
          <p:nvPr>
            <p:ph type="title"/>
          </p:nvPr>
        </p:nvSpPr>
        <p:spPr>
          <a:xfrm>
            <a:off x="950949" y="1956317"/>
            <a:ext cx="5743600" cy="151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281" name="Google Shape;281;p9"/>
          <p:cNvSpPr txBox="1">
            <a:spLocks noGrp="1"/>
          </p:cNvSpPr>
          <p:nvPr>
            <p:ph type="subTitle" idx="1"/>
          </p:nvPr>
        </p:nvSpPr>
        <p:spPr>
          <a:xfrm>
            <a:off x="950800" y="3200051"/>
            <a:ext cx="5743600" cy="99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●"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○"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■"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●"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○"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■"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●"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○"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■"/>
              <a:defRPr sz="2800"/>
            </a:lvl9pPr>
          </a:lstStyle>
          <a:p>
            <a:endParaRPr/>
          </a:p>
        </p:txBody>
      </p:sp>
      <p:sp>
        <p:nvSpPr>
          <p:cNvPr id="282" name="Google Shape;282;p9"/>
          <p:cNvSpPr/>
          <p:nvPr/>
        </p:nvSpPr>
        <p:spPr>
          <a:xfrm>
            <a:off x="9202200" y="1054104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3" name="Google Shape;283;p9"/>
          <p:cNvSpPr/>
          <p:nvPr/>
        </p:nvSpPr>
        <p:spPr>
          <a:xfrm>
            <a:off x="10257348" y="2430067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284" name="Google Shape;284;p9"/>
          <p:cNvGrpSpPr/>
          <p:nvPr/>
        </p:nvGrpSpPr>
        <p:grpSpPr>
          <a:xfrm flipH="1">
            <a:off x="1" y="4466538"/>
            <a:ext cx="12191988" cy="2391799"/>
            <a:chOff x="0" y="3117700"/>
            <a:chExt cx="9143991" cy="2025803"/>
          </a:xfrm>
        </p:grpSpPr>
        <p:sp>
          <p:nvSpPr>
            <p:cNvPr id="285" name="Google Shape;285;p9"/>
            <p:cNvSpPr/>
            <p:nvPr/>
          </p:nvSpPr>
          <p:spPr>
            <a:xfrm>
              <a:off x="25" y="3372035"/>
              <a:ext cx="9143966" cy="1771468"/>
            </a:xfrm>
            <a:custGeom>
              <a:avLst/>
              <a:gdLst/>
              <a:ahLst/>
              <a:cxnLst/>
              <a:rect l="l" t="t" r="r" b="b"/>
              <a:pathLst>
                <a:path w="55638" h="13062" extrusionOk="0">
                  <a:moveTo>
                    <a:pt x="18328" y="0"/>
                  </a:moveTo>
                  <a:cubicBezTo>
                    <a:pt x="9728" y="0"/>
                    <a:pt x="1" y="1838"/>
                    <a:pt x="1" y="1838"/>
                  </a:cubicBezTo>
                  <a:lnTo>
                    <a:pt x="1" y="13062"/>
                  </a:lnTo>
                  <a:lnTo>
                    <a:pt x="55637" y="13062"/>
                  </a:lnTo>
                  <a:lnTo>
                    <a:pt x="55637" y="1838"/>
                  </a:lnTo>
                  <a:cubicBezTo>
                    <a:pt x="55637" y="1838"/>
                    <a:pt x="54001" y="1880"/>
                    <a:pt x="51326" y="1880"/>
                  </a:cubicBezTo>
                  <a:lnTo>
                    <a:pt x="51308" y="1880"/>
                  </a:lnTo>
                  <a:cubicBezTo>
                    <a:pt x="45241" y="1880"/>
                    <a:pt x="33846" y="1667"/>
                    <a:pt x="23815" y="318"/>
                  </a:cubicBezTo>
                  <a:cubicBezTo>
                    <a:pt x="22124" y="92"/>
                    <a:pt x="20254" y="0"/>
                    <a:pt x="18328" y="0"/>
                  </a:cubicBezTo>
                  <a:close/>
                </a:path>
              </a:pathLst>
            </a:custGeom>
            <a:gradFill>
              <a:gsLst>
                <a:gs pos="0">
                  <a:srgbClr val="47CC23"/>
                </a:gs>
                <a:gs pos="100000">
                  <a:srgbClr val="235814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6" name="Google Shape;286;p9"/>
            <p:cNvSpPr/>
            <p:nvPr/>
          </p:nvSpPr>
          <p:spPr>
            <a:xfrm>
              <a:off x="25" y="3870750"/>
              <a:ext cx="9143966" cy="1272704"/>
            </a:xfrm>
            <a:custGeom>
              <a:avLst/>
              <a:gdLst/>
              <a:ahLst/>
              <a:cxnLst/>
              <a:rect l="l" t="t" r="r" b="b"/>
              <a:pathLst>
                <a:path w="55638" h="9704" extrusionOk="0">
                  <a:moveTo>
                    <a:pt x="47791" y="0"/>
                  </a:moveTo>
                  <a:cubicBezTo>
                    <a:pt x="42137" y="0"/>
                    <a:pt x="36555" y="1243"/>
                    <a:pt x="31014" y="2426"/>
                  </a:cubicBezTo>
                  <a:cubicBezTo>
                    <a:pt x="25825" y="3542"/>
                    <a:pt x="20552" y="4639"/>
                    <a:pt x="15243" y="4639"/>
                  </a:cubicBezTo>
                  <a:cubicBezTo>
                    <a:pt x="14860" y="4639"/>
                    <a:pt x="14477" y="4633"/>
                    <a:pt x="14094" y="4621"/>
                  </a:cubicBezTo>
                  <a:cubicBezTo>
                    <a:pt x="9126" y="4487"/>
                    <a:pt x="4062" y="3235"/>
                    <a:pt x="1" y="407"/>
                  </a:cubicBezTo>
                  <a:lnTo>
                    <a:pt x="1" y="9704"/>
                  </a:lnTo>
                  <a:lnTo>
                    <a:pt x="55637" y="9704"/>
                  </a:lnTo>
                  <a:lnTo>
                    <a:pt x="55637" y="1678"/>
                  </a:lnTo>
                  <a:cubicBezTo>
                    <a:pt x="53368" y="310"/>
                    <a:pt x="50596" y="0"/>
                    <a:pt x="47916" y="0"/>
                  </a:cubicBezTo>
                  <a:cubicBezTo>
                    <a:pt x="47875" y="0"/>
                    <a:pt x="47833" y="0"/>
                    <a:pt x="4779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7" name="Google Shape;287;p9"/>
            <p:cNvSpPr/>
            <p:nvPr/>
          </p:nvSpPr>
          <p:spPr>
            <a:xfrm>
              <a:off x="0" y="3117700"/>
              <a:ext cx="9143966" cy="571499"/>
            </a:xfrm>
            <a:custGeom>
              <a:avLst/>
              <a:gdLst/>
              <a:ahLst/>
              <a:cxnLst/>
              <a:rect l="l" t="t" r="r" b="b"/>
              <a:pathLst>
                <a:path w="55638" h="3379" extrusionOk="0">
                  <a:moveTo>
                    <a:pt x="15264" y="1"/>
                  </a:moveTo>
                  <a:cubicBezTo>
                    <a:pt x="13174" y="1"/>
                    <a:pt x="11723" y="759"/>
                    <a:pt x="11723" y="759"/>
                  </a:cubicBezTo>
                  <a:cubicBezTo>
                    <a:pt x="11309" y="618"/>
                    <a:pt x="10916" y="561"/>
                    <a:pt x="10551" y="561"/>
                  </a:cubicBezTo>
                  <a:cubicBezTo>
                    <a:pt x="8908" y="561"/>
                    <a:pt x="7814" y="1720"/>
                    <a:pt x="7814" y="1720"/>
                  </a:cubicBezTo>
                  <a:cubicBezTo>
                    <a:pt x="7814" y="1720"/>
                    <a:pt x="7278" y="181"/>
                    <a:pt x="5735" y="84"/>
                  </a:cubicBezTo>
                  <a:cubicBezTo>
                    <a:pt x="5668" y="79"/>
                    <a:pt x="5601" y="77"/>
                    <a:pt x="5533" y="77"/>
                  </a:cubicBezTo>
                  <a:cubicBezTo>
                    <a:pt x="4050" y="77"/>
                    <a:pt x="2482" y="1240"/>
                    <a:pt x="2482" y="1240"/>
                  </a:cubicBezTo>
                  <a:lnTo>
                    <a:pt x="1692" y="814"/>
                  </a:lnTo>
                  <a:cubicBezTo>
                    <a:pt x="1544" y="738"/>
                    <a:pt x="1395" y="706"/>
                    <a:pt x="1248" y="706"/>
                  </a:cubicBezTo>
                  <a:cubicBezTo>
                    <a:pt x="591" y="706"/>
                    <a:pt x="1" y="1337"/>
                    <a:pt x="1" y="1337"/>
                  </a:cubicBezTo>
                  <a:lnTo>
                    <a:pt x="1" y="3337"/>
                  </a:lnTo>
                  <a:cubicBezTo>
                    <a:pt x="1" y="3337"/>
                    <a:pt x="9728" y="1499"/>
                    <a:pt x="18328" y="1499"/>
                  </a:cubicBezTo>
                  <a:cubicBezTo>
                    <a:pt x="20254" y="1499"/>
                    <a:pt x="22124" y="1591"/>
                    <a:pt x="23815" y="1817"/>
                  </a:cubicBezTo>
                  <a:cubicBezTo>
                    <a:pt x="33846" y="3166"/>
                    <a:pt x="45241" y="3379"/>
                    <a:pt x="51308" y="3379"/>
                  </a:cubicBezTo>
                  <a:lnTo>
                    <a:pt x="51326" y="3379"/>
                  </a:lnTo>
                  <a:lnTo>
                    <a:pt x="55637" y="3337"/>
                  </a:lnTo>
                  <a:lnTo>
                    <a:pt x="55637" y="1489"/>
                  </a:lnTo>
                  <a:cubicBezTo>
                    <a:pt x="55050" y="1456"/>
                    <a:pt x="54471" y="1441"/>
                    <a:pt x="53905" y="1441"/>
                  </a:cubicBezTo>
                  <a:cubicBezTo>
                    <a:pt x="48848" y="1441"/>
                    <a:pt x="44797" y="2626"/>
                    <a:pt x="44797" y="2626"/>
                  </a:cubicBezTo>
                  <a:cubicBezTo>
                    <a:pt x="44797" y="2626"/>
                    <a:pt x="44201" y="1720"/>
                    <a:pt x="42450" y="1489"/>
                  </a:cubicBezTo>
                  <a:cubicBezTo>
                    <a:pt x="42301" y="1471"/>
                    <a:pt x="42124" y="1463"/>
                    <a:pt x="41924" y="1463"/>
                  </a:cubicBezTo>
                  <a:cubicBezTo>
                    <a:pt x="39754" y="1463"/>
                    <a:pt x="34942" y="2432"/>
                    <a:pt x="34942" y="2432"/>
                  </a:cubicBezTo>
                  <a:cubicBezTo>
                    <a:pt x="34942" y="2432"/>
                    <a:pt x="34577" y="1914"/>
                    <a:pt x="33823" y="1877"/>
                  </a:cubicBezTo>
                  <a:cubicBezTo>
                    <a:pt x="33790" y="1875"/>
                    <a:pt x="33754" y="1874"/>
                    <a:pt x="33716" y="1874"/>
                  </a:cubicBezTo>
                  <a:cubicBezTo>
                    <a:pt x="32908" y="1874"/>
                    <a:pt x="31167" y="2279"/>
                    <a:pt x="31167" y="2279"/>
                  </a:cubicBezTo>
                  <a:cubicBezTo>
                    <a:pt x="31167" y="2279"/>
                    <a:pt x="27609" y="1434"/>
                    <a:pt x="25335" y="759"/>
                  </a:cubicBezTo>
                  <a:cubicBezTo>
                    <a:pt x="24815" y="605"/>
                    <a:pt x="24217" y="545"/>
                    <a:pt x="23605" y="545"/>
                  </a:cubicBezTo>
                  <a:cubicBezTo>
                    <a:pt x="21541" y="545"/>
                    <a:pt x="19310" y="1221"/>
                    <a:pt x="19310" y="1221"/>
                  </a:cubicBezTo>
                  <a:cubicBezTo>
                    <a:pt x="19310" y="1221"/>
                    <a:pt x="19195" y="468"/>
                    <a:pt x="16459" y="84"/>
                  </a:cubicBezTo>
                  <a:cubicBezTo>
                    <a:pt x="16043" y="26"/>
                    <a:pt x="15643" y="1"/>
                    <a:pt x="1526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8" name="Google Shape;288;p9"/>
            <p:cNvSpPr/>
            <p:nvPr/>
          </p:nvSpPr>
          <p:spPr>
            <a:xfrm>
              <a:off x="3470423" y="3994115"/>
              <a:ext cx="145941" cy="32135"/>
            </a:xfrm>
            <a:custGeom>
              <a:avLst/>
              <a:gdLst/>
              <a:ahLst/>
              <a:cxnLst/>
              <a:rect l="l" t="t" r="r" b="b"/>
              <a:pathLst>
                <a:path w="888" h="190" extrusionOk="0">
                  <a:moveTo>
                    <a:pt x="444" y="0"/>
                  </a:moveTo>
                  <a:cubicBezTo>
                    <a:pt x="195" y="0"/>
                    <a:pt x="1" y="37"/>
                    <a:pt x="1" y="93"/>
                  </a:cubicBezTo>
                  <a:cubicBezTo>
                    <a:pt x="1" y="153"/>
                    <a:pt x="195" y="190"/>
                    <a:pt x="444" y="190"/>
                  </a:cubicBezTo>
                  <a:cubicBezTo>
                    <a:pt x="694" y="190"/>
                    <a:pt x="888" y="153"/>
                    <a:pt x="888" y="93"/>
                  </a:cubicBezTo>
                  <a:cubicBezTo>
                    <a:pt x="888" y="37"/>
                    <a:pt x="694" y="0"/>
                    <a:pt x="444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89" name="Google Shape;289;p9"/>
            <p:cNvSpPr/>
            <p:nvPr/>
          </p:nvSpPr>
          <p:spPr>
            <a:xfrm>
              <a:off x="4312712" y="4534158"/>
              <a:ext cx="132957" cy="36025"/>
            </a:xfrm>
            <a:custGeom>
              <a:avLst/>
              <a:gdLst/>
              <a:ahLst/>
              <a:cxnLst/>
              <a:rect l="l" t="t" r="r" b="b"/>
              <a:pathLst>
                <a:path w="809" h="213" extrusionOk="0">
                  <a:moveTo>
                    <a:pt x="402" y="0"/>
                  </a:moveTo>
                  <a:cubicBezTo>
                    <a:pt x="171" y="0"/>
                    <a:pt x="0" y="60"/>
                    <a:pt x="0" y="116"/>
                  </a:cubicBezTo>
                  <a:cubicBezTo>
                    <a:pt x="0" y="176"/>
                    <a:pt x="171" y="213"/>
                    <a:pt x="402" y="213"/>
                  </a:cubicBezTo>
                  <a:cubicBezTo>
                    <a:pt x="615" y="213"/>
                    <a:pt x="809" y="176"/>
                    <a:pt x="809" y="116"/>
                  </a:cubicBezTo>
                  <a:cubicBezTo>
                    <a:pt x="809" y="60"/>
                    <a:pt x="615" y="0"/>
                    <a:pt x="402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0" name="Google Shape;290;p9"/>
            <p:cNvSpPr/>
            <p:nvPr/>
          </p:nvSpPr>
          <p:spPr>
            <a:xfrm>
              <a:off x="5198061" y="3638427"/>
              <a:ext cx="139860" cy="32981"/>
            </a:xfrm>
            <a:custGeom>
              <a:avLst/>
              <a:gdLst/>
              <a:ahLst/>
              <a:cxnLst/>
              <a:rect l="l" t="t" r="r" b="b"/>
              <a:pathLst>
                <a:path w="851" h="195" extrusionOk="0">
                  <a:moveTo>
                    <a:pt x="426" y="1"/>
                  </a:moveTo>
                  <a:cubicBezTo>
                    <a:pt x="195" y="1"/>
                    <a:pt x="1" y="42"/>
                    <a:pt x="1" y="98"/>
                  </a:cubicBezTo>
                  <a:cubicBezTo>
                    <a:pt x="1" y="158"/>
                    <a:pt x="195" y="195"/>
                    <a:pt x="426" y="195"/>
                  </a:cubicBezTo>
                  <a:cubicBezTo>
                    <a:pt x="657" y="195"/>
                    <a:pt x="851" y="158"/>
                    <a:pt x="851" y="98"/>
                  </a:cubicBezTo>
                  <a:cubicBezTo>
                    <a:pt x="851" y="42"/>
                    <a:pt x="657" y="1"/>
                    <a:pt x="426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1" name="Google Shape;291;p9"/>
            <p:cNvSpPr/>
            <p:nvPr/>
          </p:nvSpPr>
          <p:spPr>
            <a:xfrm>
              <a:off x="1524857" y="3567391"/>
              <a:ext cx="101238" cy="29091"/>
            </a:xfrm>
            <a:custGeom>
              <a:avLst/>
              <a:gdLst/>
              <a:ahLst/>
              <a:cxnLst/>
              <a:rect l="l" t="t" r="r" b="b"/>
              <a:pathLst>
                <a:path w="616" h="172" extrusionOk="0">
                  <a:moveTo>
                    <a:pt x="310" y="0"/>
                  </a:moveTo>
                  <a:cubicBezTo>
                    <a:pt x="135" y="0"/>
                    <a:pt x="1" y="37"/>
                    <a:pt x="1" y="74"/>
                  </a:cubicBezTo>
                  <a:cubicBezTo>
                    <a:pt x="1" y="134"/>
                    <a:pt x="135" y="171"/>
                    <a:pt x="310" y="171"/>
                  </a:cubicBezTo>
                  <a:cubicBezTo>
                    <a:pt x="481" y="171"/>
                    <a:pt x="615" y="134"/>
                    <a:pt x="615" y="74"/>
                  </a:cubicBezTo>
                  <a:cubicBezTo>
                    <a:pt x="615" y="37"/>
                    <a:pt x="481" y="0"/>
                    <a:pt x="310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2" name="Google Shape;292;p9"/>
            <p:cNvSpPr/>
            <p:nvPr/>
          </p:nvSpPr>
          <p:spPr>
            <a:xfrm>
              <a:off x="3584292" y="3614107"/>
              <a:ext cx="76093" cy="25877"/>
            </a:xfrm>
            <a:custGeom>
              <a:avLst/>
              <a:gdLst/>
              <a:ahLst/>
              <a:cxnLst/>
              <a:rect l="l" t="t" r="r" b="b"/>
              <a:pathLst>
                <a:path w="463" h="153" extrusionOk="0">
                  <a:moveTo>
                    <a:pt x="232" y="0"/>
                  </a:moveTo>
                  <a:cubicBezTo>
                    <a:pt x="98" y="0"/>
                    <a:pt x="1" y="37"/>
                    <a:pt x="1" y="74"/>
                  </a:cubicBezTo>
                  <a:cubicBezTo>
                    <a:pt x="1" y="116"/>
                    <a:pt x="98" y="153"/>
                    <a:pt x="232" y="153"/>
                  </a:cubicBezTo>
                  <a:cubicBezTo>
                    <a:pt x="347" y="153"/>
                    <a:pt x="463" y="116"/>
                    <a:pt x="463" y="74"/>
                  </a:cubicBezTo>
                  <a:cubicBezTo>
                    <a:pt x="463" y="37"/>
                    <a:pt x="347" y="0"/>
                    <a:pt x="232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3" name="Google Shape;293;p9"/>
            <p:cNvSpPr/>
            <p:nvPr/>
          </p:nvSpPr>
          <p:spPr>
            <a:xfrm>
              <a:off x="7062439" y="4508281"/>
              <a:ext cx="79051" cy="13531"/>
            </a:xfrm>
            <a:custGeom>
              <a:avLst/>
              <a:gdLst/>
              <a:ahLst/>
              <a:cxnLst/>
              <a:rect l="l" t="t" r="r" b="b"/>
              <a:pathLst>
                <a:path w="481" h="80" extrusionOk="0">
                  <a:moveTo>
                    <a:pt x="250" y="1"/>
                  </a:moveTo>
                  <a:cubicBezTo>
                    <a:pt x="116" y="1"/>
                    <a:pt x="0" y="19"/>
                    <a:pt x="0" y="38"/>
                  </a:cubicBezTo>
                  <a:cubicBezTo>
                    <a:pt x="0" y="56"/>
                    <a:pt x="116" y="79"/>
                    <a:pt x="250" y="79"/>
                  </a:cubicBezTo>
                  <a:cubicBezTo>
                    <a:pt x="384" y="79"/>
                    <a:pt x="481" y="56"/>
                    <a:pt x="481" y="38"/>
                  </a:cubicBezTo>
                  <a:cubicBezTo>
                    <a:pt x="481" y="19"/>
                    <a:pt x="384" y="1"/>
                    <a:pt x="250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4" name="Google Shape;294;p9"/>
            <p:cNvSpPr/>
            <p:nvPr/>
          </p:nvSpPr>
          <p:spPr>
            <a:xfrm>
              <a:off x="5198061" y="4254242"/>
              <a:ext cx="98937" cy="32981"/>
            </a:xfrm>
            <a:custGeom>
              <a:avLst/>
              <a:gdLst/>
              <a:ahLst/>
              <a:cxnLst/>
              <a:rect l="l" t="t" r="r" b="b"/>
              <a:pathLst>
                <a:path w="602" h="195" extrusionOk="0">
                  <a:moveTo>
                    <a:pt x="292" y="1"/>
                  </a:moveTo>
                  <a:cubicBezTo>
                    <a:pt x="139" y="1"/>
                    <a:pt x="1" y="38"/>
                    <a:pt x="1" y="98"/>
                  </a:cubicBezTo>
                  <a:cubicBezTo>
                    <a:pt x="1" y="135"/>
                    <a:pt x="139" y="195"/>
                    <a:pt x="292" y="195"/>
                  </a:cubicBezTo>
                  <a:cubicBezTo>
                    <a:pt x="463" y="195"/>
                    <a:pt x="601" y="135"/>
                    <a:pt x="601" y="98"/>
                  </a:cubicBezTo>
                  <a:cubicBezTo>
                    <a:pt x="601" y="38"/>
                    <a:pt x="463" y="1"/>
                    <a:pt x="292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5" name="Google Shape;295;p9"/>
            <p:cNvSpPr/>
            <p:nvPr/>
          </p:nvSpPr>
          <p:spPr>
            <a:xfrm>
              <a:off x="4448629" y="3586841"/>
              <a:ext cx="88912" cy="29091"/>
            </a:xfrm>
            <a:custGeom>
              <a:avLst/>
              <a:gdLst/>
              <a:ahLst/>
              <a:cxnLst/>
              <a:rect l="l" t="t" r="r" b="b"/>
              <a:pathLst>
                <a:path w="541" h="172" extrusionOk="0">
                  <a:moveTo>
                    <a:pt x="268" y="1"/>
                  </a:moveTo>
                  <a:cubicBezTo>
                    <a:pt x="116" y="1"/>
                    <a:pt x="0" y="38"/>
                    <a:pt x="0" y="98"/>
                  </a:cubicBezTo>
                  <a:cubicBezTo>
                    <a:pt x="0" y="135"/>
                    <a:pt x="116" y="172"/>
                    <a:pt x="268" y="172"/>
                  </a:cubicBezTo>
                  <a:cubicBezTo>
                    <a:pt x="425" y="172"/>
                    <a:pt x="541" y="135"/>
                    <a:pt x="541" y="98"/>
                  </a:cubicBezTo>
                  <a:cubicBezTo>
                    <a:pt x="541" y="38"/>
                    <a:pt x="425" y="1"/>
                    <a:pt x="268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6" name="Google Shape;296;p9"/>
            <p:cNvSpPr/>
            <p:nvPr/>
          </p:nvSpPr>
          <p:spPr>
            <a:xfrm>
              <a:off x="1613745" y="3522606"/>
              <a:ext cx="50290" cy="22833"/>
            </a:xfrm>
            <a:custGeom>
              <a:avLst/>
              <a:gdLst/>
              <a:ahLst/>
              <a:cxnLst/>
              <a:rect l="l" t="t" r="r" b="b"/>
              <a:pathLst>
                <a:path w="306" h="135" extrusionOk="0">
                  <a:moveTo>
                    <a:pt x="153" y="1"/>
                  </a:moveTo>
                  <a:cubicBezTo>
                    <a:pt x="56" y="1"/>
                    <a:pt x="1" y="38"/>
                    <a:pt x="1" y="61"/>
                  </a:cubicBezTo>
                  <a:cubicBezTo>
                    <a:pt x="1" y="98"/>
                    <a:pt x="56" y="135"/>
                    <a:pt x="153" y="135"/>
                  </a:cubicBezTo>
                  <a:cubicBezTo>
                    <a:pt x="232" y="135"/>
                    <a:pt x="305" y="98"/>
                    <a:pt x="305" y="61"/>
                  </a:cubicBezTo>
                  <a:cubicBezTo>
                    <a:pt x="305" y="38"/>
                    <a:pt x="232" y="1"/>
                    <a:pt x="153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7" name="Google Shape;297;p9"/>
            <p:cNvSpPr/>
            <p:nvPr/>
          </p:nvSpPr>
          <p:spPr>
            <a:xfrm>
              <a:off x="7081339" y="3987011"/>
              <a:ext cx="101238" cy="29936"/>
            </a:xfrm>
            <a:custGeom>
              <a:avLst/>
              <a:gdLst/>
              <a:ahLst/>
              <a:cxnLst/>
              <a:rect l="l" t="t" r="r" b="b"/>
              <a:pathLst>
                <a:path w="616" h="177" extrusionOk="0">
                  <a:moveTo>
                    <a:pt x="306" y="1"/>
                  </a:moveTo>
                  <a:cubicBezTo>
                    <a:pt x="135" y="1"/>
                    <a:pt x="1" y="42"/>
                    <a:pt x="1" y="79"/>
                  </a:cubicBezTo>
                  <a:cubicBezTo>
                    <a:pt x="1" y="135"/>
                    <a:pt x="135" y="176"/>
                    <a:pt x="306" y="176"/>
                  </a:cubicBezTo>
                  <a:cubicBezTo>
                    <a:pt x="481" y="176"/>
                    <a:pt x="615" y="135"/>
                    <a:pt x="615" y="79"/>
                  </a:cubicBezTo>
                  <a:cubicBezTo>
                    <a:pt x="615" y="42"/>
                    <a:pt x="481" y="1"/>
                    <a:pt x="306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98" name="Google Shape;298;p9"/>
          <p:cNvSpPr/>
          <p:nvPr/>
        </p:nvSpPr>
        <p:spPr>
          <a:xfrm>
            <a:off x="1368945" y="1101667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301239190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6" y="4406902"/>
            <a:ext cx="10363200" cy="1362075"/>
          </a:xfrm>
        </p:spPr>
        <p:txBody>
          <a:bodyPr anchor="t"/>
          <a:lstStyle>
            <a:lvl1pPr algn="l">
              <a:defRPr sz="5399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6" y="2906714"/>
            <a:ext cx="10363200" cy="1500187"/>
          </a:xfrm>
        </p:spPr>
        <p:txBody>
          <a:bodyPr anchor="b"/>
          <a:lstStyle>
            <a:lvl1pPr marL="0" indent="0">
              <a:buNone/>
              <a:defRPr sz="2699">
                <a:solidFill>
                  <a:schemeClr val="tx1">
                    <a:tint val="75000"/>
                  </a:schemeClr>
                </a:solidFill>
              </a:defRPr>
            </a:lvl1pPr>
            <a:lvl2pPr marL="60946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82838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85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31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77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24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7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14779EE-1E16-4CC5-A459-C716090F6017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84897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p10"/>
          <p:cNvSpPr txBox="1">
            <a:spLocks noGrp="1"/>
          </p:cNvSpPr>
          <p:nvPr>
            <p:ph type="title"/>
          </p:nvPr>
        </p:nvSpPr>
        <p:spPr>
          <a:xfrm>
            <a:off x="960000" y="1495767"/>
            <a:ext cx="5136000" cy="124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1715825"/>
      </p:ext>
    </p:extLst>
  </p:cSld>
  <p:clrMapOvr>
    <a:masterClrMapping/>
  </p:clrMapOvr>
  <p:transition spd="slow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2" name="Google Shape;302;p11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303" name="Google Shape;303;p11"/>
          <p:cNvSpPr txBox="1">
            <a:spLocks noGrp="1"/>
          </p:cNvSpPr>
          <p:nvPr>
            <p:ph type="title" hasCustomPrompt="1"/>
          </p:nvPr>
        </p:nvSpPr>
        <p:spPr>
          <a:xfrm>
            <a:off x="950800" y="1532500"/>
            <a:ext cx="6175200" cy="135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8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304" name="Google Shape;304;p11"/>
          <p:cNvSpPr txBox="1">
            <a:spLocks noGrp="1"/>
          </p:cNvSpPr>
          <p:nvPr>
            <p:ph type="body" idx="1"/>
          </p:nvPr>
        </p:nvSpPr>
        <p:spPr>
          <a:xfrm>
            <a:off x="950859" y="2778899"/>
            <a:ext cx="6175200" cy="51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01601261"/>
      </p:ext>
    </p:extLst>
  </p:cSld>
  <p:clrMapOvr>
    <a:masterClrMapping/>
  </p:clrMapOvr>
  <p:transition spd="slow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">
  <p:cSld name="Title and three columns "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p14"/>
          <p:cNvSpPr/>
          <p:nvPr/>
        </p:nvSpPr>
        <p:spPr>
          <a:xfrm>
            <a:off x="0" y="4642998"/>
            <a:ext cx="12191992" cy="2220117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5" name="Google Shape;325;p14"/>
          <p:cNvSpPr/>
          <p:nvPr/>
        </p:nvSpPr>
        <p:spPr>
          <a:xfrm>
            <a:off x="9163733" y="1586171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6" name="Google Shape;326;p14"/>
          <p:cNvSpPr/>
          <p:nvPr/>
        </p:nvSpPr>
        <p:spPr>
          <a:xfrm>
            <a:off x="0" y="5014966"/>
            <a:ext cx="12191992" cy="1848157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7" name="Google Shape;327;p14"/>
          <p:cNvSpPr/>
          <p:nvPr/>
        </p:nvSpPr>
        <p:spPr>
          <a:xfrm>
            <a:off x="-1897622" y="1586167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8" name="Google Shape;328;p14"/>
          <p:cNvSpPr/>
          <p:nvPr/>
        </p:nvSpPr>
        <p:spPr>
          <a:xfrm>
            <a:off x="10615399" y="230600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9" name="Google Shape;329;p14"/>
          <p:cNvSpPr/>
          <p:nvPr/>
        </p:nvSpPr>
        <p:spPr>
          <a:xfrm flipH="1">
            <a:off x="45" y="5651698"/>
            <a:ext cx="12191955" cy="1206319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0" name="Google Shape;330;p14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1" name="Google Shape;331;p14"/>
          <p:cNvSpPr txBox="1">
            <a:spLocks noGrp="1"/>
          </p:cNvSpPr>
          <p:nvPr>
            <p:ph type="subTitle" idx="1"/>
          </p:nvPr>
        </p:nvSpPr>
        <p:spPr>
          <a:xfrm>
            <a:off x="1336368" y="3653199"/>
            <a:ext cx="2479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32" name="Google Shape;332;p14"/>
          <p:cNvSpPr txBox="1">
            <a:spLocks noGrp="1"/>
          </p:cNvSpPr>
          <p:nvPr>
            <p:ph type="title" idx="2"/>
          </p:nvPr>
        </p:nvSpPr>
        <p:spPr>
          <a:xfrm>
            <a:off x="1336367" y="3151000"/>
            <a:ext cx="24796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333" name="Google Shape;333;p14"/>
          <p:cNvSpPr txBox="1">
            <a:spLocks noGrp="1"/>
          </p:cNvSpPr>
          <p:nvPr>
            <p:ph type="subTitle" idx="3"/>
          </p:nvPr>
        </p:nvSpPr>
        <p:spPr>
          <a:xfrm>
            <a:off x="8418908" y="3653199"/>
            <a:ext cx="2479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34" name="Google Shape;334;p14"/>
          <p:cNvSpPr txBox="1">
            <a:spLocks noGrp="1"/>
          </p:cNvSpPr>
          <p:nvPr>
            <p:ph type="title" idx="4"/>
          </p:nvPr>
        </p:nvSpPr>
        <p:spPr>
          <a:xfrm>
            <a:off x="8418901" y="3151000"/>
            <a:ext cx="24796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335" name="Google Shape;335;p14"/>
          <p:cNvSpPr txBox="1">
            <a:spLocks noGrp="1"/>
          </p:cNvSpPr>
          <p:nvPr>
            <p:ph type="subTitle" idx="5"/>
          </p:nvPr>
        </p:nvSpPr>
        <p:spPr>
          <a:xfrm>
            <a:off x="4877632" y="3653199"/>
            <a:ext cx="2479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36" name="Google Shape;336;p14"/>
          <p:cNvSpPr txBox="1">
            <a:spLocks noGrp="1"/>
          </p:cNvSpPr>
          <p:nvPr>
            <p:ph type="title" idx="6"/>
          </p:nvPr>
        </p:nvSpPr>
        <p:spPr>
          <a:xfrm>
            <a:off x="4877628" y="3151000"/>
            <a:ext cx="24796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37394035"/>
      </p:ext>
    </p:extLst>
  </p:cSld>
  <p:clrMapOvr>
    <a:masterClrMapping/>
  </p:clrMapOvr>
  <p:transition spd="slow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 and two columns 2"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8" name="Google Shape;338;p1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339" name="Google Shape;339;p15"/>
          <p:cNvSpPr txBox="1">
            <a:spLocks noGrp="1"/>
          </p:cNvSpPr>
          <p:nvPr>
            <p:ph type="title"/>
          </p:nvPr>
        </p:nvSpPr>
        <p:spPr>
          <a:xfrm>
            <a:off x="960133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340" name="Google Shape;340;p15"/>
          <p:cNvSpPr txBox="1">
            <a:spLocks noGrp="1"/>
          </p:cNvSpPr>
          <p:nvPr>
            <p:ph type="subTitle" idx="1"/>
          </p:nvPr>
        </p:nvSpPr>
        <p:spPr>
          <a:xfrm>
            <a:off x="1345800" y="2346567"/>
            <a:ext cx="4364400" cy="325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○"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■"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●"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○"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■"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●"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○"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■"/>
              <a:defRPr sz="2800"/>
            </a:lvl9pPr>
          </a:lstStyle>
          <a:p>
            <a:endParaRPr/>
          </a:p>
        </p:txBody>
      </p:sp>
      <p:sp>
        <p:nvSpPr>
          <p:cNvPr id="341" name="Google Shape;341;p15"/>
          <p:cNvSpPr txBox="1">
            <a:spLocks noGrp="1"/>
          </p:cNvSpPr>
          <p:nvPr>
            <p:ph type="subTitle" idx="2"/>
          </p:nvPr>
        </p:nvSpPr>
        <p:spPr>
          <a:xfrm>
            <a:off x="6481813" y="2346567"/>
            <a:ext cx="4364400" cy="325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○"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■"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●"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○"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■"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●"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○"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/>
              <a:buChar char="■"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7735408"/>
      </p:ext>
    </p:extLst>
  </p:cSld>
  <p:clrMapOvr>
    <a:masterClrMapping/>
  </p:clrMapOvr>
  <p:transition spd="slow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6"/>
          <p:cNvSpPr/>
          <p:nvPr/>
        </p:nvSpPr>
        <p:spPr>
          <a:xfrm>
            <a:off x="0" y="4539237"/>
            <a:ext cx="12191992" cy="2323879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4" name="Google Shape;344;p16"/>
          <p:cNvSpPr/>
          <p:nvPr/>
        </p:nvSpPr>
        <p:spPr>
          <a:xfrm>
            <a:off x="8174433" y="180037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5" name="Google Shape;345;p16"/>
          <p:cNvSpPr/>
          <p:nvPr/>
        </p:nvSpPr>
        <p:spPr>
          <a:xfrm>
            <a:off x="-1771922" y="180034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6" name="Google Shape;346;p16"/>
          <p:cNvSpPr/>
          <p:nvPr/>
        </p:nvSpPr>
        <p:spPr>
          <a:xfrm>
            <a:off x="10790848" y="1644367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7" name="Google Shape;347;p16"/>
          <p:cNvSpPr txBox="1">
            <a:spLocks noGrp="1"/>
          </p:cNvSpPr>
          <p:nvPr>
            <p:ph type="title"/>
          </p:nvPr>
        </p:nvSpPr>
        <p:spPr>
          <a:xfrm>
            <a:off x="950800" y="3833817"/>
            <a:ext cx="5131600" cy="53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240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348" name="Google Shape;348;p16"/>
          <p:cNvSpPr txBox="1">
            <a:spLocks noGrp="1"/>
          </p:cNvSpPr>
          <p:nvPr>
            <p:ph type="subTitle" idx="1"/>
          </p:nvPr>
        </p:nvSpPr>
        <p:spPr>
          <a:xfrm>
            <a:off x="950800" y="1298833"/>
            <a:ext cx="6685600" cy="257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89722445"/>
      </p:ext>
    </p:extLst>
  </p:cSld>
  <p:clrMapOvr>
    <a:masterClrMapping/>
  </p:clrMapOvr>
  <p:transition spd="slow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 ">
  <p:cSld name="Title and six columns "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Google Shape;350;p17"/>
          <p:cNvSpPr/>
          <p:nvPr/>
        </p:nvSpPr>
        <p:spPr>
          <a:xfrm>
            <a:off x="9163733" y="1669304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1" name="Google Shape;351;p17"/>
          <p:cNvSpPr/>
          <p:nvPr/>
        </p:nvSpPr>
        <p:spPr>
          <a:xfrm>
            <a:off x="0" y="3345863"/>
            <a:ext cx="12191992" cy="3517261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2" name="Google Shape;352;p17"/>
          <p:cNvSpPr/>
          <p:nvPr/>
        </p:nvSpPr>
        <p:spPr>
          <a:xfrm>
            <a:off x="-1897622" y="16693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3" name="Google Shape;353;p17"/>
          <p:cNvSpPr/>
          <p:nvPr/>
        </p:nvSpPr>
        <p:spPr>
          <a:xfrm>
            <a:off x="10615399" y="230600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4" name="Google Shape;354;p17"/>
          <p:cNvSpPr/>
          <p:nvPr/>
        </p:nvSpPr>
        <p:spPr>
          <a:xfrm flipH="1">
            <a:off x="12" y="6046036"/>
            <a:ext cx="12191955" cy="812225"/>
          </a:xfrm>
          <a:custGeom>
            <a:avLst/>
            <a:gdLst/>
            <a:ahLst/>
            <a:cxnLst/>
            <a:rect l="l" t="t" r="r" b="b"/>
            <a:pathLst>
              <a:path w="55638" h="9704" extrusionOk="0">
                <a:moveTo>
                  <a:pt x="47791" y="0"/>
                </a:moveTo>
                <a:cubicBezTo>
                  <a:pt x="42137" y="0"/>
                  <a:pt x="36555" y="1243"/>
                  <a:pt x="31014" y="2426"/>
                </a:cubicBezTo>
                <a:cubicBezTo>
                  <a:pt x="25825" y="3542"/>
                  <a:pt x="20552" y="4639"/>
                  <a:pt x="15243" y="4639"/>
                </a:cubicBezTo>
                <a:cubicBezTo>
                  <a:pt x="14860" y="4639"/>
                  <a:pt x="14477" y="4633"/>
                  <a:pt x="14094" y="4621"/>
                </a:cubicBezTo>
                <a:cubicBezTo>
                  <a:pt x="9126" y="4487"/>
                  <a:pt x="4062" y="3235"/>
                  <a:pt x="1" y="407"/>
                </a:cubicBezTo>
                <a:lnTo>
                  <a:pt x="1" y="9704"/>
                </a:lnTo>
                <a:lnTo>
                  <a:pt x="55637" y="9704"/>
                </a:lnTo>
                <a:lnTo>
                  <a:pt x="55637" y="1678"/>
                </a:lnTo>
                <a:cubicBezTo>
                  <a:pt x="53368" y="310"/>
                  <a:pt x="50596" y="0"/>
                  <a:pt x="47916" y="0"/>
                </a:cubicBezTo>
                <a:cubicBezTo>
                  <a:pt x="47875" y="0"/>
                  <a:pt x="47833" y="0"/>
                  <a:pt x="4779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5" name="Google Shape;355;p17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356" name="Google Shape;356;p17"/>
          <p:cNvSpPr txBox="1">
            <a:spLocks noGrp="1"/>
          </p:cNvSpPr>
          <p:nvPr>
            <p:ph type="subTitle" idx="1"/>
          </p:nvPr>
        </p:nvSpPr>
        <p:spPr>
          <a:xfrm>
            <a:off x="1272900" y="3124496"/>
            <a:ext cx="2903200" cy="7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57" name="Google Shape;357;p17"/>
          <p:cNvSpPr txBox="1">
            <a:spLocks noGrp="1"/>
          </p:cNvSpPr>
          <p:nvPr>
            <p:ph type="title" idx="2"/>
          </p:nvPr>
        </p:nvSpPr>
        <p:spPr>
          <a:xfrm>
            <a:off x="1272900" y="2626500"/>
            <a:ext cx="29032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358" name="Google Shape;358;p17"/>
          <p:cNvSpPr txBox="1">
            <a:spLocks noGrp="1"/>
          </p:cNvSpPr>
          <p:nvPr>
            <p:ph type="subTitle" idx="3"/>
          </p:nvPr>
        </p:nvSpPr>
        <p:spPr>
          <a:xfrm>
            <a:off x="4644515" y="3124496"/>
            <a:ext cx="2903200" cy="7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59" name="Google Shape;359;p17"/>
          <p:cNvSpPr txBox="1">
            <a:spLocks noGrp="1"/>
          </p:cNvSpPr>
          <p:nvPr>
            <p:ph type="title" idx="4"/>
          </p:nvPr>
        </p:nvSpPr>
        <p:spPr>
          <a:xfrm>
            <a:off x="4644515" y="2626500"/>
            <a:ext cx="29032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360" name="Google Shape;360;p17"/>
          <p:cNvSpPr txBox="1">
            <a:spLocks noGrp="1"/>
          </p:cNvSpPr>
          <p:nvPr>
            <p:ph type="subTitle" idx="5"/>
          </p:nvPr>
        </p:nvSpPr>
        <p:spPr>
          <a:xfrm>
            <a:off x="8016129" y="3124496"/>
            <a:ext cx="2903200" cy="7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61" name="Google Shape;361;p17"/>
          <p:cNvSpPr txBox="1">
            <a:spLocks noGrp="1"/>
          </p:cNvSpPr>
          <p:nvPr>
            <p:ph type="title" idx="6"/>
          </p:nvPr>
        </p:nvSpPr>
        <p:spPr>
          <a:xfrm>
            <a:off x="8016129" y="2626500"/>
            <a:ext cx="29032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362" name="Google Shape;362;p17"/>
          <p:cNvSpPr txBox="1">
            <a:spLocks noGrp="1"/>
          </p:cNvSpPr>
          <p:nvPr>
            <p:ph type="subTitle" idx="7"/>
          </p:nvPr>
        </p:nvSpPr>
        <p:spPr>
          <a:xfrm>
            <a:off x="1272900" y="5186867"/>
            <a:ext cx="2903200" cy="7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63" name="Google Shape;363;p17"/>
          <p:cNvSpPr txBox="1">
            <a:spLocks noGrp="1"/>
          </p:cNvSpPr>
          <p:nvPr>
            <p:ph type="title" idx="8"/>
          </p:nvPr>
        </p:nvSpPr>
        <p:spPr>
          <a:xfrm>
            <a:off x="1272900" y="4708251"/>
            <a:ext cx="29032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364" name="Google Shape;364;p17"/>
          <p:cNvSpPr txBox="1">
            <a:spLocks noGrp="1"/>
          </p:cNvSpPr>
          <p:nvPr>
            <p:ph type="subTitle" idx="9"/>
          </p:nvPr>
        </p:nvSpPr>
        <p:spPr>
          <a:xfrm>
            <a:off x="4644515" y="5186867"/>
            <a:ext cx="2903200" cy="7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65" name="Google Shape;365;p17"/>
          <p:cNvSpPr txBox="1">
            <a:spLocks noGrp="1"/>
          </p:cNvSpPr>
          <p:nvPr>
            <p:ph type="title" idx="13"/>
          </p:nvPr>
        </p:nvSpPr>
        <p:spPr>
          <a:xfrm>
            <a:off x="4644515" y="4708251"/>
            <a:ext cx="29032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366" name="Google Shape;366;p17"/>
          <p:cNvSpPr txBox="1">
            <a:spLocks noGrp="1"/>
          </p:cNvSpPr>
          <p:nvPr>
            <p:ph type="subTitle" idx="14"/>
          </p:nvPr>
        </p:nvSpPr>
        <p:spPr>
          <a:xfrm>
            <a:off x="8016129" y="5186867"/>
            <a:ext cx="2903200" cy="7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67" name="Google Shape;367;p17"/>
          <p:cNvSpPr txBox="1">
            <a:spLocks noGrp="1"/>
          </p:cNvSpPr>
          <p:nvPr>
            <p:ph type="title" idx="15"/>
          </p:nvPr>
        </p:nvSpPr>
        <p:spPr>
          <a:xfrm>
            <a:off x="8016129" y="4708251"/>
            <a:ext cx="29032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93927484"/>
      </p:ext>
    </p:extLst>
  </p:cSld>
  <p:clrMapOvr>
    <a:masterClrMapping/>
  </p:clrMapOvr>
  <p:transition spd="slow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p18"/>
          <p:cNvSpPr/>
          <p:nvPr/>
        </p:nvSpPr>
        <p:spPr>
          <a:xfrm>
            <a:off x="8817967" y="128104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0" name="Google Shape;370;p18"/>
          <p:cNvSpPr/>
          <p:nvPr/>
        </p:nvSpPr>
        <p:spPr>
          <a:xfrm>
            <a:off x="0" y="3345863"/>
            <a:ext cx="12191992" cy="3517261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1" name="Google Shape;371;p18"/>
          <p:cNvSpPr/>
          <p:nvPr/>
        </p:nvSpPr>
        <p:spPr>
          <a:xfrm>
            <a:off x="-2050455" y="8949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2" name="Google Shape;372;p18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3" name="Google Shape;373;p18"/>
          <p:cNvSpPr/>
          <p:nvPr/>
        </p:nvSpPr>
        <p:spPr>
          <a:xfrm>
            <a:off x="0" y="6320134"/>
            <a:ext cx="12191955" cy="539679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3007920934"/>
      </p:ext>
    </p:extLst>
  </p:cSld>
  <p:clrMapOvr>
    <a:masterClrMapping/>
  </p:clrMapOvr>
  <p:transition spd="slow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Google Shape;375;p19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6" name="Google Shape;376;p19"/>
          <p:cNvSpPr/>
          <p:nvPr/>
        </p:nvSpPr>
        <p:spPr>
          <a:xfrm>
            <a:off x="0" y="3345863"/>
            <a:ext cx="12191992" cy="3517261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7" name="Google Shape;377;p19"/>
          <p:cNvSpPr/>
          <p:nvPr/>
        </p:nvSpPr>
        <p:spPr>
          <a:xfrm>
            <a:off x="8174433" y="180037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8" name="Google Shape;378;p19"/>
          <p:cNvSpPr/>
          <p:nvPr/>
        </p:nvSpPr>
        <p:spPr>
          <a:xfrm>
            <a:off x="-1647055" y="13130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9" name="Google Shape;379;p19"/>
          <p:cNvSpPr/>
          <p:nvPr/>
        </p:nvSpPr>
        <p:spPr>
          <a:xfrm>
            <a:off x="10257348" y="2430067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0" name="Google Shape;380;p19"/>
          <p:cNvSpPr/>
          <p:nvPr/>
        </p:nvSpPr>
        <p:spPr>
          <a:xfrm flipH="1">
            <a:off x="45" y="6223951"/>
            <a:ext cx="12191955" cy="636468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700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347327824"/>
      </p:ext>
    </p:extLst>
  </p:cSld>
  <p:clrMapOvr>
    <a:masterClrMapping/>
  </p:clrMapOvr>
  <p:transition spd="slow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p20"/>
          <p:cNvSpPr/>
          <p:nvPr/>
        </p:nvSpPr>
        <p:spPr>
          <a:xfrm>
            <a:off x="0" y="3345863"/>
            <a:ext cx="12191992" cy="3517261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3" name="Google Shape;383;p20"/>
          <p:cNvSpPr/>
          <p:nvPr/>
        </p:nvSpPr>
        <p:spPr>
          <a:xfrm flipH="1">
            <a:off x="45" y="6223951"/>
            <a:ext cx="12191955" cy="636468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4" name="Google Shape;384;p20"/>
          <p:cNvSpPr/>
          <p:nvPr/>
        </p:nvSpPr>
        <p:spPr>
          <a:xfrm>
            <a:off x="8174433" y="180037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5" name="Google Shape;385;p20"/>
          <p:cNvSpPr/>
          <p:nvPr/>
        </p:nvSpPr>
        <p:spPr>
          <a:xfrm>
            <a:off x="-1647055" y="13130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6" name="Google Shape;386;p20"/>
          <p:cNvSpPr/>
          <p:nvPr/>
        </p:nvSpPr>
        <p:spPr>
          <a:xfrm>
            <a:off x="10257348" y="2430067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7" name="Google Shape;387;p20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7764882"/>
      </p:ext>
    </p:extLst>
  </p:cSld>
  <p:clrMapOvr>
    <a:masterClrMapping/>
  </p:clrMapOvr>
  <p:transition spd="slow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4">
  <p:cSld name="Title only 4"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p21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90" name="Google Shape;390;p21"/>
          <p:cNvSpPr/>
          <p:nvPr/>
        </p:nvSpPr>
        <p:spPr>
          <a:xfrm>
            <a:off x="0" y="5292101"/>
            <a:ext cx="12191992" cy="1571027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1" name="Google Shape;391;p21"/>
          <p:cNvSpPr/>
          <p:nvPr/>
        </p:nvSpPr>
        <p:spPr>
          <a:xfrm>
            <a:off x="8174433" y="180037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2" name="Google Shape;392;p21"/>
          <p:cNvSpPr/>
          <p:nvPr/>
        </p:nvSpPr>
        <p:spPr>
          <a:xfrm>
            <a:off x="-1771922" y="9384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3" name="Google Shape;393;p21"/>
          <p:cNvSpPr/>
          <p:nvPr/>
        </p:nvSpPr>
        <p:spPr>
          <a:xfrm>
            <a:off x="10257348" y="2430067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4" name="Google Shape;394;p21"/>
          <p:cNvSpPr/>
          <p:nvPr/>
        </p:nvSpPr>
        <p:spPr>
          <a:xfrm flipH="1">
            <a:off x="0" y="5829809"/>
            <a:ext cx="12191992" cy="1033321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901249899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2" y="1600202"/>
            <a:ext cx="5384800" cy="4525963"/>
          </a:xfrm>
        </p:spPr>
        <p:txBody>
          <a:bodyPr/>
          <a:lstStyle>
            <a:lvl1pPr>
              <a:defRPr sz="3799"/>
            </a:lvl1pPr>
            <a:lvl2pPr>
              <a:defRPr sz="3199"/>
            </a:lvl2pPr>
            <a:lvl3pPr>
              <a:defRPr sz="2699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02"/>
            <a:ext cx="5384800" cy="4525963"/>
          </a:xfrm>
        </p:spPr>
        <p:txBody>
          <a:bodyPr/>
          <a:lstStyle>
            <a:lvl1pPr>
              <a:defRPr sz="3799"/>
            </a:lvl1pPr>
            <a:lvl2pPr>
              <a:defRPr sz="3199"/>
            </a:lvl2pPr>
            <a:lvl3pPr>
              <a:defRPr sz="2699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3311C9F-D64E-4824-A709-CF61DE4E0BDD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20524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5">
  <p:cSld name="Title only 5">
    <p:spTree>
      <p:nvGrpSpPr>
        <p:cNvPr id="1" name="Shape 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Google Shape;396;p22"/>
          <p:cNvSpPr/>
          <p:nvPr/>
        </p:nvSpPr>
        <p:spPr>
          <a:xfrm>
            <a:off x="0" y="3345863"/>
            <a:ext cx="12191992" cy="3517261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7" name="Google Shape;397;p22"/>
          <p:cNvSpPr/>
          <p:nvPr/>
        </p:nvSpPr>
        <p:spPr>
          <a:xfrm>
            <a:off x="45" y="6223951"/>
            <a:ext cx="12191955" cy="636468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8" name="Google Shape;398;p22"/>
          <p:cNvSpPr/>
          <p:nvPr/>
        </p:nvSpPr>
        <p:spPr>
          <a:xfrm>
            <a:off x="9163733" y="1414137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9" name="Google Shape;399;p22"/>
          <p:cNvSpPr/>
          <p:nvPr/>
        </p:nvSpPr>
        <p:spPr>
          <a:xfrm>
            <a:off x="-2379188" y="9395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00" name="Google Shape;400;p22"/>
          <p:cNvSpPr/>
          <p:nvPr/>
        </p:nvSpPr>
        <p:spPr>
          <a:xfrm>
            <a:off x="337999" y="230600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01" name="Google Shape;401;p22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6494327"/>
      </p:ext>
    </p:extLst>
  </p:cSld>
  <p:clrMapOvr>
    <a:masterClrMapping/>
  </p:clrMapOvr>
  <p:transition spd="slow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6">
  <p:cSld name="Title only 6"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23"/>
          <p:cNvSpPr/>
          <p:nvPr/>
        </p:nvSpPr>
        <p:spPr>
          <a:xfrm>
            <a:off x="0" y="5962734"/>
            <a:ext cx="12191992" cy="900417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04" name="Google Shape;404;p23"/>
          <p:cNvSpPr/>
          <p:nvPr/>
        </p:nvSpPr>
        <p:spPr>
          <a:xfrm>
            <a:off x="-1496600" y="228537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05" name="Google Shape;405;p23"/>
          <p:cNvSpPr/>
          <p:nvPr/>
        </p:nvSpPr>
        <p:spPr>
          <a:xfrm>
            <a:off x="9430512" y="3294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06" name="Google Shape;406;p23"/>
          <p:cNvSpPr/>
          <p:nvPr/>
        </p:nvSpPr>
        <p:spPr>
          <a:xfrm>
            <a:off x="714399" y="2326934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07" name="Google Shape;407;p23"/>
          <p:cNvSpPr/>
          <p:nvPr/>
        </p:nvSpPr>
        <p:spPr>
          <a:xfrm>
            <a:off x="45" y="6223951"/>
            <a:ext cx="12191955" cy="636468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08" name="Google Shape;408;p23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643255"/>
      </p:ext>
    </p:extLst>
  </p:cSld>
  <p:clrMapOvr>
    <a:masterClrMapping/>
  </p:clrMapOvr>
  <p:transition spd="slow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ive columns ">
  <p:cSld name="Title and five columns "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Google Shape;428;p25"/>
          <p:cNvSpPr/>
          <p:nvPr/>
        </p:nvSpPr>
        <p:spPr>
          <a:xfrm>
            <a:off x="0" y="4462064"/>
            <a:ext cx="12191992" cy="2401067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29" name="Google Shape;429;p25"/>
          <p:cNvSpPr/>
          <p:nvPr/>
        </p:nvSpPr>
        <p:spPr>
          <a:xfrm flipH="1">
            <a:off x="8" y="5655164"/>
            <a:ext cx="12191992" cy="1207955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0" name="Google Shape;430;p25"/>
          <p:cNvSpPr/>
          <p:nvPr/>
        </p:nvSpPr>
        <p:spPr>
          <a:xfrm>
            <a:off x="0" y="6071336"/>
            <a:ext cx="12191955" cy="788465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1" name="Google Shape;431;p25"/>
          <p:cNvSpPr/>
          <p:nvPr/>
        </p:nvSpPr>
        <p:spPr>
          <a:xfrm>
            <a:off x="9610167" y="827871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2" name="Google Shape;432;p25"/>
          <p:cNvSpPr/>
          <p:nvPr/>
        </p:nvSpPr>
        <p:spPr>
          <a:xfrm>
            <a:off x="-1897622" y="11616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3" name="Google Shape;433;p25"/>
          <p:cNvSpPr/>
          <p:nvPr/>
        </p:nvSpPr>
        <p:spPr>
          <a:xfrm>
            <a:off x="337999" y="230600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4" name="Google Shape;434;p25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35" name="Google Shape;435;p25"/>
          <p:cNvSpPr txBox="1">
            <a:spLocks noGrp="1"/>
          </p:cNvSpPr>
          <p:nvPr>
            <p:ph type="subTitle" idx="1"/>
          </p:nvPr>
        </p:nvSpPr>
        <p:spPr>
          <a:xfrm>
            <a:off x="965500" y="3124497"/>
            <a:ext cx="3088000" cy="6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36" name="Google Shape;436;p25"/>
          <p:cNvSpPr txBox="1">
            <a:spLocks noGrp="1"/>
          </p:cNvSpPr>
          <p:nvPr>
            <p:ph type="title" idx="2"/>
          </p:nvPr>
        </p:nvSpPr>
        <p:spPr>
          <a:xfrm>
            <a:off x="965500" y="2626504"/>
            <a:ext cx="30880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37" name="Google Shape;437;p25"/>
          <p:cNvSpPr txBox="1">
            <a:spLocks noGrp="1"/>
          </p:cNvSpPr>
          <p:nvPr>
            <p:ph type="subTitle" idx="3"/>
          </p:nvPr>
        </p:nvSpPr>
        <p:spPr>
          <a:xfrm>
            <a:off x="4551999" y="3124497"/>
            <a:ext cx="3088000" cy="6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38" name="Google Shape;438;p25"/>
          <p:cNvSpPr txBox="1">
            <a:spLocks noGrp="1"/>
          </p:cNvSpPr>
          <p:nvPr>
            <p:ph type="title" idx="4"/>
          </p:nvPr>
        </p:nvSpPr>
        <p:spPr>
          <a:xfrm>
            <a:off x="4552000" y="2626504"/>
            <a:ext cx="30880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39" name="Google Shape;439;p25"/>
          <p:cNvSpPr txBox="1">
            <a:spLocks noGrp="1"/>
          </p:cNvSpPr>
          <p:nvPr>
            <p:ph type="subTitle" idx="5"/>
          </p:nvPr>
        </p:nvSpPr>
        <p:spPr>
          <a:xfrm>
            <a:off x="8138496" y="3124497"/>
            <a:ext cx="3088000" cy="6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40" name="Google Shape;440;p25"/>
          <p:cNvSpPr txBox="1">
            <a:spLocks noGrp="1"/>
          </p:cNvSpPr>
          <p:nvPr>
            <p:ph type="title" idx="6"/>
          </p:nvPr>
        </p:nvSpPr>
        <p:spPr>
          <a:xfrm>
            <a:off x="8138499" y="2626504"/>
            <a:ext cx="30880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41" name="Google Shape;441;p25"/>
          <p:cNvSpPr txBox="1">
            <a:spLocks noGrp="1"/>
          </p:cNvSpPr>
          <p:nvPr>
            <p:ph type="subTitle" idx="7"/>
          </p:nvPr>
        </p:nvSpPr>
        <p:spPr>
          <a:xfrm>
            <a:off x="2758749" y="5196569"/>
            <a:ext cx="3088000" cy="6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42" name="Google Shape;442;p25"/>
          <p:cNvSpPr txBox="1">
            <a:spLocks noGrp="1"/>
          </p:cNvSpPr>
          <p:nvPr>
            <p:ph type="title" idx="8"/>
          </p:nvPr>
        </p:nvSpPr>
        <p:spPr>
          <a:xfrm>
            <a:off x="2758751" y="4708259"/>
            <a:ext cx="30880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43" name="Google Shape;443;p25"/>
          <p:cNvSpPr txBox="1">
            <a:spLocks noGrp="1"/>
          </p:cNvSpPr>
          <p:nvPr>
            <p:ph type="subTitle" idx="9"/>
          </p:nvPr>
        </p:nvSpPr>
        <p:spPr>
          <a:xfrm>
            <a:off x="6345248" y="5196569"/>
            <a:ext cx="3088000" cy="6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44" name="Google Shape;444;p25"/>
          <p:cNvSpPr txBox="1">
            <a:spLocks noGrp="1"/>
          </p:cNvSpPr>
          <p:nvPr>
            <p:ph type="title" idx="13"/>
          </p:nvPr>
        </p:nvSpPr>
        <p:spPr>
          <a:xfrm>
            <a:off x="6345249" y="4708259"/>
            <a:ext cx="30880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45" name="Google Shape;445;p25"/>
          <p:cNvSpPr txBox="1">
            <a:spLocks noGrp="1"/>
          </p:cNvSpPr>
          <p:nvPr>
            <p:ph type="title" idx="14"/>
          </p:nvPr>
        </p:nvSpPr>
        <p:spPr>
          <a:xfrm>
            <a:off x="965500" y="2139120"/>
            <a:ext cx="3088000" cy="49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46" name="Google Shape;446;p25"/>
          <p:cNvSpPr txBox="1">
            <a:spLocks noGrp="1"/>
          </p:cNvSpPr>
          <p:nvPr>
            <p:ph type="title" idx="15"/>
          </p:nvPr>
        </p:nvSpPr>
        <p:spPr>
          <a:xfrm>
            <a:off x="4552000" y="2139120"/>
            <a:ext cx="3088000" cy="49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47" name="Google Shape;447;p25"/>
          <p:cNvSpPr txBox="1">
            <a:spLocks noGrp="1"/>
          </p:cNvSpPr>
          <p:nvPr>
            <p:ph type="title" idx="16"/>
          </p:nvPr>
        </p:nvSpPr>
        <p:spPr>
          <a:xfrm>
            <a:off x="8138499" y="2139120"/>
            <a:ext cx="3088000" cy="49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48" name="Google Shape;448;p25"/>
          <p:cNvSpPr txBox="1">
            <a:spLocks noGrp="1"/>
          </p:cNvSpPr>
          <p:nvPr>
            <p:ph type="title" idx="17"/>
          </p:nvPr>
        </p:nvSpPr>
        <p:spPr>
          <a:xfrm>
            <a:off x="2758751" y="4220876"/>
            <a:ext cx="3088000" cy="49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49" name="Google Shape;449;p25"/>
          <p:cNvSpPr txBox="1">
            <a:spLocks noGrp="1"/>
          </p:cNvSpPr>
          <p:nvPr>
            <p:ph type="title" idx="18"/>
          </p:nvPr>
        </p:nvSpPr>
        <p:spPr>
          <a:xfrm>
            <a:off x="6345249" y="4220876"/>
            <a:ext cx="3088000" cy="49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94837639"/>
      </p:ext>
    </p:extLst>
  </p:cSld>
  <p:clrMapOvr>
    <a:masterClrMapping/>
  </p:clrMapOvr>
  <p:transition spd="slow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Title and four columns 1">
    <p:spTree>
      <p:nvGrpSpPr>
        <p:cNvPr id="1" name="Shape 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Google Shape;451;p26"/>
          <p:cNvSpPr/>
          <p:nvPr/>
        </p:nvSpPr>
        <p:spPr>
          <a:xfrm>
            <a:off x="0" y="3345863"/>
            <a:ext cx="12191992" cy="3517261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2" name="Google Shape;452;p26"/>
          <p:cNvSpPr/>
          <p:nvPr/>
        </p:nvSpPr>
        <p:spPr>
          <a:xfrm>
            <a:off x="0" y="5582734"/>
            <a:ext cx="12191955" cy="1275527"/>
          </a:xfrm>
          <a:custGeom>
            <a:avLst/>
            <a:gdLst/>
            <a:ahLst/>
            <a:cxnLst/>
            <a:rect l="l" t="t" r="r" b="b"/>
            <a:pathLst>
              <a:path w="55638" h="9704" extrusionOk="0">
                <a:moveTo>
                  <a:pt x="47791" y="0"/>
                </a:moveTo>
                <a:cubicBezTo>
                  <a:pt x="42137" y="0"/>
                  <a:pt x="36555" y="1243"/>
                  <a:pt x="31014" y="2426"/>
                </a:cubicBezTo>
                <a:cubicBezTo>
                  <a:pt x="25825" y="3542"/>
                  <a:pt x="20552" y="4639"/>
                  <a:pt x="15243" y="4639"/>
                </a:cubicBezTo>
                <a:cubicBezTo>
                  <a:pt x="14860" y="4639"/>
                  <a:pt x="14477" y="4633"/>
                  <a:pt x="14094" y="4621"/>
                </a:cubicBezTo>
                <a:cubicBezTo>
                  <a:pt x="9126" y="4487"/>
                  <a:pt x="4062" y="3235"/>
                  <a:pt x="1" y="407"/>
                </a:cubicBezTo>
                <a:lnTo>
                  <a:pt x="1" y="9704"/>
                </a:lnTo>
                <a:lnTo>
                  <a:pt x="55637" y="9704"/>
                </a:lnTo>
                <a:lnTo>
                  <a:pt x="55637" y="1678"/>
                </a:lnTo>
                <a:cubicBezTo>
                  <a:pt x="53368" y="310"/>
                  <a:pt x="50596" y="0"/>
                  <a:pt x="47916" y="0"/>
                </a:cubicBezTo>
                <a:cubicBezTo>
                  <a:pt x="47875" y="0"/>
                  <a:pt x="47833" y="0"/>
                  <a:pt x="4779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3" name="Google Shape;453;p26"/>
          <p:cNvSpPr/>
          <p:nvPr/>
        </p:nvSpPr>
        <p:spPr>
          <a:xfrm>
            <a:off x="9163733" y="1414137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4" name="Google Shape;454;p26"/>
          <p:cNvSpPr/>
          <p:nvPr/>
        </p:nvSpPr>
        <p:spPr>
          <a:xfrm>
            <a:off x="-1897622" y="913867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5" name="Google Shape;455;p26"/>
          <p:cNvSpPr/>
          <p:nvPr/>
        </p:nvSpPr>
        <p:spPr>
          <a:xfrm>
            <a:off x="337999" y="230600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6" name="Google Shape;456;p26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57" name="Google Shape;457;p26"/>
          <p:cNvSpPr txBox="1">
            <a:spLocks noGrp="1"/>
          </p:cNvSpPr>
          <p:nvPr>
            <p:ph type="subTitle" idx="1"/>
          </p:nvPr>
        </p:nvSpPr>
        <p:spPr>
          <a:xfrm>
            <a:off x="2276547" y="2217927"/>
            <a:ext cx="5085200" cy="42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58" name="Google Shape;458;p26"/>
          <p:cNvSpPr txBox="1">
            <a:spLocks noGrp="1"/>
          </p:cNvSpPr>
          <p:nvPr>
            <p:ph type="title" idx="2"/>
          </p:nvPr>
        </p:nvSpPr>
        <p:spPr>
          <a:xfrm>
            <a:off x="2276795" y="1742633"/>
            <a:ext cx="5085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59" name="Google Shape;459;p26"/>
          <p:cNvSpPr txBox="1">
            <a:spLocks noGrp="1"/>
          </p:cNvSpPr>
          <p:nvPr>
            <p:ph type="title" idx="3" hasCustomPrompt="1"/>
          </p:nvPr>
        </p:nvSpPr>
        <p:spPr>
          <a:xfrm>
            <a:off x="960016" y="1961083"/>
            <a:ext cx="1205200" cy="58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60" name="Google Shape;460;p26"/>
          <p:cNvSpPr txBox="1">
            <a:spLocks noGrp="1"/>
          </p:cNvSpPr>
          <p:nvPr>
            <p:ph type="subTitle" idx="4"/>
          </p:nvPr>
        </p:nvSpPr>
        <p:spPr>
          <a:xfrm>
            <a:off x="2276524" y="3281729"/>
            <a:ext cx="5085200" cy="42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61" name="Google Shape;461;p26"/>
          <p:cNvSpPr txBox="1">
            <a:spLocks noGrp="1"/>
          </p:cNvSpPr>
          <p:nvPr>
            <p:ph type="title" idx="5"/>
          </p:nvPr>
        </p:nvSpPr>
        <p:spPr>
          <a:xfrm>
            <a:off x="2277136" y="2800252"/>
            <a:ext cx="5085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62" name="Google Shape;462;p26"/>
          <p:cNvSpPr txBox="1">
            <a:spLocks noGrp="1"/>
          </p:cNvSpPr>
          <p:nvPr>
            <p:ph type="title" idx="6" hasCustomPrompt="1"/>
          </p:nvPr>
        </p:nvSpPr>
        <p:spPr>
          <a:xfrm>
            <a:off x="960000" y="3025911"/>
            <a:ext cx="1205200" cy="58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63" name="Google Shape;463;p26"/>
          <p:cNvSpPr txBox="1">
            <a:spLocks noGrp="1"/>
          </p:cNvSpPr>
          <p:nvPr>
            <p:ph type="subTitle" idx="7"/>
          </p:nvPr>
        </p:nvSpPr>
        <p:spPr>
          <a:xfrm>
            <a:off x="2276547" y="4345531"/>
            <a:ext cx="5085200" cy="42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64" name="Google Shape;464;p26"/>
          <p:cNvSpPr txBox="1">
            <a:spLocks noGrp="1"/>
          </p:cNvSpPr>
          <p:nvPr>
            <p:ph type="title" idx="8"/>
          </p:nvPr>
        </p:nvSpPr>
        <p:spPr>
          <a:xfrm>
            <a:off x="2276795" y="3857872"/>
            <a:ext cx="5085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65" name="Google Shape;465;p26"/>
          <p:cNvSpPr txBox="1">
            <a:spLocks noGrp="1"/>
          </p:cNvSpPr>
          <p:nvPr>
            <p:ph type="title" idx="9" hasCustomPrompt="1"/>
          </p:nvPr>
        </p:nvSpPr>
        <p:spPr>
          <a:xfrm>
            <a:off x="960003" y="4090739"/>
            <a:ext cx="1205200" cy="58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66" name="Google Shape;466;p26"/>
          <p:cNvSpPr txBox="1">
            <a:spLocks noGrp="1"/>
          </p:cNvSpPr>
          <p:nvPr>
            <p:ph type="subTitle" idx="13"/>
          </p:nvPr>
        </p:nvSpPr>
        <p:spPr>
          <a:xfrm>
            <a:off x="2276464" y="5409333"/>
            <a:ext cx="5085200" cy="42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67" name="Google Shape;467;p26"/>
          <p:cNvSpPr txBox="1">
            <a:spLocks noGrp="1"/>
          </p:cNvSpPr>
          <p:nvPr>
            <p:ph type="title" idx="14"/>
          </p:nvPr>
        </p:nvSpPr>
        <p:spPr>
          <a:xfrm>
            <a:off x="2277075" y="4915491"/>
            <a:ext cx="5085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68" name="Google Shape;468;p26"/>
          <p:cNvSpPr txBox="1">
            <a:spLocks noGrp="1"/>
          </p:cNvSpPr>
          <p:nvPr>
            <p:ph type="title" idx="15" hasCustomPrompt="1"/>
          </p:nvPr>
        </p:nvSpPr>
        <p:spPr>
          <a:xfrm>
            <a:off x="960000" y="5155567"/>
            <a:ext cx="1205200" cy="58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1856619341"/>
      </p:ext>
    </p:extLst>
  </p:cSld>
  <p:clrMapOvr>
    <a:masterClrMapping/>
  </p:clrMapOvr>
  <p:transition spd="slow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6">
  <p:cSld name="Title and text 6"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Google Shape;491;p28"/>
          <p:cNvGrpSpPr/>
          <p:nvPr/>
        </p:nvGrpSpPr>
        <p:grpSpPr>
          <a:xfrm>
            <a:off x="1" y="3227214"/>
            <a:ext cx="12192025" cy="3630785"/>
            <a:chOff x="0" y="2420410"/>
            <a:chExt cx="9144019" cy="2723089"/>
          </a:xfrm>
        </p:grpSpPr>
        <p:sp>
          <p:nvSpPr>
            <p:cNvPr id="492" name="Google Shape;492;p28"/>
            <p:cNvSpPr/>
            <p:nvPr/>
          </p:nvSpPr>
          <p:spPr>
            <a:xfrm>
              <a:off x="0" y="2427593"/>
              <a:ext cx="6723895" cy="2321968"/>
            </a:xfrm>
            <a:custGeom>
              <a:avLst/>
              <a:gdLst/>
              <a:ahLst/>
              <a:cxnLst/>
              <a:rect l="l" t="t" r="r" b="b"/>
              <a:pathLst>
                <a:path w="38079" h="15711" extrusionOk="0">
                  <a:moveTo>
                    <a:pt x="9279" y="1"/>
                  </a:moveTo>
                  <a:cubicBezTo>
                    <a:pt x="8336" y="287"/>
                    <a:pt x="5430" y="1789"/>
                    <a:pt x="3120" y="3023"/>
                  </a:cubicBezTo>
                  <a:cubicBezTo>
                    <a:pt x="2020" y="3619"/>
                    <a:pt x="1040" y="4159"/>
                    <a:pt x="481" y="4446"/>
                  </a:cubicBezTo>
                  <a:cubicBezTo>
                    <a:pt x="172" y="4621"/>
                    <a:pt x="1" y="4718"/>
                    <a:pt x="1" y="4718"/>
                  </a:cubicBezTo>
                  <a:lnTo>
                    <a:pt x="1" y="15711"/>
                  </a:lnTo>
                  <a:cubicBezTo>
                    <a:pt x="1" y="15711"/>
                    <a:pt x="5753" y="14690"/>
                    <a:pt x="6276" y="14574"/>
                  </a:cubicBezTo>
                  <a:cubicBezTo>
                    <a:pt x="6775" y="14477"/>
                    <a:pt x="14532" y="13668"/>
                    <a:pt x="14532" y="13668"/>
                  </a:cubicBezTo>
                  <a:lnTo>
                    <a:pt x="17037" y="13571"/>
                  </a:lnTo>
                  <a:lnTo>
                    <a:pt x="21426" y="13359"/>
                  </a:lnTo>
                  <a:lnTo>
                    <a:pt x="22831" y="13303"/>
                  </a:lnTo>
                  <a:lnTo>
                    <a:pt x="24545" y="13225"/>
                  </a:lnTo>
                  <a:lnTo>
                    <a:pt x="33458" y="12379"/>
                  </a:lnTo>
                  <a:cubicBezTo>
                    <a:pt x="33458" y="12379"/>
                    <a:pt x="38079" y="10896"/>
                    <a:pt x="37039" y="9893"/>
                  </a:cubicBezTo>
                  <a:cubicBezTo>
                    <a:pt x="36850" y="9704"/>
                    <a:pt x="36577" y="9413"/>
                    <a:pt x="36272" y="9085"/>
                  </a:cubicBezTo>
                  <a:cubicBezTo>
                    <a:pt x="35616" y="8373"/>
                    <a:pt x="34808" y="7468"/>
                    <a:pt x="34151" y="6738"/>
                  </a:cubicBezTo>
                  <a:cubicBezTo>
                    <a:pt x="33537" y="6026"/>
                    <a:pt x="33075" y="5504"/>
                    <a:pt x="33075" y="5504"/>
                  </a:cubicBezTo>
                  <a:cubicBezTo>
                    <a:pt x="33075" y="5504"/>
                    <a:pt x="31998" y="5643"/>
                    <a:pt x="26837" y="5911"/>
                  </a:cubicBezTo>
                  <a:cubicBezTo>
                    <a:pt x="26393" y="5430"/>
                    <a:pt x="25834" y="4968"/>
                    <a:pt x="25257" y="4524"/>
                  </a:cubicBezTo>
                  <a:cubicBezTo>
                    <a:pt x="23815" y="3466"/>
                    <a:pt x="22253" y="2639"/>
                    <a:pt x="22198" y="2616"/>
                  </a:cubicBezTo>
                  <a:lnTo>
                    <a:pt x="14574" y="4621"/>
                  </a:lnTo>
                  <a:cubicBezTo>
                    <a:pt x="14574" y="4621"/>
                    <a:pt x="14094" y="4141"/>
                    <a:pt x="13359" y="3466"/>
                  </a:cubicBezTo>
                  <a:cubicBezTo>
                    <a:pt x="12282" y="2464"/>
                    <a:pt x="10684" y="1022"/>
                    <a:pt x="927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3" name="Google Shape;493;p28"/>
            <p:cNvSpPr/>
            <p:nvPr/>
          </p:nvSpPr>
          <p:spPr>
            <a:xfrm>
              <a:off x="2573469" y="2807042"/>
              <a:ext cx="2165546" cy="486976"/>
            </a:xfrm>
            <a:custGeom>
              <a:avLst/>
              <a:gdLst/>
              <a:ahLst/>
              <a:cxnLst/>
              <a:rect l="l" t="t" r="r" b="b"/>
              <a:pathLst>
                <a:path w="12264" h="3295" extrusionOk="0">
                  <a:moveTo>
                    <a:pt x="7624" y="0"/>
                  </a:moveTo>
                  <a:lnTo>
                    <a:pt x="0" y="2005"/>
                  </a:lnTo>
                  <a:lnTo>
                    <a:pt x="6062" y="1294"/>
                  </a:lnTo>
                  <a:lnTo>
                    <a:pt x="5716" y="2310"/>
                  </a:lnTo>
                  <a:lnTo>
                    <a:pt x="7393" y="1294"/>
                  </a:lnTo>
                  <a:lnTo>
                    <a:pt x="7929" y="2620"/>
                  </a:lnTo>
                  <a:lnTo>
                    <a:pt x="8336" y="1294"/>
                  </a:lnTo>
                  <a:lnTo>
                    <a:pt x="12263" y="3295"/>
                  </a:lnTo>
                  <a:cubicBezTo>
                    <a:pt x="11819" y="2814"/>
                    <a:pt x="11260" y="2352"/>
                    <a:pt x="10683" y="1908"/>
                  </a:cubicBezTo>
                  <a:cubicBezTo>
                    <a:pt x="9241" y="850"/>
                    <a:pt x="7679" y="23"/>
                    <a:pt x="762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4" name="Google Shape;494;p28"/>
            <p:cNvSpPr/>
            <p:nvPr/>
          </p:nvSpPr>
          <p:spPr>
            <a:xfrm>
              <a:off x="550751" y="2420410"/>
              <a:ext cx="1808154" cy="512397"/>
            </a:xfrm>
            <a:custGeom>
              <a:avLst/>
              <a:gdLst/>
              <a:ahLst/>
              <a:cxnLst/>
              <a:rect l="l" t="t" r="r" b="b"/>
              <a:pathLst>
                <a:path w="10240" h="3467" extrusionOk="0">
                  <a:moveTo>
                    <a:pt x="6160" y="1"/>
                  </a:moveTo>
                  <a:cubicBezTo>
                    <a:pt x="5217" y="287"/>
                    <a:pt x="2311" y="1789"/>
                    <a:pt x="1" y="3023"/>
                  </a:cubicBezTo>
                  <a:lnTo>
                    <a:pt x="5254" y="1673"/>
                  </a:lnTo>
                  <a:lnTo>
                    <a:pt x="5545" y="3023"/>
                  </a:lnTo>
                  <a:lnTo>
                    <a:pt x="6793" y="1673"/>
                  </a:lnTo>
                  <a:lnTo>
                    <a:pt x="10240" y="3466"/>
                  </a:lnTo>
                  <a:cubicBezTo>
                    <a:pt x="9163" y="2464"/>
                    <a:pt x="7565" y="1022"/>
                    <a:pt x="616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5" name="Google Shape;495;p28"/>
            <p:cNvSpPr/>
            <p:nvPr/>
          </p:nvSpPr>
          <p:spPr>
            <a:xfrm>
              <a:off x="2559102" y="3096187"/>
              <a:ext cx="1210086" cy="1322891"/>
            </a:xfrm>
            <a:custGeom>
              <a:avLst/>
              <a:gdLst/>
              <a:ahLst/>
              <a:cxnLst/>
              <a:rect l="l" t="t" r="r" b="b"/>
              <a:pathLst>
                <a:path w="6853" h="8951" extrusionOk="0">
                  <a:moveTo>
                    <a:pt x="0" y="0"/>
                  </a:moveTo>
                  <a:lnTo>
                    <a:pt x="2463" y="8950"/>
                  </a:lnTo>
                  <a:lnTo>
                    <a:pt x="6852" y="87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6" name="Google Shape;496;p28"/>
            <p:cNvSpPr/>
            <p:nvPr/>
          </p:nvSpPr>
          <p:spPr>
            <a:xfrm>
              <a:off x="5612684" y="3279288"/>
              <a:ext cx="3531335" cy="841577"/>
            </a:xfrm>
            <a:custGeom>
              <a:avLst/>
              <a:gdLst/>
              <a:ahLst/>
              <a:cxnLst/>
              <a:rect l="l" t="t" r="r" b="b"/>
              <a:pathLst>
                <a:path w="21487" h="6378" extrusionOk="0">
                  <a:moveTo>
                    <a:pt x="15285" y="0"/>
                  </a:moveTo>
                  <a:cubicBezTo>
                    <a:pt x="14267" y="0"/>
                    <a:pt x="12238" y="647"/>
                    <a:pt x="10397" y="1295"/>
                  </a:cubicBezTo>
                  <a:cubicBezTo>
                    <a:pt x="9283" y="1678"/>
                    <a:pt x="8244" y="2080"/>
                    <a:pt x="7550" y="2353"/>
                  </a:cubicBezTo>
                  <a:cubicBezTo>
                    <a:pt x="7065" y="2542"/>
                    <a:pt x="6760" y="2681"/>
                    <a:pt x="6760" y="2681"/>
                  </a:cubicBezTo>
                  <a:cubicBezTo>
                    <a:pt x="6742" y="2658"/>
                    <a:pt x="6603" y="2542"/>
                    <a:pt x="5490" y="1696"/>
                  </a:cubicBezTo>
                  <a:cubicBezTo>
                    <a:pt x="5102" y="1410"/>
                    <a:pt x="4566" y="1003"/>
                    <a:pt x="3872" y="463"/>
                  </a:cubicBezTo>
                  <a:cubicBezTo>
                    <a:pt x="3295" y="772"/>
                    <a:pt x="2676" y="1119"/>
                    <a:pt x="2024" y="1544"/>
                  </a:cubicBezTo>
                  <a:cubicBezTo>
                    <a:pt x="1387" y="1928"/>
                    <a:pt x="735" y="2353"/>
                    <a:pt x="0" y="2852"/>
                  </a:cubicBezTo>
                  <a:cubicBezTo>
                    <a:pt x="657" y="3582"/>
                    <a:pt x="1465" y="4487"/>
                    <a:pt x="2121" y="5199"/>
                  </a:cubicBezTo>
                  <a:cubicBezTo>
                    <a:pt x="2329" y="5180"/>
                    <a:pt x="2542" y="5180"/>
                    <a:pt x="2736" y="5162"/>
                  </a:cubicBezTo>
                  <a:cubicBezTo>
                    <a:pt x="2985" y="5143"/>
                    <a:pt x="3235" y="5125"/>
                    <a:pt x="3484" y="5125"/>
                  </a:cubicBezTo>
                  <a:cubicBezTo>
                    <a:pt x="3623" y="5106"/>
                    <a:pt x="3775" y="5106"/>
                    <a:pt x="3909" y="5106"/>
                  </a:cubicBezTo>
                  <a:cubicBezTo>
                    <a:pt x="4025" y="5083"/>
                    <a:pt x="4140" y="5083"/>
                    <a:pt x="4256" y="5083"/>
                  </a:cubicBezTo>
                  <a:cubicBezTo>
                    <a:pt x="4408" y="5083"/>
                    <a:pt x="4566" y="5065"/>
                    <a:pt x="4718" y="5065"/>
                  </a:cubicBezTo>
                  <a:lnTo>
                    <a:pt x="4778" y="5065"/>
                  </a:lnTo>
                  <a:cubicBezTo>
                    <a:pt x="5009" y="5046"/>
                    <a:pt x="5217" y="5046"/>
                    <a:pt x="5430" y="5028"/>
                  </a:cubicBezTo>
                  <a:lnTo>
                    <a:pt x="5776" y="5028"/>
                  </a:lnTo>
                  <a:cubicBezTo>
                    <a:pt x="6395" y="5009"/>
                    <a:pt x="6991" y="4991"/>
                    <a:pt x="7550" y="4991"/>
                  </a:cubicBezTo>
                  <a:lnTo>
                    <a:pt x="7684" y="4991"/>
                  </a:lnTo>
                  <a:cubicBezTo>
                    <a:pt x="7837" y="4991"/>
                    <a:pt x="7989" y="4968"/>
                    <a:pt x="8147" y="4968"/>
                  </a:cubicBezTo>
                  <a:lnTo>
                    <a:pt x="9454" y="4968"/>
                  </a:lnTo>
                  <a:cubicBezTo>
                    <a:pt x="10166" y="4968"/>
                    <a:pt x="10840" y="4991"/>
                    <a:pt x="11478" y="5009"/>
                  </a:cubicBezTo>
                  <a:lnTo>
                    <a:pt x="11515" y="5009"/>
                  </a:lnTo>
                  <a:cubicBezTo>
                    <a:pt x="11686" y="5009"/>
                    <a:pt x="11861" y="5028"/>
                    <a:pt x="12032" y="5028"/>
                  </a:cubicBezTo>
                  <a:lnTo>
                    <a:pt x="12226" y="5028"/>
                  </a:lnTo>
                  <a:cubicBezTo>
                    <a:pt x="12342" y="5046"/>
                    <a:pt x="12457" y="5046"/>
                    <a:pt x="12591" y="5046"/>
                  </a:cubicBezTo>
                  <a:lnTo>
                    <a:pt x="12767" y="5046"/>
                  </a:lnTo>
                  <a:cubicBezTo>
                    <a:pt x="12767" y="5046"/>
                    <a:pt x="12786" y="5065"/>
                    <a:pt x="12804" y="5065"/>
                  </a:cubicBezTo>
                  <a:cubicBezTo>
                    <a:pt x="13017" y="5065"/>
                    <a:pt x="13248" y="5083"/>
                    <a:pt x="13460" y="5083"/>
                  </a:cubicBezTo>
                  <a:cubicBezTo>
                    <a:pt x="13516" y="5083"/>
                    <a:pt x="13557" y="5106"/>
                    <a:pt x="13613" y="5106"/>
                  </a:cubicBezTo>
                  <a:cubicBezTo>
                    <a:pt x="13728" y="5106"/>
                    <a:pt x="13844" y="5125"/>
                    <a:pt x="13941" y="5125"/>
                  </a:cubicBezTo>
                  <a:cubicBezTo>
                    <a:pt x="14019" y="5125"/>
                    <a:pt x="14075" y="5125"/>
                    <a:pt x="14135" y="5143"/>
                  </a:cubicBezTo>
                  <a:cubicBezTo>
                    <a:pt x="14287" y="5143"/>
                    <a:pt x="14440" y="5162"/>
                    <a:pt x="14574" y="5162"/>
                  </a:cubicBezTo>
                  <a:cubicBezTo>
                    <a:pt x="14634" y="5162"/>
                    <a:pt x="14689" y="5180"/>
                    <a:pt x="14731" y="5180"/>
                  </a:cubicBezTo>
                  <a:lnTo>
                    <a:pt x="14883" y="5180"/>
                  </a:lnTo>
                  <a:cubicBezTo>
                    <a:pt x="14980" y="5199"/>
                    <a:pt x="15077" y="5199"/>
                    <a:pt x="15151" y="5222"/>
                  </a:cubicBezTo>
                  <a:cubicBezTo>
                    <a:pt x="15364" y="5240"/>
                    <a:pt x="15558" y="5259"/>
                    <a:pt x="15752" y="5277"/>
                  </a:cubicBezTo>
                  <a:lnTo>
                    <a:pt x="15886" y="5277"/>
                  </a:lnTo>
                  <a:cubicBezTo>
                    <a:pt x="15941" y="5277"/>
                    <a:pt x="15983" y="5296"/>
                    <a:pt x="16020" y="5296"/>
                  </a:cubicBezTo>
                  <a:cubicBezTo>
                    <a:pt x="16075" y="5296"/>
                    <a:pt x="16117" y="5296"/>
                    <a:pt x="16154" y="5314"/>
                  </a:cubicBezTo>
                  <a:lnTo>
                    <a:pt x="16172" y="5314"/>
                  </a:lnTo>
                  <a:cubicBezTo>
                    <a:pt x="16348" y="5338"/>
                    <a:pt x="16519" y="5356"/>
                    <a:pt x="16676" y="5374"/>
                  </a:cubicBezTo>
                  <a:cubicBezTo>
                    <a:pt x="17097" y="5411"/>
                    <a:pt x="17485" y="5471"/>
                    <a:pt x="17850" y="5527"/>
                  </a:cubicBezTo>
                  <a:cubicBezTo>
                    <a:pt x="18367" y="5605"/>
                    <a:pt x="18848" y="5684"/>
                    <a:pt x="19254" y="5758"/>
                  </a:cubicBezTo>
                  <a:lnTo>
                    <a:pt x="19254" y="5776"/>
                  </a:lnTo>
                  <a:lnTo>
                    <a:pt x="19333" y="5776"/>
                  </a:lnTo>
                  <a:cubicBezTo>
                    <a:pt x="19425" y="5800"/>
                    <a:pt x="19504" y="5818"/>
                    <a:pt x="19564" y="5837"/>
                  </a:cubicBezTo>
                  <a:cubicBezTo>
                    <a:pt x="19601" y="5837"/>
                    <a:pt x="19619" y="5837"/>
                    <a:pt x="19656" y="5855"/>
                  </a:cubicBezTo>
                  <a:cubicBezTo>
                    <a:pt x="19698" y="5855"/>
                    <a:pt x="19735" y="5873"/>
                    <a:pt x="19772" y="5873"/>
                  </a:cubicBezTo>
                  <a:lnTo>
                    <a:pt x="19795" y="5873"/>
                  </a:lnTo>
                  <a:cubicBezTo>
                    <a:pt x="19850" y="5892"/>
                    <a:pt x="19929" y="5915"/>
                    <a:pt x="19984" y="5934"/>
                  </a:cubicBezTo>
                  <a:cubicBezTo>
                    <a:pt x="20044" y="5934"/>
                    <a:pt x="20081" y="5952"/>
                    <a:pt x="20118" y="5952"/>
                  </a:cubicBezTo>
                  <a:cubicBezTo>
                    <a:pt x="20160" y="5971"/>
                    <a:pt x="20197" y="5971"/>
                    <a:pt x="20234" y="5989"/>
                  </a:cubicBezTo>
                  <a:cubicBezTo>
                    <a:pt x="20276" y="5989"/>
                    <a:pt x="20312" y="6007"/>
                    <a:pt x="20349" y="6007"/>
                  </a:cubicBezTo>
                  <a:cubicBezTo>
                    <a:pt x="20391" y="6031"/>
                    <a:pt x="20428" y="6031"/>
                    <a:pt x="20465" y="6049"/>
                  </a:cubicBezTo>
                  <a:cubicBezTo>
                    <a:pt x="20488" y="6049"/>
                    <a:pt x="20507" y="6049"/>
                    <a:pt x="20525" y="6068"/>
                  </a:cubicBezTo>
                  <a:cubicBezTo>
                    <a:pt x="20604" y="6086"/>
                    <a:pt x="20677" y="6105"/>
                    <a:pt x="20738" y="6123"/>
                  </a:cubicBezTo>
                  <a:cubicBezTo>
                    <a:pt x="20775" y="6123"/>
                    <a:pt x="20811" y="6146"/>
                    <a:pt x="20853" y="6146"/>
                  </a:cubicBezTo>
                  <a:cubicBezTo>
                    <a:pt x="20872" y="6165"/>
                    <a:pt x="20872" y="6165"/>
                    <a:pt x="20890" y="6165"/>
                  </a:cubicBezTo>
                  <a:cubicBezTo>
                    <a:pt x="20909" y="6165"/>
                    <a:pt x="20950" y="6183"/>
                    <a:pt x="20969" y="6183"/>
                  </a:cubicBezTo>
                  <a:cubicBezTo>
                    <a:pt x="20987" y="6202"/>
                    <a:pt x="21006" y="6202"/>
                    <a:pt x="21024" y="6202"/>
                  </a:cubicBezTo>
                  <a:cubicBezTo>
                    <a:pt x="21103" y="6220"/>
                    <a:pt x="21158" y="6262"/>
                    <a:pt x="21218" y="6280"/>
                  </a:cubicBezTo>
                  <a:lnTo>
                    <a:pt x="21255" y="6280"/>
                  </a:lnTo>
                  <a:cubicBezTo>
                    <a:pt x="21274" y="6299"/>
                    <a:pt x="21297" y="6299"/>
                    <a:pt x="21315" y="6299"/>
                  </a:cubicBezTo>
                  <a:lnTo>
                    <a:pt x="21334" y="6317"/>
                  </a:lnTo>
                  <a:cubicBezTo>
                    <a:pt x="21449" y="6354"/>
                    <a:pt x="21486" y="6377"/>
                    <a:pt x="21486" y="6377"/>
                  </a:cubicBezTo>
                  <a:lnTo>
                    <a:pt x="21486" y="4547"/>
                  </a:lnTo>
                  <a:cubicBezTo>
                    <a:pt x="20641" y="3951"/>
                    <a:pt x="19467" y="3120"/>
                    <a:pt x="18312" y="2274"/>
                  </a:cubicBezTo>
                  <a:cubicBezTo>
                    <a:pt x="17231" y="1484"/>
                    <a:pt x="16154" y="657"/>
                    <a:pt x="15327" y="1"/>
                  </a:cubicBezTo>
                  <a:cubicBezTo>
                    <a:pt x="15313" y="0"/>
                    <a:pt x="15299" y="0"/>
                    <a:pt x="15285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7" name="Google Shape;497;p28"/>
            <p:cNvSpPr/>
            <p:nvPr/>
          </p:nvSpPr>
          <p:spPr>
            <a:xfrm>
              <a:off x="5414892" y="3313676"/>
              <a:ext cx="1496091" cy="992923"/>
            </a:xfrm>
            <a:custGeom>
              <a:avLst/>
              <a:gdLst/>
              <a:ahLst/>
              <a:cxnLst/>
              <a:rect l="l" t="t" r="r" b="b"/>
              <a:pathLst>
                <a:path w="6761" h="4737" extrusionOk="0">
                  <a:moveTo>
                    <a:pt x="3872" y="1"/>
                  </a:moveTo>
                  <a:cubicBezTo>
                    <a:pt x="3295" y="310"/>
                    <a:pt x="2676" y="657"/>
                    <a:pt x="2024" y="1082"/>
                  </a:cubicBezTo>
                  <a:cubicBezTo>
                    <a:pt x="1387" y="1466"/>
                    <a:pt x="735" y="1891"/>
                    <a:pt x="0" y="2390"/>
                  </a:cubicBezTo>
                  <a:cubicBezTo>
                    <a:pt x="657" y="3120"/>
                    <a:pt x="1465" y="4025"/>
                    <a:pt x="2121" y="4737"/>
                  </a:cubicBezTo>
                  <a:cubicBezTo>
                    <a:pt x="2329" y="4718"/>
                    <a:pt x="2542" y="4718"/>
                    <a:pt x="2736" y="4700"/>
                  </a:cubicBezTo>
                  <a:cubicBezTo>
                    <a:pt x="2985" y="4681"/>
                    <a:pt x="3235" y="4663"/>
                    <a:pt x="3484" y="4663"/>
                  </a:cubicBezTo>
                  <a:cubicBezTo>
                    <a:pt x="3623" y="4644"/>
                    <a:pt x="3775" y="4644"/>
                    <a:pt x="3909" y="4644"/>
                  </a:cubicBezTo>
                  <a:lnTo>
                    <a:pt x="4718" y="3951"/>
                  </a:lnTo>
                  <a:lnTo>
                    <a:pt x="6760" y="2219"/>
                  </a:lnTo>
                  <a:cubicBezTo>
                    <a:pt x="6760" y="2196"/>
                    <a:pt x="6742" y="2177"/>
                    <a:pt x="6663" y="2140"/>
                  </a:cubicBezTo>
                  <a:cubicBezTo>
                    <a:pt x="6663" y="2140"/>
                    <a:pt x="6663" y="2122"/>
                    <a:pt x="6645" y="2122"/>
                  </a:cubicBezTo>
                  <a:cubicBezTo>
                    <a:pt x="6645" y="2103"/>
                    <a:pt x="6626" y="2103"/>
                    <a:pt x="6603" y="2080"/>
                  </a:cubicBezTo>
                  <a:lnTo>
                    <a:pt x="6585" y="2080"/>
                  </a:lnTo>
                  <a:cubicBezTo>
                    <a:pt x="6566" y="2062"/>
                    <a:pt x="6548" y="2043"/>
                    <a:pt x="6548" y="2043"/>
                  </a:cubicBezTo>
                  <a:cubicBezTo>
                    <a:pt x="6529" y="2025"/>
                    <a:pt x="6511" y="2006"/>
                    <a:pt x="6488" y="2006"/>
                  </a:cubicBezTo>
                  <a:lnTo>
                    <a:pt x="6469" y="1988"/>
                  </a:lnTo>
                  <a:cubicBezTo>
                    <a:pt x="6451" y="1965"/>
                    <a:pt x="6432" y="1965"/>
                    <a:pt x="6432" y="1946"/>
                  </a:cubicBezTo>
                  <a:cubicBezTo>
                    <a:pt x="6414" y="1946"/>
                    <a:pt x="6414" y="1928"/>
                    <a:pt x="6395" y="1928"/>
                  </a:cubicBezTo>
                  <a:cubicBezTo>
                    <a:pt x="6354" y="1891"/>
                    <a:pt x="6298" y="1849"/>
                    <a:pt x="6257" y="1812"/>
                  </a:cubicBezTo>
                  <a:cubicBezTo>
                    <a:pt x="6220" y="1794"/>
                    <a:pt x="6201" y="1775"/>
                    <a:pt x="6183" y="1757"/>
                  </a:cubicBezTo>
                  <a:cubicBezTo>
                    <a:pt x="6164" y="1757"/>
                    <a:pt x="6141" y="1734"/>
                    <a:pt x="6123" y="1715"/>
                  </a:cubicBezTo>
                  <a:cubicBezTo>
                    <a:pt x="6067" y="1678"/>
                    <a:pt x="6007" y="1641"/>
                    <a:pt x="5952" y="1581"/>
                  </a:cubicBezTo>
                  <a:cubicBezTo>
                    <a:pt x="5933" y="1581"/>
                    <a:pt x="5933" y="1563"/>
                    <a:pt x="5910" y="1563"/>
                  </a:cubicBezTo>
                  <a:cubicBezTo>
                    <a:pt x="5873" y="1526"/>
                    <a:pt x="5836" y="1484"/>
                    <a:pt x="5776" y="1466"/>
                  </a:cubicBezTo>
                  <a:cubicBezTo>
                    <a:pt x="5776" y="1447"/>
                    <a:pt x="5758" y="1447"/>
                    <a:pt x="5739" y="1429"/>
                  </a:cubicBezTo>
                  <a:cubicBezTo>
                    <a:pt x="5721" y="1410"/>
                    <a:pt x="5702" y="1387"/>
                    <a:pt x="5661" y="1368"/>
                  </a:cubicBezTo>
                  <a:cubicBezTo>
                    <a:pt x="5642" y="1350"/>
                    <a:pt x="5624" y="1332"/>
                    <a:pt x="5605" y="1332"/>
                  </a:cubicBezTo>
                  <a:cubicBezTo>
                    <a:pt x="5564" y="1295"/>
                    <a:pt x="5527" y="1271"/>
                    <a:pt x="5490" y="1234"/>
                  </a:cubicBezTo>
                  <a:cubicBezTo>
                    <a:pt x="5102" y="948"/>
                    <a:pt x="4566" y="541"/>
                    <a:pt x="3872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8" name="Google Shape;498;p28"/>
            <p:cNvSpPr/>
            <p:nvPr/>
          </p:nvSpPr>
          <p:spPr>
            <a:xfrm>
              <a:off x="5862775" y="3306492"/>
              <a:ext cx="1048215" cy="465125"/>
            </a:xfrm>
            <a:custGeom>
              <a:avLst/>
              <a:gdLst/>
              <a:ahLst/>
              <a:cxnLst/>
              <a:rect l="l" t="t" r="r" b="b"/>
              <a:pathLst>
                <a:path w="4737" h="2219" extrusionOk="0">
                  <a:moveTo>
                    <a:pt x="1848" y="1"/>
                  </a:moveTo>
                  <a:cubicBezTo>
                    <a:pt x="1271" y="310"/>
                    <a:pt x="652" y="657"/>
                    <a:pt x="0" y="1082"/>
                  </a:cubicBezTo>
                  <a:lnTo>
                    <a:pt x="1904" y="347"/>
                  </a:lnTo>
                  <a:lnTo>
                    <a:pt x="4736" y="2219"/>
                  </a:lnTo>
                  <a:cubicBezTo>
                    <a:pt x="4718" y="2196"/>
                    <a:pt x="4464" y="2006"/>
                    <a:pt x="184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9" name="Google Shape;499;p28"/>
            <p:cNvSpPr/>
            <p:nvPr/>
          </p:nvSpPr>
          <p:spPr>
            <a:xfrm>
              <a:off x="7314073" y="3272104"/>
              <a:ext cx="1300975" cy="300186"/>
            </a:xfrm>
            <a:custGeom>
              <a:avLst/>
              <a:gdLst/>
              <a:ahLst/>
              <a:cxnLst/>
              <a:rect l="l" t="t" r="r" b="b"/>
              <a:pathLst>
                <a:path w="7916" h="2275" extrusionOk="0">
                  <a:moveTo>
                    <a:pt x="4889" y="0"/>
                  </a:moveTo>
                  <a:cubicBezTo>
                    <a:pt x="3871" y="0"/>
                    <a:pt x="1842" y="647"/>
                    <a:pt x="1" y="1295"/>
                  </a:cubicBezTo>
                  <a:lnTo>
                    <a:pt x="3508" y="809"/>
                  </a:lnTo>
                  <a:lnTo>
                    <a:pt x="3642" y="1562"/>
                  </a:lnTo>
                  <a:lnTo>
                    <a:pt x="4524" y="657"/>
                  </a:lnTo>
                  <a:lnTo>
                    <a:pt x="7916" y="2274"/>
                  </a:lnTo>
                  <a:cubicBezTo>
                    <a:pt x="6835" y="1484"/>
                    <a:pt x="5758" y="657"/>
                    <a:pt x="4931" y="1"/>
                  </a:cubicBezTo>
                  <a:cubicBezTo>
                    <a:pt x="4917" y="0"/>
                    <a:pt x="4903" y="0"/>
                    <a:pt x="4889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0" name="Google Shape;500;p28"/>
            <p:cNvSpPr/>
            <p:nvPr/>
          </p:nvSpPr>
          <p:spPr>
            <a:xfrm>
              <a:off x="25" y="3761474"/>
              <a:ext cx="9143966" cy="1382025"/>
            </a:xfrm>
            <a:custGeom>
              <a:avLst/>
              <a:gdLst/>
              <a:ahLst/>
              <a:cxnLst/>
              <a:rect l="l" t="t" r="r" b="b"/>
              <a:pathLst>
                <a:path w="55638" h="13062" extrusionOk="0">
                  <a:moveTo>
                    <a:pt x="18328" y="0"/>
                  </a:moveTo>
                  <a:cubicBezTo>
                    <a:pt x="9728" y="0"/>
                    <a:pt x="1" y="1838"/>
                    <a:pt x="1" y="1838"/>
                  </a:cubicBezTo>
                  <a:lnTo>
                    <a:pt x="1" y="13062"/>
                  </a:lnTo>
                  <a:lnTo>
                    <a:pt x="55637" y="13062"/>
                  </a:lnTo>
                  <a:lnTo>
                    <a:pt x="55637" y="1838"/>
                  </a:lnTo>
                  <a:cubicBezTo>
                    <a:pt x="55637" y="1838"/>
                    <a:pt x="54001" y="1880"/>
                    <a:pt x="51326" y="1880"/>
                  </a:cubicBezTo>
                  <a:lnTo>
                    <a:pt x="51308" y="1880"/>
                  </a:lnTo>
                  <a:cubicBezTo>
                    <a:pt x="45241" y="1880"/>
                    <a:pt x="33846" y="1667"/>
                    <a:pt x="23815" y="318"/>
                  </a:cubicBezTo>
                  <a:cubicBezTo>
                    <a:pt x="22124" y="92"/>
                    <a:pt x="20254" y="0"/>
                    <a:pt x="18328" y="0"/>
                  </a:cubicBezTo>
                  <a:close/>
                </a:path>
              </a:pathLst>
            </a:custGeom>
            <a:gradFill>
              <a:gsLst>
                <a:gs pos="0">
                  <a:srgbClr val="47CC23"/>
                </a:gs>
                <a:gs pos="100000">
                  <a:srgbClr val="235814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1" name="Google Shape;501;p28"/>
            <p:cNvSpPr/>
            <p:nvPr/>
          </p:nvSpPr>
          <p:spPr>
            <a:xfrm>
              <a:off x="25" y="4150551"/>
              <a:ext cx="9143966" cy="992913"/>
            </a:xfrm>
            <a:custGeom>
              <a:avLst/>
              <a:gdLst/>
              <a:ahLst/>
              <a:cxnLst/>
              <a:rect l="l" t="t" r="r" b="b"/>
              <a:pathLst>
                <a:path w="55638" h="9704" extrusionOk="0">
                  <a:moveTo>
                    <a:pt x="47791" y="0"/>
                  </a:moveTo>
                  <a:cubicBezTo>
                    <a:pt x="42137" y="0"/>
                    <a:pt x="36555" y="1243"/>
                    <a:pt x="31014" y="2426"/>
                  </a:cubicBezTo>
                  <a:cubicBezTo>
                    <a:pt x="25825" y="3542"/>
                    <a:pt x="20552" y="4639"/>
                    <a:pt x="15243" y="4639"/>
                  </a:cubicBezTo>
                  <a:cubicBezTo>
                    <a:pt x="14860" y="4639"/>
                    <a:pt x="14477" y="4633"/>
                    <a:pt x="14094" y="4621"/>
                  </a:cubicBezTo>
                  <a:cubicBezTo>
                    <a:pt x="9126" y="4487"/>
                    <a:pt x="4062" y="3235"/>
                    <a:pt x="1" y="407"/>
                  </a:cubicBezTo>
                  <a:lnTo>
                    <a:pt x="1" y="9704"/>
                  </a:lnTo>
                  <a:lnTo>
                    <a:pt x="55637" y="9704"/>
                  </a:lnTo>
                  <a:lnTo>
                    <a:pt x="55637" y="1678"/>
                  </a:lnTo>
                  <a:cubicBezTo>
                    <a:pt x="53368" y="310"/>
                    <a:pt x="50596" y="0"/>
                    <a:pt x="47916" y="0"/>
                  </a:cubicBezTo>
                  <a:cubicBezTo>
                    <a:pt x="47875" y="0"/>
                    <a:pt x="47833" y="0"/>
                    <a:pt x="47791" y="0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7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2" name="Google Shape;502;p28"/>
            <p:cNvSpPr/>
            <p:nvPr/>
          </p:nvSpPr>
          <p:spPr>
            <a:xfrm>
              <a:off x="0" y="3563052"/>
              <a:ext cx="9143966" cy="445859"/>
            </a:xfrm>
            <a:custGeom>
              <a:avLst/>
              <a:gdLst/>
              <a:ahLst/>
              <a:cxnLst/>
              <a:rect l="l" t="t" r="r" b="b"/>
              <a:pathLst>
                <a:path w="55638" h="3379" extrusionOk="0">
                  <a:moveTo>
                    <a:pt x="15264" y="1"/>
                  </a:moveTo>
                  <a:cubicBezTo>
                    <a:pt x="13174" y="1"/>
                    <a:pt x="11723" y="759"/>
                    <a:pt x="11723" y="759"/>
                  </a:cubicBezTo>
                  <a:cubicBezTo>
                    <a:pt x="11309" y="618"/>
                    <a:pt x="10916" y="561"/>
                    <a:pt x="10551" y="561"/>
                  </a:cubicBezTo>
                  <a:cubicBezTo>
                    <a:pt x="8908" y="561"/>
                    <a:pt x="7814" y="1720"/>
                    <a:pt x="7814" y="1720"/>
                  </a:cubicBezTo>
                  <a:cubicBezTo>
                    <a:pt x="7814" y="1720"/>
                    <a:pt x="7278" y="181"/>
                    <a:pt x="5735" y="84"/>
                  </a:cubicBezTo>
                  <a:cubicBezTo>
                    <a:pt x="5668" y="79"/>
                    <a:pt x="5601" y="77"/>
                    <a:pt x="5533" y="77"/>
                  </a:cubicBezTo>
                  <a:cubicBezTo>
                    <a:pt x="4050" y="77"/>
                    <a:pt x="2482" y="1240"/>
                    <a:pt x="2482" y="1240"/>
                  </a:cubicBezTo>
                  <a:lnTo>
                    <a:pt x="1692" y="814"/>
                  </a:lnTo>
                  <a:cubicBezTo>
                    <a:pt x="1544" y="738"/>
                    <a:pt x="1395" y="706"/>
                    <a:pt x="1248" y="706"/>
                  </a:cubicBezTo>
                  <a:cubicBezTo>
                    <a:pt x="591" y="706"/>
                    <a:pt x="1" y="1337"/>
                    <a:pt x="1" y="1337"/>
                  </a:cubicBezTo>
                  <a:lnTo>
                    <a:pt x="1" y="3337"/>
                  </a:lnTo>
                  <a:cubicBezTo>
                    <a:pt x="1" y="3337"/>
                    <a:pt x="9728" y="1499"/>
                    <a:pt x="18328" y="1499"/>
                  </a:cubicBezTo>
                  <a:cubicBezTo>
                    <a:pt x="20254" y="1499"/>
                    <a:pt x="22124" y="1591"/>
                    <a:pt x="23815" y="1817"/>
                  </a:cubicBezTo>
                  <a:cubicBezTo>
                    <a:pt x="33846" y="3166"/>
                    <a:pt x="45241" y="3379"/>
                    <a:pt x="51308" y="3379"/>
                  </a:cubicBezTo>
                  <a:lnTo>
                    <a:pt x="51326" y="3379"/>
                  </a:lnTo>
                  <a:lnTo>
                    <a:pt x="55637" y="3337"/>
                  </a:lnTo>
                  <a:lnTo>
                    <a:pt x="55637" y="1489"/>
                  </a:lnTo>
                  <a:cubicBezTo>
                    <a:pt x="55050" y="1456"/>
                    <a:pt x="54471" y="1441"/>
                    <a:pt x="53905" y="1441"/>
                  </a:cubicBezTo>
                  <a:cubicBezTo>
                    <a:pt x="48848" y="1441"/>
                    <a:pt x="44797" y="2626"/>
                    <a:pt x="44797" y="2626"/>
                  </a:cubicBezTo>
                  <a:cubicBezTo>
                    <a:pt x="44797" y="2626"/>
                    <a:pt x="44201" y="1720"/>
                    <a:pt x="42450" y="1489"/>
                  </a:cubicBezTo>
                  <a:cubicBezTo>
                    <a:pt x="42301" y="1471"/>
                    <a:pt x="42124" y="1463"/>
                    <a:pt x="41924" y="1463"/>
                  </a:cubicBezTo>
                  <a:cubicBezTo>
                    <a:pt x="39754" y="1463"/>
                    <a:pt x="34942" y="2432"/>
                    <a:pt x="34942" y="2432"/>
                  </a:cubicBezTo>
                  <a:cubicBezTo>
                    <a:pt x="34942" y="2432"/>
                    <a:pt x="34577" y="1914"/>
                    <a:pt x="33823" y="1877"/>
                  </a:cubicBezTo>
                  <a:cubicBezTo>
                    <a:pt x="33790" y="1875"/>
                    <a:pt x="33754" y="1874"/>
                    <a:pt x="33716" y="1874"/>
                  </a:cubicBezTo>
                  <a:cubicBezTo>
                    <a:pt x="32908" y="1874"/>
                    <a:pt x="31167" y="2279"/>
                    <a:pt x="31167" y="2279"/>
                  </a:cubicBezTo>
                  <a:cubicBezTo>
                    <a:pt x="31167" y="2279"/>
                    <a:pt x="27609" y="1434"/>
                    <a:pt x="25335" y="759"/>
                  </a:cubicBezTo>
                  <a:cubicBezTo>
                    <a:pt x="24815" y="605"/>
                    <a:pt x="24217" y="545"/>
                    <a:pt x="23605" y="545"/>
                  </a:cubicBezTo>
                  <a:cubicBezTo>
                    <a:pt x="21541" y="545"/>
                    <a:pt x="19310" y="1221"/>
                    <a:pt x="19310" y="1221"/>
                  </a:cubicBezTo>
                  <a:cubicBezTo>
                    <a:pt x="19310" y="1221"/>
                    <a:pt x="19195" y="468"/>
                    <a:pt x="16459" y="84"/>
                  </a:cubicBezTo>
                  <a:cubicBezTo>
                    <a:pt x="16043" y="26"/>
                    <a:pt x="15643" y="1"/>
                    <a:pt x="15264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3" name="Google Shape;503;p28"/>
            <p:cNvSpPr/>
            <p:nvPr/>
          </p:nvSpPr>
          <p:spPr>
            <a:xfrm>
              <a:off x="3470419" y="4246795"/>
              <a:ext cx="145941" cy="25071"/>
            </a:xfrm>
            <a:custGeom>
              <a:avLst/>
              <a:gdLst/>
              <a:ahLst/>
              <a:cxnLst/>
              <a:rect l="l" t="t" r="r" b="b"/>
              <a:pathLst>
                <a:path w="888" h="190" extrusionOk="0">
                  <a:moveTo>
                    <a:pt x="444" y="0"/>
                  </a:moveTo>
                  <a:cubicBezTo>
                    <a:pt x="195" y="0"/>
                    <a:pt x="1" y="37"/>
                    <a:pt x="1" y="93"/>
                  </a:cubicBezTo>
                  <a:cubicBezTo>
                    <a:pt x="1" y="153"/>
                    <a:pt x="195" y="190"/>
                    <a:pt x="444" y="190"/>
                  </a:cubicBezTo>
                  <a:cubicBezTo>
                    <a:pt x="694" y="190"/>
                    <a:pt x="888" y="153"/>
                    <a:pt x="888" y="93"/>
                  </a:cubicBezTo>
                  <a:cubicBezTo>
                    <a:pt x="888" y="37"/>
                    <a:pt x="694" y="0"/>
                    <a:pt x="444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4" name="Google Shape;504;p28"/>
            <p:cNvSpPr/>
            <p:nvPr/>
          </p:nvSpPr>
          <p:spPr>
            <a:xfrm>
              <a:off x="4312708" y="4668115"/>
              <a:ext cx="132957" cy="28105"/>
            </a:xfrm>
            <a:custGeom>
              <a:avLst/>
              <a:gdLst/>
              <a:ahLst/>
              <a:cxnLst/>
              <a:rect l="l" t="t" r="r" b="b"/>
              <a:pathLst>
                <a:path w="809" h="213" extrusionOk="0">
                  <a:moveTo>
                    <a:pt x="402" y="0"/>
                  </a:moveTo>
                  <a:cubicBezTo>
                    <a:pt x="171" y="0"/>
                    <a:pt x="0" y="60"/>
                    <a:pt x="0" y="116"/>
                  </a:cubicBezTo>
                  <a:cubicBezTo>
                    <a:pt x="0" y="176"/>
                    <a:pt x="171" y="213"/>
                    <a:pt x="402" y="213"/>
                  </a:cubicBezTo>
                  <a:cubicBezTo>
                    <a:pt x="615" y="213"/>
                    <a:pt x="809" y="176"/>
                    <a:pt x="809" y="116"/>
                  </a:cubicBezTo>
                  <a:cubicBezTo>
                    <a:pt x="809" y="60"/>
                    <a:pt x="615" y="0"/>
                    <a:pt x="402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5" name="Google Shape;505;p28"/>
            <p:cNvSpPr/>
            <p:nvPr/>
          </p:nvSpPr>
          <p:spPr>
            <a:xfrm>
              <a:off x="5198056" y="3969302"/>
              <a:ext cx="139860" cy="25730"/>
            </a:xfrm>
            <a:custGeom>
              <a:avLst/>
              <a:gdLst/>
              <a:ahLst/>
              <a:cxnLst/>
              <a:rect l="l" t="t" r="r" b="b"/>
              <a:pathLst>
                <a:path w="851" h="195" extrusionOk="0">
                  <a:moveTo>
                    <a:pt x="426" y="1"/>
                  </a:moveTo>
                  <a:cubicBezTo>
                    <a:pt x="195" y="1"/>
                    <a:pt x="1" y="42"/>
                    <a:pt x="1" y="98"/>
                  </a:cubicBezTo>
                  <a:cubicBezTo>
                    <a:pt x="1" y="158"/>
                    <a:pt x="195" y="195"/>
                    <a:pt x="426" y="195"/>
                  </a:cubicBezTo>
                  <a:cubicBezTo>
                    <a:pt x="657" y="195"/>
                    <a:pt x="851" y="158"/>
                    <a:pt x="851" y="98"/>
                  </a:cubicBezTo>
                  <a:cubicBezTo>
                    <a:pt x="851" y="42"/>
                    <a:pt x="657" y="1"/>
                    <a:pt x="426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6" name="Google Shape;506;p28"/>
            <p:cNvSpPr/>
            <p:nvPr/>
          </p:nvSpPr>
          <p:spPr>
            <a:xfrm>
              <a:off x="1524855" y="3913882"/>
              <a:ext cx="101238" cy="22695"/>
            </a:xfrm>
            <a:custGeom>
              <a:avLst/>
              <a:gdLst/>
              <a:ahLst/>
              <a:cxnLst/>
              <a:rect l="l" t="t" r="r" b="b"/>
              <a:pathLst>
                <a:path w="616" h="172" extrusionOk="0">
                  <a:moveTo>
                    <a:pt x="310" y="0"/>
                  </a:moveTo>
                  <a:cubicBezTo>
                    <a:pt x="135" y="0"/>
                    <a:pt x="1" y="37"/>
                    <a:pt x="1" y="74"/>
                  </a:cubicBezTo>
                  <a:cubicBezTo>
                    <a:pt x="1" y="134"/>
                    <a:pt x="135" y="171"/>
                    <a:pt x="310" y="171"/>
                  </a:cubicBezTo>
                  <a:cubicBezTo>
                    <a:pt x="481" y="171"/>
                    <a:pt x="615" y="134"/>
                    <a:pt x="615" y="74"/>
                  </a:cubicBezTo>
                  <a:cubicBezTo>
                    <a:pt x="615" y="37"/>
                    <a:pt x="481" y="0"/>
                    <a:pt x="310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7" name="Google Shape;507;p28"/>
            <p:cNvSpPr/>
            <p:nvPr/>
          </p:nvSpPr>
          <p:spPr>
            <a:xfrm>
              <a:off x="3584288" y="3950328"/>
              <a:ext cx="76093" cy="20188"/>
            </a:xfrm>
            <a:custGeom>
              <a:avLst/>
              <a:gdLst/>
              <a:ahLst/>
              <a:cxnLst/>
              <a:rect l="l" t="t" r="r" b="b"/>
              <a:pathLst>
                <a:path w="463" h="153" extrusionOk="0">
                  <a:moveTo>
                    <a:pt x="232" y="0"/>
                  </a:moveTo>
                  <a:cubicBezTo>
                    <a:pt x="98" y="0"/>
                    <a:pt x="1" y="37"/>
                    <a:pt x="1" y="74"/>
                  </a:cubicBezTo>
                  <a:cubicBezTo>
                    <a:pt x="1" y="116"/>
                    <a:pt x="98" y="153"/>
                    <a:pt x="232" y="153"/>
                  </a:cubicBezTo>
                  <a:cubicBezTo>
                    <a:pt x="347" y="153"/>
                    <a:pt x="463" y="116"/>
                    <a:pt x="463" y="74"/>
                  </a:cubicBezTo>
                  <a:cubicBezTo>
                    <a:pt x="463" y="37"/>
                    <a:pt x="347" y="0"/>
                    <a:pt x="232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8" name="Google Shape;508;p28"/>
            <p:cNvSpPr/>
            <p:nvPr/>
          </p:nvSpPr>
          <p:spPr>
            <a:xfrm>
              <a:off x="7062432" y="4647926"/>
              <a:ext cx="79051" cy="10556"/>
            </a:xfrm>
            <a:custGeom>
              <a:avLst/>
              <a:gdLst/>
              <a:ahLst/>
              <a:cxnLst/>
              <a:rect l="l" t="t" r="r" b="b"/>
              <a:pathLst>
                <a:path w="481" h="80" extrusionOk="0">
                  <a:moveTo>
                    <a:pt x="250" y="1"/>
                  </a:moveTo>
                  <a:cubicBezTo>
                    <a:pt x="116" y="1"/>
                    <a:pt x="0" y="19"/>
                    <a:pt x="0" y="38"/>
                  </a:cubicBezTo>
                  <a:cubicBezTo>
                    <a:pt x="0" y="56"/>
                    <a:pt x="116" y="79"/>
                    <a:pt x="250" y="79"/>
                  </a:cubicBezTo>
                  <a:cubicBezTo>
                    <a:pt x="384" y="79"/>
                    <a:pt x="481" y="56"/>
                    <a:pt x="481" y="38"/>
                  </a:cubicBezTo>
                  <a:cubicBezTo>
                    <a:pt x="481" y="19"/>
                    <a:pt x="384" y="1"/>
                    <a:pt x="250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9" name="Google Shape;509;p28"/>
            <p:cNvSpPr/>
            <p:nvPr/>
          </p:nvSpPr>
          <p:spPr>
            <a:xfrm>
              <a:off x="5198056" y="4449736"/>
              <a:ext cx="98937" cy="25730"/>
            </a:xfrm>
            <a:custGeom>
              <a:avLst/>
              <a:gdLst/>
              <a:ahLst/>
              <a:cxnLst/>
              <a:rect l="l" t="t" r="r" b="b"/>
              <a:pathLst>
                <a:path w="602" h="195" extrusionOk="0">
                  <a:moveTo>
                    <a:pt x="292" y="1"/>
                  </a:moveTo>
                  <a:cubicBezTo>
                    <a:pt x="139" y="1"/>
                    <a:pt x="1" y="38"/>
                    <a:pt x="1" y="98"/>
                  </a:cubicBezTo>
                  <a:cubicBezTo>
                    <a:pt x="1" y="135"/>
                    <a:pt x="139" y="195"/>
                    <a:pt x="292" y="195"/>
                  </a:cubicBezTo>
                  <a:cubicBezTo>
                    <a:pt x="463" y="195"/>
                    <a:pt x="601" y="135"/>
                    <a:pt x="601" y="98"/>
                  </a:cubicBezTo>
                  <a:cubicBezTo>
                    <a:pt x="601" y="38"/>
                    <a:pt x="463" y="1"/>
                    <a:pt x="292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4448625" y="3929056"/>
              <a:ext cx="88912" cy="22695"/>
            </a:xfrm>
            <a:custGeom>
              <a:avLst/>
              <a:gdLst/>
              <a:ahLst/>
              <a:cxnLst/>
              <a:rect l="l" t="t" r="r" b="b"/>
              <a:pathLst>
                <a:path w="541" h="172" extrusionOk="0">
                  <a:moveTo>
                    <a:pt x="268" y="1"/>
                  </a:moveTo>
                  <a:cubicBezTo>
                    <a:pt x="116" y="1"/>
                    <a:pt x="0" y="38"/>
                    <a:pt x="0" y="98"/>
                  </a:cubicBezTo>
                  <a:cubicBezTo>
                    <a:pt x="0" y="135"/>
                    <a:pt x="116" y="172"/>
                    <a:pt x="268" y="172"/>
                  </a:cubicBezTo>
                  <a:cubicBezTo>
                    <a:pt x="425" y="172"/>
                    <a:pt x="541" y="135"/>
                    <a:pt x="541" y="98"/>
                  </a:cubicBezTo>
                  <a:cubicBezTo>
                    <a:pt x="541" y="38"/>
                    <a:pt x="425" y="1"/>
                    <a:pt x="268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1613743" y="3878943"/>
              <a:ext cx="50290" cy="17813"/>
            </a:xfrm>
            <a:custGeom>
              <a:avLst/>
              <a:gdLst/>
              <a:ahLst/>
              <a:cxnLst/>
              <a:rect l="l" t="t" r="r" b="b"/>
              <a:pathLst>
                <a:path w="306" h="135" extrusionOk="0">
                  <a:moveTo>
                    <a:pt x="153" y="1"/>
                  </a:moveTo>
                  <a:cubicBezTo>
                    <a:pt x="56" y="1"/>
                    <a:pt x="1" y="38"/>
                    <a:pt x="1" y="61"/>
                  </a:cubicBezTo>
                  <a:cubicBezTo>
                    <a:pt x="1" y="98"/>
                    <a:pt x="56" y="135"/>
                    <a:pt x="153" y="135"/>
                  </a:cubicBezTo>
                  <a:cubicBezTo>
                    <a:pt x="232" y="135"/>
                    <a:pt x="305" y="98"/>
                    <a:pt x="305" y="61"/>
                  </a:cubicBezTo>
                  <a:cubicBezTo>
                    <a:pt x="305" y="38"/>
                    <a:pt x="232" y="1"/>
                    <a:pt x="153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7081332" y="4241253"/>
              <a:ext cx="101238" cy="23355"/>
            </a:xfrm>
            <a:custGeom>
              <a:avLst/>
              <a:gdLst/>
              <a:ahLst/>
              <a:cxnLst/>
              <a:rect l="l" t="t" r="r" b="b"/>
              <a:pathLst>
                <a:path w="616" h="177" extrusionOk="0">
                  <a:moveTo>
                    <a:pt x="306" y="1"/>
                  </a:moveTo>
                  <a:cubicBezTo>
                    <a:pt x="135" y="1"/>
                    <a:pt x="1" y="42"/>
                    <a:pt x="1" y="79"/>
                  </a:cubicBezTo>
                  <a:cubicBezTo>
                    <a:pt x="1" y="135"/>
                    <a:pt x="135" y="176"/>
                    <a:pt x="306" y="176"/>
                  </a:cubicBezTo>
                  <a:cubicBezTo>
                    <a:pt x="481" y="176"/>
                    <a:pt x="615" y="135"/>
                    <a:pt x="615" y="79"/>
                  </a:cubicBezTo>
                  <a:cubicBezTo>
                    <a:pt x="615" y="42"/>
                    <a:pt x="481" y="1"/>
                    <a:pt x="306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13" name="Google Shape;513;p28"/>
          <p:cNvSpPr/>
          <p:nvPr/>
        </p:nvSpPr>
        <p:spPr>
          <a:xfrm>
            <a:off x="8464533" y="3096604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4" name="Google Shape;514;p28"/>
          <p:cNvSpPr/>
          <p:nvPr/>
        </p:nvSpPr>
        <p:spPr>
          <a:xfrm>
            <a:off x="-1162022" y="9395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5" name="Google Shape;515;p28"/>
          <p:cNvSpPr/>
          <p:nvPr/>
        </p:nvSpPr>
        <p:spPr>
          <a:xfrm>
            <a:off x="8182532" y="956734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6" name="Google Shape;516;p28"/>
          <p:cNvSpPr txBox="1">
            <a:spLocks noGrp="1"/>
          </p:cNvSpPr>
          <p:nvPr>
            <p:ph type="title"/>
          </p:nvPr>
        </p:nvSpPr>
        <p:spPr>
          <a:xfrm>
            <a:off x="4224000" y="1995667"/>
            <a:ext cx="3744000" cy="74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4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517" name="Google Shape;517;p28"/>
          <p:cNvSpPr txBox="1">
            <a:spLocks noGrp="1"/>
          </p:cNvSpPr>
          <p:nvPr>
            <p:ph type="title" idx="2" hasCustomPrompt="1"/>
          </p:nvPr>
        </p:nvSpPr>
        <p:spPr>
          <a:xfrm>
            <a:off x="4224000" y="1036067"/>
            <a:ext cx="3744000" cy="959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80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t>xx%</a:t>
            </a:r>
          </a:p>
        </p:txBody>
      </p:sp>
      <p:sp>
        <p:nvSpPr>
          <p:cNvPr id="518" name="Google Shape;518;p28"/>
          <p:cNvSpPr txBox="1">
            <a:spLocks noGrp="1"/>
          </p:cNvSpPr>
          <p:nvPr>
            <p:ph type="body" idx="1"/>
          </p:nvPr>
        </p:nvSpPr>
        <p:spPr>
          <a:xfrm>
            <a:off x="3403800" y="2753367"/>
            <a:ext cx="5384400" cy="54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2133">
                <a:solidFill>
                  <a:schemeClr val="dk1"/>
                </a:solidFill>
              </a:defRPr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60449597"/>
      </p:ext>
    </p:extLst>
  </p:cSld>
  <p:clrMapOvr>
    <a:masterClrMapping/>
  </p:clrMapOvr>
  <p:transition spd="slow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">
  <p:cSld name="Numbers and text">
    <p:spTree>
      <p:nvGrpSpPr>
        <p:cNvPr id="1" name="Shape 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8" name="Google Shape;528;p30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529" name="Google Shape;529;p30"/>
          <p:cNvSpPr txBox="1">
            <a:spLocks noGrp="1"/>
          </p:cNvSpPr>
          <p:nvPr>
            <p:ph type="title" hasCustomPrompt="1"/>
          </p:nvPr>
        </p:nvSpPr>
        <p:spPr>
          <a:xfrm>
            <a:off x="1471793" y="685800"/>
            <a:ext cx="6148000" cy="124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7200"/>
            </a:lvl1pPr>
            <a:lvl2pPr lvl="1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2pPr>
            <a:lvl3pPr lvl="2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3pPr>
            <a:lvl4pPr lvl="3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4pPr>
            <a:lvl5pPr lvl="4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5pPr>
            <a:lvl6pPr lvl="5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6pPr>
            <a:lvl7pPr lvl="6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7pPr>
            <a:lvl8pPr lvl="7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8pPr>
            <a:lvl9pPr lvl="8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530" name="Google Shape;530;p30"/>
          <p:cNvSpPr txBox="1">
            <a:spLocks noGrp="1"/>
          </p:cNvSpPr>
          <p:nvPr>
            <p:ph type="subTitle" idx="1"/>
          </p:nvPr>
        </p:nvSpPr>
        <p:spPr>
          <a:xfrm>
            <a:off x="1471732" y="1696067"/>
            <a:ext cx="6148000" cy="57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133"/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133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133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133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133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133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133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133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133"/>
            </a:lvl9pPr>
          </a:lstStyle>
          <a:p>
            <a:endParaRPr/>
          </a:p>
        </p:txBody>
      </p:sp>
      <p:sp>
        <p:nvSpPr>
          <p:cNvPr id="531" name="Google Shape;531;p30"/>
          <p:cNvSpPr txBox="1">
            <a:spLocks noGrp="1"/>
          </p:cNvSpPr>
          <p:nvPr>
            <p:ph type="title" idx="2" hasCustomPrompt="1"/>
          </p:nvPr>
        </p:nvSpPr>
        <p:spPr>
          <a:xfrm>
            <a:off x="1471873" y="2361993"/>
            <a:ext cx="6148000" cy="124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7200"/>
            </a:lvl1pPr>
            <a:lvl2pPr lvl="1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2pPr>
            <a:lvl3pPr lvl="2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3pPr>
            <a:lvl4pPr lvl="3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4pPr>
            <a:lvl5pPr lvl="4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5pPr>
            <a:lvl6pPr lvl="5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6pPr>
            <a:lvl7pPr lvl="6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7pPr>
            <a:lvl8pPr lvl="7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8pPr>
            <a:lvl9pPr lvl="8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532" name="Google Shape;532;p30"/>
          <p:cNvSpPr txBox="1">
            <a:spLocks noGrp="1"/>
          </p:cNvSpPr>
          <p:nvPr>
            <p:ph type="subTitle" idx="3"/>
          </p:nvPr>
        </p:nvSpPr>
        <p:spPr>
          <a:xfrm>
            <a:off x="1471700" y="3384084"/>
            <a:ext cx="6148000" cy="57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133"/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133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133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133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133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133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133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133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133"/>
            </a:lvl9pPr>
          </a:lstStyle>
          <a:p>
            <a:endParaRPr/>
          </a:p>
        </p:txBody>
      </p:sp>
      <p:sp>
        <p:nvSpPr>
          <p:cNvPr id="533" name="Google Shape;533;p30"/>
          <p:cNvSpPr txBox="1">
            <a:spLocks noGrp="1"/>
          </p:cNvSpPr>
          <p:nvPr>
            <p:ph type="title" idx="4" hasCustomPrompt="1"/>
          </p:nvPr>
        </p:nvSpPr>
        <p:spPr>
          <a:xfrm>
            <a:off x="1471873" y="4038185"/>
            <a:ext cx="6148000" cy="124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7200"/>
            </a:lvl1pPr>
            <a:lvl2pPr lvl="1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2pPr>
            <a:lvl3pPr lvl="2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3pPr>
            <a:lvl4pPr lvl="3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4pPr>
            <a:lvl5pPr lvl="4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5pPr>
            <a:lvl6pPr lvl="5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6pPr>
            <a:lvl7pPr lvl="6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7pPr>
            <a:lvl8pPr lvl="7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8pPr>
            <a:lvl9pPr lvl="8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534" name="Google Shape;534;p30"/>
          <p:cNvSpPr txBox="1">
            <a:spLocks noGrp="1"/>
          </p:cNvSpPr>
          <p:nvPr>
            <p:ph type="subTitle" idx="5"/>
          </p:nvPr>
        </p:nvSpPr>
        <p:spPr>
          <a:xfrm>
            <a:off x="1471732" y="5072100"/>
            <a:ext cx="6148000" cy="57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133"/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133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133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133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133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133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133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133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133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1394790"/>
      </p:ext>
    </p:extLst>
  </p:cSld>
  <p:clrMapOvr>
    <a:masterClrMapping/>
  </p:clrMapOvr>
  <p:transition spd="slow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Google Shape;536;p31"/>
          <p:cNvSpPr/>
          <p:nvPr/>
        </p:nvSpPr>
        <p:spPr>
          <a:xfrm>
            <a:off x="0" y="4452365"/>
            <a:ext cx="12191992" cy="2410767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7" name="Google Shape;537;p31"/>
          <p:cNvSpPr/>
          <p:nvPr/>
        </p:nvSpPr>
        <p:spPr>
          <a:xfrm>
            <a:off x="0" y="5014966"/>
            <a:ext cx="12191992" cy="1848157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8" name="Google Shape;538;p31"/>
          <p:cNvSpPr/>
          <p:nvPr/>
        </p:nvSpPr>
        <p:spPr>
          <a:xfrm flipH="1">
            <a:off x="45" y="5651698"/>
            <a:ext cx="12191955" cy="1206319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9" name="Google Shape;539;p31"/>
          <p:cNvSpPr/>
          <p:nvPr/>
        </p:nvSpPr>
        <p:spPr>
          <a:xfrm>
            <a:off x="9163733" y="1414137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0" name="Google Shape;540;p31"/>
          <p:cNvSpPr/>
          <p:nvPr/>
        </p:nvSpPr>
        <p:spPr>
          <a:xfrm>
            <a:off x="-1897622" y="19215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1" name="Google Shape;541;p31"/>
          <p:cNvSpPr/>
          <p:nvPr/>
        </p:nvSpPr>
        <p:spPr>
          <a:xfrm>
            <a:off x="337999" y="230600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2" name="Google Shape;542;p31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543" name="Google Shape;543;p31"/>
          <p:cNvSpPr txBox="1">
            <a:spLocks noGrp="1"/>
          </p:cNvSpPr>
          <p:nvPr>
            <p:ph type="subTitle" idx="1"/>
          </p:nvPr>
        </p:nvSpPr>
        <p:spPr>
          <a:xfrm>
            <a:off x="2673400" y="2616497"/>
            <a:ext cx="2852400" cy="71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1158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44" name="Google Shape;544;p31"/>
          <p:cNvSpPr txBox="1">
            <a:spLocks noGrp="1"/>
          </p:cNvSpPr>
          <p:nvPr>
            <p:ph type="title" idx="2"/>
          </p:nvPr>
        </p:nvSpPr>
        <p:spPr>
          <a:xfrm>
            <a:off x="2673281" y="2136267"/>
            <a:ext cx="28524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45" name="Google Shape;545;p31"/>
          <p:cNvSpPr txBox="1">
            <a:spLocks noGrp="1"/>
          </p:cNvSpPr>
          <p:nvPr>
            <p:ph type="subTitle" idx="3"/>
          </p:nvPr>
        </p:nvSpPr>
        <p:spPr>
          <a:xfrm>
            <a:off x="6666299" y="2616497"/>
            <a:ext cx="2852400" cy="71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21902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46" name="Google Shape;546;p31"/>
          <p:cNvSpPr txBox="1">
            <a:spLocks noGrp="1"/>
          </p:cNvSpPr>
          <p:nvPr>
            <p:ph type="title" idx="4"/>
          </p:nvPr>
        </p:nvSpPr>
        <p:spPr>
          <a:xfrm>
            <a:off x="6666204" y="2136267"/>
            <a:ext cx="28524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47" name="Google Shape;547;p31"/>
          <p:cNvSpPr txBox="1">
            <a:spLocks noGrp="1"/>
          </p:cNvSpPr>
          <p:nvPr>
            <p:ph type="subTitle" idx="5"/>
          </p:nvPr>
        </p:nvSpPr>
        <p:spPr>
          <a:xfrm>
            <a:off x="2673267" y="4589351"/>
            <a:ext cx="2852400" cy="71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1158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48" name="Google Shape;548;p31"/>
          <p:cNvSpPr txBox="1">
            <a:spLocks noGrp="1"/>
          </p:cNvSpPr>
          <p:nvPr>
            <p:ph type="title" idx="6"/>
          </p:nvPr>
        </p:nvSpPr>
        <p:spPr>
          <a:xfrm>
            <a:off x="2673281" y="4109111"/>
            <a:ext cx="28524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49" name="Google Shape;549;p31"/>
          <p:cNvSpPr txBox="1">
            <a:spLocks noGrp="1"/>
          </p:cNvSpPr>
          <p:nvPr>
            <p:ph type="subTitle" idx="7"/>
          </p:nvPr>
        </p:nvSpPr>
        <p:spPr>
          <a:xfrm>
            <a:off x="6666133" y="4589351"/>
            <a:ext cx="2852400" cy="71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9810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50" name="Google Shape;550;p31"/>
          <p:cNvSpPr txBox="1">
            <a:spLocks noGrp="1"/>
          </p:cNvSpPr>
          <p:nvPr>
            <p:ph type="title" idx="8"/>
          </p:nvPr>
        </p:nvSpPr>
        <p:spPr>
          <a:xfrm>
            <a:off x="6666169" y="4109111"/>
            <a:ext cx="28524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35198784"/>
      </p:ext>
    </p:extLst>
  </p:cSld>
  <p:clrMapOvr>
    <a:masterClrMapping/>
  </p:clrMapOvr>
  <p:transition spd="slow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1">
  <p:cSld name="Title and text 1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32"/>
          <p:cNvSpPr/>
          <p:nvPr/>
        </p:nvSpPr>
        <p:spPr>
          <a:xfrm>
            <a:off x="9163733" y="1414137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3" name="Google Shape;553;p32"/>
          <p:cNvSpPr/>
          <p:nvPr/>
        </p:nvSpPr>
        <p:spPr>
          <a:xfrm>
            <a:off x="0" y="3726769"/>
            <a:ext cx="12191992" cy="3136369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4" name="Google Shape;554;p32"/>
          <p:cNvSpPr/>
          <p:nvPr/>
        </p:nvSpPr>
        <p:spPr>
          <a:xfrm>
            <a:off x="-1263688" y="1355934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5" name="Google Shape;555;p32"/>
          <p:cNvSpPr/>
          <p:nvPr/>
        </p:nvSpPr>
        <p:spPr>
          <a:xfrm>
            <a:off x="1895132" y="653200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6" name="Google Shape;556;p32"/>
          <p:cNvSpPr/>
          <p:nvPr/>
        </p:nvSpPr>
        <p:spPr>
          <a:xfrm>
            <a:off x="33" y="5888107"/>
            <a:ext cx="12191955" cy="972335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7" name="Google Shape;557;p32"/>
          <p:cNvSpPr txBox="1">
            <a:spLocks noGrp="1"/>
          </p:cNvSpPr>
          <p:nvPr>
            <p:ph type="title"/>
          </p:nvPr>
        </p:nvSpPr>
        <p:spPr>
          <a:xfrm>
            <a:off x="1895141" y="2139800"/>
            <a:ext cx="3579600" cy="128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558" name="Google Shape;558;p32"/>
          <p:cNvSpPr txBox="1">
            <a:spLocks noGrp="1"/>
          </p:cNvSpPr>
          <p:nvPr>
            <p:ph type="subTitle" idx="1"/>
          </p:nvPr>
        </p:nvSpPr>
        <p:spPr>
          <a:xfrm>
            <a:off x="1895133" y="3346803"/>
            <a:ext cx="3579600" cy="128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39697147"/>
      </p:ext>
    </p:extLst>
  </p:cSld>
  <p:clrMapOvr>
    <a:masterClrMapping/>
  </p:clrMapOvr>
  <p:transition spd="slow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p33"/>
          <p:cNvSpPr/>
          <p:nvPr/>
        </p:nvSpPr>
        <p:spPr>
          <a:xfrm>
            <a:off x="0" y="4724663"/>
            <a:ext cx="12191992" cy="2138463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1" name="Google Shape;561;p33"/>
          <p:cNvSpPr/>
          <p:nvPr/>
        </p:nvSpPr>
        <p:spPr>
          <a:xfrm flipH="1">
            <a:off x="8" y="5014966"/>
            <a:ext cx="12191992" cy="1848157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2" name="Google Shape;562;p33"/>
          <p:cNvSpPr/>
          <p:nvPr/>
        </p:nvSpPr>
        <p:spPr>
          <a:xfrm>
            <a:off x="0" y="5651698"/>
            <a:ext cx="12191955" cy="1206319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3" name="Google Shape;563;p33"/>
          <p:cNvSpPr/>
          <p:nvPr/>
        </p:nvSpPr>
        <p:spPr>
          <a:xfrm>
            <a:off x="8174433" y="180037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4" name="Google Shape;564;p33"/>
          <p:cNvSpPr/>
          <p:nvPr/>
        </p:nvSpPr>
        <p:spPr>
          <a:xfrm>
            <a:off x="1368945" y="1101667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5" name="Google Shape;565;p33"/>
          <p:cNvSpPr/>
          <p:nvPr/>
        </p:nvSpPr>
        <p:spPr>
          <a:xfrm>
            <a:off x="10257348" y="2430067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6" name="Google Shape;566;p33"/>
          <p:cNvSpPr txBox="1">
            <a:spLocks noGrp="1"/>
          </p:cNvSpPr>
          <p:nvPr>
            <p:ph type="title"/>
          </p:nvPr>
        </p:nvSpPr>
        <p:spPr>
          <a:xfrm>
            <a:off x="2415333" y="2133333"/>
            <a:ext cx="2567600" cy="128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567" name="Google Shape;567;p33"/>
          <p:cNvSpPr txBox="1">
            <a:spLocks noGrp="1"/>
          </p:cNvSpPr>
          <p:nvPr>
            <p:ph type="subTitle" idx="1"/>
          </p:nvPr>
        </p:nvSpPr>
        <p:spPr>
          <a:xfrm>
            <a:off x="1403533" y="3333852"/>
            <a:ext cx="3579600" cy="128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6225056"/>
      </p:ext>
    </p:extLst>
  </p:cSld>
  <p:clrMapOvr>
    <a:masterClrMapping/>
  </p:clrMapOvr>
  <p:transition spd="slow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4">
  <p:cSld name="Title and text 4">
    <p:spTree>
      <p:nvGrpSpPr>
        <p:cNvPr id="1" name="Shape 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8" name="Google Shape;578;p35"/>
          <p:cNvGrpSpPr/>
          <p:nvPr/>
        </p:nvGrpSpPr>
        <p:grpSpPr>
          <a:xfrm>
            <a:off x="-200" y="3940890"/>
            <a:ext cx="12191955" cy="2917047"/>
            <a:chOff x="-150" y="2955667"/>
            <a:chExt cx="9143966" cy="2187785"/>
          </a:xfrm>
        </p:grpSpPr>
        <p:sp>
          <p:nvSpPr>
            <p:cNvPr id="579" name="Google Shape;579;p35"/>
            <p:cNvSpPr/>
            <p:nvPr/>
          </p:nvSpPr>
          <p:spPr>
            <a:xfrm>
              <a:off x="1971650" y="3209921"/>
              <a:ext cx="7172155" cy="774310"/>
            </a:xfrm>
            <a:custGeom>
              <a:avLst/>
              <a:gdLst/>
              <a:ahLst/>
              <a:cxnLst/>
              <a:rect l="l" t="t" r="r" b="b"/>
              <a:pathLst>
                <a:path w="55638" h="8504" extrusionOk="0">
                  <a:moveTo>
                    <a:pt x="43164" y="0"/>
                  </a:moveTo>
                  <a:cubicBezTo>
                    <a:pt x="40944" y="0"/>
                    <a:pt x="38377" y="80"/>
                    <a:pt x="35422" y="279"/>
                  </a:cubicBezTo>
                  <a:cubicBezTo>
                    <a:pt x="34577" y="339"/>
                    <a:pt x="33731" y="394"/>
                    <a:pt x="32862" y="473"/>
                  </a:cubicBezTo>
                  <a:cubicBezTo>
                    <a:pt x="28339" y="880"/>
                    <a:pt x="23658" y="1494"/>
                    <a:pt x="19310" y="2206"/>
                  </a:cubicBezTo>
                  <a:cubicBezTo>
                    <a:pt x="8701" y="3901"/>
                    <a:pt x="1" y="5999"/>
                    <a:pt x="1" y="5999"/>
                  </a:cubicBezTo>
                  <a:lnTo>
                    <a:pt x="1" y="8503"/>
                  </a:lnTo>
                  <a:lnTo>
                    <a:pt x="55637" y="8503"/>
                  </a:lnTo>
                  <a:lnTo>
                    <a:pt x="55637" y="1513"/>
                  </a:lnTo>
                  <a:lnTo>
                    <a:pt x="55637" y="1397"/>
                  </a:lnTo>
                  <a:cubicBezTo>
                    <a:pt x="55637" y="1397"/>
                    <a:pt x="55600" y="1379"/>
                    <a:pt x="55485" y="1342"/>
                  </a:cubicBezTo>
                  <a:cubicBezTo>
                    <a:pt x="54745" y="1070"/>
                    <a:pt x="51274" y="0"/>
                    <a:pt x="43164" y="0"/>
                  </a:cubicBezTo>
                  <a:close/>
                </a:path>
              </a:pathLst>
            </a:custGeom>
            <a:gradFill>
              <a:gsLst>
                <a:gs pos="0">
                  <a:srgbClr val="47CC23"/>
                </a:gs>
                <a:gs pos="100000">
                  <a:srgbClr val="235814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0" name="Google Shape;580;p35"/>
            <p:cNvSpPr/>
            <p:nvPr/>
          </p:nvSpPr>
          <p:spPr>
            <a:xfrm>
              <a:off x="-150" y="3678376"/>
              <a:ext cx="9143966" cy="1465048"/>
            </a:xfrm>
            <a:custGeom>
              <a:avLst/>
              <a:gdLst/>
              <a:ahLst/>
              <a:cxnLst/>
              <a:rect l="l" t="t" r="r" b="b"/>
              <a:pathLst>
                <a:path w="55638" h="13063" extrusionOk="0">
                  <a:moveTo>
                    <a:pt x="18328" y="1"/>
                  </a:moveTo>
                  <a:cubicBezTo>
                    <a:pt x="9728" y="1"/>
                    <a:pt x="1" y="1839"/>
                    <a:pt x="1" y="1839"/>
                  </a:cubicBezTo>
                  <a:lnTo>
                    <a:pt x="1" y="13062"/>
                  </a:lnTo>
                  <a:lnTo>
                    <a:pt x="55637" y="13062"/>
                  </a:lnTo>
                  <a:lnTo>
                    <a:pt x="55637" y="1839"/>
                  </a:lnTo>
                  <a:cubicBezTo>
                    <a:pt x="55637" y="1839"/>
                    <a:pt x="54001" y="1876"/>
                    <a:pt x="51326" y="1876"/>
                  </a:cubicBezTo>
                  <a:lnTo>
                    <a:pt x="51308" y="1876"/>
                  </a:lnTo>
                  <a:cubicBezTo>
                    <a:pt x="45241" y="1876"/>
                    <a:pt x="33846" y="1663"/>
                    <a:pt x="23815" y="319"/>
                  </a:cubicBezTo>
                  <a:cubicBezTo>
                    <a:pt x="22124" y="93"/>
                    <a:pt x="20254" y="1"/>
                    <a:pt x="18328" y="1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1" name="Google Shape;581;p35"/>
            <p:cNvSpPr/>
            <p:nvPr/>
          </p:nvSpPr>
          <p:spPr>
            <a:xfrm>
              <a:off x="-150" y="3978731"/>
              <a:ext cx="9143966" cy="1164721"/>
            </a:xfrm>
            <a:custGeom>
              <a:avLst/>
              <a:gdLst/>
              <a:ahLst/>
              <a:cxnLst/>
              <a:rect l="l" t="t" r="r" b="b"/>
              <a:pathLst>
                <a:path w="55638" h="9705" extrusionOk="0">
                  <a:moveTo>
                    <a:pt x="47791" y="1"/>
                  </a:moveTo>
                  <a:cubicBezTo>
                    <a:pt x="42137" y="1"/>
                    <a:pt x="36555" y="1243"/>
                    <a:pt x="31014" y="2427"/>
                  </a:cubicBezTo>
                  <a:cubicBezTo>
                    <a:pt x="25816" y="3541"/>
                    <a:pt x="20534" y="4638"/>
                    <a:pt x="15216" y="4638"/>
                  </a:cubicBezTo>
                  <a:cubicBezTo>
                    <a:pt x="14842" y="4638"/>
                    <a:pt x="14468" y="4633"/>
                    <a:pt x="14094" y="4622"/>
                  </a:cubicBezTo>
                  <a:cubicBezTo>
                    <a:pt x="9126" y="4488"/>
                    <a:pt x="4062" y="3235"/>
                    <a:pt x="1" y="403"/>
                  </a:cubicBezTo>
                  <a:lnTo>
                    <a:pt x="1" y="9704"/>
                  </a:lnTo>
                  <a:lnTo>
                    <a:pt x="55637" y="9704"/>
                  </a:lnTo>
                  <a:lnTo>
                    <a:pt x="55637" y="1674"/>
                  </a:lnTo>
                  <a:cubicBezTo>
                    <a:pt x="53368" y="311"/>
                    <a:pt x="50596" y="1"/>
                    <a:pt x="47916" y="1"/>
                  </a:cubicBezTo>
                  <a:cubicBezTo>
                    <a:pt x="47875" y="1"/>
                    <a:pt x="47833" y="1"/>
                    <a:pt x="47791" y="1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2" name="Google Shape;582;p35"/>
            <p:cNvSpPr/>
            <p:nvPr/>
          </p:nvSpPr>
          <p:spPr>
            <a:xfrm>
              <a:off x="-150" y="3978724"/>
              <a:ext cx="9143966" cy="1164720"/>
            </a:xfrm>
            <a:custGeom>
              <a:avLst/>
              <a:gdLst/>
              <a:ahLst/>
              <a:cxnLst/>
              <a:rect l="l" t="t" r="r" b="b"/>
              <a:pathLst>
                <a:path w="55638" h="7525" extrusionOk="0">
                  <a:moveTo>
                    <a:pt x="14202" y="0"/>
                  </a:moveTo>
                  <a:cubicBezTo>
                    <a:pt x="5843" y="0"/>
                    <a:pt x="1" y="478"/>
                    <a:pt x="1" y="478"/>
                  </a:cubicBezTo>
                  <a:lnTo>
                    <a:pt x="1" y="7524"/>
                  </a:lnTo>
                  <a:lnTo>
                    <a:pt x="55637" y="7524"/>
                  </a:lnTo>
                  <a:lnTo>
                    <a:pt x="55637" y="5676"/>
                  </a:lnTo>
                  <a:cubicBezTo>
                    <a:pt x="43136" y="970"/>
                    <a:pt x="26114" y="0"/>
                    <a:pt x="14202" y="0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3" name="Google Shape;583;p35"/>
            <p:cNvSpPr/>
            <p:nvPr/>
          </p:nvSpPr>
          <p:spPr>
            <a:xfrm>
              <a:off x="1205000" y="4656580"/>
              <a:ext cx="7938806" cy="315882"/>
            </a:xfrm>
            <a:custGeom>
              <a:avLst/>
              <a:gdLst/>
              <a:ahLst/>
              <a:cxnLst/>
              <a:rect l="l" t="t" r="r" b="b"/>
              <a:pathLst>
                <a:path w="48305" h="2348" extrusionOk="0">
                  <a:moveTo>
                    <a:pt x="24162" y="0"/>
                  </a:moveTo>
                  <a:cubicBezTo>
                    <a:pt x="10822" y="0"/>
                    <a:pt x="1" y="518"/>
                    <a:pt x="1" y="1174"/>
                  </a:cubicBezTo>
                  <a:cubicBezTo>
                    <a:pt x="1" y="1825"/>
                    <a:pt x="10822" y="2347"/>
                    <a:pt x="24162" y="2347"/>
                  </a:cubicBezTo>
                  <a:cubicBezTo>
                    <a:pt x="37506" y="2347"/>
                    <a:pt x="48304" y="1825"/>
                    <a:pt x="48304" y="1174"/>
                  </a:cubicBezTo>
                  <a:cubicBezTo>
                    <a:pt x="48304" y="518"/>
                    <a:pt x="37506" y="0"/>
                    <a:pt x="24162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4" name="Google Shape;584;p35"/>
            <p:cNvSpPr/>
            <p:nvPr/>
          </p:nvSpPr>
          <p:spPr>
            <a:xfrm>
              <a:off x="-149" y="2955667"/>
              <a:ext cx="3589480" cy="1144072"/>
            </a:xfrm>
            <a:custGeom>
              <a:avLst/>
              <a:gdLst/>
              <a:ahLst/>
              <a:cxnLst/>
              <a:rect l="l" t="t" r="r" b="b"/>
              <a:pathLst>
                <a:path w="19311" h="7519" extrusionOk="0">
                  <a:moveTo>
                    <a:pt x="2360" y="0"/>
                  </a:moveTo>
                  <a:cubicBezTo>
                    <a:pt x="1768" y="0"/>
                    <a:pt x="1169" y="146"/>
                    <a:pt x="634" y="412"/>
                  </a:cubicBezTo>
                  <a:cubicBezTo>
                    <a:pt x="421" y="527"/>
                    <a:pt x="209" y="666"/>
                    <a:pt x="1" y="800"/>
                  </a:cubicBezTo>
                  <a:lnTo>
                    <a:pt x="1" y="7518"/>
                  </a:lnTo>
                  <a:cubicBezTo>
                    <a:pt x="1" y="7518"/>
                    <a:pt x="8701" y="5420"/>
                    <a:pt x="19310" y="3725"/>
                  </a:cubicBezTo>
                  <a:cubicBezTo>
                    <a:pt x="19116" y="3166"/>
                    <a:pt x="18575" y="2722"/>
                    <a:pt x="18021" y="2473"/>
                  </a:cubicBezTo>
                  <a:cubicBezTo>
                    <a:pt x="17539" y="2267"/>
                    <a:pt x="17018" y="2168"/>
                    <a:pt x="16495" y="2168"/>
                  </a:cubicBezTo>
                  <a:cubicBezTo>
                    <a:pt x="15364" y="2168"/>
                    <a:pt x="14227" y="2631"/>
                    <a:pt x="13474" y="3475"/>
                  </a:cubicBezTo>
                  <a:cubicBezTo>
                    <a:pt x="13106" y="2052"/>
                    <a:pt x="11585" y="1160"/>
                    <a:pt x="10099" y="1160"/>
                  </a:cubicBezTo>
                  <a:cubicBezTo>
                    <a:pt x="10036" y="1160"/>
                    <a:pt x="9974" y="1162"/>
                    <a:pt x="9912" y="1165"/>
                  </a:cubicBezTo>
                  <a:cubicBezTo>
                    <a:pt x="8392" y="1243"/>
                    <a:pt x="7006" y="2107"/>
                    <a:pt x="5892" y="3147"/>
                  </a:cubicBezTo>
                  <a:cubicBezTo>
                    <a:pt x="5698" y="1706"/>
                    <a:pt x="4561" y="435"/>
                    <a:pt x="3138" y="88"/>
                  </a:cubicBezTo>
                  <a:cubicBezTo>
                    <a:pt x="2884" y="29"/>
                    <a:pt x="2623" y="0"/>
                    <a:pt x="2360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5" name="Google Shape;585;p35"/>
            <p:cNvSpPr/>
            <p:nvPr/>
          </p:nvSpPr>
          <p:spPr>
            <a:xfrm>
              <a:off x="5565304" y="4368820"/>
              <a:ext cx="3065903" cy="163592"/>
            </a:xfrm>
            <a:custGeom>
              <a:avLst/>
              <a:gdLst/>
              <a:ahLst/>
              <a:cxnLst/>
              <a:rect l="l" t="t" r="r" b="b"/>
              <a:pathLst>
                <a:path w="18655" h="1216" extrusionOk="0">
                  <a:moveTo>
                    <a:pt x="9339" y="0"/>
                  </a:moveTo>
                  <a:cubicBezTo>
                    <a:pt x="4178" y="0"/>
                    <a:pt x="1" y="273"/>
                    <a:pt x="1" y="620"/>
                  </a:cubicBezTo>
                  <a:cubicBezTo>
                    <a:pt x="1" y="948"/>
                    <a:pt x="4178" y="1216"/>
                    <a:pt x="9339" y="1216"/>
                  </a:cubicBezTo>
                  <a:cubicBezTo>
                    <a:pt x="14477" y="1216"/>
                    <a:pt x="18654" y="948"/>
                    <a:pt x="18654" y="620"/>
                  </a:cubicBezTo>
                  <a:cubicBezTo>
                    <a:pt x="18654" y="273"/>
                    <a:pt x="14477" y="0"/>
                    <a:pt x="9339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6" name="Google Shape;586;p35"/>
            <p:cNvSpPr/>
            <p:nvPr/>
          </p:nvSpPr>
          <p:spPr>
            <a:xfrm>
              <a:off x="3470202" y="4073516"/>
              <a:ext cx="145941" cy="26234"/>
            </a:xfrm>
            <a:custGeom>
              <a:avLst/>
              <a:gdLst/>
              <a:ahLst/>
              <a:cxnLst/>
              <a:rect l="l" t="t" r="r" b="b"/>
              <a:pathLst>
                <a:path w="888" h="195" extrusionOk="0">
                  <a:moveTo>
                    <a:pt x="444" y="0"/>
                  </a:moveTo>
                  <a:cubicBezTo>
                    <a:pt x="195" y="0"/>
                    <a:pt x="1" y="37"/>
                    <a:pt x="1" y="97"/>
                  </a:cubicBezTo>
                  <a:cubicBezTo>
                    <a:pt x="1" y="153"/>
                    <a:pt x="195" y="194"/>
                    <a:pt x="444" y="194"/>
                  </a:cubicBezTo>
                  <a:cubicBezTo>
                    <a:pt x="694" y="194"/>
                    <a:pt x="888" y="153"/>
                    <a:pt x="888" y="97"/>
                  </a:cubicBezTo>
                  <a:cubicBezTo>
                    <a:pt x="888" y="37"/>
                    <a:pt x="694" y="0"/>
                    <a:pt x="444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7" name="Google Shape;587;p35"/>
            <p:cNvSpPr/>
            <p:nvPr/>
          </p:nvSpPr>
          <p:spPr>
            <a:xfrm>
              <a:off x="4312483" y="4503617"/>
              <a:ext cx="132957" cy="28790"/>
            </a:xfrm>
            <a:custGeom>
              <a:avLst/>
              <a:gdLst/>
              <a:ahLst/>
              <a:cxnLst/>
              <a:rect l="l" t="t" r="r" b="b"/>
              <a:pathLst>
                <a:path w="809" h="214" extrusionOk="0">
                  <a:moveTo>
                    <a:pt x="402" y="1"/>
                  </a:moveTo>
                  <a:cubicBezTo>
                    <a:pt x="171" y="1"/>
                    <a:pt x="0" y="56"/>
                    <a:pt x="0" y="116"/>
                  </a:cubicBezTo>
                  <a:cubicBezTo>
                    <a:pt x="0" y="172"/>
                    <a:pt x="171" y="213"/>
                    <a:pt x="402" y="213"/>
                  </a:cubicBezTo>
                  <a:cubicBezTo>
                    <a:pt x="615" y="213"/>
                    <a:pt x="809" y="172"/>
                    <a:pt x="809" y="116"/>
                  </a:cubicBezTo>
                  <a:cubicBezTo>
                    <a:pt x="809" y="56"/>
                    <a:pt x="615" y="1"/>
                    <a:pt x="402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8" name="Google Shape;588;p35"/>
            <p:cNvSpPr/>
            <p:nvPr/>
          </p:nvSpPr>
          <p:spPr>
            <a:xfrm>
              <a:off x="5197823" y="3791267"/>
              <a:ext cx="139860" cy="26234"/>
            </a:xfrm>
            <a:custGeom>
              <a:avLst/>
              <a:gdLst/>
              <a:ahLst/>
              <a:cxnLst/>
              <a:rect l="l" t="t" r="r" b="b"/>
              <a:pathLst>
                <a:path w="851" h="195" extrusionOk="0">
                  <a:moveTo>
                    <a:pt x="426" y="0"/>
                  </a:moveTo>
                  <a:cubicBezTo>
                    <a:pt x="195" y="0"/>
                    <a:pt x="1" y="37"/>
                    <a:pt x="1" y="97"/>
                  </a:cubicBezTo>
                  <a:cubicBezTo>
                    <a:pt x="1" y="153"/>
                    <a:pt x="195" y="194"/>
                    <a:pt x="426" y="194"/>
                  </a:cubicBezTo>
                  <a:cubicBezTo>
                    <a:pt x="657" y="194"/>
                    <a:pt x="851" y="153"/>
                    <a:pt x="851" y="97"/>
                  </a:cubicBezTo>
                  <a:cubicBezTo>
                    <a:pt x="851" y="37"/>
                    <a:pt x="657" y="0"/>
                    <a:pt x="426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9" name="Google Shape;589;p35"/>
            <p:cNvSpPr/>
            <p:nvPr/>
          </p:nvSpPr>
          <p:spPr>
            <a:xfrm>
              <a:off x="1524656" y="3734091"/>
              <a:ext cx="101238" cy="23678"/>
            </a:xfrm>
            <a:custGeom>
              <a:avLst/>
              <a:gdLst/>
              <a:ahLst/>
              <a:cxnLst/>
              <a:rect l="l" t="t" r="r" b="b"/>
              <a:pathLst>
                <a:path w="616" h="176" extrusionOk="0">
                  <a:moveTo>
                    <a:pt x="310" y="0"/>
                  </a:moveTo>
                  <a:cubicBezTo>
                    <a:pt x="135" y="0"/>
                    <a:pt x="1" y="42"/>
                    <a:pt x="1" y="79"/>
                  </a:cubicBezTo>
                  <a:cubicBezTo>
                    <a:pt x="1" y="134"/>
                    <a:pt x="135" y="176"/>
                    <a:pt x="310" y="176"/>
                  </a:cubicBezTo>
                  <a:cubicBezTo>
                    <a:pt x="481" y="176"/>
                    <a:pt x="615" y="134"/>
                    <a:pt x="615" y="79"/>
                  </a:cubicBezTo>
                  <a:cubicBezTo>
                    <a:pt x="615" y="42"/>
                    <a:pt x="481" y="0"/>
                    <a:pt x="310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90" name="Google Shape;590;p35"/>
            <p:cNvSpPr/>
            <p:nvPr/>
          </p:nvSpPr>
          <p:spPr>
            <a:xfrm>
              <a:off x="7062181" y="4482495"/>
              <a:ext cx="79051" cy="10763"/>
            </a:xfrm>
            <a:custGeom>
              <a:avLst/>
              <a:gdLst/>
              <a:ahLst/>
              <a:cxnLst/>
              <a:rect l="l" t="t" r="r" b="b"/>
              <a:pathLst>
                <a:path w="481" h="80" extrusionOk="0">
                  <a:moveTo>
                    <a:pt x="250" y="0"/>
                  </a:moveTo>
                  <a:cubicBezTo>
                    <a:pt x="116" y="0"/>
                    <a:pt x="0" y="24"/>
                    <a:pt x="0" y="42"/>
                  </a:cubicBezTo>
                  <a:cubicBezTo>
                    <a:pt x="0" y="61"/>
                    <a:pt x="116" y="79"/>
                    <a:pt x="250" y="79"/>
                  </a:cubicBezTo>
                  <a:cubicBezTo>
                    <a:pt x="384" y="79"/>
                    <a:pt x="481" y="61"/>
                    <a:pt x="481" y="42"/>
                  </a:cubicBezTo>
                  <a:cubicBezTo>
                    <a:pt x="481" y="24"/>
                    <a:pt x="384" y="0"/>
                    <a:pt x="250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91" name="Google Shape;591;p35"/>
            <p:cNvSpPr/>
            <p:nvPr/>
          </p:nvSpPr>
          <p:spPr>
            <a:xfrm>
              <a:off x="7103103" y="5029504"/>
              <a:ext cx="101238" cy="23140"/>
            </a:xfrm>
            <a:custGeom>
              <a:avLst/>
              <a:gdLst/>
              <a:ahLst/>
              <a:cxnLst/>
              <a:rect l="l" t="t" r="r" b="b"/>
              <a:pathLst>
                <a:path w="616" h="172" extrusionOk="0">
                  <a:moveTo>
                    <a:pt x="306" y="1"/>
                  </a:moveTo>
                  <a:cubicBezTo>
                    <a:pt x="135" y="1"/>
                    <a:pt x="1" y="38"/>
                    <a:pt x="1" y="75"/>
                  </a:cubicBezTo>
                  <a:cubicBezTo>
                    <a:pt x="1" y="135"/>
                    <a:pt x="135" y="172"/>
                    <a:pt x="306" y="172"/>
                  </a:cubicBezTo>
                  <a:cubicBezTo>
                    <a:pt x="481" y="172"/>
                    <a:pt x="615" y="135"/>
                    <a:pt x="615" y="75"/>
                  </a:cubicBezTo>
                  <a:cubicBezTo>
                    <a:pt x="615" y="38"/>
                    <a:pt x="481" y="1"/>
                    <a:pt x="306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92" name="Google Shape;592;p35"/>
            <p:cNvSpPr/>
            <p:nvPr/>
          </p:nvSpPr>
          <p:spPr>
            <a:xfrm>
              <a:off x="5258631" y="5070537"/>
              <a:ext cx="120138" cy="36862"/>
            </a:xfrm>
            <a:custGeom>
              <a:avLst/>
              <a:gdLst/>
              <a:ahLst/>
              <a:cxnLst/>
              <a:rect l="l" t="t" r="r" b="b"/>
              <a:pathLst>
                <a:path w="731" h="274" extrusionOk="0">
                  <a:moveTo>
                    <a:pt x="365" y="1"/>
                  </a:moveTo>
                  <a:cubicBezTo>
                    <a:pt x="171" y="1"/>
                    <a:pt x="0" y="61"/>
                    <a:pt x="0" y="135"/>
                  </a:cubicBezTo>
                  <a:cubicBezTo>
                    <a:pt x="0" y="213"/>
                    <a:pt x="171" y="273"/>
                    <a:pt x="365" y="273"/>
                  </a:cubicBezTo>
                  <a:cubicBezTo>
                    <a:pt x="578" y="273"/>
                    <a:pt x="730" y="213"/>
                    <a:pt x="730" y="135"/>
                  </a:cubicBezTo>
                  <a:cubicBezTo>
                    <a:pt x="730" y="61"/>
                    <a:pt x="578" y="1"/>
                    <a:pt x="365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93" name="Google Shape;593;p35"/>
            <p:cNvSpPr/>
            <p:nvPr/>
          </p:nvSpPr>
          <p:spPr>
            <a:xfrm>
              <a:off x="5197823" y="4280427"/>
              <a:ext cx="98937" cy="26234"/>
            </a:xfrm>
            <a:custGeom>
              <a:avLst/>
              <a:gdLst/>
              <a:ahLst/>
              <a:cxnLst/>
              <a:rect l="l" t="t" r="r" b="b"/>
              <a:pathLst>
                <a:path w="602" h="195" extrusionOk="0">
                  <a:moveTo>
                    <a:pt x="292" y="1"/>
                  </a:moveTo>
                  <a:cubicBezTo>
                    <a:pt x="139" y="1"/>
                    <a:pt x="1" y="42"/>
                    <a:pt x="1" y="98"/>
                  </a:cubicBezTo>
                  <a:cubicBezTo>
                    <a:pt x="1" y="139"/>
                    <a:pt x="139" y="195"/>
                    <a:pt x="292" y="195"/>
                  </a:cubicBezTo>
                  <a:cubicBezTo>
                    <a:pt x="463" y="195"/>
                    <a:pt x="601" y="139"/>
                    <a:pt x="601" y="98"/>
                  </a:cubicBezTo>
                  <a:cubicBezTo>
                    <a:pt x="601" y="42"/>
                    <a:pt x="463" y="1"/>
                    <a:pt x="292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94" name="Google Shape;594;p35"/>
            <p:cNvSpPr/>
            <p:nvPr/>
          </p:nvSpPr>
          <p:spPr>
            <a:xfrm>
              <a:off x="4448398" y="3749562"/>
              <a:ext cx="88912" cy="23812"/>
            </a:xfrm>
            <a:custGeom>
              <a:avLst/>
              <a:gdLst/>
              <a:ahLst/>
              <a:cxnLst/>
              <a:rect l="l" t="t" r="r" b="b"/>
              <a:pathLst>
                <a:path w="541" h="177" extrusionOk="0">
                  <a:moveTo>
                    <a:pt x="268" y="1"/>
                  </a:moveTo>
                  <a:cubicBezTo>
                    <a:pt x="116" y="1"/>
                    <a:pt x="0" y="42"/>
                    <a:pt x="0" y="98"/>
                  </a:cubicBezTo>
                  <a:cubicBezTo>
                    <a:pt x="0" y="135"/>
                    <a:pt x="116" y="176"/>
                    <a:pt x="268" y="176"/>
                  </a:cubicBezTo>
                  <a:cubicBezTo>
                    <a:pt x="425" y="176"/>
                    <a:pt x="541" y="135"/>
                    <a:pt x="541" y="98"/>
                  </a:cubicBezTo>
                  <a:cubicBezTo>
                    <a:pt x="541" y="42"/>
                    <a:pt x="425" y="1"/>
                    <a:pt x="268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95" name="Google Shape;595;p35"/>
            <p:cNvSpPr/>
            <p:nvPr/>
          </p:nvSpPr>
          <p:spPr>
            <a:xfrm>
              <a:off x="7081081" y="4068539"/>
              <a:ext cx="101238" cy="23140"/>
            </a:xfrm>
            <a:custGeom>
              <a:avLst/>
              <a:gdLst/>
              <a:ahLst/>
              <a:cxnLst/>
              <a:rect l="l" t="t" r="r" b="b"/>
              <a:pathLst>
                <a:path w="616" h="172" extrusionOk="0">
                  <a:moveTo>
                    <a:pt x="306" y="0"/>
                  </a:moveTo>
                  <a:cubicBezTo>
                    <a:pt x="135" y="0"/>
                    <a:pt x="1" y="37"/>
                    <a:pt x="1" y="74"/>
                  </a:cubicBezTo>
                  <a:cubicBezTo>
                    <a:pt x="1" y="134"/>
                    <a:pt x="135" y="171"/>
                    <a:pt x="306" y="171"/>
                  </a:cubicBezTo>
                  <a:cubicBezTo>
                    <a:pt x="481" y="171"/>
                    <a:pt x="615" y="134"/>
                    <a:pt x="615" y="74"/>
                  </a:cubicBezTo>
                  <a:cubicBezTo>
                    <a:pt x="615" y="37"/>
                    <a:pt x="481" y="0"/>
                    <a:pt x="306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96" name="Google Shape;596;p35"/>
          <p:cNvSpPr/>
          <p:nvPr/>
        </p:nvSpPr>
        <p:spPr>
          <a:xfrm>
            <a:off x="7219133" y="454304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97" name="Google Shape;597;p35"/>
          <p:cNvSpPr/>
          <p:nvPr/>
        </p:nvSpPr>
        <p:spPr>
          <a:xfrm>
            <a:off x="-1772922" y="1897967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98" name="Google Shape;598;p35"/>
          <p:cNvSpPr/>
          <p:nvPr/>
        </p:nvSpPr>
        <p:spPr>
          <a:xfrm>
            <a:off x="10057032" y="2040616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99" name="Google Shape;599;p35"/>
          <p:cNvSpPr txBox="1">
            <a:spLocks noGrp="1"/>
          </p:cNvSpPr>
          <p:nvPr>
            <p:ph type="title"/>
          </p:nvPr>
        </p:nvSpPr>
        <p:spPr>
          <a:xfrm>
            <a:off x="3398984" y="1585967"/>
            <a:ext cx="5393600" cy="140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9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600" name="Google Shape;600;p35"/>
          <p:cNvSpPr txBox="1">
            <a:spLocks noGrp="1"/>
          </p:cNvSpPr>
          <p:nvPr>
            <p:ph type="subTitle" idx="1"/>
          </p:nvPr>
        </p:nvSpPr>
        <p:spPr>
          <a:xfrm>
            <a:off x="3398984" y="2911933"/>
            <a:ext cx="5393600" cy="8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93565463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35114"/>
            <a:ext cx="5386917" cy="639763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63" indent="0">
              <a:buNone/>
              <a:defRPr sz="2699" b="1"/>
            </a:lvl2pPr>
            <a:lvl3pPr marL="1218926" indent="0">
              <a:buNone/>
              <a:defRPr sz="2400" b="1"/>
            </a:lvl3pPr>
            <a:lvl4pPr marL="1828388" indent="0">
              <a:buNone/>
              <a:defRPr sz="2200" b="1"/>
            </a:lvl4pPr>
            <a:lvl5pPr marL="2437851" indent="0">
              <a:buNone/>
              <a:defRPr sz="2200" b="1"/>
            </a:lvl5pPr>
            <a:lvl6pPr marL="3047314" indent="0">
              <a:buNone/>
              <a:defRPr sz="2200" b="1"/>
            </a:lvl6pPr>
            <a:lvl7pPr marL="3656777" indent="0">
              <a:buNone/>
              <a:defRPr sz="2200" b="1"/>
            </a:lvl7pPr>
            <a:lvl8pPr marL="4266240" indent="0">
              <a:buNone/>
              <a:defRPr sz="2200" b="1"/>
            </a:lvl8pPr>
            <a:lvl9pPr marL="4875703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7"/>
            <a:ext cx="5386917" cy="3951288"/>
          </a:xfrm>
        </p:spPr>
        <p:txBody>
          <a:bodyPr/>
          <a:lstStyle>
            <a:lvl1pPr>
              <a:defRPr sz="3199"/>
            </a:lvl1pPr>
            <a:lvl2pPr>
              <a:defRPr sz="2699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4"/>
            <a:ext cx="5389033" cy="639763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63" indent="0">
              <a:buNone/>
              <a:defRPr sz="2699" b="1"/>
            </a:lvl2pPr>
            <a:lvl3pPr marL="1218926" indent="0">
              <a:buNone/>
              <a:defRPr sz="2400" b="1"/>
            </a:lvl3pPr>
            <a:lvl4pPr marL="1828388" indent="0">
              <a:buNone/>
              <a:defRPr sz="2200" b="1"/>
            </a:lvl4pPr>
            <a:lvl5pPr marL="2437851" indent="0">
              <a:buNone/>
              <a:defRPr sz="2200" b="1"/>
            </a:lvl5pPr>
            <a:lvl6pPr marL="3047314" indent="0">
              <a:buNone/>
              <a:defRPr sz="2200" b="1"/>
            </a:lvl6pPr>
            <a:lvl7pPr marL="3656777" indent="0">
              <a:buNone/>
              <a:defRPr sz="2200" b="1"/>
            </a:lvl7pPr>
            <a:lvl8pPr marL="4266240" indent="0">
              <a:buNone/>
              <a:defRPr sz="2200" b="1"/>
            </a:lvl8pPr>
            <a:lvl9pPr marL="4875703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7"/>
            <a:ext cx="5389033" cy="3951288"/>
          </a:xfrm>
        </p:spPr>
        <p:txBody>
          <a:bodyPr/>
          <a:lstStyle>
            <a:lvl1pPr>
              <a:defRPr sz="3199"/>
            </a:lvl1pPr>
            <a:lvl2pPr>
              <a:defRPr sz="2699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A4318BD-B3C6-4D4B-B871-C29490A2E55A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42587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1">
  <p:cSld name="Title and two columns 1"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2" name="Google Shape;602;p3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603" name="Google Shape;603;p36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04" name="Google Shape;604;p36"/>
          <p:cNvSpPr txBox="1">
            <a:spLocks noGrp="1"/>
          </p:cNvSpPr>
          <p:nvPr>
            <p:ph type="subTitle" idx="1"/>
          </p:nvPr>
        </p:nvSpPr>
        <p:spPr>
          <a:xfrm>
            <a:off x="960001" y="3547533"/>
            <a:ext cx="2552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05" name="Google Shape;605;p36"/>
          <p:cNvSpPr txBox="1">
            <a:spLocks noGrp="1"/>
          </p:cNvSpPr>
          <p:nvPr>
            <p:ph type="title" idx="2"/>
          </p:nvPr>
        </p:nvSpPr>
        <p:spPr>
          <a:xfrm>
            <a:off x="960000" y="3068233"/>
            <a:ext cx="2552000" cy="50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06" name="Google Shape;606;p36"/>
          <p:cNvSpPr txBox="1">
            <a:spLocks noGrp="1"/>
          </p:cNvSpPr>
          <p:nvPr>
            <p:ph type="subTitle" idx="3"/>
          </p:nvPr>
        </p:nvSpPr>
        <p:spPr>
          <a:xfrm>
            <a:off x="8699235" y="3547533"/>
            <a:ext cx="2552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07" name="Google Shape;607;p36"/>
          <p:cNvSpPr txBox="1">
            <a:spLocks noGrp="1"/>
          </p:cNvSpPr>
          <p:nvPr>
            <p:ph type="title" idx="4"/>
          </p:nvPr>
        </p:nvSpPr>
        <p:spPr>
          <a:xfrm>
            <a:off x="8699233" y="3068233"/>
            <a:ext cx="2552000" cy="50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7232693"/>
      </p:ext>
    </p:extLst>
  </p:cSld>
  <p:clrMapOvr>
    <a:masterClrMapping/>
  </p:clrMapOvr>
  <p:transition spd="slow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 1">
  <p:cSld name="Title and three columns  1"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p37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7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10" name="Google Shape;610;p37"/>
          <p:cNvSpPr txBox="1">
            <a:spLocks noGrp="1"/>
          </p:cNvSpPr>
          <p:nvPr>
            <p:ph type="subTitle" idx="1"/>
          </p:nvPr>
        </p:nvSpPr>
        <p:spPr>
          <a:xfrm>
            <a:off x="1314933" y="4654765"/>
            <a:ext cx="2479600" cy="71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11" name="Google Shape;611;p37"/>
          <p:cNvSpPr txBox="1">
            <a:spLocks noGrp="1"/>
          </p:cNvSpPr>
          <p:nvPr>
            <p:ph type="title" idx="2"/>
          </p:nvPr>
        </p:nvSpPr>
        <p:spPr>
          <a:xfrm>
            <a:off x="1314933" y="4168343"/>
            <a:ext cx="24796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12" name="Google Shape;612;p37"/>
          <p:cNvSpPr txBox="1">
            <a:spLocks noGrp="1"/>
          </p:cNvSpPr>
          <p:nvPr>
            <p:ph type="subTitle" idx="3"/>
          </p:nvPr>
        </p:nvSpPr>
        <p:spPr>
          <a:xfrm>
            <a:off x="8397468" y="4654765"/>
            <a:ext cx="2479600" cy="71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13" name="Google Shape;613;p37"/>
          <p:cNvSpPr txBox="1">
            <a:spLocks noGrp="1"/>
          </p:cNvSpPr>
          <p:nvPr>
            <p:ph type="title" idx="4"/>
          </p:nvPr>
        </p:nvSpPr>
        <p:spPr>
          <a:xfrm>
            <a:off x="8397468" y="4168343"/>
            <a:ext cx="24796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14" name="Google Shape;614;p37"/>
          <p:cNvSpPr txBox="1">
            <a:spLocks noGrp="1"/>
          </p:cNvSpPr>
          <p:nvPr>
            <p:ph type="subTitle" idx="5"/>
          </p:nvPr>
        </p:nvSpPr>
        <p:spPr>
          <a:xfrm>
            <a:off x="4856201" y="4654765"/>
            <a:ext cx="2479600" cy="71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15" name="Google Shape;615;p37"/>
          <p:cNvSpPr txBox="1">
            <a:spLocks noGrp="1"/>
          </p:cNvSpPr>
          <p:nvPr>
            <p:ph type="title" idx="6"/>
          </p:nvPr>
        </p:nvSpPr>
        <p:spPr>
          <a:xfrm>
            <a:off x="4856196" y="4168343"/>
            <a:ext cx="24796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16" name="Google Shape;616;p37"/>
          <p:cNvSpPr/>
          <p:nvPr/>
        </p:nvSpPr>
        <p:spPr>
          <a:xfrm>
            <a:off x="8347300" y="55204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7" name="Google Shape;617;p37"/>
          <p:cNvSpPr/>
          <p:nvPr/>
        </p:nvSpPr>
        <p:spPr>
          <a:xfrm>
            <a:off x="0" y="5377138"/>
            <a:ext cx="12191992" cy="1485988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8" name="Google Shape;618;p37"/>
          <p:cNvSpPr/>
          <p:nvPr/>
        </p:nvSpPr>
        <p:spPr>
          <a:xfrm>
            <a:off x="-1647055" y="1313000"/>
            <a:ext cx="4666491" cy="781213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9" name="Google Shape;619;p37"/>
          <p:cNvSpPr/>
          <p:nvPr/>
        </p:nvSpPr>
        <p:spPr>
          <a:xfrm>
            <a:off x="10432181" y="2419934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0" name="Google Shape;620;p37"/>
          <p:cNvSpPr/>
          <p:nvPr/>
        </p:nvSpPr>
        <p:spPr>
          <a:xfrm flipH="1">
            <a:off x="12" y="5985002"/>
            <a:ext cx="12191955" cy="873263"/>
          </a:xfrm>
          <a:custGeom>
            <a:avLst/>
            <a:gdLst/>
            <a:ahLst/>
            <a:cxnLst/>
            <a:rect l="l" t="t" r="r" b="b"/>
            <a:pathLst>
              <a:path w="55638" h="9704" extrusionOk="0">
                <a:moveTo>
                  <a:pt x="47791" y="0"/>
                </a:moveTo>
                <a:cubicBezTo>
                  <a:pt x="42137" y="0"/>
                  <a:pt x="36555" y="1243"/>
                  <a:pt x="31014" y="2426"/>
                </a:cubicBezTo>
                <a:cubicBezTo>
                  <a:pt x="25825" y="3542"/>
                  <a:pt x="20552" y="4639"/>
                  <a:pt x="15243" y="4639"/>
                </a:cubicBezTo>
                <a:cubicBezTo>
                  <a:pt x="14860" y="4639"/>
                  <a:pt x="14477" y="4633"/>
                  <a:pt x="14094" y="4621"/>
                </a:cubicBezTo>
                <a:cubicBezTo>
                  <a:pt x="9126" y="4487"/>
                  <a:pt x="4062" y="3235"/>
                  <a:pt x="1" y="407"/>
                </a:cubicBezTo>
                <a:lnTo>
                  <a:pt x="1" y="9704"/>
                </a:lnTo>
                <a:lnTo>
                  <a:pt x="55637" y="9704"/>
                </a:lnTo>
                <a:lnTo>
                  <a:pt x="55637" y="1678"/>
                </a:lnTo>
                <a:cubicBezTo>
                  <a:pt x="53368" y="310"/>
                  <a:pt x="50596" y="0"/>
                  <a:pt x="47916" y="0"/>
                </a:cubicBezTo>
                <a:cubicBezTo>
                  <a:pt x="47875" y="0"/>
                  <a:pt x="47833" y="0"/>
                  <a:pt x="4779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374411496"/>
      </p:ext>
    </p:extLst>
  </p:cSld>
  <p:clrMapOvr>
    <a:masterClrMapping/>
  </p:clrMapOvr>
  <p:transition spd="slow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6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Google Shape;622;p38"/>
          <p:cNvSpPr/>
          <p:nvPr/>
        </p:nvSpPr>
        <p:spPr>
          <a:xfrm>
            <a:off x="0" y="3875837"/>
            <a:ext cx="12191992" cy="2987315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3" name="Google Shape;623;p38"/>
          <p:cNvSpPr txBox="1">
            <a:spLocks noGrp="1"/>
          </p:cNvSpPr>
          <p:nvPr>
            <p:ph type="subTitle" idx="1"/>
          </p:nvPr>
        </p:nvSpPr>
        <p:spPr>
          <a:xfrm>
            <a:off x="6096000" y="2296767"/>
            <a:ext cx="5136000" cy="14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624" name="Google Shape;624;p38"/>
          <p:cNvSpPr txBox="1">
            <a:spLocks noGrp="1"/>
          </p:cNvSpPr>
          <p:nvPr>
            <p:ph type="ctrTitle"/>
          </p:nvPr>
        </p:nvSpPr>
        <p:spPr>
          <a:xfrm flipH="1">
            <a:off x="6104467" y="1107199"/>
            <a:ext cx="5136000" cy="111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8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625" name="Google Shape;625;p38"/>
          <p:cNvSpPr txBox="1"/>
          <p:nvPr/>
        </p:nvSpPr>
        <p:spPr>
          <a:xfrm>
            <a:off x="6512733" y="4752389"/>
            <a:ext cx="4302400" cy="9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67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CREDITS: This presentation template was created by </a:t>
            </a:r>
            <a:r>
              <a:rPr lang="en" sz="1467" b="1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lidesgo</a:t>
            </a:r>
            <a:r>
              <a:rPr lang="en" sz="1467" b="1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,</a:t>
            </a:r>
            <a:r>
              <a:rPr lang="en" sz="1467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 and includes icons by </a:t>
            </a:r>
            <a:r>
              <a:rPr lang="en" sz="1467" b="1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laticon</a:t>
            </a:r>
            <a:r>
              <a:rPr lang="en" sz="1467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, and infographics &amp; images by </a:t>
            </a:r>
            <a:r>
              <a:rPr lang="en" sz="1467" b="1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reepik</a:t>
            </a:r>
            <a:r>
              <a:rPr lang="en" sz="1467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endParaRPr sz="1467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6" name="Google Shape;626;p38"/>
          <p:cNvSpPr/>
          <p:nvPr/>
        </p:nvSpPr>
        <p:spPr>
          <a:xfrm>
            <a:off x="8852000" y="285304"/>
            <a:ext cx="4222667" cy="664800"/>
          </a:xfrm>
          <a:custGeom>
            <a:avLst/>
            <a:gdLst/>
            <a:ahLst/>
            <a:cxnLst/>
            <a:rect l="l" t="t" r="r" b="b"/>
            <a:pathLst>
              <a:path w="20313" h="3198" extrusionOk="0">
                <a:moveTo>
                  <a:pt x="14325" y="0"/>
                </a:moveTo>
                <a:cubicBezTo>
                  <a:pt x="13054" y="0"/>
                  <a:pt x="11959" y="656"/>
                  <a:pt x="11552" y="1580"/>
                </a:cubicBezTo>
                <a:cubicBezTo>
                  <a:pt x="11363" y="1539"/>
                  <a:pt x="11150" y="1502"/>
                  <a:pt x="10956" y="1502"/>
                </a:cubicBezTo>
                <a:cubicBezTo>
                  <a:pt x="10725" y="1502"/>
                  <a:pt x="10513" y="1539"/>
                  <a:pt x="10323" y="1599"/>
                </a:cubicBezTo>
                <a:cubicBezTo>
                  <a:pt x="9843" y="906"/>
                  <a:pt x="8955" y="425"/>
                  <a:pt x="7953" y="425"/>
                </a:cubicBezTo>
                <a:cubicBezTo>
                  <a:pt x="6858" y="425"/>
                  <a:pt x="5915" y="980"/>
                  <a:pt x="5453" y="1770"/>
                </a:cubicBezTo>
                <a:cubicBezTo>
                  <a:pt x="4931" y="1964"/>
                  <a:pt x="4529" y="2366"/>
                  <a:pt x="4372" y="2906"/>
                </a:cubicBezTo>
                <a:cubicBezTo>
                  <a:pt x="3739" y="2620"/>
                  <a:pt x="2870" y="2426"/>
                  <a:pt x="1891" y="2426"/>
                </a:cubicBezTo>
                <a:cubicBezTo>
                  <a:pt x="791" y="2426"/>
                  <a:pt x="1" y="2638"/>
                  <a:pt x="426" y="3198"/>
                </a:cubicBezTo>
                <a:lnTo>
                  <a:pt x="20313" y="3198"/>
                </a:lnTo>
                <a:cubicBezTo>
                  <a:pt x="20257" y="2481"/>
                  <a:pt x="19814" y="1927"/>
                  <a:pt x="18525" y="1927"/>
                </a:cubicBezTo>
                <a:cubicBezTo>
                  <a:pt x="18118" y="1927"/>
                  <a:pt x="17674" y="1982"/>
                  <a:pt x="17254" y="2079"/>
                </a:cubicBezTo>
                <a:cubicBezTo>
                  <a:pt x="17041" y="906"/>
                  <a:pt x="15808" y="0"/>
                  <a:pt x="1432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7" name="Google Shape;627;p38"/>
          <p:cNvSpPr/>
          <p:nvPr/>
        </p:nvSpPr>
        <p:spPr>
          <a:xfrm>
            <a:off x="561169" y="1165402"/>
            <a:ext cx="4018791" cy="672769"/>
          </a:xfrm>
          <a:custGeom>
            <a:avLst/>
            <a:gdLst/>
            <a:ahLst/>
            <a:cxnLst/>
            <a:rect l="l" t="t" r="r" b="b"/>
            <a:pathLst>
              <a:path w="22448" h="3758" extrusionOk="0">
                <a:moveTo>
                  <a:pt x="5911" y="1"/>
                </a:moveTo>
                <a:cubicBezTo>
                  <a:pt x="4312" y="1"/>
                  <a:pt x="2944" y="1004"/>
                  <a:pt x="2404" y="2408"/>
                </a:cubicBezTo>
                <a:cubicBezTo>
                  <a:pt x="2251" y="2371"/>
                  <a:pt x="2099" y="2371"/>
                  <a:pt x="1923" y="2371"/>
                </a:cubicBezTo>
                <a:cubicBezTo>
                  <a:pt x="865" y="2371"/>
                  <a:pt x="1" y="2986"/>
                  <a:pt x="1" y="3758"/>
                </a:cubicBezTo>
                <a:lnTo>
                  <a:pt x="22448" y="3758"/>
                </a:lnTo>
                <a:cubicBezTo>
                  <a:pt x="22369" y="2870"/>
                  <a:pt x="21773" y="2371"/>
                  <a:pt x="20059" y="2371"/>
                </a:cubicBezTo>
                <a:cubicBezTo>
                  <a:pt x="19250" y="2371"/>
                  <a:pt x="18368" y="2464"/>
                  <a:pt x="17596" y="2676"/>
                </a:cubicBezTo>
                <a:cubicBezTo>
                  <a:pt x="17420" y="1350"/>
                  <a:pt x="16288" y="311"/>
                  <a:pt x="14921" y="311"/>
                </a:cubicBezTo>
                <a:cubicBezTo>
                  <a:pt x="13955" y="311"/>
                  <a:pt x="13091" y="828"/>
                  <a:pt x="12629" y="1600"/>
                </a:cubicBezTo>
                <a:lnTo>
                  <a:pt x="12592" y="1600"/>
                </a:lnTo>
                <a:cubicBezTo>
                  <a:pt x="12167" y="1600"/>
                  <a:pt x="11783" y="1678"/>
                  <a:pt x="11437" y="1849"/>
                </a:cubicBezTo>
                <a:cubicBezTo>
                  <a:pt x="10975" y="962"/>
                  <a:pt x="10028" y="366"/>
                  <a:pt x="8932" y="366"/>
                </a:cubicBezTo>
                <a:cubicBezTo>
                  <a:pt x="8567" y="366"/>
                  <a:pt x="8202" y="445"/>
                  <a:pt x="7874" y="560"/>
                </a:cubicBezTo>
                <a:cubicBezTo>
                  <a:pt x="7315" y="214"/>
                  <a:pt x="6622" y="1"/>
                  <a:pt x="59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8" name="Google Shape;628;p38"/>
          <p:cNvSpPr/>
          <p:nvPr/>
        </p:nvSpPr>
        <p:spPr>
          <a:xfrm>
            <a:off x="10617232" y="3429000"/>
            <a:ext cx="1949291" cy="323877"/>
          </a:xfrm>
          <a:custGeom>
            <a:avLst/>
            <a:gdLst/>
            <a:ahLst/>
            <a:cxnLst/>
            <a:rect l="l" t="t" r="r" b="b"/>
            <a:pathLst>
              <a:path w="9377" h="1558" extrusionOk="0">
                <a:moveTo>
                  <a:pt x="6909" y="0"/>
                </a:moveTo>
                <a:cubicBezTo>
                  <a:pt x="6604" y="0"/>
                  <a:pt x="6331" y="74"/>
                  <a:pt x="6082" y="231"/>
                </a:cubicBezTo>
                <a:cubicBezTo>
                  <a:pt x="5948" y="171"/>
                  <a:pt x="5814" y="152"/>
                  <a:pt x="5638" y="152"/>
                </a:cubicBezTo>
                <a:cubicBezTo>
                  <a:pt x="5199" y="152"/>
                  <a:pt x="4792" y="402"/>
                  <a:pt x="4598" y="767"/>
                </a:cubicBezTo>
                <a:cubicBezTo>
                  <a:pt x="4464" y="693"/>
                  <a:pt x="4293" y="652"/>
                  <a:pt x="4118" y="652"/>
                </a:cubicBezTo>
                <a:lnTo>
                  <a:pt x="4099" y="652"/>
                </a:lnTo>
                <a:cubicBezTo>
                  <a:pt x="3905" y="347"/>
                  <a:pt x="3559" y="116"/>
                  <a:pt x="3157" y="116"/>
                </a:cubicBezTo>
                <a:cubicBezTo>
                  <a:pt x="2579" y="116"/>
                  <a:pt x="2099" y="554"/>
                  <a:pt x="2039" y="1114"/>
                </a:cubicBezTo>
                <a:cubicBezTo>
                  <a:pt x="1710" y="1017"/>
                  <a:pt x="1327" y="980"/>
                  <a:pt x="999" y="980"/>
                </a:cubicBezTo>
                <a:cubicBezTo>
                  <a:pt x="287" y="980"/>
                  <a:pt x="38" y="1192"/>
                  <a:pt x="1" y="1557"/>
                </a:cubicBezTo>
                <a:lnTo>
                  <a:pt x="9376" y="1557"/>
                </a:lnTo>
                <a:cubicBezTo>
                  <a:pt x="9376" y="1229"/>
                  <a:pt x="9029" y="980"/>
                  <a:pt x="8586" y="980"/>
                </a:cubicBezTo>
                <a:cubicBezTo>
                  <a:pt x="8507" y="980"/>
                  <a:pt x="8433" y="980"/>
                  <a:pt x="8373" y="998"/>
                </a:cubicBezTo>
                <a:cubicBezTo>
                  <a:pt x="8142" y="402"/>
                  <a:pt x="7583" y="0"/>
                  <a:pt x="690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9" name="Google Shape;629;p38"/>
          <p:cNvSpPr/>
          <p:nvPr/>
        </p:nvSpPr>
        <p:spPr>
          <a:xfrm flipH="1">
            <a:off x="8" y="5749103"/>
            <a:ext cx="12191992" cy="1113984"/>
          </a:xfrm>
          <a:custGeom>
            <a:avLst/>
            <a:gdLst/>
            <a:ahLst/>
            <a:cxnLst/>
            <a:rect l="l" t="t" r="r" b="b"/>
            <a:pathLst>
              <a:path w="54177" h="13534" extrusionOk="0">
                <a:moveTo>
                  <a:pt x="54177" y="0"/>
                </a:moveTo>
                <a:cubicBezTo>
                  <a:pt x="50268" y="735"/>
                  <a:pt x="46729" y="2967"/>
                  <a:pt x="42954" y="4353"/>
                </a:cubicBezTo>
                <a:cubicBezTo>
                  <a:pt x="38370" y="6025"/>
                  <a:pt x="33421" y="6413"/>
                  <a:pt x="28533" y="6797"/>
                </a:cubicBezTo>
                <a:cubicBezTo>
                  <a:pt x="27244" y="6892"/>
                  <a:pt x="25938" y="6992"/>
                  <a:pt x="24641" y="6992"/>
                </a:cubicBezTo>
                <a:cubicBezTo>
                  <a:pt x="23049" y="6992"/>
                  <a:pt x="21473" y="6842"/>
                  <a:pt x="19966" y="6353"/>
                </a:cubicBezTo>
                <a:cubicBezTo>
                  <a:pt x="16482" y="5258"/>
                  <a:pt x="13728" y="2523"/>
                  <a:pt x="10319" y="1197"/>
                </a:cubicBezTo>
                <a:cubicBezTo>
                  <a:pt x="8840" y="596"/>
                  <a:pt x="7223" y="310"/>
                  <a:pt x="5624" y="310"/>
                </a:cubicBezTo>
                <a:cubicBezTo>
                  <a:pt x="3947" y="310"/>
                  <a:pt x="1655" y="559"/>
                  <a:pt x="1" y="1446"/>
                </a:cubicBezTo>
                <a:lnTo>
                  <a:pt x="1" y="13534"/>
                </a:lnTo>
                <a:lnTo>
                  <a:pt x="54177" y="13534"/>
                </a:lnTo>
                <a:lnTo>
                  <a:pt x="5417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0" name="Google Shape;630;p38"/>
          <p:cNvSpPr/>
          <p:nvPr/>
        </p:nvSpPr>
        <p:spPr>
          <a:xfrm flipH="1">
            <a:off x="0" y="6030428"/>
            <a:ext cx="12191955" cy="827608"/>
          </a:xfrm>
          <a:custGeom>
            <a:avLst/>
            <a:gdLst/>
            <a:ahLst/>
            <a:cxnLst/>
            <a:rect l="l" t="t" r="r" b="b"/>
            <a:pathLst>
              <a:path w="55638" h="13062" extrusionOk="0">
                <a:moveTo>
                  <a:pt x="18328" y="0"/>
                </a:moveTo>
                <a:cubicBezTo>
                  <a:pt x="9728" y="0"/>
                  <a:pt x="1" y="1838"/>
                  <a:pt x="1" y="1838"/>
                </a:cubicBezTo>
                <a:lnTo>
                  <a:pt x="1" y="13062"/>
                </a:lnTo>
                <a:lnTo>
                  <a:pt x="55637" y="13062"/>
                </a:lnTo>
                <a:lnTo>
                  <a:pt x="55637" y="1838"/>
                </a:lnTo>
                <a:cubicBezTo>
                  <a:pt x="55637" y="1838"/>
                  <a:pt x="54001" y="1880"/>
                  <a:pt x="51326" y="1880"/>
                </a:cubicBezTo>
                <a:lnTo>
                  <a:pt x="51308" y="1880"/>
                </a:lnTo>
                <a:cubicBezTo>
                  <a:pt x="45241" y="1880"/>
                  <a:pt x="33846" y="1667"/>
                  <a:pt x="23815" y="318"/>
                </a:cubicBezTo>
                <a:cubicBezTo>
                  <a:pt x="22124" y="92"/>
                  <a:pt x="20254" y="0"/>
                  <a:pt x="18328" y="0"/>
                </a:cubicBezTo>
                <a:close/>
              </a:path>
            </a:pathLst>
          </a:custGeom>
          <a:gradFill>
            <a:gsLst>
              <a:gs pos="0">
                <a:srgbClr val="47CC23"/>
              </a:gs>
              <a:gs pos="100000">
                <a:srgbClr val="235814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631" name="Google Shape;631;p38"/>
          <p:cNvGrpSpPr/>
          <p:nvPr/>
        </p:nvGrpSpPr>
        <p:grpSpPr>
          <a:xfrm>
            <a:off x="1" y="4254741"/>
            <a:ext cx="5916804" cy="2603343"/>
            <a:chOff x="0" y="4526555"/>
            <a:chExt cx="1402175" cy="616945"/>
          </a:xfrm>
        </p:grpSpPr>
        <p:grpSp>
          <p:nvGrpSpPr>
            <p:cNvPr id="632" name="Google Shape;632;p38"/>
            <p:cNvGrpSpPr/>
            <p:nvPr/>
          </p:nvGrpSpPr>
          <p:grpSpPr>
            <a:xfrm flipH="1">
              <a:off x="392950" y="4723427"/>
              <a:ext cx="1009225" cy="420073"/>
              <a:chOff x="8749425" y="2113677"/>
              <a:chExt cx="1009225" cy="420073"/>
            </a:xfrm>
          </p:grpSpPr>
          <p:sp>
            <p:nvSpPr>
              <p:cNvPr id="633" name="Google Shape;633;p38"/>
              <p:cNvSpPr/>
              <p:nvPr/>
            </p:nvSpPr>
            <p:spPr>
              <a:xfrm>
                <a:off x="8749425" y="2441650"/>
                <a:ext cx="150300" cy="9210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4" name="Google Shape;634;p38"/>
              <p:cNvSpPr/>
              <p:nvPr/>
            </p:nvSpPr>
            <p:spPr>
              <a:xfrm>
                <a:off x="8799556" y="2113677"/>
                <a:ext cx="959094" cy="418294"/>
              </a:xfrm>
              <a:custGeom>
                <a:avLst/>
                <a:gdLst/>
                <a:ahLst/>
                <a:cxnLst/>
                <a:rect l="l" t="t" r="r" b="b"/>
                <a:pathLst>
                  <a:path w="20003" h="8724" extrusionOk="0">
                    <a:moveTo>
                      <a:pt x="19388" y="0"/>
                    </a:moveTo>
                    <a:cubicBezTo>
                      <a:pt x="18963" y="0"/>
                      <a:pt x="18908" y="1174"/>
                      <a:pt x="18908" y="1174"/>
                    </a:cubicBezTo>
                    <a:cubicBezTo>
                      <a:pt x="18908" y="1174"/>
                      <a:pt x="18769" y="790"/>
                      <a:pt x="18252" y="693"/>
                    </a:cubicBezTo>
                    <a:cubicBezTo>
                      <a:pt x="18218" y="689"/>
                      <a:pt x="18185" y="686"/>
                      <a:pt x="18154" y="686"/>
                    </a:cubicBezTo>
                    <a:cubicBezTo>
                      <a:pt x="17683" y="686"/>
                      <a:pt x="17480" y="1174"/>
                      <a:pt x="17480" y="1174"/>
                    </a:cubicBezTo>
                    <a:cubicBezTo>
                      <a:pt x="17480" y="1174"/>
                      <a:pt x="17425" y="656"/>
                      <a:pt x="17000" y="619"/>
                    </a:cubicBezTo>
                    <a:cubicBezTo>
                      <a:pt x="16989" y="618"/>
                      <a:pt x="16978" y="618"/>
                      <a:pt x="16968" y="618"/>
                    </a:cubicBezTo>
                    <a:cubicBezTo>
                      <a:pt x="16564" y="618"/>
                      <a:pt x="16367" y="1386"/>
                      <a:pt x="16367" y="1386"/>
                    </a:cubicBezTo>
                    <a:cubicBezTo>
                      <a:pt x="16367" y="1386"/>
                      <a:pt x="15966" y="909"/>
                      <a:pt x="15605" y="909"/>
                    </a:cubicBezTo>
                    <a:cubicBezTo>
                      <a:pt x="15568" y="909"/>
                      <a:pt x="15533" y="914"/>
                      <a:pt x="15498" y="924"/>
                    </a:cubicBezTo>
                    <a:cubicBezTo>
                      <a:pt x="15114" y="1021"/>
                      <a:pt x="15285" y="1890"/>
                      <a:pt x="15285" y="1890"/>
                    </a:cubicBezTo>
                    <a:cubicBezTo>
                      <a:pt x="15285" y="1890"/>
                      <a:pt x="14980" y="1137"/>
                      <a:pt x="14343" y="924"/>
                    </a:cubicBezTo>
                    <a:cubicBezTo>
                      <a:pt x="14311" y="915"/>
                      <a:pt x="14279" y="911"/>
                      <a:pt x="14246" y="911"/>
                    </a:cubicBezTo>
                    <a:cubicBezTo>
                      <a:pt x="13588" y="911"/>
                      <a:pt x="12629" y="2620"/>
                      <a:pt x="12629" y="2620"/>
                    </a:cubicBezTo>
                    <a:cubicBezTo>
                      <a:pt x="12629" y="2620"/>
                      <a:pt x="12222" y="1477"/>
                      <a:pt x="11322" y="1477"/>
                    </a:cubicBezTo>
                    <a:cubicBezTo>
                      <a:pt x="11224" y="1477"/>
                      <a:pt x="11121" y="1490"/>
                      <a:pt x="11011" y="1520"/>
                    </a:cubicBezTo>
                    <a:cubicBezTo>
                      <a:pt x="9875" y="1848"/>
                      <a:pt x="9990" y="3928"/>
                      <a:pt x="9990" y="3928"/>
                    </a:cubicBezTo>
                    <a:cubicBezTo>
                      <a:pt x="9990" y="3928"/>
                      <a:pt x="9788" y="3294"/>
                      <a:pt x="9007" y="3294"/>
                    </a:cubicBezTo>
                    <a:cubicBezTo>
                      <a:pt x="8996" y="3294"/>
                      <a:pt x="8985" y="3294"/>
                      <a:pt x="8974" y="3295"/>
                    </a:cubicBezTo>
                    <a:cubicBezTo>
                      <a:pt x="8142" y="3313"/>
                      <a:pt x="7934" y="5046"/>
                      <a:pt x="7934" y="5046"/>
                    </a:cubicBezTo>
                    <a:cubicBezTo>
                      <a:pt x="7934" y="5046"/>
                      <a:pt x="7333" y="3897"/>
                      <a:pt x="6453" y="3897"/>
                    </a:cubicBezTo>
                    <a:cubicBezTo>
                      <a:pt x="6401" y="3897"/>
                      <a:pt x="6348" y="3901"/>
                      <a:pt x="6294" y="3909"/>
                    </a:cubicBezTo>
                    <a:cubicBezTo>
                      <a:pt x="5351" y="4043"/>
                      <a:pt x="5083" y="5757"/>
                      <a:pt x="5083" y="5757"/>
                    </a:cubicBezTo>
                    <a:cubicBezTo>
                      <a:pt x="5083" y="5757"/>
                      <a:pt x="4773" y="5137"/>
                      <a:pt x="4364" y="5137"/>
                    </a:cubicBezTo>
                    <a:cubicBezTo>
                      <a:pt x="4340" y="5137"/>
                      <a:pt x="4317" y="5139"/>
                      <a:pt x="4293" y="5143"/>
                    </a:cubicBezTo>
                    <a:cubicBezTo>
                      <a:pt x="3891" y="5198"/>
                      <a:pt x="3891" y="5873"/>
                      <a:pt x="3891" y="5873"/>
                    </a:cubicBezTo>
                    <a:cubicBezTo>
                      <a:pt x="3891" y="5873"/>
                      <a:pt x="3224" y="4659"/>
                      <a:pt x="2403" y="4659"/>
                    </a:cubicBezTo>
                    <a:cubicBezTo>
                      <a:pt x="2341" y="4659"/>
                      <a:pt x="2277" y="4666"/>
                      <a:pt x="2214" y="4681"/>
                    </a:cubicBezTo>
                    <a:cubicBezTo>
                      <a:pt x="1308" y="4893"/>
                      <a:pt x="1387" y="6280"/>
                      <a:pt x="1387" y="6280"/>
                    </a:cubicBezTo>
                    <a:lnTo>
                      <a:pt x="1" y="6949"/>
                    </a:lnTo>
                    <a:lnTo>
                      <a:pt x="828" y="8724"/>
                    </a:lnTo>
                    <a:lnTo>
                      <a:pt x="20003" y="8724"/>
                    </a:lnTo>
                    <a:lnTo>
                      <a:pt x="20003" y="541"/>
                    </a:lnTo>
                    <a:cubicBezTo>
                      <a:pt x="20003" y="541"/>
                      <a:pt x="19832" y="0"/>
                      <a:pt x="1938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5" name="Google Shape;635;p38"/>
              <p:cNvSpPr/>
              <p:nvPr/>
            </p:nvSpPr>
            <p:spPr>
              <a:xfrm>
                <a:off x="9518680" y="2347231"/>
                <a:ext cx="191023" cy="128212"/>
              </a:xfrm>
              <a:custGeom>
                <a:avLst/>
                <a:gdLst/>
                <a:ahLst/>
                <a:cxnLst/>
                <a:rect l="l" t="t" r="r" b="b"/>
                <a:pathLst>
                  <a:path w="3984" h="2674" extrusionOk="0">
                    <a:moveTo>
                      <a:pt x="1531" y="0"/>
                    </a:moveTo>
                    <a:cubicBezTo>
                      <a:pt x="1015" y="0"/>
                      <a:pt x="522" y="309"/>
                      <a:pt x="306" y="808"/>
                    </a:cubicBezTo>
                    <a:cubicBezTo>
                      <a:pt x="1" y="1501"/>
                      <a:pt x="329" y="2291"/>
                      <a:pt x="999" y="2582"/>
                    </a:cubicBezTo>
                    <a:cubicBezTo>
                      <a:pt x="1158" y="2648"/>
                      <a:pt x="1402" y="2673"/>
                      <a:pt x="1682" y="2673"/>
                    </a:cubicBezTo>
                    <a:cubicBezTo>
                      <a:pt x="2624" y="2673"/>
                      <a:pt x="3984" y="2388"/>
                      <a:pt x="3984" y="2388"/>
                    </a:cubicBezTo>
                    <a:cubicBezTo>
                      <a:pt x="3984" y="2388"/>
                      <a:pt x="2755" y="406"/>
                      <a:pt x="2062" y="115"/>
                    </a:cubicBezTo>
                    <a:cubicBezTo>
                      <a:pt x="1889" y="37"/>
                      <a:pt x="1709" y="0"/>
                      <a:pt x="153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6" name="Google Shape;636;p38"/>
              <p:cNvSpPr/>
              <p:nvPr/>
            </p:nvSpPr>
            <p:spPr>
              <a:xfrm>
                <a:off x="9272995" y="2357252"/>
                <a:ext cx="158898" cy="158131"/>
              </a:xfrm>
              <a:custGeom>
                <a:avLst/>
                <a:gdLst/>
                <a:ahLst/>
                <a:cxnLst/>
                <a:rect l="l" t="t" r="r" b="b"/>
                <a:pathLst>
                  <a:path w="3314" h="3298" extrusionOk="0">
                    <a:moveTo>
                      <a:pt x="1843" y="0"/>
                    </a:moveTo>
                    <a:cubicBezTo>
                      <a:pt x="1483" y="0"/>
                      <a:pt x="1121" y="145"/>
                      <a:pt x="851" y="428"/>
                    </a:cubicBezTo>
                    <a:cubicBezTo>
                      <a:pt x="347" y="968"/>
                      <a:pt x="1" y="3297"/>
                      <a:pt x="1" y="3297"/>
                    </a:cubicBezTo>
                    <a:cubicBezTo>
                      <a:pt x="1" y="3297"/>
                      <a:pt x="2311" y="2794"/>
                      <a:pt x="2815" y="2258"/>
                    </a:cubicBezTo>
                    <a:cubicBezTo>
                      <a:pt x="3314" y="1717"/>
                      <a:pt x="3295" y="871"/>
                      <a:pt x="2755" y="368"/>
                    </a:cubicBezTo>
                    <a:cubicBezTo>
                      <a:pt x="2499" y="121"/>
                      <a:pt x="2172" y="0"/>
                      <a:pt x="1843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7" name="Google Shape;637;p38"/>
              <p:cNvSpPr/>
              <p:nvPr/>
            </p:nvSpPr>
            <p:spPr>
              <a:xfrm>
                <a:off x="9145597" y="2359362"/>
                <a:ext cx="101745" cy="130801"/>
              </a:xfrm>
              <a:custGeom>
                <a:avLst/>
                <a:gdLst/>
                <a:ahLst/>
                <a:cxnLst/>
                <a:rect l="l" t="t" r="r" b="b"/>
                <a:pathLst>
                  <a:path w="2122" h="2728" extrusionOk="0">
                    <a:moveTo>
                      <a:pt x="1660" y="0"/>
                    </a:moveTo>
                    <a:cubicBezTo>
                      <a:pt x="1660" y="0"/>
                      <a:pt x="329" y="998"/>
                      <a:pt x="176" y="1479"/>
                    </a:cubicBezTo>
                    <a:cubicBezTo>
                      <a:pt x="1" y="1983"/>
                      <a:pt x="273" y="2519"/>
                      <a:pt x="772" y="2676"/>
                    </a:cubicBezTo>
                    <a:cubicBezTo>
                      <a:pt x="875" y="2711"/>
                      <a:pt x="978" y="2727"/>
                      <a:pt x="1080" y="2727"/>
                    </a:cubicBezTo>
                    <a:cubicBezTo>
                      <a:pt x="1477" y="2727"/>
                      <a:pt x="1843" y="2477"/>
                      <a:pt x="1965" y="2080"/>
                    </a:cubicBezTo>
                    <a:cubicBezTo>
                      <a:pt x="2122" y="1576"/>
                      <a:pt x="1660" y="0"/>
                      <a:pt x="1660" y="0"/>
                    </a:cubicBezTo>
                    <a:close/>
                  </a:path>
                </a:pathLst>
              </a:custGeom>
              <a:solidFill>
                <a:srgbClr val="FFF76A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8" name="Google Shape;638;p38"/>
              <p:cNvSpPr/>
              <p:nvPr/>
            </p:nvSpPr>
            <p:spPr>
              <a:xfrm>
                <a:off x="8906576" y="2373986"/>
                <a:ext cx="62955" cy="79545"/>
              </a:xfrm>
              <a:custGeom>
                <a:avLst/>
                <a:gdLst/>
                <a:ahLst/>
                <a:cxnLst/>
                <a:rect l="l" t="t" r="r" b="b"/>
                <a:pathLst>
                  <a:path w="1313" h="1659" extrusionOk="0">
                    <a:moveTo>
                      <a:pt x="97" y="0"/>
                    </a:moveTo>
                    <a:lnTo>
                      <a:pt x="97" y="0"/>
                    </a:lnTo>
                    <a:cubicBezTo>
                      <a:pt x="97" y="0"/>
                      <a:pt x="0" y="1058"/>
                      <a:pt x="134" y="1350"/>
                    </a:cubicBezTo>
                    <a:cubicBezTo>
                      <a:pt x="245" y="1551"/>
                      <a:pt x="448" y="1658"/>
                      <a:pt x="659" y="1658"/>
                    </a:cubicBezTo>
                    <a:cubicBezTo>
                      <a:pt x="748" y="1658"/>
                      <a:pt x="839" y="1639"/>
                      <a:pt x="924" y="1599"/>
                    </a:cubicBezTo>
                    <a:cubicBezTo>
                      <a:pt x="1197" y="1447"/>
                      <a:pt x="1313" y="1100"/>
                      <a:pt x="1174" y="827"/>
                    </a:cubicBezTo>
                    <a:cubicBezTo>
                      <a:pt x="1021" y="541"/>
                      <a:pt x="97" y="0"/>
                      <a:pt x="97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9" name="Google Shape;639;p38"/>
              <p:cNvSpPr/>
              <p:nvPr/>
            </p:nvSpPr>
            <p:spPr>
              <a:xfrm>
                <a:off x="9652503" y="2329155"/>
                <a:ext cx="78490" cy="54229"/>
              </a:xfrm>
              <a:custGeom>
                <a:avLst/>
                <a:gdLst/>
                <a:ahLst/>
                <a:cxnLst/>
                <a:rect l="l" t="t" r="r" b="b"/>
                <a:pathLst>
                  <a:path w="1637" h="1131" extrusionOk="0">
                    <a:moveTo>
                      <a:pt x="1011" y="1"/>
                    </a:moveTo>
                    <a:cubicBezTo>
                      <a:pt x="922" y="1"/>
                      <a:pt x="832" y="23"/>
                      <a:pt x="749" y="71"/>
                    </a:cubicBezTo>
                    <a:cubicBezTo>
                      <a:pt x="463" y="205"/>
                      <a:pt x="1" y="1069"/>
                      <a:pt x="1" y="1069"/>
                    </a:cubicBezTo>
                    <a:cubicBezTo>
                      <a:pt x="1" y="1069"/>
                      <a:pt x="428" y="1131"/>
                      <a:pt x="799" y="1131"/>
                    </a:cubicBezTo>
                    <a:cubicBezTo>
                      <a:pt x="984" y="1131"/>
                      <a:pt x="1156" y="1116"/>
                      <a:pt x="1253" y="1069"/>
                    </a:cubicBezTo>
                    <a:cubicBezTo>
                      <a:pt x="1521" y="935"/>
                      <a:pt x="1636" y="589"/>
                      <a:pt x="1502" y="321"/>
                    </a:cubicBezTo>
                    <a:cubicBezTo>
                      <a:pt x="1409" y="118"/>
                      <a:pt x="1213" y="1"/>
                      <a:pt x="1011" y="1"/>
                    </a:cubicBezTo>
                    <a:close/>
                  </a:path>
                </a:pathLst>
              </a:custGeom>
              <a:solidFill>
                <a:srgbClr val="FFF76A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0" name="Google Shape;640;p38"/>
              <p:cNvSpPr/>
              <p:nvPr/>
            </p:nvSpPr>
            <p:spPr>
              <a:xfrm>
                <a:off x="9599808" y="2204250"/>
                <a:ext cx="101697" cy="85730"/>
              </a:xfrm>
              <a:custGeom>
                <a:avLst/>
                <a:gdLst/>
                <a:ahLst/>
                <a:cxnLst/>
                <a:rect l="l" t="t" r="r" b="b"/>
                <a:pathLst>
                  <a:path w="2121" h="1788" extrusionOk="0">
                    <a:moveTo>
                      <a:pt x="0" y="1"/>
                    </a:moveTo>
                    <a:cubicBezTo>
                      <a:pt x="0" y="1"/>
                      <a:pt x="388" y="1346"/>
                      <a:pt x="735" y="1618"/>
                    </a:cubicBezTo>
                    <a:cubicBezTo>
                      <a:pt x="875" y="1732"/>
                      <a:pt x="1046" y="1787"/>
                      <a:pt x="1218" y="1787"/>
                    </a:cubicBezTo>
                    <a:cubicBezTo>
                      <a:pt x="1450" y="1787"/>
                      <a:pt x="1684" y="1688"/>
                      <a:pt x="1848" y="1503"/>
                    </a:cubicBezTo>
                    <a:cubicBezTo>
                      <a:pt x="2121" y="1156"/>
                      <a:pt x="2061" y="652"/>
                      <a:pt x="1714" y="384"/>
                    </a:cubicBezTo>
                    <a:cubicBezTo>
                      <a:pt x="1386" y="93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1" name="Google Shape;641;p38"/>
              <p:cNvSpPr/>
              <p:nvPr/>
            </p:nvSpPr>
            <p:spPr>
              <a:xfrm>
                <a:off x="8970347" y="2343635"/>
                <a:ext cx="20234" cy="21912"/>
              </a:xfrm>
              <a:custGeom>
                <a:avLst/>
                <a:gdLst/>
                <a:ahLst/>
                <a:cxnLst/>
                <a:rect l="l" t="t" r="r" b="b"/>
                <a:pathLst>
                  <a:path w="422" h="457" extrusionOk="0">
                    <a:moveTo>
                      <a:pt x="1" y="0"/>
                    </a:moveTo>
                    <a:cubicBezTo>
                      <a:pt x="1" y="0"/>
                      <a:pt x="19" y="305"/>
                      <a:pt x="75" y="384"/>
                    </a:cubicBezTo>
                    <a:cubicBezTo>
                      <a:pt x="111" y="431"/>
                      <a:pt x="167" y="456"/>
                      <a:pt x="223" y="456"/>
                    </a:cubicBezTo>
                    <a:cubicBezTo>
                      <a:pt x="260" y="456"/>
                      <a:pt x="298" y="445"/>
                      <a:pt x="329" y="421"/>
                    </a:cubicBezTo>
                    <a:cubicBezTo>
                      <a:pt x="403" y="347"/>
                      <a:pt x="421" y="231"/>
                      <a:pt x="366" y="153"/>
                    </a:cubicBezTo>
                    <a:cubicBezTo>
                      <a:pt x="287" y="74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97D83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2" name="Google Shape;642;p38"/>
              <p:cNvSpPr/>
              <p:nvPr/>
            </p:nvSpPr>
            <p:spPr>
              <a:xfrm>
                <a:off x="9023761" y="2456169"/>
                <a:ext cx="75805" cy="63051"/>
              </a:xfrm>
              <a:custGeom>
                <a:avLst/>
                <a:gdLst/>
                <a:ahLst/>
                <a:cxnLst/>
                <a:rect l="l" t="t" r="r" b="b"/>
                <a:pathLst>
                  <a:path w="1581" h="1315" extrusionOk="0">
                    <a:moveTo>
                      <a:pt x="1" y="1"/>
                    </a:moveTo>
                    <a:cubicBezTo>
                      <a:pt x="1" y="1"/>
                      <a:pt x="310" y="985"/>
                      <a:pt x="560" y="1193"/>
                    </a:cubicBezTo>
                    <a:cubicBezTo>
                      <a:pt x="664" y="1274"/>
                      <a:pt x="789" y="1315"/>
                      <a:pt x="915" y="1315"/>
                    </a:cubicBezTo>
                    <a:cubicBezTo>
                      <a:pt x="1090" y="1315"/>
                      <a:pt x="1266" y="1236"/>
                      <a:pt x="1387" y="1077"/>
                    </a:cubicBezTo>
                    <a:cubicBezTo>
                      <a:pt x="1581" y="828"/>
                      <a:pt x="1544" y="463"/>
                      <a:pt x="1271" y="269"/>
                    </a:cubicBezTo>
                    <a:cubicBezTo>
                      <a:pt x="1022" y="6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3" name="Google Shape;643;p38"/>
              <p:cNvSpPr/>
              <p:nvPr/>
            </p:nvSpPr>
            <p:spPr>
              <a:xfrm>
                <a:off x="8807755" y="2468971"/>
                <a:ext cx="57441" cy="37974"/>
              </a:xfrm>
              <a:custGeom>
                <a:avLst/>
                <a:gdLst/>
                <a:ahLst/>
                <a:cxnLst/>
                <a:rect l="l" t="t" r="r" b="b"/>
                <a:pathLst>
                  <a:path w="1198" h="792" extrusionOk="0">
                    <a:moveTo>
                      <a:pt x="423" y="1"/>
                    </a:moveTo>
                    <a:cubicBezTo>
                      <a:pt x="417" y="1"/>
                      <a:pt x="412" y="1"/>
                      <a:pt x="407" y="2"/>
                    </a:cubicBezTo>
                    <a:cubicBezTo>
                      <a:pt x="176" y="2"/>
                      <a:pt x="0" y="177"/>
                      <a:pt x="24" y="408"/>
                    </a:cubicBezTo>
                    <a:cubicBezTo>
                      <a:pt x="24" y="621"/>
                      <a:pt x="195" y="792"/>
                      <a:pt x="426" y="792"/>
                    </a:cubicBezTo>
                    <a:cubicBezTo>
                      <a:pt x="638" y="773"/>
                      <a:pt x="1197" y="371"/>
                      <a:pt x="1197" y="371"/>
                    </a:cubicBezTo>
                    <a:cubicBezTo>
                      <a:pt x="1197" y="371"/>
                      <a:pt x="646" y="1"/>
                      <a:pt x="42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644" name="Google Shape;644;p38"/>
            <p:cNvGrpSpPr/>
            <p:nvPr/>
          </p:nvGrpSpPr>
          <p:grpSpPr>
            <a:xfrm>
              <a:off x="0" y="4526555"/>
              <a:ext cx="997883" cy="615118"/>
              <a:chOff x="7378425" y="2211250"/>
              <a:chExt cx="520300" cy="320725"/>
            </a:xfrm>
          </p:grpSpPr>
          <p:sp>
            <p:nvSpPr>
              <p:cNvPr id="645" name="Google Shape;645;p38"/>
              <p:cNvSpPr/>
              <p:nvPr/>
            </p:nvSpPr>
            <p:spPr>
              <a:xfrm>
                <a:off x="7378425" y="2211250"/>
                <a:ext cx="520300" cy="320725"/>
              </a:xfrm>
              <a:custGeom>
                <a:avLst/>
                <a:gdLst/>
                <a:ahLst/>
                <a:cxnLst/>
                <a:rect l="l" t="t" r="r" b="b"/>
                <a:pathLst>
                  <a:path w="20812" h="12829" extrusionOk="0">
                    <a:moveTo>
                      <a:pt x="1185" y="0"/>
                    </a:moveTo>
                    <a:cubicBezTo>
                      <a:pt x="584" y="0"/>
                      <a:pt x="1" y="104"/>
                      <a:pt x="1" y="104"/>
                    </a:cubicBezTo>
                    <a:lnTo>
                      <a:pt x="1" y="12829"/>
                    </a:lnTo>
                    <a:lnTo>
                      <a:pt x="20465" y="12829"/>
                    </a:lnTo>
                    <a:cubicBezTo>
                      <a:pt x="20465" y="12829"/>
                      <a:pt x="20812" y="12076"/>
                      <a:pt x="20313" y="11729"/>
                    </a:cubicBezTo>
                    <a:cubicBezTo>
                      <a:pt x="20153" y="11614"/>
                      <a:pt x="19890" y="11575"/>
                      <a:pt x="19610" y="11575"/>
                    </a:cubicBezTo>
                    <a:cubicBezTo>
                      <a:pt x="19052" y="11575"/>
                      <a:pt x="18428" y="11729"/>
                      <a:pt x="18428" y="11729"/>
                    </a:cubicBezTo>
                    <a:cubicBezTo>
                      <a:pt x="18428" y="11729"/>
                      <a:pt x="18543" y="11364"/>
                      <a:pt x="18483" y="11054"/>
                    </a:cubicBezTo>
                    <a:cubicBezTo>
                      <a:pt x="18446" y="10823"/>
                      <a:pt x="18331" y="10634"/>
                      <a:pt x="18003" y="10574"/>
                    </a:cubicBezTo>
                    <a:cubicBezTo>
                      <a:pt x="17926" y="10565"/>
                      <a:pt x="17849" y="10560"/>
                      <a:pt x="17771" y="10560"/>
                    </a:cubicBezTo>
                    <a:cubicBezTo>
                      <a:pt x="17694" y="10560"/>
                      <a:pt x="17617" y="10565"/>
                      <a:pt x="17540" y="10574"/>
                    </a:cubicBezTo>
                    <a:cubicBezTo>
                      <a:pt x="16963" y="10634"/>
                      <a:pt x="16464" y="10920"/>
                      <a:pt x="16464" y="10920"/>
                    </a:cubicBezTo>
                    <a:cubicBezTo>
                      <a:pt x="16464" y="10920"/>
                      <a:pt x="16501" y="10093"/>
                      <a:pt x="15942" y="10038"/>
                    </a:cubicBezTo>
                    <a:cubicBezTo>
                      <a:pt x="15915" y="10034"/>
                      <a:pt x="15889" y="10032"/>
                      <a:pt x="15863" y="10032"/>
                    </a:cubicBezTo>
                    <a:cubicBezTo>
                      <a:pt x="15344" y="10032"/>
                      <a:pt x="14962" y="10750"/>
                      <a:pt x="14962" y="10750"/>
                    </a:cubicBezTo>
                    <a:cubicBezTo>
                      <a:pt x="14962" y="10750"/>
                      <a:pt x="15055" y="9266"/>
                      <a:pt x="14477" y="9132"/>
                    </a:cubicBezTo>
                    <a:cubicBezTo>
                      <a:pt x="14456" y="9128"/>
                      <a:pt x="14435" y="9126"/>
                      <a:pt x="14412" y="9126"/>
                    </a:cubicBezTo>
                    <a:cubicBezTo>
                      <a:pt x="13842" y="9126"/>
                      <a:pt x="12823" y="10500"/>
                      <a:pt x="12823" y="10500"/>
                    </a:cubicBezTo>
                    <a:cubicBezTo>
                      <a:pt x="12823" y="10500"/>
                      <a:pt x="12957" y="9784"/>
                      <a:pt x="12726" y="9594"/>
                    </a:cubicBezTo>
                    <a:cubicBezTo>
                      <a:pt x="12683" y="9558"/>
                      <a:pt x="12611" y="9544"/>
                      <a:pt x="12523" y="9544"/>
                    </a:cubicBezTo>
                    <a:cubicBezTo>
                      <a:pt x="12133" y="9544"/>
                      <a:pt x="11415" y="9829"/>
                      <a:pt x="11400" y="9844"/>
                    </a:cubicBezTo>
                    <a:cubicBezTo>
                      <a:pt x="11418" y="9825"/>
                      <a:pt x="12033" y="9322"/>
                      <a:pt x="11899" y="8938"/>
                    </a:cubicBezTo>
                    <a:cubicBezTo>
                      <a:pt x="11794" y="8623"/>
                      <a:pt x="11203" y="8589"/>
                      <a:pt x="10953" y="8589"/>
                    </a:cubicBezTo>
                    <a:cubicBezTo>
                      <a:pt x="10884" y="8589"/>
                      <a:pt x="10841" y="8592"/>
                      <a:pt x="10841" y="8592"/>
                    </a:cubicBezTo>
                    <a:cubicBezTo>
                      <a:pt x="10841" y="8592"/>
                      <a:pt x="11686" y="8208"/>
                      <a:pt x="11418" y="7534"/>
                    </a:cubicBezTo>
                    <a:cubicBezTo>
                      <a:pt x="11169" y="6878"/>
                      <a:pt x="10129" y="6822"/>
                      <a:pt x="10129" y="6822"/>
                    </a:cubicBezTo>
                    <a:cubicBezTo>
                      <a:pt x="10129" y="6822"/>
                      <a:pt x="10647" y="6531"/>
                      <a:pt x="10513" y="6203"/>
                    </a:cubicBezTo>
                    <a:cubicBezTo>
                      <a:pt x="10379" y="5856"/>
                      <a:pt x="9764" y="5801"/>
                      <a:pt x="9764" y="5801"/>
                    </a:cubicBezTo>
                    <a:cubicBezTo>
                      <a:pt x="9764" y="5801"/>
                      <a:pt x="10148" y="5625"/>
                      <a:pt x="10263" y="5320"/>
                    </a:cubicBezTo>
                    <a:cubicBezTo>
                      <a:pt x="10319" y="5186"/>
                      <a:pt x="10319" y="5011"/>
                      <a:pt x="10185" y="4817"/>
                    </a:cubicBezTo>
                    <a:cubicBezTo>
                      <a:pt x="9919" y="4471"/>
                      <a:pt x="9373" y="4402"/>
                      <a:pt x="8977" y="4402"/>
                    </a:cubicBezTo>
                    <a:cubicBezTo>
                      <a:pt x="8710" y="4402"/>
                      <a:pt x="8512" y="4433"/>
                      <a:pt x="8512" y="4433"/>
                    </a:cubicBezTo>
                    <a:cubicBezTo>
                      <a:pt x="8512" y="4433"/>
                      <a:pt x="9145" y="3953"/>
                      <a:pt x="8683" y="3643"/>
                    </a:cubicBezTo>
                    <a:cubicBezTo>
                      <a:pt x="8529" y="3541"/>
                      <a:pt x="8309" y="3508"/>
                      <a:pt x="8083" y="3508"/>
                    </a:cubicBezTo>
                    <a:cubicBezTo>
                      <a:pt x="7633" y="3508"/>
                      <a:pt x="7163" y="3643"/>
                      <a:pt x="7163" y="3643"/>
                    </a:cubicBezTo>
                    <a:cubicBezTo>
                      <a:pt x="7163" y="3643"/>
                      <a:pt x="7569" y="3163"/>
                      <a:pt x="6913" y="2585"/>
                    </a:cubicBezTo>
                    <a:cubicBezTo>
                      <a:pt x="6764" y="2454"/>
                      <a:pt x="6547" y="2404"/>
                      <a:pt x="6299" y="2404"/>
                    </a:cubicBezTo>
                    <a:cubicBezTo>
                      <a:pt x="5552" y="2404"/>
                      <a:pt x="4534" y="2862"/>
                      <a:pt x="4315" y="2959"/>
                    </a:cubicBezTo>
                    <a:lnTo>
                      <a:pt x="4315" y="2959"/>
                    </a:lnTo>
                    <a:cubicBezTo>
                      <a:pt x="4491" y="2878"/>
                      <a:pt x="5130" y="2518"/>
                      <a:pt x="4852" y="2275"/>
                    </a:cubicBezTo>
                    <a:cubicBezTo>
                      <a:pt x="4743" y="2180"/>
                      <a:pt x="4563" y="2148"/>
                      <a:pt x="4372" y="2148"/>
                    </a:cubicBezTo>
                    <a:cubicBezTo>
                      <a:pt x="3990" y="2148"/>
                      <a:pt x="3563" y="2275"/>
                      <a:pt x="3563" y="2275"/>
                    </a:cubicBezTo>
                    <a:cubicBezTo>
                      <a:pt x="3563" y="2275"/>
                      <a:pt x="4025" y="1642"/>
                      <a:pt x="3563" y="1374"/>
                    </a:cubicBezTo>
                    <a:cubicBezTo>
                      <a:pt x="3483" y="1330"/>
                      <a:pt x="3388" y="1312"/>
                      <a:pt x="3288" y="1312"/>
                    </a:cubicBezTo>
                    <a:cubicBezTo>
                      <a:pt x="2813" y="1312"/>
                      <a:pt x="2196" y="1721"/>
                      <a:pt x="2196" y="1721"/>
                    </a:cubicBezTo>
                    <a:cubicBezTo>
                      <a:pt x="2196" y="1721"/>
                      <a:pt x="2773" y="1065"/>
                      <a:pt x="2427" y="390"/>
                    </a:cubicBezTo>
                    <a:cubicBezTo>
                      <a:pt x="2264" y="82"/>
                      <a:pt x="1718" y="0"/>
                      <a:pt x="1185" y="0"/>
                    </a:cubicBezTo>
                    <a:close/>
                  </a:path>
                </a:pathLst>
              </a:custGeom>
              <a:solidFill>
                <a:srgbClr val="97D83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6" name="Google Shape;646;p38"/>
              <p:cNvSpPr/>
              <p:nvPr/>
            </p:nvSpPr>
            <p:spPr>
              <a:xfrm>
                <a:off x="7388600" y="2349550"/>
                <a:ext cx="55350" cy="53025"/>
              </a:xfrm>
              <a:custGeom>
                <a:avLst/>
                <a:gdLst/>
                <a:ahLst/>
                <a:cxnLst/>
                <a:rect l="l" t="t" r="r" b="b"/>
                <a:pathLst>
                  <a:path w="2214" h="2121" extrusionOk="0">
                    <a:moveTo>
                      <a:pt x="2214" y="1"/>
                    </a:moveTo>
                    <a:lnTo>
                      <a:pt x="2214" y="1"/>
                    </a:lnTo>
                    <a:cubicBezTo>
                      <a:pt x="2214" y="1"/>
                      <a:pt x="670" y="324"/>
                      <a:pt x="324" y="652"/>
                    </a:cubicBezTo>
                    <a:cubicBezTo>
                      <a:pt x="0" y="999"/>
                      <a:pt x="0" y="1540"/>
                      <a:pt x="324" y="1868"/>
                    </a:cubicBezTo>
                    <a:cubicBezTo>
                      <a:pt x="490" y="2034"/>
                      <a:pt x="716" y="2121"/>
                      <a:pt x="941" y="2121"/>
                    </a:cubicBezTo>
                    <a:cubicBezTo>
                      <a:pt x="1159" y="2121"/>
                      <a:pt x="1377" y="2039"/>
                      <a:pt x="1539" y="1868"/>
                    </a:cubicBezTo>
                    <a:cubicBezTo>
                      <a:pt x="1867" y="1540"/>
                      <a:pt x="2214" y="1"/>
                      <a:pt x="2214" y="1"/>
                    </a:cubicBezTo>
                    <a:close/>
                  </a:path>
                </a:pathLst>
              </a:custGeom>
              <a:solidFill>
                <a:srgbClr val="34931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7" name="Google Shape;647;p38"/>
              <p:cNvSpPr/>
              <p:nvPr/>
            </p:nvSpPr>
            <p:spPr>
              <a:xfrm>
                <a:off x="7499725" y="2280250"/>
                <a:ext cx="52000" cy="35600"/>
              </a:xfrm>
              <a:custGeom>
                <a:avLst/>
                <a:gdLst/>
                <a:ahLst/>
                <a:cxnLst/>
                <a:rect l="l" t="t" r="r" b="b"/>
                <a:pathLst>
                  <a:path w="2080" h="1424" extrusionOk="0">
                    <a:moveTo>
                      <a:pt x="1269" y="1"/>
                    </a:moveTo>
                    <a:cubicBezTo>
                      <a:pt x="1160" y="1"/>
                      <a:pt x="1049" y="25"/>
                      <a:pt x="943" y="75"/>
                    </a:cubicBezTo>
                    <a:cubicBezTo>
                      <a:pt x="596" y="250"/>
                      <a:pt x="0" y="1345"/>
                      <a:pt x="0" y="1345"/>
                    </a:cubicBezTo>
                    <a:cubicBezTo>
                      <a:pt x="0" y="1345"/>
                      <a:pt x="549" y="1423"/>
                      <a:pt x="1017" y="1423"/>
                    </a:cubicBezTo>
                    <a:cubicBezTo>
                      <a:pt x="1251" y="1423"/>
                      <a:pt x="1465" y="1404"/>
                      <a:pt x="1581" y="1345"/>
                    </a:cubicBezTo>
                    <a:cubicBezTo>
                      <a:pt x="1946" y="1174"/>
                      <a:pt x="2080" y="749"/>
                      <a:pt x="1909" y="403"/>
                    </a:cubicBezTo>
                    <a:cubicBezTo>
                      <a:pt x="1784" y="144"/>
                      <a:pt x="1534" y="1"/>
                      <a:pt x="126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8" name="Google Shape;648;p38"/>
              <p:cNvSpPr/>
              <p:nvPr/>
            </p:nvSpPr>
            <p:spPr>
              <a:xfrm>
                <a:off x="7698975" y="2429375"/>
                <a:ext cx="14925" cy="13700"/>
              </a:xfrm>
              <a:custGeom>
                <a:avLst/>
                <a:gdLst/>
                <a:ahLst/>
                <a:cxnLst/>
                <a:rect l="l" t="t" r="r" b="b"/>
                <a:pathLst>
                  <a:path w="597" h="548" extrusionOk="0">
                    <a:moveTo>
                      <a:pt x="597" y="1"/>
                    </a:moveTo>
                    <a:cubicBezTo>
                      <a:pt x="597" y="1"/>
                      <a:pt x="195" y="61"/>
                      <a:pt x="98" y="158"/>
                    </a:cubicBezTo>
                    <a:cubicBezTo>
                      <a:pt x="1" y="232"/>
                      <a:pt x="1" y="389"/>
                      <a:pt x="98" y="481"/>
                    </a:cubicBezTo>
                    <a:cubicBezTo>
                      <a:pt x="139" y="523"/>
                      <a:pt x="201" y="547"/>
                      <a:pt x="264" y="547"/>
                    </a:cubicBezTo>
                    <a:cubicBezTo>
                      <a:pt x="322" y="547"/>
                      <a:pt x="380" y="527"/>
                      <a:pt x="426" y="481"/>
                    </a:cubicBezTo>
                    <a:cubicBezTo>
                      <a:pt x="523" y="389"/>
                      <a:pt x="597" y="1"/>
                      <a:pt x="597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9" name="Google Shape;649;p38"/>
              <p:cNvSpPr/>
              <p:nvPr/>
            </p:nvSpPr>
            <p:spPr>
              <a:xfrm>
                <a:off x="7470375" y="2335100"/>
                <a:ext cx="32250" cy="32275"/>
              </a:xfrm>
              <a:custGeom>
                <a:avLst/>
                <a:gdLst/>
                <a:ahLst/>
                <a:cxnLst/>
                <a:rect l="l" t="t" r="r" b="b"/>
                <a:pathLst>
                  <a:path w="1290" h="1291" extrusionOk="0">
                    <a:moveTo>
                      <a:pt x="578" y="1"/>
                    </a:moveTo>
                    <a:cubicBezTo>
                      <a:pt x="455" y="1"/>
                      <a:pt x="331" y="45"/>
                      <a:pt x="232" y="135"/>
                    </a:cubicBezTo>
                    <a:cubicBezTo>
                      <a:pt x="19" y="348"/>
                      <a:pt x="1" y="671"/>
                      <a:pt x="195" y="884"/>
                    </a:cubicBezTo>
                    <a:cubicBezTo>
                      <a:pt x="403" y="1096"/>
                      <a:pt x="1290" y="1290"/>
                      <a:pt x="1290" y="1290"/>
                    </a:cubicBezTo>
                    <a:cubicBezTo>
                      <a:pt x="1290" y="1290"/>
                      <a:pt x="1156" y="385"/>
                      <a:pt x="962" y="172"/>
                    </a:cubicBezTo>
                    <a:cubicBezTo>
                      <a:pt x="861" y="59"/>
                      <a:pt x="720" y="1"/>
                      <a:pt x="578" y="1"/>
                    </a:cubicBezTo>
                    <a:close/>
                  </a:path>
                </a:pathLst>
              </a:custGeom>
              <a:solidFill>
                <a:srgbClr val="34931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0" name="Google Shape;650;p38"/>
              <p:cNvSpPr/>
              <p:nvPr/>
            </p:nvSpPr>
            <p:spPr>
              <a:xfrm>
                <a:off x="7383750" y="2478925"/>
                <a:ext cx="28900" cy="38425"/>
              </a:xfrm>
              <a:custGeom>
                <a:avLst/>
                <a:gdLst/>
                <a:ahLst/>
                <a:cxnLst/>
                <a:rect l="l" t="t" r="r" b="b"/>
                <a:pathLst>
                  <a:path w="1156" h="1537" extrusionOk="0">
                    <a:moveTo>
                      <a:pt x="827" y="1"/>
                    </a:moveTo>
                    <a:cubicBezTo>
                      <a:pt x="827" y="1"/>
                      <a:pt x="134" y="602"/>
                      <a:pt x="56" y="888"/>
                    </a:cubicBezTo>
                    <a:cubicBezTo>
                      <a:pt x="0" y="1156"/>
                      <a:pt x="153" y="1447"/>
                      <a:pt x="444" y="1526"/>
                    </a:cubicBezTo>
                    <a:cubicBezTo>
                      <a:pt x="480" y="1533"/>
                      <a:pt x="517" y="1537"/>
                      <a:pt x="554" y="1537"/>
                    </a:cubicBezTo>
                    <a:cubicBezTo>
                      <a:pt x="787" y="1537"/>
                      <a:pt x="1013" y="1389"/>
                      <a:pt x="1077" y="1138"/>
                    </a:cubicBezTo>
                    <a:cubicBezTo>
                      <a:pt x="1155" y="870"/>
                      <a:pt x="827" y="1"/>
                      <a:pt x="827" y="1"/>
                    </a:cubicBezTo>
                    <a:close/>
                  </a:path>
                </a:pathLst>
              </a:custGeom>
              <a:solidFill>
                <a:srgbClr val="34931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1" name="Google Shape;651;p38"/>
              <p:cNvSpPr/>
              <p:nvPr/>
            </p:nvSpPr>
            <p:spPr>
              <a:xfrm>
                <a:off x="7756275" y="2478175"/>
                <a:ext cx="38500" cy="37875"/>
              </a:xfrm>
              <a:custGeom>
                <a:avLst/>
                <a:gdLst/>
                <a:ahLst/>
                <a:cxnLst/>
                <a:rect l="l" t="t" r="r" b="b"/>
                <a:pathLst>
                  <a:path w="1540" h="1515" extrusionOk="0">
                    <a:moveTo>
                      <a:pt x="701" y="1"/>
                    </a:moveTo>
                    <a:cubicBezTo>
                      <a:pt x="545" y="1"/>
                      <a:pt x="389" y="58"/>
                      <a:pt x="269" y="170"/>
                    </a:cubicBezTo>
                    <a:cubicBezTo>
                      <a:pt x="19" y="401"/>
                      <a:pt x="1" y="784"/>
                      <a:pt x="232" y="1034"/>
                    </a:cubicBezTo>
                    <a:cubicBezTo>
                      <a:pt x="481" y="1283"/>
                      <a:pt x="1539" y="1514"/>
                      <a:pt x="1539" y="1514"/>
                    </a:cubicBezTo>
                    <a:cubicBezTo>
                      <a:pt x="1539" y="1514"/>
                      <a:pt x="1387" y="456"/>
                      <a:pt x="1156" y="207"/>
                    </a:cubicBezTo>
                    <a:cubicBezTo>
                      <a:pt x="1036" y="68"/>
                      <a:pt x="869" y="1"/>
                      <a:pt x="701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2" name="Google Shape;652;p38"/>
              <p:cNvSpPr/>
              <p:nvPr/>
            </p:nvSpPr>
            <p:spPr>
              <a:xfrm>
                <a:off x="7418400" y="2260050"/>
                <a:ext cx="37575" cy="47750"/>
              </a:xfrm>
              <a:custGeom>
                <a:avLst/>
                <a:gdLst/>
                <a:ahLst/>
                <a:cxnLst/>
                <a:rect l="l" t="t" r="r" b="b"/>
                <a:pathLst>
                  <a:path w="1503" h="1910" extrusionOk="0">
                    <a:moveTo>
                      <a:pt x="1193" y="0"/>
                    </a:moveTo>
                    <a:cubicBezTo>
                      <a:pt x="1193" y="0"/>
                      <a:pt x="250" y="670"/>
                      <a:pt x="134" y="1017"/>
                    </a:cubicBezTo>
                    <a:cubicBezTo>
                      <a:pt x="0" y="1363"/>
                      <a:pt x="195" y="1751"/>
                      <a:pt x="541" y="1867"/>
                    </a:cubicBezTo>
                    <a:cubicBezTo>
                      <a:pt x="616" y="1896"/>
                      <a:pt x="693" y="1909"/>
                      <a:pt x="769" y="1909"/>
                    </a:cubicBezTo>
                    <a:cubicBezTo>
                      <a:pt x="1041" y="1909"/>
                      <a:pt x="1296" y="1732"/>
                      <a:pt x="1387" y="1460"/>
                    </a:cubicBezTo>
                    <a:cubicBezTo>
                      <a:pt x="1502" y="1114"/>
                      <a:pt x="1193" y="0"/>
                      <a:pt x="1193" y="0"/>
                    </a:cubicBezTo>
                    <a:close/>
                  </a:path>
                </a:pathLst>
              </a:custGeom>
              <a:solidFill>
                <a:srgbClr val="34931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3" name="Google Shape;653;p38"/>
              <p:cNvSpPr/>
              <p:nvPr/>
            </p:nvSpPr>
            <p:spPr>
              <a:xfrm>
                <a:off x="7595475" y="2450075"/>
                <a:ext cx="22675" cy="27950"/>
              </a:xfrm>
              <a:custGeom>
                <a:avLst/>
                <a:gdLst/>
                <a:ahLst/>
                <a:cxnLst/>
                <a:rect l="l" t="t" r="r" b="b"/>
                <a:pathLst>
                  <a:path w="907" h="1118" extrusionOk="0">
                    <a:moveTo>
                      <a:pt x="448" y="0"/>
                    </a:moveTo>
                    <a:cubicBezTo>
                      <a:pt x="304" y="0"/>
                      <a:pt x="167" y="83"/>
                      <a:pt x="98" y="231"/>
                    </a:cubicBezTo>
                    <a:cubicBezTo>
                      <a:pt x="1" y="425"/>
                      <a:pt x="98" y="1118"/>
                      <a:pt x="98" y="1118"/>
                    </a:cubicBezTo>
                    <a:cubicBezTo>
                      <a:pt x="98" y="1118"/>
                      <a:pt x="712" y="771"/>
                      <a:pt x="809" y="577"/>
                    </a:cubicBezTo>
                    <a:cubicBezTo>
                      <a:pt x="906" y="388"/>
                      <a:pt x="828" y="138"/>
                      <a:pt x="620" y="41"/>
                    </a:cubicBezTo>
                    <a:cubicBezTo>
                      <a:pt x="564" y="14"/>
                      <a:pt x="505" y="0"/>
                      <a:pt x="448" y="0"/>
                    </a:cubicBezTo>
                    <a:close/>
                  </a:path>
                </a:pathLst>
              </a:custGeom>
              <a:solidFill>
                <a:srgbClr val="FE9D0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4" name="Google Shape;654;p38"/>
              <p:cNvSpPr/>
              <p:nvPr/>
            </p:nvSpPr>
            <p:spPr>
              <a:xfrm>
                <a:off x="7586350" y="2389975"/>
                <a:ext cx="59300" cy="39450"/>
              </a:xfrm>
              <a:custGeom>
                <a:avLst/>
                <a:gdLst/>
                <a:ahLst/>
                <a:cxnLst/>
                <a:rect l="l" t="t" r="r" b="b"/>
                <a:pathLst>
                  <a:path w="2372" h="1578" extrusionOk="0">
                    <a:moveTo>
                      <a:pt x="776" y="1"/>
                    </a:moveTo>
                    <a:cubicBezTo>
                      <a:pt x="769" y="1"/>
                      <a:pt x="761" y="1"/>
                      <a:pt x="754" y="1"/>
                    </a:cubicBezTo>
                    <a:cubicBezTo>
                      <a:pt x="329" y="38"/>
                      <a:pt x="1" y="422"/>
                      <a:pt x="38" y="847"/>
                    </a:cubicBezTo>
                    <a:cubicBezTo>
                      <a:pt x="78" y="1277"/>
                      <a:pt x="424" y="1578"/>
                      <a:pt x="850" y="1578"/>
                    </a:cubicBezTo>
                    <a:cubicBezTo>
                      <a:pt x="862" y="1578"/>
                      <a:pt x="875" y="1577"/>
                      <a:pt x="888" y="1577"/>
                    </a:cubicBezTo>
                    <a:cubicBezTo>
                      <a:pt x="1308" y="1540"/>
                      <a:pt x="2371" y="671"/>
                      <a:pt x="2371" y="671"/>
                    </a:cubicBezTo>
                    <a:cubicBezTo>
                      <a:pt x="2371" y="671"/>
                      <a:pt x="1231" y="1"/>
                      <a:pt x="77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5" name="Google Shape;655;p38"/>
              <p:cNvSpPr/>
              <p:nvPr/>
            </p:nvSpPr>
            <p:spPr>
              <a:xfrm>
                <a:off x="7655200" y="2470850"/>
                <a:ext cx="31325" cy="43025"/>
              </a:xfrm>
              <a:custGeom>
                <a:avLst/>
                <a:gdLst/>
                <a:ahLst/>
                <a:cxnLst/>
                <a:rect l="l" t="t" r="r" b="b"/>
                <a:pathLst>
                  <a:path w="1253" h="1721" extrusionOk="0">
                    <a:moveTo>
                      <a:pt x="828" y="1"/>
                    </a:moveTo>
                    <a:cubicBezTo>
                      <a:pt x="828" y="1"/>
                      <a:pt x="116" y="712"/>
                      <a:pt x="56" y="1040"/>
                    </a:cubicBezTo>
                    <a:cubicBezTo>
                      <a:pt x="1" y="1345"/>
                      <a:pt x="213" y="1655"/>
                      <a:pt x="541" y="1710"/>
                    </a:cubicBezTo>
                    <a:cubicBezTo>
                      <a:pt x="576" y="1717"/>
                      <a:pt x="611" y="1720"/>
                      <a:pt x="645" y="1720"/>
                    </a:cubicBezTo>
                    <a:cubicBezTo>
                      <a:pt x="913" y="1720"/>
                      <a:pt x="1162" y="1520"/>
                      <a:pt x="1211" y="1230"/>
                    </a:cubicBezTo>
                    <a:cubicBezTo>
                      <a:pt x="1253" y="925"/>
                      <a:pt x="828" y="1"/>
                      <a:pt x="828" y="1"/>
                    </a:cubicBezTo>
                    <a:close/>
                  </a:path>
                </a:pathLst>
              </a:custGeom>
              <a:solidFill>
                <a:srgbClr val="FFF76A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6" name="Google Shape;656;p38"/>
              <p:cNvSpPr/>
              <p:nvPr/>
            </p:nvSpPr>
            <p:spPr>
              <a:xfrm>
                <a:off x="7382250" y="2224350"/>
                <a:ext cx="34200" cy="44025"/>
              </a:xfrm>
              <a:custGeom>
                <a:avLst/>
                <a:gdLst/>
                <a:ahLst/>
                <a:cxnLst/>
                <a:rect l="l" t="t" r="r" b="b"/>
                <a:pathLst>
                  <a:path w="1368" h="1761" extrusionOk="0">
                    <a:moveTo>
                      <a:pt x="1021" y="0"/>
                    </a:moveTo>
                    <a:cubicBezTo>
                      <a:pt x="1021" y="0"/>
                      <a:pt x="194" y="675"/>
                      <a:pt x="97" y="984"/>
                    </a:cubicBezTo>
                    <a:cubicBezTo>
                      <a:pt x="0" y="1312"/>
                      <a:pt x="194" y="1636"/>
                      <a:pt x="522" y="1733"/>
                    </a:cubicBezTo>
                    <a:cubicBezTo>
                      <a:pt x="581" y="1751"/>
                      <a:pt x="640" y="1760"/>
                      <a:pt x="699" y="1760"/>
                    </a:cubicBezTo>
                    <a:cubicBezTo>
                      <a:pt x="953" y="1760"/>
                      <a:pt x="1196" y="1597"/>
                      <a:pt x="1271" y="1331"/>
                    </a:cubicBezTo>
                    <a:cubicBezTo>
                      <a:pt x="1368" y="1021"/>
                      <a:pt x="1021" y="0"/>
                      <a:pt x="1021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7" name="Google Shape;657;p38"/>
              <p:cNvSpPr/>
              <p:nvPr/>
            </p:nvSpPr>
            <p:spPr>
              <a:xfrm>
                <a:off x="7514625" y="2352500"/>
                <a:ext cx="89550" cy="59000"/>
              </a:xfrm>
              <a:custGeom>
                <a:avLst/>
                <a:gdLst/>
                <a:ahLst/>
                <a:cxnLst/>
                <a:rect l="l" t="t" r="r" b="b"/>
                <a:pathLst>
                  <a:path w="3582" h="2360" extrusionOk="0">
                    <a:moveTo>
                      <a:pt x="1203" y="1"/>
                    </a:moveTo>
                    <a:cubicBezTo>
                      <a:pt x="1135" y="1"/>
                      <a:pt x="1074" y="6"/>
                      <a:pt x="1022" y="17"/>
                    </a:cubicBezTo>
                    <a:cubicBezTo>
                      <a:pt x="389" y="169"/>
                      <a:pt x="0" y="807"/>
                      <a:pt x="158" y="1440"/>
                    </a:cubicBezTo>
                    <a:cubicBezTo>
                      <a:pt x="288" y="1986"/>
                      <a:pt x="771" y="2360"/>
                      <a:pt x="1308" y="2360"/>
                    </a:cubicBezTo>
                    <a:cubicBezTo>
                      <a:pt x="1398" y="2360"/>
                      <a:pt x="1489" y="2349"/>
                      <a:pt x="1581" y="2327"/>
                    </a:cubicBezTo>
                    <a:cubicBezTo>
                      <a:pt x="2214" y="2170"/>
                      <a:pt x="3581" y="631"/>
                      <a:pt x="3581" y="631"/>
                    </a:cubicBezTo>
                    <a:cubicBezTo>
                      <a:pt x="3581" y="631"/>
                      <a:pt x="1962" y="1"/>
                      <a:pt x="1203" y="1"/>
                    </a:cubicBezTo>
                    <a:close/>
                  </a:path>
                </a:pathLst>
              </a:custGeom>
              <a:solidFill>
                <a:srgbClr val="FFF76A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61373358"/>
      </p:ext>
    </p:extLst>
  </p:cSld>
  <p:clrMapOvr>
    <a:masterClrMapping/>
  </p:clrMapOvr>
  <p:transition spd="slow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">
  <p:cSld name="Background ">
    <p:bg>
      <p:bgPr>
        <a:gradFill>
          <a:gsLst>
            <a:gs pos="0">
              <a:srgbClr val="B2EBFF"/>
            </a:gs>
            <a:gs pos="100000">
              <a:schemeClr val="lt1"/>
            </a:gs>
          </a:gsLst>
          <a:lin ang="5400700" scaled="0"/>
        </a:gradFill>
        <a:effectLst/>
      </p:bgPr>
    </p:bg>
    <p:spTree>
      <p:nvGrpSpPr>
        <p:cNvPr id="1" name="Shape 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9" name="Google Shape;659;p39"/>
          <p:cNvGrpSpPr/>
          <p:nvPr/>
        </p:nvGrpSpPr>
        <p:grpSpPr>
          <a:xfrm>
            <a:off x="4076" y="-33"/>
            <a:ext cx="12188463" cy="6858055"/>
            <a:chOff x="3057" y="-25"/>
            <a:chExt cx="9141347" cy="5143541"/>
          </a:xfrm>
        </p:grpSpPr>
        <p:sp>
          <p:nvSpPr>
            <p:cNvPr id="660" name="Google Shape;660;p39"/>
            <p:cNvSpPr/>
            <p:nvPr/>
          </p:nvSpPr>
          <p:spPr>
            <a:xfrm>
              <a:off x="3057" y="-25"/>
              <a:ext cx="9141312" cy="3590096"/>
            </a:xfrm>
            <a:custGeom>
              <a:avLst/>
              <a:gdLst/>
              <a:ahLst/>
              <a:cxnLst/>
              <a:rect l="l" t="t" r="r" b="b"/>
              <a:pathLst>
                <a:path w="55217" h="21486" extrusionOk="0">
                  <a:moveTo>
                    <a:pt x="0" y="0"/>
                  </a:moveTo>
                  <a:lnTo>
                    <a:pt x="0" y="21486"/>
                  </a:lnTo>
                  <a:lnTo>
                    <a:pt x="55216" y="21486"/>
                  </a:lnTo>
                  <a:lnTo>
                    <a:pt x="55216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61" name="Google Shape;661;p39"/>
            <p:cNvSpPr/>
            <p:nvPr/>
          </p:nvSpPr>
          <p:spPr>
            <a:xfrm>
              <a:off x="3057" y="2113000"/>
              <a:ext cx="9141312" cy="624750"/>
            </a:xfrm>
            <a:custGeom>
              <a:avLst/>
              <a:gdLst/>
              <a:ahLst/>
              <a:cxnLst/>
              <a:rect l="l" t="t" r="r" b="b"/>
              <a:pathLst>
                <a:path w="55217" h="3739" extrusionOk="0">
                  <a:moveTo>
                    <a:pt x="8955" y="158"/>
                  </a:moveTo>
                  <a:lnTo>
                    <a:pt x="45130" y="657"/>
                  </a:lnTo>
                  <a:lnTo>
                    <a:pt x="45203" y="3623"/>
                  </a:lnTo>
                  <a:lnTo>
                    <a:pt x="9011" y="3623"/>
                  </a:lnTo>
                  <a:lnTo>
                    <a:pt x="8955" y="158"/>
                  </a:lnTo>
                  <a:close/>
                  <a:moveTo>
                    <a:pt x="0" y="1"/>
                  </a:moveTo>
                  <a:lnTo>
                    <a:pt x="0" y="24"/>
                  </a:lnTo>
                  <a:lnTo>
                    <a:pt x="8798" y="158"/>
                  </a:lnTo>
                  <a:lnTo>
                    <a:pt x="8974" y="3623"/>
                  </a:lnTo>
                  <a:lnTo>
                    <a:pt x="0" y="3623"/>
                  </a:lnTo>
                  <a:lnTo>
                    <a:pt x="0" y="3739"/>
                  </a:lnTo>
                  <a:lnTo>
                    <a:pt x="55216" y="3679"/>
                  </a:lnTo>
                  <a:lnTo>
                    <a:pt x="55216" y="3623"/>
                  </a:lnTo>
                  <a:lnTo>
                    <a:pt x="45264" y="3623"/>
                  </a:lnTo>
                  <a:lnTo>
                    <a:pt x="45300" y="657"/>
                  </a:lnTo>
                  <a:lnTo>
                    <a:pt x="55216" y="809"/>
                  </a:lnTo>
                  <a:lnTo>
                    <a:pt x="55216" y="73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B5C31">
                <a:alpha val="183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62" name="Google Shape;662;p39"/>
            <p:cNvSpPr/>
            <p:nvPr/>
          </p:nvSpPr>
          <p:spPr>
            <a:xfrm>
              <a:off x="3057" y="3200925"/>
              <a:ext cx="9141312" cy="102760"/>
            </a:xfrm>
            <a:custGeom>
              <a:avLst/>
              <a:gdLst/>
              <a:ahLst/>
              <a:cxnLst/>
              <a:rect l="l" t="t" r="r" b="b"/>
              <a:pathLst>
                <a:path w="55217" h="615" extrusionOk="0">
                  <a:moveTo>
                    <a:pt x="0" y="0"/>
                  </a:moveTo>
                  <a:lnTo>
                    <a:pt x="0" y="97"/>
                  </a:lnTo>
                  <a:lnTo>
                    <a:pt x="55216" y="615"/>
                  </a:lnTo>
                  <a:lnTo>
                    <a:pt x="55216" y="5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5C31">
                <a:alpha val="183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63" name="Google Shape;663;p39"/>
            <p:cNvSpPr/>
            <p:nvPr/>
          </p:nvSpPr>
          <p:spPr>
            <a:xfrm>
              <a:off x="2817295" y="807523"/>
              <a:ext cx="26157" cy="472698"/>
            </a:xfrm>
            <a:custGeom>
              <a:avLst/>
              <a:gdLst/>
              <a:ahLst/>
              <a:cxnLst/>
              <a:rect l="l" t="t" r="r" b="b"/>
              <a:pathLst>
                <a:path w="158" h="2829" extrusionOk="0">
                  <a:moveTo>
                    <a:pt x="0" y="0"/>
                  </a:moveTo>
                  <a:lnTo>
                    <a:pt x="0" y="2828"/>
                  </a:lnTo>
                  <a:lnTo>
                    <a:pt x="98" y="2828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9B5C31">
                <a:alpha val="183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64" name="Google Shape;664;p39"/>
            <p:cNvSpPr/>
            <p:nvPr/>
          </p:nvSpPr>
          <p:spPr>
            <a:xfrm>
              <a:off x="3521889" y="2734576"/>
              <a:ext cx="38408" cy="501938"/>
            </a:xfrm>
            <a:custGeom>
              <a:avLst/>
              <a:gdLst/>
              <a:ahLst/>
              <a:cxnLst/>
              <a:rect l="l" t="t" r="r" b="b"/>
              <a:pathLst>
                <a:path w="232" h="3004" extrusionOk="0">
                  <a:moveTo>
                    <a:pt x="0" y="0"/>
                  </a:moveTo>
                  <a:lnTo>
                    <a:pt x="194" y="3004"/>
                  </a:lnTo>
                  <a:lnTo>
                    <a:pt x="231" y="3004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9B5C31">
                <a:alpha val="183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65" name="Google Shape;665;p39"/>
            <p:cNvSpPr/>
            <p:nvPr/>
          </p:nvSpPr>
          <p:spPr>
            <a:xfrm>
              <a:off x="6546379" y="2730733"/>
              <a:ext cx="35428" cy="537529"/>
            </a:xfrm>
            <a:custGeom>
              <a:avLst/>
              <a:gdLst/>
              <a:ahLst/>
              <a:cxnLst/>
              <a:rect l="l" t="t" r="r" b="b"/>
              <a:pathLst>
                <a:path w="214" h="3217" extrusionOk="0">
                  <a:moveTo>
                    <a:pt x="1" y="0"/>
                  </a:moveTo>
                  <a:lnTo>
                    <a:pt x="135" y="3216"/>
                  </a:lnTo>
                  <a:lnTo>
                    <a:pt x="213" y="3216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9B5C31">
                <a:alpha val="183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66" name="Google Shape;666;p39"/>
            <p:cNvSpPr/>
            <p:nvPr/>
          </p:nvSpPr>
          <p:spPr>
            <a:xfrm>
              <a:off x="9122055" y="2727558"/>
              <a:ext cx="22350" cy="566936"/>
            </a:xfrm>
            <a:custGeom>
              <a:avLst/>
              <a:gdLst/>
              <a:ahLst/>
              <a:cxnLst/>
              <a:rect l="l" t="t" r="r" b="b"/>
              <a:pathLst>
                <a:path w="135" h="3393" extrusionOk="0">
                  <a:moveTo>
                    <a:pt x="0" y="1"/>
                  </a:moveTo>
                  <a:lnTo>
                    <a:pt x="37" y="3392"/>
                  </a:lnTo>
                  <a:lnTo>
                    <a:pt x="134" y="3392"/>
                  </a:lnTo>
                  <a:lnTo>
                    <a:pt x="134" y="1"/>
                  </a:lnTo>
                  <a:close/>
                </a:path>
              </a:pathLst>
            </a:custGeom>
            <a:solidFill>
              <a:srgbClr val="9B5C31">
                <a:alpha val="183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67" name="Google Shape;667;p39"/>
            <p:cNvSpPr/>
            <p:nvPr/>
          </p:nvSpPr>
          <p:spPr>
            <a:xfrm>
              <a:off x="3057" y="-25"/>
              <a:ext cx="9141312" cy="1772825"/>
            </a:xfrm>
            <a:custGeom>
              <a:avLst/>
              <a:gdLst/>
              <a:ahLst/>
              <a:cxnLst/>
              <a:rect l="l" t="t" r="r" b="b"/>
              <a:pathLst>
                <a:path w="55217" h="10610" extrusionOk="0">
                  <a:moveTo>
                    <a:pt x="47307" y="1995"/>
                  </a:moveTo>
                  <a:lnTo>
                    <a:pt x="47514" y="4736"/>
                  </a:lnTo>
                  <a:lnTo>
                    <a:pt x="27165" y="4736"/>
                  </a:lnTo>
                  <a:lnTo>
                    <a:pt x="27206" y="2177"/>
                  </a:lnTo>
                  <a:lnTo>
                    <a:pt x="27031" y="2177"/>
                  </a:lnTo>
                  <a:lnTo>
                    <a:pt x="27109" y="4736"/>
                  </a:lnTo>
                  <a:lnTo>
                    <a:pt x="6506" y="4736"/>
                  </a:lnTo>
                  <a:lnTo>
                    <a:pt x="6548" y="2348"/>
                  </a:lnTo>
                  <a:lnTo>
                    <a:pt x="47307" y="1995"/>
                  </a:lnTo>
                  <a:close/>
                  <a:moveTo>
                    <a:pt x="25663" y="7874"/>
                  </a:moveTo>
                  <a:lnTo>
                    <a:pt x="47033" y="8142"/>
                  </a:lnTo>
                  <a:lnTo>
                    <a:pt x="47111" y="10363"/>
                  </a:lnTo>
                  <a:lnTo>
                    <a:pt x="47111" y="10363"/>
                  </a:lnTo>
                  <a:lnTo>
                    <a:pt x="25705" y="10434"/>
                  </a:lnTo>
                  <a:lnTo>
                    <a:pt x="25663" y="7874"/>
                  </a:lnTo>
                  <a:close/>
                  <a:moveTo>
                    <a:pt x="13479" y="0"/>
                  </a:moveTo>
                  <a:lnTo>
                    <a:pt x="13497" y="2195"/>
                  </a:lnTo>
                  <a:lnTo>
                    <a:pt x="13576" y="2195"/>
                  </a:lnTo>
                  <a:lnTo>
                    <a:pt x="0" y="2292"/>
                  </a:lnTo>
                  <a:lnTo>
                    <a:pt x="0" y="2408"/>
                  </a:lnTo>
                  <a:lnTo>
                    <a:pt x="6354" y="2348"/>
                  </a:lnTo>
                  <a:lnTo>
                    <a:pt x="6414" y="4736"/>
                  </a:lnTo>
                  <a:lnTo>
                    <a:pt x="0" y="4736"/>
                  </a:lnTo>
                  <a:lnTo>
                    <a:pt x="0" y="4852"/>
                  </a:lnTo>
                  <a:lnTo>
                    <a:pt x="36771" y="4815"/>
                  </a:lnTo>
                  <a:lnTo>
                    <a:pt x="36771" y="4815"/>
                  </a:lnTo>
                  <a:lnTo>
                    <a:pt x="36849" y="7934"/>
                  </a:lnTo>
                  <a:lnTo>
                    <a:pt x="36849" y="7934"/>
                  </a:lnTo>
                  <a:lnTo>
                    <a:pt x="0" y="7430"/>
                  </a:lnTo>
                  <a:lnTo>
                    <a:pt x="0" y="7546"/>
                  </a:lnTo>
                  <a:lnTo>
                    <a:pt x="25566" y="7874"/>
                  </a:lnTo>
                  <a:lnTo>
                    <a:pt x="25492" y="7874"/>
                  </a:lnTo>
                  <a:lnTo>
                    <a:pt x="25608" y="10434"/>
                  </a:lnTo>
                  <a:lnTo>
                    <a:pt x="0" y="10512"/>
                  </a:lnTo>
                  <a:lnTo>
                    <a:pt x="0" y="10609"/>
                  </a:lnTo>
                  <a:lnTo>
                    <a:pt x="55216" y="10378"/>
                  </a:lnTo>
                  <a:lnTo>
                    <a:pt x="55216" y="10337"/>
                  </a:lnTo>
                  <a:lnTo>
                    <a:pt x="47149" y="10363"/>
                  </a:lnTo>
                  <a:lnTo>
                    <a:pt x="47149" y="10363"/>
                  </a:lnTo>
                  <a:lnTo>
                    <a:pt x="47149" y="8142"/>
                  </a:lnTo>
                  <a:lnTo>
                    <a:pt x="47149" y="8142"/>
                  </a:lnTo>
                  <a:lnTo>
                    <a:pt x="55216" y="8239"/>
                  </a:lnTo>
                  <a:lnTo>
                    <a:pt x="55216" y="8183"/>
                  </a:lnTo>
                  <a:lnTo>
                    <a:pt x="36946" y="7934"/>
                  </a:lnTo>
                  <a:lnTo>
                    <a:pt x="36983" y="4815"/>
                  </a:lnTo>
                  <a:lnTo>
                    <a:pt x="55216" y="4815"/>
                  </a:lnTo>
                  <a:lnTo>
                    <a:pt x="55216" y="4736"/>
                  </a:lnTo>
                  <a:lnTo>
                    <a:pt x="47574" y="4736"/>
                  </a:lnTo>
                  <a:lnTo>
                    <a:pt x="47514" y="1994"/>
                  </a:lnTo>
                  <a:lnTo>
                    <a:pt x="47514" y="1994"/>
                  </a:lnTo>
                  <a:lnTo>
                    <a:pt x="55216" y="1927"/>
                  </a:lnTo>
                  <a:lnTo>
                    <a:pt x="55216" y="1849"/>
                  </a:lnTo>
                  <a:lnTo>
                    <a:pt x="13594" y="2195"/>
                  </a:lnTo>
                  <a:lnTo>
                    <a:pt x="13594" y="0"/>
                  </a:lnTo>
                  <a:close/>
                </a:path>
              </a:pathLst>
            </a:custGeom>
            <a:solidFill>
              <a:srgbClr val="9B5C31">
                <a:alpha val="183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68" name="Google Shape;668;p39"/>
            <p:cNvSpPr/>
            <p:nvPr/>
          </p:nvSpPr>
          <p:spPr>
            <a:xfrm>
              <a:off x="6221398" y="-25"/>
              <a:ext cx="26157" cy="334347"/>
            </a:xfrm>
            <a:custGeom>
              <a:avLst/>
              <a:gdLst/>
              <a:ahLst/>
              <a:cxnLst/>
              <a:rect l="l" t="t" r="r" b="b"/>
              <a:pathLst>
                <a:path w="158" h="2001" extrusionOk="0">
                  <a:moveTo>
                    <a:pt x="0" y="0"/>
                  </a:moveTo>
                  <a:lnTo>
                    <a:pt x="60" y="2001"/>
                  </a:lnTo>
                  <a:lnTo>
                    <a:pt x="157" y="2001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9B5C31">
                <a:alpha val="183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69" name="Google Shape;669;p39"/>
            <p:cNvSpPr/>
            <p:nvPr/>
          </p:nvSpPr>
          <p:spPr>
            <a:xfrm>
              <a:off x="4605765" y="1753254"/>
              <a:ext cx="35263" cy="421735"/>
            </a:xfrm>
            <a:custGeom>
              <a:avLst/>
              <a:gdLst/>
              <a:ahLst/>
              <a:cxnLst/>
              <a:rect l="l" t="t" r="r" b="b"/>
              <a:pathLst>
                <a:path w="213" h="2524" extrusionOk="0">
                  <a:moveTo>
                    <a:pt x="0" y="1"/>
                  </a:moveTo>
                  <a:lnTo>
                    <a:pt x="153" y="2523"/>
                  </a:lnTo>
                  <a:lnTo>
                    <a:pt x="213" y="2523"/>
                  </a:lnTo>
                  <a:lnTo>
                    <a:pt x="153" y="1"/>
                  </a:lnTo>
                  <a:close/>
                </a:path>
              </a:pathLst>
            </a:custGeom>
            <a:solidFill>
              <a:srgbClr val="9B5C31">
                <a:alpha val="183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70" name="Google Shape;670;p39"/>
            <p:cNvSpPr/>
            <p:nvPr/>
          </p:nvSpPr>
          <p:spPr>
            <a:xfrm>
              <a:off x="3057" y="3490326"/>
              <a:ext cx="9141312" cy="99753"/>
            </a:xfrm>
            <a:custGeom>
              <a:avLst/>
              <a:gdLst/>
              <a:ahLst/>
              <a:cxnLst/>
              <a:rect l="l" t="t" r="r" b="b"/>
              <a:pathLst>
                <a:path w="55217" h="597" extrusionOk="0">
                  <a:moveTo>
                    <a:pt x="0" y="1"/>
                  </a:moveTo>
                  <a:lnTo>
                    <a:pt x="0" y="597"/>
                  </a:lnTo>
                  <a:lnTo>
                    <a:pt x="55216" y="597"/>
                  </a:lnTo>
                  <a:lnTo>
                    <a:pt x="55216" y="1"/>
                  </a:lnTo>
                  <a:close/>
                </a:path>
              </a:pathLst>
            </a:custGeom>
            <a:solidFill>
              <a:srgbClr val="FAF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71" name="Google Shape;671;p39"/>
            <p:cNvSpPr/>
            <p:nvPr/>
          </p:nvSpPr>
          <p:spPr>
            <a:xfrm>
              <a:off x="3057" y="3589911"/>
              <a:ext cx="9141312" cy="1553603"/>
            </a:xfrm>
            <a:custGeom>
              <a:avLst/>
              <a:gdLst/>
              <a:ahLst/>
              <a:cxnLst/>
              <a:rect l="l" t="t" r="r" b="b"/>
              <a:pathLst>
                <a:path w="55217" h="9298" extrusionOk="0">
                  <a:moveTo>
                    <a:pt x="0" y="1"/>
                  </a:moveTo>
                  <a:lnTo>
                    <a:pt x="0" y="9298"/>
                  </a:lnTo>
                  <a:lnTo>
                    <a:pt x="55216" y="9298"/>
                  </a:lnTo>
                  <a:lnTo>
                    <a:pt x="552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72" name="Google Shape;672;p39"/>
            <p:cNvSpPr/>
            <p:nvPr/>
          </p:nvSpPr>
          <p:spPr>
            <a:xfrm>
              <a:off x="1619352" y="4654611"/>
              <a:ext cx="1784822" cy="488905"/>
            </a:xfrm>
            <a:custGeom>
              <a:avLst/>
              <a:gdLst/>
              <a:ahLst/>
              <a:cxnLst/>
              <a:rect l="l" t="t" r="r" b="b"/>
              <a:pathLst>
                <a:path w="10781" h="2926" extrusionOk="0">
                  <a:moveTo>
                    <a:pt x="1387" y="1"/>
                  </a:moveTo>
                  <a:lnTo>
                    <a:pt x="1" y="2926"/>
                  </a:lnTo>
                  <a:lnTo>
                    <a:pt x="9819" y="2926"/>
                  </a:lnTo>
                  <a:lnTo>
                    <a:pt x="10780" y="1"/>
                  </a:lnTo>
                  <a:close/>
                </a:path>
              </a:pathLst>
            </a:custGeom>
            <a:solidFill>
              <a:srgbClr val="9B5C31">
                <a:alpha val="183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73" name="Google Shape;673;p39"/>
            <p:cNvSpPr/>
            <p:nvPr/>
          </p:nvSpPr>
          <p:spPr>
            <a:xfrm>
              <a:off x="7420003" y="3786075"/>
              <a:ext cx="1584337" cy="840129"/>
            </a:xfrm>
            <a:custGeom>
              <a:avLst/>
              <a:gdLst/>
              <a:ahLst/>
              <a:cxnLst/>
              <a:rect l="l" t="t" r="r" b="b"/>
              <a:pathLst>
                <a:path w="9570" h="5028" extrusionOk="0">
                  <a:moveTo>
                    <a:pt x="0" y="1"/>
                  </a:moveTo>
                  <a:lnTo>
                    <a:pt x="195" y="5028"/>
                  </a:lnTo>
                  <a:lnTo>
                    <a:pt x="9570" y="5028"/>
                  </a:lnTo>
                  <a:lnTo>
                    <a:pt x="8664" y="1"/>
                  </a:lnTo>
                  <a:close/>
                </a:path>
              </a:pathLst>
            </a:custGeom>
            <a:solidFill>
              <a:srgbClr val="9B5C31">
                <a:alpha val="183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74" name="Google Shape;674;p39"/>
            <p:cNvSpPr/>
            <p:nvPr/>
          </p:nvSpPr>
          <p:spPr>
            <a:xfrm>
              <a:off x="3073" y="3589911"/>
              <a:ext cx="9141312" cy="1553603"/>
            </a:xfrm>
            <a:custGeom>
              <a:avLst/>
              <a:gdLst/>
              <a:ahLst/>
              <a:cxnLst/>
              <a:rect l="l" t="t" r="r" b="b"/>
              <a:pathLst>
                <a:path w="55217" h="9298" extrusionOk="0">
                  <a:moveTo>
                    <a:pt x="0" y="1"/>
                  </a:moveTo>
                  <a:lnTo>
                    <a:pt x="0" y="1004"/>
                  </a:lnTo>
                  <a:lnTo>
                    <a:pt x="4427" y="1004"/>
                  </a:lnTo>
                  <a:lnTo>
                    <a:pt x="4834" y="366"/>
                  </a:lnTo>
                  <a:lnTo>
                    <a:pt x="5065" y="1"/>
                  </a:lnTo>
                  <a:close/>
                  <a:moveTo>
                    <a:pt x="5351" y="1"/>
                  </a:moveTo>
                  <a:lnTo>
                    <a:pt x="5120" y="366"/>
                  </a:lnTo>
                  <a:lnTo>
                    <a:pt x="4718" y="1004"/>
                  </a:lnTo>
                  <a:lnTo>
                    <a:pt x="13382" y="1004"/>
                  </a:lnTo>
                  <a:lnTo>
                    <a:pt x="13668" y="366"/>
                  </a:lnTo>
                  <a:lnTo>
                    <a:pt x="13844" y="1"/>
                  </a:lnTo>
                  <a:close/>
                  <a:moveTo>
                    <a:pt x="14130" y="1"/>
                  </a:moveTo>
                  <a:lnTo>
                    <a:pt x="13959" y="366"/>
                  </a:lnTo>
                  <a:lnTo>
                    <a:pt x="13668" y="1004"/>
                  </a:lnTo>
                  <a:lnTo>
                    <a:pt x="22313" y="1004"/>
                  </a:lnTo>
                  <a:lnTo>
                    <a:pt x="22526" y="366"/>
                  </a:lnTo>
                  <a:lnTo>
                    <a:pt x="22641" y="1"/>
                  </a:lnTo>
                  <a:close/>
                  <a:moveTo>
                    <a:pt x="22932" y="1"/>
                  </a:moveTo>
                  <a:lnTo>
                    <a:pt x="22817" y="366"/>
                  </a:lnTo>
                  <a:lnTo>
                    <a:pt x="22604" y="1004"/>
                  </a:lnTo>
                  <a:lnTo>
                    <a:pt x="31249" y="1004"/>
                  </a:lnTo>
                  <a:lnTo>
                    <a:pt x="31365" y="366"/>
                  </a:lnTo>
                  <a:lnTo>
                    <a:pt x="31439" y="1"/>
                  </a:lnTo>
                  <a:close/>
                  <a:moveTo>
                    <a:pt x="31711" y="1"/>
                  </a:moveTo>
                  <a:lnTo>
                    <a:pt x="31651" y="366"/>
                  </a:lnTo>
                  <a:lnTo>
                    <a:pt x="31536" y="1004"/>
                  </a:lnTo>
                  <a:lnTo>
                    <a:pt x="40181" y="1004"/>
                  </a:lnTo>
                  <a:lnTo>
                    <a:pt x="40199" y="366"/>
                  </a:lnTo>
                  <a:lnTo>
                    <a:pt x="40218" y="1"/>
                  </a:lnTo>
                  <a:close/>
                  <a:moveTo>
                    <a:pt x="40509" y="1"/>
                  </a:moveTo>
                  <a:lnTo>
                    <a:pt x="40490" y="366"/>
                  </a:lnTo>
                  <a:lnTo>
                    <a:pt x="40467" y="1004"/>
                  </a:lnTo>
                  <a:lnTo>
                    <a:pt x="49112" y="1004"/>
                  </a:lnTo>
                  <a:lnTo>
                    <a:pt x="49057" y="366"/>
                  </a:lnTo>
                  <a:lnTo>
                    <a:pt x="49015" y="1"/>
                  </a:lnTo>
                  <a:close/>
                  <a:moveTo>
                    <a:pt x="49288" y="1"/>
                  </a:moveTo>
                  <a:lnTo>
                    <a:pt x="49325" y="366"/>
                  </a:lnTo>
                  <a:lnTo>
                    <a:pt x="49404" y="1004"/>
                  </a:lnTo>
                  <a:lnTo>
                    <a:pt x="55216" y="1004"/>
                  </a:lnTo>
                  <a:lnTo>
                    <a:pt x="55216" y="1"/>
                  </a:lnTo>
                  <a:close/>
                  <a:moveTo>
                    <a:pt x="0" y="1175"/>
                  </a:moveTo>
                  <a:lnTo>
                    <a:pt x="0" y="6202"/>
                  </a:lnTo>
                  <a:lnTo>
                    <a:pt x="5910" y="6202"/>
                  </a:lnTo>
                  <a:lnTo>
                    <a:pt x="8664" y="1175"/>
                  </a:lnTo>
                  <a:close/>
                  <a:moveTo>
                    <a:pt x="8955" y="1175"/>
                  </a:moveTo>
                  <a:lnTo>
                    <a:pt x="6220" y="6202"/>
                  </a:lnTo>
                  <a:lnTo>
                    <a:pt x="15613" y="6202"/>
                  </a:lnTo>
                  <a:lnTo>
                    <a:pt x="17637" y="1175"/>
                  </a:lnTo>
                  <a:close/>
                  <a:moveTo>
                    <a:pt x="17924" y="1175"/>
                  </a:moveTo>
                  <a:lnTo>
                    <a:pt x="15923" y="6202"/>
                  </a:lnTo>
                  <a:lnTo>
                    <a:pt x="25298" y="6202"/>
                  </a:lnTo>
                  <a:lnTo>
                    <a:pt x="26587" y="1175"/>
                  </a:lnTo>
                  <a:close/>
                  <a:moveTo>
                    <a:pt x="26878" y="1175"/>
                  </a:moveTo>
                  <a:lnTo>
                    <a:pt x="25608" y="6202"/>
                  </a:lnTo>
                  <a:lnTo>
                    <a:pt x="34983" y="6202"/>
                  </a:lnTo>
                  <a:lnTo>
                    <a:pt x="35560" y="1175"/>
                  </a:lnTo>
                  <a:close/>
                  <a:moveTo>
                    <a:pt x="35847" y="1175"/>
                  </a:moveTo>
                  <a:lnTo>
                    <a:pt x="35292" y="6202"/>
                  </a:lnTo>
                  <a:lnTo>
                    <a:pt x="44686" y="6202"/>
                  </a:lnTo>
                  <a:lnTo>
                    <a:pt x="44510" y="1175"/>
                  </a:lnTo>
                  <a:close/>
                  <a:moveTo>
                    <a:pt x="53775" y="1175"/>
                  </a:moveTo>
                  <a:lnTo>
                    <a:pt x="54676" y="6202"/>
                  </a:lnTo>
                  <a:lnTo>
                    <a:pt x="55216" y="6202"/>
                  </a:lnTo>
                  <a:lnTo>
                    <a:pt x="55216" y="1175"/>
                  </a:lnTo>
                  <a:close/>
                  <a:moveTo>
                    <a:pt x="0" y="6373"/>
                  </a:moveTo>
                  <a:lnTo>
                    <a:pt x="0" y="8166"/>
                  </a:lnTo>
                  <a:lnTo>
                    <a:pt x="1119" y="6373"/>
                  </a:lnTo>
                  <a:close/>
                  <a:moveTo>
                    <a:pt x="1424" y="6373"/>
                  </a:moveTo>
                  <a:lnTo>
                    <a:pt x="0" y="8683"/>
                  </a:lnTo>
                  <a:lnTo>
                    <a:pt x="0" y="9298"/>
                  </a:lnTo>
                  <a:lnTo>
                    <a:pt x="9436" y="9298"/>
                  </a:lnTo>
                  <a:lnTo>
                    <a:pt x="10840" y="6373"/>
                  </a:lnTo>
                  <a:close/>
                  <a:moveTo>
                    <a:pt x="20853" y="6373"/>
                  </a:moveTo>
                  <a:lnTo>
                    <a:pt x="19906" y="9298"/>
                  </a:lnTo>
                  <a:lnTo>
                    <a:pt x="29725" y="9298"/>
                  </a:lnTo>
                  <a:lnTo>
                    <a:pt x="30265" y="6373"/>
                  </a:lnTo>
                  <a:close/>
                  <a:moveTo>
                    <a:pt x="30575" y="6373"/>
                  </a:moveTo>
                  <a:lnTo>
                    <a:pt x="30053" y="9298"/>
                  </a:lnTo>
                  <a:lnTo>
                    <a:pt x="39871" y="9298"/>
                  </a:lnTo>
                  <a:lnTo>
                    <a:pt x="39987" y="6373"/>
                  </a:lnTo>
                  <a:close/>
                  <a:moveTo>
                    <a:pt x="40296" y="6373"/>
                  </a:moveTo>
                  <a:lnTo>
                    <a:pt x="40199" y="9298"/>
                  </a:lnTo>
                  <a:lnTo>
                    <a:pt x="50018" y="9298"/>
                  </a:lnTo>
                  <a:lnTo>
                    <a:pt x="49690" y="6373"/>
                  </a:lnTo>
                  <a:close/>
                  <a:moveTo>
                    <a:pt x="50018" y="6373"/>
                  </a:moveTo>
                  <a:lnTo>
                    <a:pt x="50346" y="9298"/>
                  </a:lnTo>
                  <a:lnTo>
                    <a:pt x="55216" y="9298"/>
                  </a:lnTo>
                  <a:lnTo>
                    <a:pt x="55216" y="6373"/>
                  </a:lnTo>
                  <a:close/>
                </a:path>
              </a:pathLst>
            </a:custGeom>
            <a:solidFill>
              <a:srgbClr val="FFF76A">
                <a:alpha val="6517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75" name="Google Shape;675;p39"/>
            <p:cNvSpPr/>
            <p:nvPr/>
          </p:nvSpPr>
          <p:spPr>
            <a:xfrm>
              <a:off x="3057" y="3490326"/>
              <a:ext cx="9135187" cy="99753"/>
            </a:xfrm>
            <a:custGeom>
              <a:avLst/>
              <a:gdLst/>
              <a:ahLst/>
              <a:cxnLst/>
              <a:rect l="l" t="t" r="r" b="b"/>
              <a:pathLst>
                <a:path w="55180" h="597" extrusionOk="0">
                  <a:moveTo>
                    <a:pt x="0" y="1"/>
                  </a:moveTo>
                  <a:lnTo>
                    <a:pt x="0" y="597"/>
                  </a:lnTo>
                  <a:lnTo>
                    <a:pt x="55179" y="597"/>
                  </a:lnTo>
                  <a:lnTo>
                    <a:pt x="5517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676" name="Google Shape;676;p39"/>
          <p:cNvGrpSpPr/>
          <p:nvPr/>
        </p:nvGrpSpPr>
        <p:grpSpPr>
          <a:xfrm flipH="1">
            <a:off x="639803" y="719986"/>
            <a:ext cx="3010199" cy="5197364"/>
            <a:chOff x="741245" y="4005303"/>
            <a:chExt cx="399598" cy="689952"/>
          </a:xfrm>
        </p:grpSpPr>
        <p:sp>
          <p:nvSpPr>
            <p:cNvPr id="677" name="Google Shape;677;p39"/>
            <p:cNvSpPr/>
            <p:nvPr/>
          </p:nvSpPr>
          <p:spPr>
            <a:xfrm>
              <a:off x="775846" y="4005303"/>
              <a:ext cx="364997" cy="689952"/>
            </a:xfrm>
            <a:custGeom>
              <a:avLst/>
              <a:gdLst/>
              <a:ahLst/>
              <a:cxnLst/>
              <a:rect l="l" t="t" r="r" b="b"/>
              <a:pathLst>
                <a:path w="13017" h="24606" extrusionOk="0">
                  <a:moveTo>
                    <a:pt x="8816" y="23644"/>
                  </a:moveTo>
                  <a:lnTo>
                    <a:pt x="9916" y="23663"/>
                  </a:lnTo>
                  <a:lnTo>
                    <a:pt x="7472" y="23663"/>
                  </a:lnTo>
                  <a:lnTo>
                    <a:pt x="8761" y="23644"/>
                  </a:lnTo>
                  <a:close/>
                  <a:moveTo>
                    <a:pt x="4815" y="1"/>
                  </a:moveTo>
                  <a:cubicBezTo>
                    <a:pt x="4797" y="1"/>
                    <a:pt x="4773" y="19"/>
                    <a:pt x="4773" y="43"/>
                  </a:cubicBezTo>
                  <a:lnTo>
                    <a:pt x="4773" y="79"/>
                  </a:lnTo>
                  <a:lnTo>
                    <a:pt x="4736" y="79"/>
                  </a:lnTo>
                  <a:cubicBezTo>
                    <a:pt x="4718" y="79"/>
                    <a:pt x="4681" y="116"/>
                    <a:pt x="4681" y="158"/>
                  </a:cubicBezTo>
                  <a:cubicBezTo>
                    <a:pt x="4658" y="213"/>
                    <a:pt x="4658" y="274"/>
                    <a:pt x="4639" y="329"/>
                  </a:cubicBezTo>
                  <a:lnTo>
                    <a:pt x="4602" y="329"/>
                  </a:lnTo>
                  <a:cubicBezTo>
                    <a:pt x="4584" y="366"/>
                    <a:pt x="4584" y="408"/>
                    <a:pt x="4565" y="444"/>
                  </a:cubicBezTo>
                  <a:lnTo>
                    <a:pt x="4565" y="505"/>
                  </a:lnTo>
                  <a:cubicBezTo>
                    <a:pt x="4565" y="523"/>
                    <a:pt x="4542" y="542"/>
                    <a:pt x="4542" y="560"/>
                  </a:cubicBezTo>
                  <a:lnTo>
                    <a:pt x="4256" y="560"/>
                  </a:lnTo>
                  <a:lnTo>
                    <a:pt x="2389" y="523"/>
                  </a:lnTo>
                  <a:lnTo>
                    <a:pt x="2255" y="523"/>
                  </a:lnTo>
                  <a:lnTo>
                    <a:pt x="0" y="481"/>
                  </a:lnTo>
                  <a:lnTo>
                    <a:pt x="0" y="481"/>
                  </a:lnTo>
                  <a:lnTo>
                    <a:pt x="97" y="4104"/>
                  </a:lnTo>
                  <a:lnTo>
                    <a:pt x="116" y="4603"/>
                  </a:lnTo>
                  <a:lnTo>
                    <a:pt x="153" y="6123"/>
                  </a:lnTo>
                  <a:lnTo>
                    <a:pt x="231" y="8762"/>
                  </a:lnTo>
                  <a:lnTo>
                    <a:pt x="231" y="9242"/>
                  </a:lnTo>
                  <a:lnTo>
                    <a:pt x="268" y="10360"/>
                  </a:lnTo>
                  <a:lnTo>
                    <a:pt x="347" y="13248"/>
                  </a:lnTo>
                  <a:lnTo>
                    <a:pt x="347" y="13364"/>
                  </a:lnTo>
                  <a:lnTo>
                    <a:pt x="384" y="14459"/>
                  </a:lnTo>
                  <a:lnTo>
                    <a:pt x="384" y="14482"/>
                  </a:lnTo>
                  <a:lnTo>
                    <a:pt x="481" y="17984"/>
                  </a:lnTo>
                  <a:lnTo>
                    <a:pt x="481" y="18908"/>
                  </a:lnTo>
                  <a:lnTo>
                    <a:pt x="499" y="18908"/>
                  </a:lnTo>
                  <a:lnTo>
                    <a:pt x="578" y="21681"/>
                  </a:lnTo>
                  <a:lnTo>
                    <a:pt x="578" y="21759"/>
                  </a:lnTo>
                  <a:lnTo>
                    <a:pt x="638" y="23644"/>
                  </a:lnTo>
                  <a:lnTo>
                    <a:pt x="754" y="23644"/>
                  </a:lnTo>
                  <a:lnTo>
                    <a:pt x="772" y="23912"/>
                  </a:lnTo>
                  <a:lnTo>
                    <a:pt x="11265" y="23912"/>
                  </a:lnTo>
                  <a:lnTo>
                    <a:pt x="11418" y="24605"/>
                  </a:lnTo>
                  <a:lnTo>
                    <a:pt x="11746" y="24605"/>
                  </a:lnTo>
                  <a:lnTo>
                    <a:pt x="11764" y="23912"/>
                  </a:lnTo>
                  <a:lnTo>
                    <a:pt x="12245" y="23912"/>
                  </a:lnTo>
                  <a:lnTo>
                    <a:pt x="12263" y="23663"/>
                  </a:lnTo>
                  <a:lnTo>
                    <a:pt x="12379" y="23663"/>
                  </a:lnTo>
                  <a:lnTo>
                    <a:pt x="12397" y="22817"/>
                  </a:lnTo>
                  <a:lnTo>
                    <a:pt x="12420" y="22124"/>
                  </a:lnTo>
                  <a:lnTo>
                    <a:pt x="12439" y="21833"/>
                  </a:lnTo>
                  <a:lnTo>
                    <a:pt x="12439" y="21718"/>
                  </a:lnTo>
                  <a:lnTo>
                    <a:pt x="12494" y="19370"/>
                  </a:lnTo>
                  <a:lnTo>
                    <a:pt x="12536" y="18040"/>
                  </a:lnTo>
                  <a:lnTo>
                    <a:pt x="12536" y="17716"/>
                  </a:lnTo>
                  <a:lnTo>
                    <a:pt x="12554" y="17619"/>
                  </a:lnTo>
                  <a:lnTo>
                    <a:pt x="12651" y="13613"/>
                  </a:lnTo>
                  <a:lnTo>
                    <a:pt x="12670" y="13613"/>
                  </a:lnTo>
                  <a:lnTo>
                    <a:pt x="12670" y="13345"/>
                  </a:lnTo>
                  <a:lnTo>
                    <a:pt x="12785" y="9205"/>
                  </a:lnTo>
                  <a:lnTo>
                    <a:pt x="12785" y="8914"/>
                  </a:lnTo>
                  <a:lnTo>
                    <a:pt x="12901" y="4548"/>
                  </a:lnTo>
                  <a:lnTo>
                    <a:pt x="12901" y="4335"/>
                  </a:lnTo>
                  <a:lnTo>
                    <a:pt x="13017" y="736"/>
                  </a:lnTo>
                  <a:lnTo>
                    <a:pt x="11127" y="694"/>
                  </a:lnTo>
                  <a:lnTo>
                    <a:pt x="10956" y="694"/>
                  </a:lnTo>
                  <a:lnTo>
                    <a:pt x="8932" y="657"/>
                  </a:lnTo>
                  <a:lnTo>
                    <a:pt x="8761" y="657"/>
                  </a:lnTo>
                  <a:lnTo>
                    <a:pt x="7892" y="639"/>
                  </a:lnTo>
                  <a:lnTo>
                    <a:pt x="7892" y="597"/>
                  </a:lnTo>
                  <a:lnTo>
                    <a:pt x="7892" y="560"/>
                  </a:lnTo>
                  <a:lnTo>
                    <a:pt x="7892" y="523"/>
                  </a:lnTo>
                  <a:cubicBezTo>
                    <a:pt x="7892" y="523"/>
                    <a:pt x="7892" y="505"/>
                    <a:pt x="7874" y="505"/>
                  </a:cubicBezTo>
                  <a:lnTo>
                    <a:pt x="7874" y="481"/>
                  </a:lnTo>
                  <a:lnTo>
                    <a:pt x="7874" y="463"/>
                  </a:lnTo>
                  <a:lnTo>
                    <a:pt x="7874" y="426"/>
                  </a:lnTo>
                  <a:cubicBezTo>
                    <a:pt x="7874" y="426"/>
                    <a:pt x="7874" y="408"/>
                    <a:pt x="7855" y="408"/>
                  </a:cubicBezTo>
                  <a:lnTo>
                    <a:pt x="7855" y="389"/>
                  </a:lnTo>
                  <a:lnTo>
                    <a:pt x="7855" y="347"/>
                  </a:lnTo>
                  <a:lnTo>
                    <a:pt x="7837" y="329"/>
                  </a:lnTo>
                  <a:lnTo>
                    <a:pt x="7800" y="329"/>
                  </a:lnTo>
                  <a:cubicBezTo>
                    <a:pt x="7777" y="274"/>
                    <a:pt x="7777" y="213"/>
                    <a:pt x="7758" y="158"/>
                  </a:cubicBezTo>
                  <a:cubicBezTo>
                    <a:pt x="7758" y="116"/>
                    <a:pt x="7740" y="79"/>
                    <a:pt x="7703" y="79"/>
                  </a:cubicBezTo>
                  <a:lnTo>
                    <a:pt x="7661" y="79"/>
                  </a:lnTo>
                  <a:lnTo>
                    <a:pt x="7661" y="43"/>
                  </a:lnTo>
                  <a:cubicBezTo>
                    <a:pt x="7661" y="19"/>
                    <a:pt x="7643" y="1"/>
                    <a:pt x="7624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78" name="Google Shape;678;p39"/>
            <p:cNvSpPr/>
            <p:nvPr/>
          </p:nvSpPr>
          <p:spPr>
            <a:xfrm>
              <a:off x="986903" y="4023725"/>
              <a:ext cx="61576" cy="645088"/>
            </a:xfrm>
            <a:custGeom>
              <a:avLst/>
              <a:gdLst/>
              <a:ahLst/>
              <a:cxnLst/>
              <a:rect l="l" t="t" r="r" b="b"/>
              <a:pathLst>
                <a:path w="2196" h="23006" extrusionOk="0">
                  <a:moveTo>
                    <a:pt x="0" y="0"/>
                  </a:moveTo>
                  <a:lnTo>
                    <a:pt x="0" y="22987"/>
                  </a:lnTo>
                  <a:lnTo>
                    <a:pt x="60" y="22987"/>
                  </a:lnTo>
                  <a:lnTo>
                    <a:pt x="1483" y="23006"/>
                  </a:lnTo>
                  <a:lnTo>
                    <a:pt x="2195" y="37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79" name="Google Shape;679;p39"/>
            <p:cNvSpPr/>
            <p:nvPr/>
          </p:nvSpPr>
          <p:spPr>
            <a:xfrm>
              <a:off x="923813" y="4022014"/>
              <a:ext cx="63118" cy="646799"/>
            </a:xfrm>
            <a:custGeom>
              <a:avLst/>
              <a:gdLst/>
              <a:ahLst/>
              <a:cxnLst/>
              <a:rect l="l" t="t" r="r" b="b"/>
              <a:pathLst>
                <a:path w="2251" h="23067" extrusionOk="0">
                  <a:moveTo>
                    <a:pt x="0" y="1"/>
                  </a:moveTo>
                  <a:lnTo>
                    <a:pt x="0" y="23067"/>
                  </a:lnTo>
                  <a:lnTo>
                    <a:pt x="153" y="23067"/>
                  </a:lnTo>
                  <a:lnTo>
                    <a:pt x="2250" y="23048"/>
                  </a:lnTo>
                  <a:lnTo>
                    <a:pt x="2250" y="61"/>
                  </a:lnTo>
                  <a:lnTo>
                    <a:pt x="171" y="2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0" name="Google Shape;680;p39"/>
            <p:cNvSpPr/>
            <p:nvPr/>
          </p:nvSpPr>
          <p:spPr>
            <a:xfrm>
              <a:off x="852031" y="4021005"/>
              <a:ext cx="71810" cy="647808"/>
            </a:xfrm>
            <a:custGeom>
              <a:avLst/>
              <a:gdLst/>
              <a:ahLst/>
              <a:cxnLst/>
              <a:rect l="l" t="t" r="r" b="b"/>
              <a:pathLst>
                <a:path w="2561" h="23103" extrusionOk="0">
                  <a:moveTo>
                    <a:pt x="324" y="0"/>
                  </a:moveTo>
                  <a:lnTo>
                    <a:pt x="0" y="23084"/>
                  </a:lnTo>
                  <a:lnTo>
                    <a:pt x="2560" y="23103"/>
                  </a:lnTo>
                  <a:lnTo>
                    <a:pt x="2560" y="37"/>
                  </a:lnTo>
                  <a:lnTo>
                    <a:pt x="462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1" name="Google Shape;681;p39"/>
            <p:cNvSpPr/>
            <p:nvPr/>
          </p:nvSpPr>
          <p:spPr>
            <a:xfrm>
              <a:off x="741245" y="4018790"/>
              <a:ext cx="64800" cy="649519"/>
            </a:xfrm>
            <a:custGeom>
              <a:avLst/>
              <a:gdLst/>
              <a:ahLst/>
              <a:cxnLst/>
              <a:rect l="l" t="t" r="r" b="b"/>
              <a:pathLst>
                <a:path w="2311" h="23164" extrusionOk="0">
                  <a:moveTo>
                    <a:pt x="1" y="0"/>
                  </a:moveTo>
                  <a:lnTo>
                    <a:pt x="638" y="23163"/>
                  </a:lnTo>
                  <a:lnTo>
                    <a:pt x="2311" y="23163"/>
                  </a:lnTo>
                  <a:lnTo>
                    <a:pt x="2256" y="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2" name="Google Shape;682;p39"/>
            <p:cNvSpPr/>
            <p:nvPr/>
          </p:nvSpPr>
          <p:spPr>
            <a:xfrm>
              <a:off x="804475" y="4019968"/>
              <a:ext cx="56641" cy="648341"/>
            </a:xfrm>
            <a:custGeom>
              <a:avLst/>
              <a:gdLst/>
              <a:ahLst/>
              <a:cxnLst/>
              <a:rect l="l" t="t" r="r" b="b"/>
              <a:pathLst>
                <a:path w="2020" h="23122" extrusionOk="0">
                  <a:moveTo>
                    <a:pt x="1" y="0"/>
                  </a:moveTo>
                  <a:lnTo>
                    <a:pt x="56" y="23121"/>
                  </a:lnTo>
                  <a:lnTo>
                    <a:pt x="1696" y="23121"/>
                  </a:lnTo>
                  <a:lnTo>
                    <a:pt x="2020" y="37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3" name="Google Shape;683;p39"/>
            <p:cNvSpPr/>
            <p:nvPr/>
          </p:nvSpPr>
          <p:spPr>
            <a:xfrm>
              <a:off x="1028487" y="4024762"/>
              <a:ext cx="77755" cy="644051"/>
            </a:xfrm>
            <a:custGeom>
              <a:avLst/>
              <a:gdLst/>
              <a:ahLst/>
              <a:cxnLst/>
              <a:rect l="l" t="t" r="r" b="b"/>
              <a:pathLst>
                <a:path w="2773" h="22969" extrusionOk="0">
                  <a:moveTo>
                    <a:pt x="712" y="0"/>
                  </a:moveTo>
                  <a:lnTo>
                    <a:pt x="0" y="22969"/>
                  </a:lnTo>
                  <a:lnTo>
                    <a:pt x="2140" y="22969"/>
                  </a:lnTo>
                  <a:lnTo>
                    <a:pt x="2773" y="42"/>
                  </a:lnTo>
                  <a:lnTo>
                    <a:pt x="888" y="0"/>
                  </a:ln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4" name="Google Shape;684;p39"/>
            <p:cNvSpPr/>
            <p:nvPr/>
          </p:nvSpPr>
          <p:spPr>
            <a:xfrm>
              <a:off x="762892" y="4668280"/>
              <a:ext cx="322376" cy="7543"/>
            </a:xfrm>
            <a:custGeom>
              <a:avLst/>
              <a:gdLst/>
              <a:ahLst/>
              <a:cxnLst/>
              <a:rect l="l" t="t" r="r" b="b"/>
              <a:pathLst>
                <a:path w="11497" h="269" extrusionOk="0">
                  <a:moveTo>
                    <a:pt x="0" y="0"/>
                  </a:moveTo>
                  <a:lnTo>
                    <a:pt x="0" y="268"/>
                  </a:lnTo>
                  <a:lnTo>
                    <a:pt x="11473" y="268"/>
                  </a:lnTo>
                  <a:lnTo>
                    <a:pt x="11496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5" name="Google Shape;685;p39"/>
            <p:cNvSpPr/>
            <p:nvPr/>
          </p:nvSpPr>
          <p:spPr>
            <a:xfrm>
              <a:off x="776884" y="4675795"/>
              <a:ext cx="14132" cy="19460"/>
            </a:xfrm>
            <a:custGeom>
              <a:avLst/>
              <a:gdLst/>
              <a:ahLst/>
              <a:cxnLst/>
              <a:rect l="l" t="t" r="r" b="b"/>
              <a:pathLst>
                <a:path w="504" h="694" extrusionOk="0">
                  <a:moveTo>
                    <a:pt x="0" y="0"/>
                  </a:moveTo>
                  <a:lnTo>
                    <a:pt x="0" y="693"/>
                  </a:lnTo>
                  <a:lnTo>
                    <a:pt x="347" y="693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6" name="Google Shape;686;p39"/>
            <p:cNvSpPr/>
            <p:nvPr/>
          </p:nvSpPr>
          <p:spPr>
            <a:xfrm>
              <a:off x="1057115" y="4675795"/>
              <a:ext cx="14020" cy="19460"/>
            </a:xfrm>
            <a:custGeom>
              <a:avLst/>
              <a:gdLst/>
              <a:ahLst/>
              <a:cxnLst/>
              <a:rect l="l" t="t" r="r" b="b"/>
              <a:pathLst>
                <a:path w="500" h="694" extrusionOk="0">
                  <a:moveTo>
                    <a:pt x="1" y="0"/>
                  </a:moveTo>
                  <a:lnTo>
                    <a:pt x="153" y="693"/>
                  </a:lnTo>
                  <a:lnTo>
                    <a:pt x="481" y="693"/>
                  </a:lnTo>
                  <a:lnTo>
                    <a:pt x="500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7" name="Google Shape;687;p39"/>
            <p:cNvSpPr/>
            <p:nvPr/>
          </p:nvSpPr>
          <p:spPr>
            <a:xfrm>
              <a:off x="744497" y="4134371"/>
              <a:ext cx="358519" cy="54033"/>
            </a:xfrm>
            <a:custGeom>
              <a:avLst/>
              <a:gdLst/>
              <a:ahLst/>
              <a:cxnLst/>
              <a:rect l="l" t="t" r="r" b="b"/>
              <a:pathLst>
                <a:path w="12786" h="1927" extrusionOk="0">
                  <a:moveTo>
                    <a:pt x="0" y="0"/>
                  </a:moveTo>
                  <a:lnTo>
                    <a:pt x="42" y="1562"/>
                  </a:lnTo>
                  <a:lnTo>
                    <a:pt x="12748" y="1927"/>
                  </a:lnTo>
                  <a:lnTo>
                    <a:pt x="12785" y="1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8" name="Google Shape;688;p39"/>
            <p:cNvSpPr/>
            <p:nvPr/>
          </p:nvSpPr>
          <p:spPr>
            <a:xfrm>
              <a:off x="747722" y="4264448"/>
              <a:ext cx="351537" cy="43294"/>
            </a:xfrm>
            <a:custGeom>
              <a:avLst/>
              <a:gdLst/>
              <a:ahLst/>
              <a:cxnLst/>
              <a:rect l="l" t="t" r="r" b="b"/>
              <a:pathLst>
                <a:path w="12537" h="1544" extrusionOk="0">
                  <a:moveTo>
                    <a:pt x="1" y="0"/>
                  </a:moveTo>
                  <a:lnTo>
                    <a:pt x="42" y="1118"/>
                  </a:lnTo>
                  <a:lnTo>
                    <a:pt x="12499" y="1543"/>
                  </a:lnTo>
                  <a:lnTo>
                    <a:pt x="12536" y="15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9" name="Google Shape;689;p39"/>
            <p:cNvSpPr/>
            <p:nvPr/>
          </p:nvSpPr>
          <p:spPr>
            <a:xfrm>
              <a:off x="751620" y="4389198"/>
              <a:ext cx="344387" cy="34489"/>
            </a:xfrm>
            <a:custGeom>
              <a:avLst/>
              <a:gdLst/>
              <a:ahLst/>
              <a:cxnLst/>
              <a:rect l="l" t="t" r="r" b="b"/>
              <a:pathLst>
                <a:path w="12282" h="1230" extrusionOk="0">
                  <a:moveTo>
                    <a:pt x="0" y="1"/>
                  </a:moveTo>
                  <a:lnTo>
                    <a:pt x="19" y="791"/>
                  </a:lnTo>
                  <a:lnTo>
                    <a:pt x="12263" y="1230"/>
                  </a:lnTo>
                  <a:lnTo>
                    <a:pt x="12282" y="11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0" name="Google Shape;690;p39"/>
            <p:cNvSpPr/>
            <p:nvPr/>
          </p:nvSpPr>
          <p:spPr>
            <a:xfrm>
              <a:off x="754844" y="4509574"/>
              <a:ext cx="337938" cy="41079"/>
            </a:xfrm>
            <a:custGeom>
              <a:avLst/>
              <a:gdLst/>
              <a:ahLst/>
              <a:cxnLst/>
              <a:rect l="l" t="t" r="r" b="b"/>
              <a:pathLst>
                <a:path w="12052" h="1465" extrusionOk="0">
                  <a:moveTo>
                    <a:pt x="1" y="0"/>
                  </a:moveTo>
                  <a:lnTo>
                    <a:pt x="1" y="924"/>
                  </a:lnTo>
                  <a:lnTo>
                    <a:pt x="12014" y="1465"/>
                  </a:lnTo>
                  <a:lnTo>
                    <a:pt x="12051" y="5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1" name="Google Shape;691;p39"/>
            <p:cNvSpPr/>
            <p:nvPr/>
          </p:nvSpPr>
          <p:spPr>
            <a:xfrm>
              <a:off x="758097" y="4625127"/>
              <a:ext cx="331433" cy="20497"/>
            </a:xfrm>
            <a:custGeom>
              <a:avLst/>
              <a:gdLst/>
              <a:ahLst/>
              <a:cxnLst/>
              <a:rect l="l" t="t" r="r" b="b"/>
              <a:pathLst>
                <a:path w="11820" h="731" extrusionOk="0">
                  <a:moveTo>
                    <a:pt x="0" y="1"/>
                  </a:moveTo>
                  <a:lnTo>
                    <a:pt x="0" y="440"/>
                  </a:lnTo>
                  <a:lnTo>
                    <a:pt x="11801" y="731"/>
                  </a:lnTo>
                  <a:lnTo>
                    <a:pt x="11820" y="1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2" name="Google Shape;692;p39"/>
            <p:cNvSpPr/>
            <p:nvPr/>
          </p:nvSpPr>
          <p:spPr>
            <a:xfrm>
              <a:off x="852031" y="4021005"/>
              <a:ext cx="76605" cy="647808"/>
            </a:xfrm>
            <a:custGeom>
              <a:avLst/>
              <a:gdLst/>
              <a:ahLst/>
              <a:cxnLst/>
              <a:rect l="l" t="t" r="r" b="b"/>
              <a:pathLst>
                <a:path w="2732" h="23103" extrusionOk="0">
                  <a:moveTo>
                    <a:pt x="324" y="0"/>
                  </a:moveTo>
                  <a:lnTo>
                    <a:pt x="93" y="15807"/>
                  </a:lnTo>
                  <a:lnTo>
                    <a:pt x="93" y="15923"/>
                  </a:lnTo>
                  <a:lnTo>
                    <a:pt x="0" y="23084"/>
                  </a:lnTo>
                  <a:lnTo>
                    <a:pt x="134" y="23084"/>
                  </a:lnTo>
                  <a:lnTo>
                    <a:pt x="231" y="15959"/>
                  </a:lnTo>
                  <a:lnTo>
                    <a:pt x="2560" y="16075"/>
                  </a:lnTo>
                  <a:lnTo>
                    <a:pt x="2560" y="23103"/>
                  </a:lnTo>
                  <a:lnTo>
                    <a:pt x="2657" y="23103"/>
                  </a:lnTo>
                  <a:lnTo>
                    <a:pt x="2676" y="16075"/>
                  </a:lnTo>
                  <a:lnTo>
                    <a:pt x="2676" y="15959"/>
                  </a:lnTo>
                  <a:lnTo>
                    <a:pt x="2731" y="60"/>
                  </a:lnTo>
                  <a:lnTo>
                    <a:pt x="2560" y="37"/>
                  </a:lnTo>
                  <a:lnTo>
                    <a:pt x="2560" y="15941"/>
                  </a:lnTo>
                  <a:lnTo>
                    <a:pt x="250" y="15825"/>
                  </a:lnTo>
                  <a:lnTo>
                    <a:pt x="462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3" name="Google Shape;693;p39"/>
            <p:cNvSpPr/>
            <p:nvPr/>
          </p:nvSpPr>
          <p:spPr>
            <a:xfrm>
              <a:off x="746180" y="4019968"/>
              <a:ext cx="62081" cy="648341"/>
            </a:xfrm>
            <a:custGeom>
              <a:avLst/>
              <a:gdLst/>
              <a:ahLst/>
              <a:cxnLst/>
              <a:rect l="l" t="t" r="r" b="b"/>
              <a:pathLst>
                <a:path w="2214" h="23122" extrusionOk="0">
                  <a:moveTo>
                    <a:pt x="2080" y="0"/>
                  </a:moveTo>
                  <a:lnTo>
                    <a:pt x="2098" y="6681"/>
                  </a:lnTo>
                  <a:lnTo>
                    <a:pt x="0" y="6681"/>
                  </a:lnTo>
                  <a:lnTo>
                    <a:pt x="19" y="6889"/>
                  </a:lnTo>
                  <a:lnTo>
                    <a:pt x="2098" y="6815"/>
                  </a:lnTo>
                  <a:lnTo>
                    <a:pt x="2135" y="23121"/>
                  </a:lnTo>
                  <a:lnTo>
                    <a:pt x="2158" y="23121"/>
                  </a:lnTo>
                  <a:lnTo>
                    <a:pt x="2214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4" name="Google Shape;694;p39"/>
            <p:cNvSpPr/>
            <p:nvPr/>
          </p:nvSpPr>
          <p:spPr>
            <a:xfrm>
              <a:off x="986903" y="4023725"/>
              <a:ext cx="66483" cy="645088"/>
            </a:xfrm>
            <a:custGeom>
              <a:avLst/>
              <a:gdLst/>
              <a:ahLst/>
              <a:cxnLst/>
              <a:rect l="l" t="t" r="r" b="b"/>
              <a:pathLst>
                <a:path w="2371" h="23006" extrusionOk="0">
                  <a:moveTo>
                    <a:pt x="134" y="6700"/>
                  </a:moveTo>
                  <a:lnTo>
                    <a:pt x="1983" y="6834"/>
                  </a:lnTo>
                  <a:lnTo>
                    <a:pt x="1599" y="19388"/>
                  </a:lnTo>
                  <a:lnTo>
                    <a:pt x="97" y="19328"/>
                  </a:lnTo>
                  <a:lnTo>
                    <a:pt x="134" y="6700"/>
                  </a:lnTo>
                  <a:close/>
                  <a:moveTo>
                    <a:pt x="0" y="0"/>
                  </a:moveTo>
                  <a:lnTo>
                    <a:pt x="0" y="22987"/>
                  </a:lnTo>
                  <a:lnTo>
                    <a:pt x="79" y="22987"/>
                  </a:lnTo>
                  <a:lnTo>
                    <a:pt x="97" y="19443"/>
                  </a:lnTo>
                  <a:lnTo>
                    <a:pt x="1599" y="19559"/>
                  </a:lnTo>
                  <a:lnTo>
                    <a:pt x="1483" y="23006"/>
                  </a:lnTo>
                  <a:lnTo>
                    <a:pt x="1562" y="23006"/>
                  </a:lnTo>
                  <a:lnTo>
                    <a:pt x="2371" y="37"/>
                  </a:lnTo>
                  <a:lnTo>
                    <a:pt x="2195" y="37"/>
                  </a:lnTo>
                  <a:lnTo>
                    <a:pt x="2006" y="6584"/>
                  </a:lnTo>
                  <a:lnTo>
                    <a:pt x="134" y="6547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5" name="Google Shape;695;p39"/>
            <p:cNvSpPr/>
            <p:nvPr/>
          </p:nvSpPr>
          <p:spPr>
            <a:xfrm>
              <a:off x="743965" y="4120351"/>
              <a:ext cx="359557" cy="19488"/>
            </a:xfrm>
            <a:custGeom>
              <a:avLst/>
              <a:gdLst/>
              <a:ahLst/>
              <a:cxnLst/>
              <a:rect l="l" t="t" r="r" b="b"/>
              <a:pathLst>
                <a:path w="12823" h="695" extrusionOk="0">
                  <a:moveTo>
                    <a:pt x="1" y="1"/>
                  </a:moveTo>
                  <a:lnTo>
                    <a:pt x="19" y="500"/>
                  </a:lnTo>
                  <a:lnTo>
                    <a:pt x="12804" y="694"/>
                  </a:lnTo>
                  <a:lnTo>
                    <a:pt x="12823" y="2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6" name="Google Shape;696;p39"/>
            <p:cNvSpPr/>
            <p:nvPr/>
          </p:nvSpPr>
          <p:spPr>
            <a:xfrm>
              <a:off x="747722" y="4250961"/>
              <a:ext cx="352042" cy="17918"/>
            </a:xfrm>
            <a:custGeom>
              <a:avLst/>
              <a:gdLst/>
              <a:ahLst/>
              <a:cxnLst/>
              <a:rect l="l" t="t" r="r" b="b"/>
              <a:pathLst>
                <a:path w="12555" h="639" extrusionOk="0">
                  <a:moveTo>
                    <a:pt x="1" y="1"/>
                  </a:moveTo>
                  <a:lnTo>
                    <a:pt x="1" y="481"/>
                  </a:lnTo>
                  <a:lnTo>
                    <a:pt x="12536" y="638"/>
                  </a:lnTo>
                  <a:lnTo>
                    <a:pt x="12555" y="15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7" name="Google Shape;697;p39"/>
            <p:cNvSpPr/>
            <p:nvPr/>
          </p:nvSpPr>
          <p:spPr>
            <a:xfrm>
              <a:off x="750975" y="4376777"/>
              <a:ext cx="345565" cy="15702"/>
            </a:xfrm>
            <a:custGeom>
              <a:avLst/>
              <a:gdLst/>
              <a:ahLst/>
              <a:cxnLst/>
              <a:rect l="l" t="t" r="r" b="b"/>
              <a:pathLst>
                <a:path w="12324" h="560" extrusionOk="0">
                  <a:moveTo>
                    <a:pt x="0" y="0"/>
                  </a:moveTo>
                  <a:lnTo>
                    <a:pt x="23" y="444"/>
                  </a:lnTo>
                  <a:lnTo>
                    <a:pt x="12305" y="559"/>
                  </a:lnTo>
                  <a:lnTo>
                    <a:pt x="12323" y="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8" name="Google Shape;698;p39"/>
            <p:cNvSpPr/>
            <p:nvPr/>
          </p:nvSpPr>
          <p:spPr>
            <a:xfrm>
              <a:off x="754199" y="4497124"/>
              <a:ext cx="339088" cy="14020"/>
            </a:xfrm>
            <a:custGeom>
              <a:avLst/>
              <a:gdLst/>
              <a:ahLst/>
              <a:cxnLst/>
              <a:rect l="l" t="t" r="r" b="b"/>
              <a:pathLst>
                <a:path w="12093" h="500" extrusionOk="0">
                  <a:moveTo>
                    <a:pt x="1" y="1"/>
                  </a:moveTo>
                  <a:lnTo>
                    <a:pt x="24" y="444"/>
                  </a:lnTo>
                  <a:lnTo>
                    <a:pt x="12074" y="500"/>
                  </a:lnTo>
                  <a:lnTo>
                    <a:pt x="12093" y="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9" name="Google Shape;699;p39"/>
            <p:cNvSpPr/>
            <p:nvPr/>
          </p:nvSpPr>
          <p:spPr>
            <a:xfrm>
              <a:off x="743965" y="4120351"/>
              <a:ext cx="359557" cy="12478"/>
            </a:xfrm>
            <a:custGeom>
              <a:avLst/>
              <a:gdLst/>
              <a:ahLst/>
              <a:cxnLst/>
              <a:rect l="l" t="t" r="r" b="b"/>
              <a:pathLst>
                <a:path w="12823" h="445" extrusionOk="0">
                  <a:moveTo>
                    <a:pt x="1" y="1"/>
                  </a:moveTo>
                  <a:lnTo>
                    <a:pt x="1" y="56"/>
                  </a:lnTo>
                  <a:lnTo>
                    <a:pt x="12804" y="445"/>
                  </a:lnTo>
                  <a:lnTo>
                    <a:pt x="12823" y="2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0" name="Google Shape;700;p39"/>
            <p:cNvSpPr/>
            <p:nvPr/>
          </p:nvSpPr>
          <p:spPr>
            <a:xfrm>
              <a:off x="747722" y="4250961"/>
              <a:ext cx="352042" cy="12478"/>
            </a:xfrm>
            <a:custGeom>
              <a:avLst/>
              <a:gdLst/>
              <a:ahLst/>
              <a:cxnLst/>
              <a:rect l="l" t="t" r="r" b="b"/>
              <a:pathLst>
                <a:path w="12555" h="445" extrusionOk="0">
                  <a:moveTo>
                    <a:pt x="1" y="1"/>
                  </a:moveTo>
                  <a:lnTo>
                    <a:pt x="1" y="79"/>
                  </a:lnTo>
                  <a:lnTo>
                    <a:pt x="12555" y="444"/>
                  </a:lnTo>
                  <a:lnTo>
                    <a:pt x="12555" y="15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1" name="Google Shape;701;p39"/>
            <p:cNvSpPr/>
            <p:nvPr/>
          </p:nvSpPr>
          <p:spPr>
            <a:xfrm>
              <a:off x="750975" y="4376777"/>
              <a:ext cx="345565" cy="10263"/>
            </a:xfrm>
            <a:custGeom>
              <a:avLst/>
              <a:gdLst/>
              <a:ahLst/>
              <a:cxnLst/>
              <a:rect l="l" t="t" r="r" b="b"/>
              <a:pathLst>
                <a:path w="12324" h="366" extrusionOk="0">
                  <a:moveTo>
                    <a:pt x="0" y="0"/>
                  </a:moveTo>
                  <a:lnTo>
                    <a:pt x="0" y="116"/>
                  </a:lnTo>
                  <a:lnTo>
                    <a:pt x="12323" y="365"/>
                  </a:lnTo>
                  <a:lnTo>
                    <a:pt x="12323" y="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2" name="Google Shape;702;p39"/>
            <p:cNvSpPr/>
            <p:nvPr/>
          </p:nvSpPr>
          <p:spPr>
            <a:xfrm>
              <a:off x="754199" y="4497124"/>
              <a:ext cx="339088" cy="5468"/>
            </a:xfrm>
            <a:custGeom>
              <a:avLst/>
              <a:gdLst/>
              <a:ahLst/>
              <a:cxnLst/>
              <a:rect l="l" t="t" r="r" b="b"/>
              <a:pathLst>
                <a:path w="12093" h="195" extrusionOk="0">
                  <a:moveTo>
                    <a:pt x="1" y="1"/>
                  </a:moveTo>
                  <a:lnTo>
                    <a:pt x="24" y="195"/>
                  </a:lnTo>
                  <a:lnTo>
                    <a:pt x="12093" y="176"/>
                  </a:lnTo>
                  <a:lnTo>
                    <a:pt x="12093" y="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3" name="Google Shape;703;p39"/>
            <p:cNvSpPr/>
            <p:nvPr/>
          </p:nvSpPr>
          <p:spPr>
            <a:xfrm>
              <a:off x="757452" y="4613210"/>
              <a:ext cx="332610" cy="12478"/>
            </a:xfrm>
            <a:custGeom>
              <a:avLst/>
              <a:gdLst/>
              <a:ahLst/>
              <a:cxnLst/>
              <a:rect l="l" t="t" r="r" b="b"/>
              <a:pathLst>
                <a:path w="11862" h="445" extrusionOk="0">
                  <a:moveTo>
                    <a:pt x="0" y="1"/>
                  </a:moveTo>
                  <a:lnTo>
                    <a:pt x="23" y="426"/>
                  </a:lnTo>
                  <a:lnTo>
                    <a:pt x="11843" y="444"/>
                  </a:lnTo>
                  <a:lnTo>
                    <a:pt x="11861" y="3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4" name="Google Shape;704;p39"/>
            <p:cNvSpPr/>
            <p:nvPr/>
          </p:nvSpPr>
          <p:spPr>
            <a:xfrm>
              <a:off x="757452" y="4613210"/>
              <a:ext cx="332610" cy="4318"/>
            </a:xfrm>
            <a:custGeom>
              <a:avLst/>
              <a:gdLst/>
              <a:ahLst/>
              <a:cxnLst/>
              <a:rect l="l" t="t" r="r" b="b"/>
              <a:pathLst>
                <a:path w="11862" h="154" extrusionOk="0">
                  <a:moveTo>
                    <a:pt x="0" y="1"/>
                  </a:moveTo>
                  <a:lnTo>
                    <a:pt x="0" y="79"/>
                  </a:lnTo>
                  <a:lnTo>
                    <a:pt x="11861" y="153"/>
                  </a:lnTo>
                  <a:lnTo>
                    <a:pt x="11861" y="3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5" name="Google Shape;705;p39"/>
            <p:cNvSpPr/>
            <p:nvPr/>
          </p:nvSpPr>
          <p:spPr>
            <a:xfrm>
              <a:off x="769874" y="4409163"/>
              <a:ext cx="76745" cy="88522"/>
            </a:xfrm>
            <a:custGeom>
              <a:avLst/>
              <a:gdLst/>
              <a:ahLst/>
              <a:cxnLst/>
              <a:rect l="l" t="t" r="r" b="b"/>
              <a:pathLst>
                <a:path w="2737" h="3157" extrusionOk="0">
                  <a:moveTo>
                    <a:pt x="135" y="0"/>
                  </a:moveTo>
                  <a:cubicBezTo>
                    <a:pt x="135" y="0"/>
                    <a:pt x="1" y="310"/>
                    <a:pt x="1" y="499"/>
                  </a:cubicBezTo>
                  <a:lnTo>
                    <a:pt x="1" y="2944"/>
                  </a:lnTo>
                  <a:cubicBezTo>
                    <a:pt x="1" y="3082"/>
                    <a:pt x="116" y="3156"/>
                    <a:pt x="116" y="3156"/>
                  </a:cubicBezTo>
                  <a:lnTo>
                    <a:pt x="2639" y="3156"/>
                  </a:lnTo>
                  <a:cubicBezTo>
                    <a:pt x="2639" y="3156"/>
                    <a:pt x="2736" y="3082"/>
                    <a:pt x="2736" y="2944"/>
                  </a:cubicBezTo>
                  <a:lnTo>
                    <a:pt x="2736" y="499"/>
                  </a:lnTo>
                  <a:cubicBezTo>
                    <a:pt x="2736" y="402"/>
                    <a:pt x="2699" y="250"/>
                    <a:pt x="2676" y="153"/>
                  </a:cubicBezTo>
                  <a:cubicBezTo>
                    <a:pt x="2639" y="56"/>
                    <a:pt x="2621" y="0"/>
                    <a:pt x="2621" y="0"/>
                  </a:cubicBez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6" name="Google Shape;706;p39"/>
            <p:cNvSpPr/>
            <p:nvPr/>
          </p:nvSpPr>
          <p:spPr>
            <a:xfrm>
              <a:off x="772594" y="4411883"/>
              <a:ext cx="71810" cy="83083"/>
            </a:xfrm>
            <a:custGeom>
              <a:avLst/>
              <a:gdLst/>
              <a:ahLst/>
              <a:cxnLst/>
              <a:rect l="l" t="t" r="r" b="b"/>
              <a:pathLst>
                <a:path w="2561" h="2963" extrusionOk="0">
                  <a:moveTo>
                    <a:pt x="98" y="0"/>
                  </a:moveTo>
                  <a:cubicBezTo>
                    <a:pt x="61" y="97"/>
                    <a:pt x="1" y="287"/>
                    <a:pt x="1" y="402"/>
                  </a:cubicBezTo>
                  <a:lnTo>
                    <a:pt x="1" y="2847"/>
                  </a:lnTo>
                  <a:cubicBezTo>
                    <a:pt x="1" y="2907"/>
                    <a:pt x="19" y="2944"/>
                    <a:pt x="38" y="2962"/>
                  </a:cubicBezTo>
                  <a:lnTo>
                    <a:pt x="2505" y="2962"/>
                  </a:lnTo>
                  <a:cubicBezTo>
                    <a:pt x="2524" y="2944"/>
                    <a:pt x="2561" y="2907"/>
                    <a:pt x="2561" y="2847"/>
                  </a:cubicBezTo>
                  <a:lnTo>
                    <a:pt x="2561" y="402"/>
                  </a:lnTo>
                  <a:cubicBezTo>
                    <a:pt x="2561" y="287"/>
                    <a:pt x="2487" y="97"/>
                    <a:pt x="2464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7" name="Google Shape;707;p39"/>
            <p:cNvSpPr/>
            <p:nvPr/>
          </p:nvSpPr>
          <p:spPr>
            <a:xfrm>
              <a:off x="771051" y="4401648"/>
              <a:ext cx="74530" cy="7543"/>
            </a:xfrm>
            <a:custGeom>
              <a:avLst/>
              <a:gdLst/>
              <a:ahLst/>
              <a:cxnLst/>
              <a:rect l="l" t="t" r="r" b="b"/>
              <a:pathLst>
                <a:path w="2658" h="269" extrusionOk="0">
                  <a:moveTo>
                    <a:pt x="56" y="0"/>
                  </a:moveTo>
                  <a:cubicBezTo>
                    <a:pt x="19" y="0"/>
                    <a:pt x="0" y="19"/>
                    <a:pt x="0" y="37"/>
                  </a:cubicBezTo>
                  <a:lnTo>
                    <a:pt x="0" y="231"/>
                  </a:lnTo>
                  <a:cubicBezTo>
                    <a:pt x="0" y="250"/>
                    <a:pt x="19" y="268"/>
                    <a:pt x="56" y="268"/>
                  </a:cubicBezTo>
                  <a:lnTo>
                    <a:pt x="2616" y="268"/>
                  </a:lnTo>
                  <a:cubicBezTo>
                    <a:pt x="2634" y="268"/>
                    <a:pt x="2657" y="250"/>
                    <a:pt x="2657" y="231"/>
                  </a:cubicBezTo>
                  <a:lnTo>
                    <a:pt x="2657" y="37"/>
                  </a:lnTo>
                  <a:cubicBezTo>
                    <a:pt x="2657" y="19"/>
                    <a:pt x="2634" y="0"/>
                    <a:pt x="2616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8" name="Google Shape;708;p39"/>
            <p:cNvSpPr/>
            <p:nvPr/>
          </p:nvSpPr>
          <p:spPr>
            <a:xfrm>
              <a:off x="775313" y="4439867"/>
              <a:ext cx="43182" cy="29162"/>
            </a:xfrm>
            <a:custGeom>
              <a:avLst/>
              <a:gdLst/>
              <a:ahLst/>
              <a:cxnLst/>
              <a:rect l="l" t="t" r="r" b="b"/>
              <a:pathLst>
                <a:path w="1540" h="1040" extrusionOk="0">
                  <a:moveTo>
                    <a:pt x="1406" y="0"/>
                  </a:moveTo>
                  <a:lnTo>
                    <a:pt x="1" y="231"/>
                  </a:lnTo>
                  <a:lnTo>
                    <a:pt x="135" y="1040"/>
                  </a:lnTo>
                  <a:lnTo>
                    <a:pt x="1540" y="832"/>
                  </a:lnTo>
                  <a:lnTo>
                    <a:pt x="1406" y="0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9" name="Google Shape;709;p39"/>
            <p:cNvSpPr/>
            <p:nvPr/>
          </p:nvSpPr>
          <p:spPr>
            <a:xfrm>
              <a:off x="771051" y="4401648"/>
              <a:ext cx="7543" cy="7543"/>
            </a:xfrm>
            <a:custGeom>
              <a:avLst/>
              <a:gdLst/>
              <a:ahLst/>
              <a:cxnLst/>
              <a:rect l="l" t="t" r="r" b="b"/>
              <a:pathLst>
                <a:path w="269" h="269" extrusionOk="0">
                  <a:moveTo>
                    <a:pt x="56" y="0"/>
                  </a:moveTo>
                  <a:cubicBezTo>
                    <a:pt x="19" y="0"/>
                    <a:pt x="0" y="19"/>
                    <a:pt x="0" y="37"/>
                  </a:cubicBezTo>
                  <a:lnTo>
                    <a:pt x="0" y="231"/>
                  </a:lnTo>
                  <a:cubicBezTo>
                    <a:pt x="0" y="250"/>
                    <a:pt x="19" y="268"/>
                    <a:pt x="56" y="268"/>
                  </a:cubicBezTo>
                  <a:lnTo>
                    <a:pt x="268" y="268"/>
                  </a:lnTo>
                  <a:lnTo>
                    <a:pt x="26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0" name="Google Shape;710;p39"/>
            <p:cNvSpPr/>
            <p:nvPr/>
          </p:nvSpPr>
          <p:spPr>
            <a:xfrm>
              <a:off x="771051" y="4401648"/>
              <a:ext cx="74530" cy="7543"/>
            </a:xfrm>
            <a:custGeom>
              <a:avLst/>
              <a:gdLst/>
              <a:ahLst/>
              <a:cxnLst/>
              <a:rect l="l" t="t" r="r" b="b"/>
              <a:pathLst>
                <a:path w="2658" h="269" extrusionOk="0">
                  <a:moveTo>
                    <a:pt x="2500" y="0"/>
                  </a:moveTo>
                  <a:lnTo>
                    <a:pt x="2172" y="171"/>
                  </a:lnTo>
                  <a:cubicBezTo>
                    <a:pt x="2172" y="171"/>
                    <a:pt x="287" y="208"/>
                    <a:pt x="0" y="208"/>
                  </a:cubicBezTo>
                  <a:lnTo>
                    <a:pt x="0" y="231"/>
                  </a:lnTo>
                  <a:cubicBezTo>
                    <a:pt x="0" y="250"/>
                    <a:pt x="19" y="268"/>
                    <a:pt x="56" y="268"/>
                  </a:cubicBezTo>
                  <a:lnTo>
                    <a:pt x="2616" y="268"/>
                  </a:lnTo>
                  <a:cubicBezTo>
                    <a:pt x="2634" y="268"/>
                    <a:pt x="2657" y="250"/>
                    <a:pt x="2657" y="231"/>
                  </a:cubicBezTo>
                  <a:lnTo>
                    <a:pt x="2657" y="37"/>
                  </a:lnTo>
                  <a:cubicBezTo>
                    <a:pt x="2657" y="19"/>
                    <a:pt x="2634" y="0"/>
                    <a:pt x="2616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1" name="Google Shape;711;p39"/>
            <p:cNvSpPr/>
            <p:nvPr/>
          </p:nvSpPr>
          <p:spPr>
            <a:xfrm>
              <a:off x="807728" y="4401648"/>
              <a:ext cx="11300" cy="7543"/>
            </a:xfrm>
            <a:custGeom>
              <a:avLst/>
              <a:gdLst/>
              <a:ahLst/>
              <a:cxnLst/>
              <a:rect l="l" t="t" r="r" b="b"/>
              <a:pathLst>
                <a:path w="403" h="269" extrusionOk="0">
                  <a:moveTo>
                    <a:pt x="97" y="0"/>
                  </a:moveTo>
                  <a:lnTo>
                    <a:pt x="0" y="268"/>
                  </a:lnTo>
                  <a:lnTo>
                    <a:pt x="310" y="268"/>
                  </a:lnTo>
                  <a:lnTo>
                    <a:pt x="402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2" name="Google Shape;712;p39"/>
            <p:cNvSpPr/>
            <p:nvPr/>
          </p:nvSpPr>
          <p:spPr>
            <a:xfrm>
              <a:off x="888174" y="4409163"/>
              <a:ext cx="76605" cy="88522"/>
            </a:xfrm>
            <a:custGeom>
              <a:avLst/>
              <a:gdLst/>
              <a:ahLst/>
              <a:cxnLst/>
              <a:rect l="l" t="t" r="r" b="b"/>
              <a:pathLst>
                <a:path w="2732" h="3157" extrusionOk="0">
                  <a:moveTo>
                    <a:pt x="116" y="0"/>
                  </a:moveTo>
                  <a:cubicBezTo>
                    <a:pt x="116" y="0"/>
                    <a:pt x="0" y="310"/>
                    <a:pt x="0" y="499"/>
                  </a:cubicBezTo>
                  <a:lnTo>
                    <a:pt x="0" y="2944"/>
                  </a:lnTo>
                  <a:cubicBezTo>
                    <a:pt x="0" y="3082"/>
                    <a:pt x="97" y="3156"/>
                    <a:pt x="97" y="3156"/>
                  </a:cubicBezTo>
                  <a:lnTo>
                    <a:pt x="2616" y="3156"/>
                  </a:lnTo>
                  <a:cubicBezTo>
                    <a:pt x="2616" y="3156"/>
                    <a:pt x="2731" y="3082"/>
                    <a:pt x="2731" y="2944"/>
                  </a:cubicBezTo>
                  <a:lnTo>
                    <a:pt x="2731" y="499"/>
                  </a:lnTo>
                  <a:cubicBezTo>
                    <a:pt x="2731" y="402"/>
                    <a:pt x="2694" y="250"/>
                    <a:pt x="2657" y="153"/>
                  </a:cubicBezTo>
                  <a:cubicBezTo>
                    <a:pt x="2639" y="56"/>
                    <a:pt x="2597" y="0"/>
                    <a:pt x="2597" y="0"/>
                  </a:cubicBez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3" name="Google Shape;713;p39"/>
            <p:cNvSpPr/>
            <p:nvPr/>
          </p:nvSpPr>
          <p:spPr>
            <a:xfrm>
              <a:off x="890894" y="4411883"/>
              <a:ext cx="71278" cy="83083"/>
            </a:xfrm>
            <a:custGeom>
              <a:avLst/>
              <a:gdLst/>
              <a:ahLst/>
              <a:cxnLst/>
              <a:rect l="l" t="t" r="r" b="b"/>
              <a:pathLst>
                <a:path w="2542" h="2963" extrusionOk="0">
                  <a:moveTo>
                    <a:pt x="93" y="0"/>
                  </a:moveTo>
                  <a:cubicBezTo>
                    <a:pt x="56" y="97"/>
                    <a:pt x="0" y="287"/>
                    <a:pt x="0" y="402"/>
                  </a:cubicBezTo>
                  <a:lnTo>
                    <a:pt x="0" y="2847"/>
                  </a:lnTo>
                  <a:cubicBezTo>
                    <a:pt x="0" y="2907"/>
                    <a:pt x="19" y="2944"/>
                    <a:pt x="37" y="2962"/>
                  </a:cubicBezTo>
                  <a:lnTo>
                    <a:pt x="2500" y="2962"/>
                  </a:lnTo>
                  <a:cubicBezTo>
                    <a:pt x="2519" y="2944"/>
                    <a:pt x="2542" y="2907"/>
                    <a:pt x="2542" y="2847"/>
                  </a:cubicBezTo>
                  <a:lnTo>
                    <a:pt x="2542" y="402"/>
                  </a:lnTo>
                  <a:cubicBezTo>
                    <a:pt x="2542" y="287"/>
                    <a:pt x="2482" y="97"/>
                    <a:pt x="2445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4" name="Google Shape;714;p39"/>
            <p:cNvSpPr/>
            <p:nvPr/>
          </p:nvSpPr>
          <p:spPr>
            <a:xfrm>
              <a:off x="889212" y="4401648"/>
              <a:ext cx="74530" cy="7543"/>
            </a:xfrm>
            <a:custGeom>
              <a:avLst/>
              <a:gdLst/>
              <a:ahLst/>
              <a:cxnLst/>
              <a:rect l="l" t="t" r="r" b="b"/>
              <a:pathLst>
                <a:path w="2658" h="269" extrusionOk="0">
                  <a:moveTo>
                    <a:pt x="37" y="0"/>
                  </a:moveTo>
                  <a:cubicBezTo>
                    <a:pt x="19" y="0"/>
                    <a:pt x="0" y="19"/>
                    <a:pt x="0" y="37"/>
                  </a:cubicBezTo>
                  <a:lnTo>
                    <a:pt x="0" y="231"/>
                  </a:lnTo>
                  <a:cubicBezTo>
                    <a:pt x="0" y="250"/>
                    <a:pt x="19" y="268"/>
                    <a:pt x="37" y="268"/>
                  </a:cubicBezTo>
                  <a:lnTo>
                    <a:pt x="2602" y="268"/>
                  </a:lnTo>
                  <a:cubicBezTo>
                    <a:pt x="2639" y="268"/>
                    <a:pt x="2657" y="250"/>
                    <a:pt x="2657" y="231"/>
                  </a:cubicBezTo>
                  <a:lnTo>
                    <a:pt x="2657" y="37"/>
                  </a:lnTo>
                  <a:cubicBezTo>
                    <a:pt x="2657" y="19"/>
                    <a:pt x="2639" y="0"/>
                    <a:pt x="2602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5" name="Google Shape;715;p39"/>
            <p:cNvSpPr/>
            <p:nvPr/>
          </p:nvSpPr>
          <p:spPr>
            <a:xfrm>
              <a:off x="908644" y="4436614"/>
              <a:ext cx="45369" cy="35667"/>
            </a:xfrm>
            <a:custGeom>
              <a:avLst/>
              <a:gdLst/>
              <a:ahLst/>
              <a:cxnLst/>
              <a:rect l="l" t="t" r="r" b="b"/>
              <a:pathLst>
                <a:path w="1618" h="1272" extrusionOk="0">
                  <a:moveTo>
                    <a:pt x="292" y="1"/>
                  </a:moveTo>
                  <a:lnTo>
                    <a:pt x="0" y="772"/>
                  </a:lnTo>
                  <a:lnTo>
                    <a:pt x="1331" y="1271"/>
                  </a:lnTo>
                  <a:lnTo>
                    <a:pt x="1618" y="504"/>
                  </a:lnTo>
                  <a:lnTo>
                    <a:pt x="292" y="1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6" name="Google Shape;716;p39"/>
            <p:cNvSpPr/>
            <p:nvPr/>
          </p:nvSpPr>
          <p:spPr>
            <a:xfrm>
              <a:off x="889212" y="4401648"/>
              <a:ext cx="7543" cy="7543"/>
            </a:xfrm>
            <a:custGeom>
              <a:avLst/>
              <a:gdLst/>
              <a:ahLst/>
              <a:cxnLst/>
              <a:rect l="l" t="t" r="r" b="b"/>
              <a:pathLst>
                <a:path w="269" h="269" extrusionOk="0">
                  <a:moveTo>
                    <a:pt x="37" y="0"/>
                  </a:moveTo>
                  <a:cubicBezTo>
                    <a:pt x="19" y="0"/>
                    <a:pt x="0" y="19"/>
                    <a:pt x="0" y="37"/>
                  </a:cubicBezTo>
                  <a:lnTo>
                    <a:pt x="0" y="231"/>
                  </a:lnTo>
                  <a:cubicBezTo>
                    <a:pt x="0" y="250"/>
                    <a:pt x="19" y="268"/>
                    <a:pt x="37" y="268"/>
                  </a:cubicBezTo>
                  <a:lnTo>
                    <a:pt x="250" y="268"/>
                  </a:lnTo>
                  <a:cubicBezTo>
                    <a:pt x="268" y="190"/>
                    <a:pt x="268" y="74"/>
                    <a:pt x="268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7" name="Google Shape;717;p39"/>
            <p:cNvSpPr/>
            <p:nvPr/>
          </p:nvSpPr>
          <p:spPr>
            <a:xfrm>
              <a:off x="889212" y="4401648"/>
              <a:ext cx="74530" cy="7543"/>
            </a:xfrm>
            <a:custGeom>
              <a:avLst/>
              <a:gdLst/>
              <a:ahLst/>
              <a:cxnLst/>
              <a:rect l="l" t="t" r="r" b="b"/>
              <a:pathLst>
                <a:path w="2658" h="269" extrusionOk="0">
                  <a:moveTo>
                    <a:pt x="2486" y="0"/>
                  </a:moveTo>
                  <a:lnTo>
                    <a:pt x="2177" y="171"/>
                  </a:lnTo>
                  <a:cubicBezTo>
                    <a:pt x="2177" y="171"/>
                    <a:pt x="291" y="208"/>
                    <a:pt x="0" y="208"/>
                  </a:cubicBezTo>
                  <a:lnTo>
                    <a:pt x="0" y="231"/>
                  </a:lnTo>
                  <a:cubicBezTo>
                    <a:pt x="0" y="250"/>
                    <a:pt x="19" y="268"/>
                    <a:pt x="37" y="268"/>
                  </a:cubicBezTo>
                  <a:lnTo>
                    <a:pt x="2602" y="268"/>
                  </a:lnTo>
                  <a:cubicBezTo>
                    <a:pt x="2639" y="268"/>
                    <a:pt x="2657" y="250"/>
                    <a:pt x="2657" y="231"/>
                  </a:cubicBezTo>
                  <a:lnTo>
                    <a:pt x="2657" y="37"/>
                  </a:lnTo>
                  <a:cubicBezTo>
                    <a:pt x="2657" y="19"/>
                    <a:pt x="2639" y="0"/>
                    <a:pt x="2602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8" name="Google Shape;718;p39"/>
            <p:cNvSpPr/>
            <p:nvPr/>
          </p:nvSpPr>
          <p:spPr>
            <a:xfrm>
              <a:off x="925860" y="4401648"/>
              <a:ext cx="10936" cy="7543"/>
            </a:xfrm>
            <a:custGeom>
              <a:avLst/>
              <a:gdLst/>
              <a:ahLst/>
              <a:cxnLst/>
              <a:rect l="l" t="t" r="r" b="b"/>
              <a:pathLst>
                <a:path w="390" h="269" extrusionOk="0">
                  <a:moveTo>
                    <a:pt x="98" y="0"/>
                  </a:moveTo>
                  <a:lnTo>
                    <a:pt x="1" y="268"/>
                  </a:lnTo>
                  <a:lnTo>
                    <a:pt x="292" y="268"/>
                  </a:lnTo>
                  <a:lnTo>
                    <a:pt x="389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9" name="Google Shape;719;p39"/>
            <p:cNvSpPr/>
            <p:nvPr/>
          </p:nvSpPr>
          <p:spPr>
            <a:xfrm>
              <a:off x="1012279" y="4409163"/>
              <a:ext cx="77250" cy="88522"/>
            </a:xfrm>
            <a:custGeom>
              <a:avLst/>
              <a:gdLst/>
              <a:ahLst/>
              <a:cxnLst/>
              <a:rect l="l" t="t" r="r" b="b"/>
              <a:pathLst>
                <a:path w="2755" h="3157" extrusionOk="0">
                  <a:moveTo>
                    <a:pt x="135" y="0"/>
                  </a:moveTo>
                  <a:cubicBezTo>
                    <a:pt x="135" y="0"/>
                    <a:pt x="1" y="310"/>
                    <a:pt x="1" y="499"/>
                  </a:cubicBezTo>
                  <a:lnTo>
                    <a:pt x="1" y="2944"/>
                  </a:lnTo>
                  <a:cubicBezTo>
                    <a:pt x="1" y="3082"/>
                    <a:pt x="116" y="3156"/>
                    <a:pt x="116" y="3156"/>
                  </a:cubicBezTo>
                  <a:lnTo>
                    <a:pt x="2639" y="3156"/>
                  </a:lnTo>
                  <a:cubicBezTo>
                    <a:pt x="2639" y="3156"/>
                    <a:pt x="2755" y="3082"/>
                    <a:pt x="2755" y="2944"/>
                  </a:cubicBezTo>
                  <a:lnTo>
                    <a:pt x="2755" y="499"/>
                  </a:lnTo>
                  <a:cubicBezTo>
                    <a:pt x="2755" y="402"/>
                    <a:pt x="2718" y="250"/>
                    <a:pt x="2676" y="153"/>
                  </a:cubicBezTo>
                  <a:cubicBezTo>
                    <a:pt x="2658" y="56"/>
                    <a:pt x="2621" y="0"/>
                    <a:pt x="2621" y="0"/>
                  </a:cubicBez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0" name="Google Shape;720;p39"/>
            <p:cNvSpPr/>
            <p:nvPr/>
          </p:nvSpPr>
          <p:spPr>
            <a:xfrm>
              <a:off x="1014999" y="4411883"/>
              <a:ext cx="71810" cy="83083"/>
            </a:xfrm>
            <a:custGeom>
              <a:avLst/>
              <a:gdLst/>
              <a:ahLst/>
              <a:cxnLst/>
              <a:rect l="l" t="t" r="r" b="b"/>
              <a:pathLst>
                <a:path w="2561" h="2963" extrusionOk="0">
                  <a:moveTo>
                    <a:pt x="98" y="0"/>
                  </a:moveTo>
                  <a:cubicBezTo>
                    <a:pt x="79" y="97"/>
                    <a:pt x="1" y="287"/>
                    <a:pt x="1" y="402"/>
                  </a:cubicBezTo>
                  <a:lnTo>
                    <a:pt x="1" y="2847"/>
                  </a:lnTo>
                  <a:cubicBezTo>
                    <a:pt x="1" y="2907"/>
                    <a:pt x="38" y="2944"/>
                    <a:pt x="56" y="2962"/>
                  </a:cubicBezTo>
                  <a:lnTo>
                    <a:pt x="2505" y="2962"/>
                  </a:lnTo>
                  <a:cubicBezTo>
                    <a:pt x="2524" y="2944"/>
                    <a:pt x="2561" y="2907"/>
                    <a:pt x="2561" y="2847"/>
                  </a:cubicBezTo>
                  <a:lnTo>
                    <a:pt x="2561" y="402"/>
                  </a:lnTo>
                  <a:cubicBezTo>
                    <a:pt x="2561" y="287"/>
                    <a:pt x="2505" y="97"/>
                    <a:pt x="2464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1" name="Google Shape;721;p39"/>
            <p:cNvSpPr/>
            <p:nvPr/>
          </p:nvSpPr>
          <p:spPr>
            <a:xfrm>
              <a:off x="1013962" y="4401648"/>
              <a:ext cx="73885" cy="7543"/>
            </a:xfrm>
            <a:custGeom>
              <a:avLst/>
              <a:gdLst/>
              <a:ahLst/>
              <a:cxnLst/>
              <a:rect l="l" t="t" r="r" b="b"/>
              <a:pathLst>
                <a:path w="2635" h="269" extrusionOk="0">
                  <a:moveTo>
                    <a:pt x="38" y="0"/>
                  </a:moveTo>
                  <a:cubicBezTo>
                    <a:pt x="19" y="0"/>
                    <a:pt x="1" y="19"/>
                    <a:pt x="1" y="37"/>
                  </a:cubicBezTo>
                  <a:lnTo>
                    <a:pt x="1" y="231"/>
                  </a:lnTo>
                  <a:cubicBezTo>
                    <a:pt x="1" y="250"/>
                    <a:pt x="19" y="268"/>
                    <a:pt x="38" y="268"/>
                  </a:cubicBezTo>
                  <a:lnTo>
                    <a:pt x="2598" y="268"/>
                  </a:lnTo>
                  <a:cubicBezTo>
                    <a:pt x="2616" y="268"/>
                    <a:pt x="2635" y="250"/>
                    <a:pt x="2635" y="231"/>
                  </a:cubicBezTo>
                  <a:lnTo>
                    <a:pt x="2635" y="37"/>
                  </a:lnTo>
                  <a:cubicBezTo>
                    <a:pt x="2635" y="19"/>
                    <a:pt x="2616" y="0"/>
                    <a:pt x="2598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2" name="Google Shape;722;p39"/>
            <p:cNvSpPr/>
            <p:nvPr/>
          </p:nvSpPr>
          <p:spPr>
            <a:xfrm>
              <a:off x="1012279" y="4439867"/>
              <a:ext cx="30227" cy="31881"/>
            </a:xfrm>
            <a:custGeom>
              <a:avLst/>
              <a:gdLst/>
              <a:ahLst/>
              <a:cxnLst/>
              <a:rect l="l" t="t" r="r" b="b"/>
              <a:pathLst>
                <a:path w="1078" h="1137" extrusionOk="0">
                  <a:moveTo>
                    <a:pt x="1" y="0"/>
                  </a:moveTo>
                  <a:lnTo>
                    <a:pt x="1" y="869"/>
                  </a:lnTo>
                  <a:lnTo>
                    <a:pt x="828" y="1137"/>
                  </a:lnTo>
                  <a:lnTo>
                    <a:pt x="1078" y="34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3" name="Google Shape;723;p39"/>
            <p:cNvSpPr/>
            <p:nvPr/>
          </p:nvSpPr>
          <p:spPr>
            <a:xfrm>
              <a:off x="1013962" y="4401648"/>
              <a:ext cx="7543" cy="7543"/>
            </a:xfrm>
            <a:custGeom>
              <a:avLst/>
              <a:gdLst/>
              <a:ahLst/>
              <a:cxnLst/>
              <a:rect l="l" t="t" r="r" b="b"/>
              <a:pathLst>
                <a:path w="269" h="269" extrusionOk="0">
                  <a:moveTo>
                    <a:pt x="38" y="0"/>
                  </a:moveTo>
                  <a:cubicBezTo>
                    <a:pt x="19" y="0"/>
                    <a:pt x="1" y="19"/>
                    <a:pt x="1" y="37"/>
                  </a:cubicBezTo>
                  <a:lnTo>
                    <a:pt x="1" y="231"/>
                  </a:lnTo>
                  <a:cubicBezTo>
                    <a:pt x="1" y="250"/>
                    <a:pt x="19" y="268"/>
                    <a:pt x="38" y="268"/>
                  </a:cubicBezTo>
                  <a:lnTo>
                    <a:pt x="250" y="268"/>
                  </a:lnTo>
                  <a:cubicBezTo>
                    <a:pt x="250" y="190"/>
                    <a:pt x="269" y="74"/>
                    <a:pt x="269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4" name="Google Shape;724;p39"/>
            <p:cNvSpPr/>
            <p:nvPr/>
          </p:nvSpPr>
          <p:spPr>
            <a:xfrm>
              <a:off x="1013962" y="4401648"/>
              <a:ext cx="73885" cy="7543"/>
            </a:xfrm>
            <a:custGeom>
              <a:avLst/>
              <a:gdLst/>
              <a:ahLst/>
              <a:cxnLst/>
              <a:rect l="l" t="t" r="r" b="b"/>
              <a:pathLst>
                <a:path w="2635" h="269" extrusionOk="0">
                  <a:moveTo>
                    <a:pt x="2482" y="0"/>
                  </a:moveTo>
                  <a:lnTo>
                    <a:pt x="2154" y="171"/>
                  </a:lnTo>
                  <a:cubicBezTo>
                    <a:pt x="2154" y="171"/>
                    <a:pt x="287" y="208"/>
                    <a:pt x="1" y="208"/>
                  </a:cubicBezTo>
                  <a:lnTo>
                    <a:pt x="1" y="231"/>
                  </a:lnTo>
                  <a:cubicBezTo>
                    <a:pt x="1" y="250"/>
                    <a:pt x="19" y="268"/>
                    <a:pt x="38" y="268"/>
                  </a:cubicBezTo>
                  <a:lnTo>
                    <a:pt x="2598" y="268"/>
                  </a:lnTo>
                  <a:cubicBezTo>
                    <a:pt x="2616" y="268"/>
                    <a:pt x="2635" y="250"/>
                    <a:pt x="2635" y="231"/>
                  </a:cubicBezTo>
                  <a:lnTo>
                    <a:pt x="2635" y="37"/>
                  </a:lnTo>
                  <a:cubicBezTo>
                    <a:pt x="2635" y="19"/>
                    <a:pt x="2616" y="0"/>
                    <a:pt x="2598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5" name="Google Shape;725;p39"/>
            <p:cNvSpPr/>
            <p:nvPr/>
          </p:nvSpPr>
          <p:spPr>
            <a:xfrm>
              <a:off x="1050638" y="4401648"/>
              <a:ext cx="10795" cy="7543"/>
            </a:xfrm>
            <a:custGeom>
              <a:avLst/>
              <a:gdLst/>
              <a:ahLst/>
              <a:cxnLst/>
              <a:rect l="l" t="t" r="r" b="b"/>
              <a:pathLst>
                <a:path w="385" h="269" extrusionOk="0">
                  <a:moveTo>
                    <a:pt x="98" y="0"/>
                  </a:moveTo>
                  <a:lnTo>
                    <a:pt x="1" y="268"/>
                  </a:lnTo>
                  <a:lnTo>
                    <a:pt x="287" y="268"/>
                  </a:lnTo>
                  <a:lnTo>
                    <a:pt x="384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6" name="Google Shape;726;p39"/>
            <p:cNvSpPr/>
            <p:nvPr/>
          </p:nvSpPr>
          <p:spPr>
            <a:xfrm>
              <a:off x="769874" y="4525248"/>
              <a:ext cx="76745" cy="87990"/>
            </a:xfrm>
            <a:custGeom>
              <a:avLst/>
              <a:gdLst/>
              <a:ahLst/>
              <a:cxnLst/>
              <a:rect l="l" t="t" r="r" b="b"/>
              <a:pathLst>
                <a:path w="2737" h="3138" extrusionOk="0">
                  <a:moveTo>
                    <a:pt x="135" y="0"/>
                  </a:moveTo>
                  <a:cubicBezTo>
                    <a:pt x="135" y="0"/>
                    <a:pt x="1" y="287"/>
                    <a:pt x="1" y="499"/>
                  </a:cubicBezTo>
                  <a:lnTo>
                    <a:pt x="1" y="2944"/>
                  </a:lnTo>
                  <a:cubicBezTo>
                    <a:pt x="1" y="3078"/>
                    <a:pt x="116" y="3138"/>
                    <a:pt x="116" y="3138"/>
                  </a:cubicBezTo>
                  <a:lnTo>
                    <a:pt x="2639" y="3138"/>
                  </a:lnTo>
                  <a:cubicBezTo>
                    <a:pt x="2639" y="3138"/>
                    <a:pt x="2736" y="3059"/>
                    <a:pt x="2736" y="2944"/>
                  </a:cubicBezTo>
                  <a:lnTo>
                    <a:pt x="2736" y="499"/>
                  </a:lnTo>
                  <a:cubicBezTo>
                    <a:pt x="2736" y="384"/>
                    <a:pt x="2699" y="231"/>
                    <a:pt x="2676" y="134"/>
                  </a:cubicBezTo>
                  <a:cubicBezTo>
                    <a:pt x="2639" y="56"/>
                    <a:pt x="2621" y="0"/>
                    <a:pt x="2621" y="0"/>
                  </a:cubicBez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7" name="Google Shape;727;p39"/>
            <p:cNvSpPr/>
            <p:nvPr/>
          </p:nvSpPr>
          <p:spPr>
            <a:xfrm>
              <a:off x="772594" y="4528473"/>
              <a:ext cx="71810" cy="83083"/>
            </a:xfrm>
            <a:custGeom>
              <a:avLst/>
              <a:gdLst/>
              <a:ahLst/>
              <a:cxnLst/>
              <a:rect l="l" t="t" r="r" b="b"/>
              <a:pathLst>
                <a:path w="2561" h="2963" extrusionOk="0">
                  <a:moveTo>
                    <a:pt x="98" y="1"/>
                  </a:moveTo>
                  <a:cubicBezTo>
                    <a:pt x="61" y="98"/>
                    <a:pt x="1" y="269"/>
                    <a:pt x="1" y="403"/>
                  </a:cubicBezTo>
                  <a:lnTo>
                    <a:pt x="1" y="2847"/>
                  </a:lnTo>
                  <a:cubicBezTo>
                    <a:pt x="1" y="2907"/>
                    <a:pt x="19" y="2944"/>
                    <a:pt x="38" y="2963"/>
                  </a:cubicBezTo>
                  <a:lnTo>
                    <a:pt x="2505" y="2963"/>
                  </a:lnTo>
                  <a:cubicBezTo>
                    <a:pt x="2524" y="2926"/>
                    <a:pt x="2561" y="2889"/>
                    <a:pt x="2561" y="2847"/>
                  </a:cubicBezTo>
                  <a:lnTo>
                    <a:pt x="2561" y="403"/>
                  </a:lnTo>
                  <a:cubicBezTo>
                    <a:pt x="2561" y="269"/>
                    <a:pt x="2487" y="98"/>
                    <a:pt x="2464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8" name="Google Shape;728;p39"/>
            <p:cNvSpPr/>
            <p:nvPr/>
          </p:nvSpPr>
          <p:spPr>
            <a:xfrm>
              <a:off x="771051" y="4517089"/>
              <a:ext cx="74530" cy="8188"/>
            </a:xfrm>
            <a:custGeom>
              <a:avLst/>
              <a:gdLst/>
              <a:ahLst/>
              <a:cxnLst/>
              <a:rect l="l" t="t" r="r" b="b"/>
              <a:pathLst>
                <a:path w="2658" h="292" extrusionOk="0">
                  <a:moveTo>
                    <a:pt x="56" y="0"/>
                  </a:moveTo>
                  <a:cubicBezTo>
                    <a:pt x="19" y="0"/>
                    <a:pt x="0" y="19"/>
                    <a:pt x="0" y="60"/>
                  </a:cubicBezTo>
                  <a:lnTo>
                    <a:pt x="0" y="231"/>
                  </a:lnTo>
                  <a:cubicBezTo>
                    <a:pt x="0" y="273"/>
                    <a:pt x="19" y="291"/>
                    <a:pt x="56" y="291"/>
                  </a:cubicBezTo>
                  <a:lnTo>
                    <a:pt x="2616" y="291"/>
                  </a:lnTo>
                  <a:cubicBezTo>
                    <a:pt x="2634" y="291"/>
                    <a:pt x="2657" y="273"/>
                    <a:pt x="2657" y="231"/>
                  </a:cubicBezTo>
                  <a:lnTo>
                    <a:pt x="2657" y="60"/>
                  </a:lnTo>
                  <a:cubicBezTo>
                    <a:pt x="2657" y="19"/>
                    <a:pt x="2634" y="0"/>
                    <a:pt x="2616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9" name="Google Shape;729;p39"/>
            <p:cNvSpPr/>
            <p:nvPr/>
          </p:nvSpPr>
          <p:spPr>
            <a:xfrm>
              <a:off x="785043" y="4568374"/>
              <a:ext cx="41611" cy="26470"/>
            </a:xfrm>
            <a:custGeom>
              <a:avLst/>
              <a:gdLst/>
              <a:ahLst/>
              <a:cxnLst/>
              <a:rect l="l" t="t" r="r" b="b"/>
              <a:pathLst>
                <a:path w="1484" h="944" extrusionOk="0">
                  <a:moveTo>
                    <a:pt x="79" y="1"/>
                  </a:moveTo>
                  <a:lnTo>
                    <a:pt x="0" y="828"/>
                  </a:lnTo>
                  <a:lnTo>
                    <a:pt x="1424" y="944"/>
                  </a:lnTo>
                  <a:lnTo>
                    <a:pt x="1484" y="116"/>
                  </a:lnTo>
                  <a:lnTo>
                    <a:pt x="79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0" name="Google Shape;730;p39"/>
            <p:cNvSpPr/>
            <p:nvPr/>
          </p:nvSpPr>
          <p:spPr>
            <a:xfrm>
              <a:off x="771051" y="4517089"/>
              <a:ext cx="7543" cy="8188"/>
            </a:xfrm>
            <a:custGeom>
              <a:avLst/>
              <a:gdLst/>
              <a:ahLst/>
              <a:cxnLst/>
              <a:rect l="l" t="t" r="r" b="b"/>
              <a:pathLst>
                <a:path w="269" h="292" extrusionOk="0">
                  <a:moveTo>
                    <a:pt x="56" y="0"/>
                  </a:moveTo>
                  <a:cubicBezTo>
                    <a:pt x="19" y="0"/>
                    <a:pt x="0" y="19"/>
                    <a:pt x="0" y="60"/>
                  </a:cubicBezTo>
                  <a:lnTo>
                    <a:pt x="0" y="231"/>
                  </a:lnTo>
                  <a:cubicBezTo>
                    <a:pt x="0" y="273"/>
                    <a:pt x="19" y="291"/>
                    <a:pt x="56" y="291"/>
                  </a:cubicBezTo>
                  <a:lnTo>
                    <a:pt x="268" y="291"/>
                  </a:lnTo>
                  <a:lnTo>
                    <a:pt x="26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1" name="Google Shape;731;p39"/>
            <p:cNvSpPr/>
            <p:nvPr/>
          </p:nvSpPr>
          <p:spPr>
            <a:xfrm>
              <a:off x="771051" y="4517089"/>
              <a:ext cx="74530" cy="8188"/>
            </a:xfrm>
            <a:custGeom>
              <a:avLst/>
              <a:gdLst/>
              <a:ahLst/>
              <a:cxnLst/>
              <a:rect l="l" t="t" r="r" b="b"/>
              <a:pathLst>
                <a:path w="2658" h="292" extrusionOk="0">
                  <a:moveTo>
                    <a:pt x="2500" y="0"/>
                  </a:moveTo>
                  <a:lnTo>
                    <a:pt x="2172" y="176"/>
                  </a:lnTo>
                  <a:cubicBezTo>
                    <a:pt x="2172" y="176"/>
                    <a:pt x="287" y="213"/>
                    <a:pt x="0" y="213"/>
                  </a:cubicBezTo>
                  <a:lnTo>
                    <a:pt x="0" y="231"/>
                  </a:lnTo>
                  <a:cubicBezTo>
                    <a:pt x="0" y="273"/>
                    <a:pt x="19" y="291"/>
                    <a:pt x="56" y="291"/>
                  </a:cubicBezTo>
                  <a:lnTo>
                    <a:pt x="2616" y="291"/>
                  </a:lnTo>
                  <a:cubicBezTo>
                    <a:pt x="2634" y="291"/>
                    <a:pt x="2657" y="273"/>
                    <a:pt x="2657" y="231"/>
                  </a:cubicBezTo>
                  <a:lnTo>
                    <a:pt x="2657" y="60"/>
                  </a:lnTo>
                  <a:cubicBezTo>
                    <a:pt x="2657" y="19"/>
                    <a:pt x="2634" y="0"/>
                    <a:pt x="2616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2" name="Google Shape;732;p39"/>
            <p:cNvSpPr/>
            <p:nvPr/>
          </p:nvSpPr>
          <p:spPr>
            <a:xfrm>
              <a:off x="807728" y="4517089"/>
              <a:ext cx="11300" cy="8188"/>
            </a:xfrm>
            <a:custGeom>
              <a:avLst/>
              <a:gdLst/>
              <a:ahLst/>
              <a:cxnLst/>
              <a:rect l="l" t="t" r="r" b="b"/>
              <a:pathLst>
                <a:path w="403" h="292" extrusionOk="0">
                  <a:moveTo>
                    <a:pt x="97" y="0"/>
                  </a:moveTo>
                  <a:lnTo>
                    <a:pt x="0" y="291"/>
                  </a:lnTo>
                  <a:lnTo>
                    <a:pt x="310" y="291"/>
                  </a:lnTo>
                  <a:lnTo>
                    <a:pt x="402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3" name="Google Shape;733;p39"/>
            <p:cNvSpPr/>
            <p:nvPr/>
          </p:nvSpPr>
          <p:spPr>
            <a:xfrm>
              <a:off x="888174" y="4525753"/>
              <a:ext cx="76605" cy="88522"/>
            </a:xfrm>
            <a:custGeom>
              <a:avLst/>
              <a:gdLst/>
              <a:ahLst/>
              <a:cxnLst/>
              <a:rect l="l" t="t" r="r" b="b"/>
              <a:pathLst>
                <a:path w="2732" h="3157" extrusionOk="0">
                  <a:moveTo>
                    <a:pt x="116" y="1"/>
                  </a:moveTo>
                  <a:cubicBezTo>
                    <a:pt x="116" y="1"/>
                    <a:pt x="0" y="287"/>
                    <a:pt x="0" y="500"/>
                  </a:cubicBezTo>
                  <a:lnTo>
                    <a:pt x="0" y="2944"/>
                  </a:lnTo>
                  <a:cubicBezTo>
                    <a:pt x="0" y="3083"/>
                    <a:pt x="97" y="3157"/>
                    <a:pt x="97" y="3157"/>
                  </a:cubicBezTo>
                  <a:lnTo>
                    <a:pt x="2616" y="3157"/>
                  </a:lnTo>
                  <a:cubicBezTo>
                    <a:pt x="2616" y="3157"/>
                    <a:pt x="2731" y="3060"/>
                    <a:pt x="2731" y="2944"/>
                  </a:cubicBezTo>
                  <a:lnTo>
                    <a:pt x="2731" y="500"/>
                  </a:lnTo>
                  <a:cubicBezTo>
                    <a:pt x="2731" y="384"/>
                    <a:pt x="2694" y="250"/>
                    <a:pt x="2657" y="135"/>
                  </a:cubicBezTo>
                  <a:cubicBezTo>
                    <a:pt x="2639" y="56"/>
                    <a:pt x="2597" y="1"/>
                    <a:pt x="2597" y="1"/>
                  </a:cubicBez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4" name="Google Shape;734;p39"/>
            <p:cNvSpPr/>
            <p:nvPr/>
          </p:nvSpPr>
          <p:spPr>
            <a:xfrm>
              <a:off x="890894" y="4528473"/>
              <a:ext cx="71278" cy="83083"/>
            </a:xfrm>
            <a:custGeom>
              <a:avLst/>
              <a:gdLst/>
              <a:ahLst/>
              <a:cxnLst/>
              <a:rect l="l" t="t" r="r" b="b"/>
              <a:pathLst>
                <a:path w="2542" h="2963" extrusionOk="0">
                  <a:moveTo>
                    <a:pt x="93" y="1"/>
                  </a:moveTo>
                  <a:cubicBezTo>
                    <a:pt x="56" y="98"/>
                    <a:pt x="0" y="269"/>
                    <a:pt x="0" y="403"/>
                  </a:cubicBezTo>
                  <a:lnTo>
                    <a:pt x="0" y="2847"/>
                  </a:lnTo>
                  <a:cubicBezTo>
                    <a:pt x="0" y="2907"/>
                    <a:pt x="19" y="2944"/>
                    <a:pt x="37" y="2963"/>
                  </a:cubicBezTo>
                  <a:lnTo>
                    <a:pt x="2500" y="2963"/>
                  </a:lnTo>
                  <a:cubicBezTo>
                    <a:pt x="2519" y="2926"/>
                    <a:pt x="2542" y="2889"/>
                    <a:pt x="2542" y="2847"/>
                  </a:cubicBezTo>
                  <a:lnTo>
                    <a:pt x="2542" y="403"/>
                  </a:lnTo>
                  <a:cubicBezTo>
                    <a:pt x="2542" y="269"/>
                    <a:pt x="2482" y="98"/>
                    <a:pt x="2445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5" name="Google Shape;735;p39"/>
            <p:cNvSpPr/>
            <p:nvPr/>
          </p:nvSpPr>
          <p:spPr>
            <a:xfrm>
              <a:off x="889212" y="4518238"/>
              <a:ext cx="74530" cy="7543"/>
            </a:xfrm>
            <a:custGeom>
              <a:avLst/>
              <a:gdLst/>
              <a:ahLst/>
              <a:cxnLst/>
              <a:rect l="l" t="t" r="r" b="b"/>
              <a:pathLst>
                <a:path w="2658" h="269" extrusionOk="0">
                  <a:moveTo>
                    <a:pt x="37" y="1"/>
                  </a:moveTo>
                  <a:cubicBezTo>
                    <a:pt x="19" y="1"/>
                    <a:pt x="0" y="19"/>
                    <a:pt x="0" y="38"/>
                  </a:cubicBezTo>
                  <a:lnTo>
                    <a:pt x="0" y="232"/>
                  </a:lnTo>
                  <a:cubicBezTo>
                    <a:pt x="0" y="250"/>
                    <a:pt x="19" y="269"/>
                    <a:pt x="37" y="269"/>
                  </a:cubicBezTo>
                  <a:lnTo>
                    <a:pt x="2602" y="269"/>
                  </a:lnTo>
                  <a:cubicBezTo>
                    <a:pt x="2639" y="269"/>
                    <a:pt x="2657" y="250"/>
                    <a:pt x="2657" y="232"/>
                  </a:cubicBezTo>
                  <a:lnTo>
                    <a:pt x="2657" y="38"/>
                  </a:lnTo>
                  <a:cubicBezTo>
                    <a:pt x="2657" y="19"/>
                    <a:pt x="2639" y="1"/>
                    <a:pt x="2602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6" name="Google Shape;736;p39"/>
            <p:cNvSpPr/>
            <p:nvPr/>
          </p:nvSpPr>
          <p:spPr>
            <a:xfrm>
              <a:off x="902671" y="4545185"/>
              <a:ext cx="45397" cy="35162"/>
            </a:xfrm>
            <a:custGeom>
              <a:avLst/>
              <a:gdLst/>
              <a:ahLst/>
              <a:cxnLst/>
              <a:rect l="l" t="t" r="r" b="b"/>
              <a:pathLst>
                <a:path w="1619" h="1254" extrusionOk="0">
                  <a:moveTo>
                    <a:pt x="1350" y="1"/>
                  </a:moveTo>
                  <a:lnTo>
                    <a:pt x="1" y="463"/>
                  </a:lnTo>
                  <a:lnTo>
                    <a:pt x="274" y="1253"/>
                  </a:lnTo>
                  <a:lnTo>
                    <a:pt x="1618" y="791"/>
                  </a:lnTo>
                  <a:lnTo>
                    <a:pt x="1350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7" name="Google Shape;737;p39"/>
            <p:cNvSpPr/>
            <p:nvPr/>
          </p:nvSpPr>
          <p:spPr>
            <a:xfrm>
              <a:off x="889212" y="4518238"/>
              <a:ext cx="7543" cy="7543"/>
            </a:xfrm>
            <a:custGeom>
              <a:avLst/>
              <a:gdLst/>
              <a:ahLst/>
              <a:cxnLst/>
              <a:rect l="l" t="t" r="r" b="b"/>
              <a:pathLst>
                <a:path w="269" h="269" extrusionOk="0">
                  <a:moveTo>
                    <a:pt x="37" y="1"/>
                  </a:moveTo>
                  <a:cubicBezTo>
                    <a:pt x="19" y="1"/>
                    <a:pt x="0" y="19"/>
                    <a:pt x="0" y="38"/>
                  </a:cubicBezTo>
                  <a:lnTo>
                    <a:pt x="0" y="232"/>
                  </a:lnTo>
                  <a:cubicBezTo>
                    <a:pt x="0" y="250"/>
                    <a:pt x="19" y="269"/>
                    <a:pt x="37" y="269"/>
                  </a:cubicBezTo>
                  <a:lnTo>
                    <a:pt x="250" y="269"/>
                  </a:lnTo>
                  <a:cubicBezTo>
                    <a:pt x="268" y="172"/>
                    <a:pt x="268" y="75"/>
                    <a:pt x="268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8" name="Google Shape;738;p39"/>
            <p:cNvSpPr/>
            <p:nvPr/>
          </p:nvSpPr>
          <p:spPr>
            <a:xfrm>
              <a:off x="889212" y="4518238"/>
              <a:ext cx="74530" cy="7543"/>
            </a:xfrm>
            <a:custGeom>
              <a:avLst/>
              <a:gdLst/>
              <a:ahLst/>
              <a:cxnLst/>
              <a:rect l="l" t="t" r="r" b="b"/>
              <a:pathLst>
                <a:path w="2658" h="269" extrusionOk="0">
                  <a:moveTo>
                    <a:pt x="2486" y="1"/>
                  </a:moveTo>
                  <a:lnTo>
                    <a:pt x="2177" y="172"/>
                  </a:lnTo>
                  <a:cubicBezTo>
                    <a:pt x="2177" y="172"/>
                    <a:pt x="291" y="190"/>
                    <a:pt x="0" y="209"/>
                  </a:cubicBezTo>
                  <a:lnTo>
                    <a:pt x="0" y="232"/>
                  </a:lnTo>
                  <a:cubicBezTo>
                    <a:pt x="0" y="250"/>
                    <a:pt x="19" y="269"/>
                    <a:pt x="37" y="269"/>
                  </a:cubicBezTo>
                  <a:lnTo>
                    <a:pt x="2602" y="269"/>
                  </a:lnTo>
                  <a:cubicBezTo>
                    <a:pt x="2639" y="269"/>
                    <a:pt x="2657" y="250"/>
                    <a:pt x="2657" y="232"/>
                  </a:cubicBezTo>
                  <a:lnTo>
                    <a:pt x="2657" y="38"/>
                  </a:lnTo>
                  <a:cubicBezTo>
                    <a:pt x="2657" y="19"/>
                    <a:pt x="2639" y="1"/>
                    <a:pt x="2602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9" name="Google Shape;739;p39"/>
            <p:cNvSpPr/>
            <p:nvPr/>
          </p:nvSpPr>
          <p:spPr>
            <a:xfrm>
              <a:off x="925860" y="4518238"/>
              <a:ext cx="10936" cy="7543"/>
            </a:xfrm>
            <a:custGeom>
              <a:avLst/>
              <a:gdLst/>
              <a:ahLst/>
              <a:cxnLst/>
              <a:rect l="l" t="t" r="r" b="b"/>
              <a:pathLst>
                <a:path w="390" h="269" extrusionOk="0">
                  <a:moveTo>
                    <a:pt x="98" y="1"/>
                  </a:moveTo>
                  <a:lnTo>
                    <a:pt x="1" y="269"/>
                  </a:lnTo>
                  <a:lnTo>
                    <a:pt x="292" y="269"/>
                  </a:lnTo>
                  <a:lnTo>
                    <a:pt x="389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0" name="Google Shape;740;p39"/>
            <p:cNvSpPr/>
            <p:nvPr/>
          </p:nvSpPr>
          <p:spPr>
            <a:xfrm>
              <a:off x="1012279" y="4526286"/>
              <a:ext cx="77250" cy="88522"/>
            </a:xfrm>
            <a:custGeom>
              <a:avLst/>
              <a:gdLst/>
              <a:ahLst/>
              <a:cxnLst/>
              <a:rect l="l" t="t" r="r" b="b"/>
              <a:pathLst>
                <a:path w="2755" h="3157" extrusionOk="0">
                  <a:moveTo>
                    <a:pt x="135" y="0"/>
                  </a:moveTo>
                  <a:cubicBezTo>
                    <a:pt x="135" y="0"/>
                    <a:pt x="116" y="60"/>
                    <a:pt x="79" y="153"/>
                  </a:cubicBezTo>
                  <a:cubicBezTo>
                    <a:pt x="38" y="250"/>
                    <a:pt x="1" y="384"/>
                    <a:pt x="1" y="499"/>
                  </a:cubicBezTo>
                  <a:lnTo>
                    <a:pt x="1" y="2948"/>
                  </a:lnTo>
                  <a:cubicBezTo>
                    <a:pt x="1" y="3064"/>
                    <a:pt x="116" y="3156"/>
                    <a:pt x="116" y="3156"/>
                  </a:cubicBezTo>
                  <a:lnTo>
                    <a:pt x="2639" y="3156"/>
                  </a:lnTo>
                  <a:cubicBezTo>
                    <a:pt x="2639" y="3156"/>
                    <a:pt x="2755" y="3082"/>
                    <a:pt x="2755" y="2948"/>
                  </a:cubicBezTo>
                  <a:lnTo>
                    <a:pt x="2755" y="499"/>
                  </a:lnTo>
                  <a:cubicBezTo>
                    <a:pt x="2755" y="291"/>
                    <a:pt x="2621" y="0"/>
                    <a:pt x="2621" y="0"/>
                  </a:cubicBez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1" name="Google Shape;741;p39"/>
            <p:cNvSpPr/>
            <p:nvPr/>
          </p:nvSpPr>
          <p:spPr>
            <a:xfrm>
              <a:off x="1014999" y="4529006"/>
              <a:ext cx="71810" cy="83195"/>
            </a:xfrm>
            <a:custGeom>
              <a:avLst/>
              <a:gdLst/>
              <a:ahLst/>
              <a:cxnLst/>
              <a:rect l="l" t="t" r="r" b="b"/>
              <a:pathLst>
                <a:path w="2561" h="2967" extrusionOk="0">
                  <a:moveTo>
                    <a:pt x="98" y="0"/>
                  </a:moveTo>
                  <a:cubicBezTo>
                    <a:pt x="79" y="97"/>
                    <a:pt x="1" y="268"/>
                    <a:pt x="1" y="402"/>
                  </a:cubicBezTo>
                  <a:lnTo>
                    <a:pt x="1" y="2851"/>
                  </a:lnTo>
                  <a:cubicBezTo>
                    <a:pt x="1" y="2907"/>
                    <a:pt x="38" y="2944"/>
                    <a:pt x="56" y="2967"/>
                  </a:cubicBezTo>
                  <a:lnTo>
                    <a:pt x="2524" y="2967"/>
                  </a:lnTo>
                  <a:cubicBezTo>
                    <a:pt x="2542" y="2944"/>
                    <a:pt x="2561" y="2907"/>
                    <a:pt x="2561" y="2851"/>
                  </a:cubicBezTo>
                  <a:lnTo>
                    <a:pt x="2561" y="402"/>
                  </a:lnTo>
                  <a:cubicBezTo>
                    <a:pt x="2561" y="268"/>
                    <a:pt x="2505" y="97"/>
                    <a:pt x="2464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2" name="Google Shape;742;p39"/>
            <p:cNvSpPr/>
            <p:nvPr/>
          </p:nvSpPr>
          <p:spPr>
            <a:xfrm>
              <a:off x="1013962" y="4518771"/>
              <a:ext cx="73885" cy="7543"/>
            </a:xfrm>
            <a:custGeom>
              <a:avLst/>
              <a:gdLst/>
              <a:ahLst/>
              <a:cxnLst/>
              <a:rect l="l" t="t" r="r" b="b"/>
              <a:pathLst>
                <a:path w="2635" h="269" extrusionOk="0">
                  <a:moveTo>
                    <a:pt x="38" y="0"/>
                  </a:moveTo>
                  <a:cubicBezTo>
                    <a:pt x="19" y="0"/>
                    <a:pt x="1" y="19"/>
                    <a:pt x="1" y="37"/>
                  </a:cubicBezTo>
                  <a:lnTo>
                    <a:pt x="1" y="231"/>
                  </a:lnTo>
                  <a:cubicBezTo>
                    <a:pt x="1" y="250"/>
                    <a:pt x="19" y="268"/>
                    <a:pt x="38" y="268"/>
                  </a:cubicBezTo>
                  <a:lnTo>
                    <a:pt x="2598" y="268"/>
                  </a:lnTo>
                  <a:cubicBezTo>
                    <a:pt x="2616" y="268"/>
                    <a:pt x="2635" y="250"/>
                    <a:pt x="2635" y="231"/>
                  </a:cubicBezTo>
                  <a:lnTo>
                    <a:pt x="2635" y="37"/>
                  </a:lnTo>
                  <a:cubicBezTo>
                    <a:pt x="2635" y="19"/>
                    <a:pt x="2616" y="0"/>
                    <a:pt x="2598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3" name="Google Shape;743;p39"/>
            <p:cNvSpPr/>
            <p:nvPr/>
          </p:nvSpPr>
          <p:spPr>
            <a:xfrm>
              <a:off x="1059331" y="4557102"/>
              <a:ext cx="30199" cy="31265"/>
            </a:xfrm>
            <a:custGeom>
              <a:avLst/>
              <a:gdLst/>
              <a:ahLst/>
              <a:cxnLst/>
              <a:rect l="l" t="t" r="r" b="b"/>
              <a:pathLst>
                <a:path w="1077" h="1115" extrusionOk="0">
                  <a:moveTo>
                    <a:pt x="1077" y="1"/>
                  </a:moveTo>
                  <a:lnTo>
                    <a:pt x="0" y="324"/>
                  </a:lnTo>
                  <a:lnTo>
                    <a:pt x="250" y="1114"/>
                  </a:lnTo>
                  <a:lnTo>
                    <a:pt x="1077" y="865"/>
                  </a:lnTo>
                  <a:lnTo>
                    <a:pt x="1077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4" name="Google Shape;744;p39"/>
            <p:cNvSpPr/>
            <p:nvPr/>
          </p:nvSpPr>
          <p:spPr>
            <a:xfrm>
              <a:off x="1080837" y="4518771"/>
              <a:ext cx="7010" cy="7543"/>
            </a:xfrm>
            <a:custGeom>
              <a:avLst/>
              <a:gdLst/>
              <a:ahLst/>
              <a:cxnLst/>
              <a:rect l="l" t="t" r="r" b="b"/>
              <a:pathLst>
                <a:path w="250" h="269" extrusionOk="0">
                  <a:moveTo>
                    <a:pt x="0" y="0"/>
                  </a:moveTo>
                  <a:lnTo>
                    <a:pt x="0" y="268"/>
                  </a:lnTo>
                  <a:lnTo>
                    <a:pt x="213" y="268"/>
                  </a:lnTo>
                  <a:cubicBezTo>
                    <a:pt x="231" y="268"/>
                    <a:pt x="250" y="250"/>
                    <a:pt x="250" y="231"/>
                  </a:cubicBezTo>
                  <a:lnTo>
                    <a:pt x="250" y="37"/>
                  </a:lnTo>
                  <a:cubicBezTo>
                    <a:pt x="250" y="19"/>
                    <a:pt x="231" y="0"/>
                    <a:pt x="213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5" name="Google Shape;745;p39"/>
            <p:cNvSpPr/>
            <p:nvPr/>
          </p:nvSpPr>
          <p:spPr>
            <a:xfrm>
              <a:off x="1013962" y="4518771"/>
              <a:ext cx="73885" cy="7543"/>
            </a:xfrm>
            <a:custGeom>
              <a:avLst/>
              <a:gdLst/>
              <a:ahLst/>
              <a:cxnLst/>
              <a:rect l="l" t="t" r="r" b="b"/>
              <a:pathLst>
                <a:path w="2635" h="269" extrusionOk="0">
                  <a:moveTo>
                    <a:pt x="38" y="0"/>
                  </a:moveTo>
                  <a:cubicBezTo>
                    <a:pt x="19" y="0"/>
                    <a:pt x="1" y="19"/>
                    <a:pt x="1" y="37"/>
                  </a:cubicBezTo>
                  <a:lnTo>
                    <a:pt x="1" y="231"/>
                  </a:lnTo>
                  <a:cubicBezTo>
                    <a:pt x="1" y="250"/>
                    <a:pt x="19" y="268"/>
                    <a:pt x="38" y="268"/>
                  </a:cubicBezTo>
                  <a:lnTo>
                    <a:pt x="2598" y="268"/>
                  </a:lnTo>
                  <a:cubicBezTo>
                    <a:pt x="2616" y="268"/>
                    <a:pt x="2635" y="250"/>
                    <a:pt x="2635" y="231"/>
                  </a:cubicBezTo>
                  <a:lnTo>
                    <a:pt x="2635" y="213"/>
                  </a:lnTo>
                  <a:cubicBezTo>
                    <a:pt x="2367" y="190"/>
                    <a:pt x="482" y="171"/>
                    <a:pt x="482" y="171"/>
                  </a:cubicBezTo>
                  <a:lnTo>
                    <a:pt x="153" y="0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6" name="Google Shape;746;p39"/>
            <p:cNvSpPr/>
            <p:nvPr/>
          </p:nvSpPr>
          <p:spPr>
            <a:xfrm>
              <a:off x="1040404" y="4518771"/>
              <a:ext cx="11300" cy="7543"/>
            </a:xfrm>
            <a:custGeom>
              <a:avLst/>
              <a:gdLst/>
              <a:ahLst/>
              <a:cxnLst/>
              <a:rect l="l" t="t" r="r" b="b"/>
              <a:pathLst>
                <a:path w="403" h="269" extrusionOk="0">
                  <a:moveTo>
                    <a:pt x="1" y="0"/>
                  </a:moveTo>
                  <a:lnTo>
                    <a:pt x="98" y="268"/>
                  </a:lnTo>
                  <a:lnTo>
                    <a:pt x="403" y="268"/>
                  </a:lnTo>
                  <a:lnTo>
                    <a:pt x="306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7" name="Google Shape;747;p39"/>
            <p:cNvSpPr/>
            <p:nvPr/>
          </p:nvSpPr>
          <p:spPr>
            <a:xfrm>
              <a:off x="762892" y="4189413"/>
              <a:ext cx="41107" cy="62613"/>
            </a:xfrm>
            <a:custGeom>
              <a:avLst/>
              <a:gdLst/>
              <a:ahLst/>
              <a:cxnLst/>
              <a:rect l="l" t="t" r="r" b="b"/>
              <a:pathLst>
                <a:path w="1466" h="2233" extrusionOk="0">
                  <a:moveTo>
                    <a:pt x="79" y="1"/>
                  </a:moveTo>
                  <a:cubicBezTo>
                    <a:pt x="79" y="1"/>
                    <a:pt x="0" y="213"/>
                    <a:pt x="0" y="347"/>
                  </a:cubicBezTo>
                  <a:lnTo>
                    <a:pt x="0" y="2098"/>
                  </a:lnTo>
                  <a:cubicBezTo>
                    <a:pt x="0" y="2196"/>
                    <a:pt x="60" y="2232"/>
                    <a:pt x="60" y="2232"/>
                  </a:cubicBezTo>
                  <a:lnTo>
                    <a:pt x="1405" y="2232"/>
                  </a:lnTo>
                  <a:cubicBezTo>
                    <a:pt x="1405" y="2232"/>
                    <a:pt x="1465" y="2177"/>
                    <a:pt x="1465" y="2098"/>
                  </a:cubicBezTo>
                  <a:lnTo>
                    <a:pt x="1465" y="347"/>
                  </a:lnTo>
                  <a:cubicBezTo>
                    <a:pt x="1465" y="269"/>
                    <a:pt x="1447" y="176"/>
                    <a:pt x="1423" y="98"/>
                  </a:cubicBezTo>
                  <a:cubicBezTo>
                    <a:pt x="1405" y="38"/>
                    <a:pt x="1386" y="1"/>
                    <a:pt x="1386" y="1"/>
                  </a:cubicBez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8" name="Google Shape;748;p39"/>
            <p:cNvSpPr/>
            <p:nvPr/>
          </p:nvSpPr>
          <p:spPr>
            <a:xfrm>
              <a:off x="764574" y="4191096"/>
              <a:ext cx="37714" cy="59389"/>
            </a:xfrm>
            <a:custGeom>
              <a:avLst/>
              <a:gdLst/>
              <a:ahLst/>
              <a:cxnLst/>
              <a:rect l="l" t="t" r="r" b="b"/>
              <a:pathLst>
                <a:path w="1345" h="2118" extrusionOk="0">
                  <a:moveTo>
                    <a:pt x="74" y="1"/>
                  </a:moveTo>
                  <a:cubicBezTo>
                    <a:pt x="37" y="56"/>
                    <a:pt x="0" y="190"/>
                    <a:pt x="0" y="287"/>
                  </a:cubicBezTo>
                  <a:lnTo>
                    <a:pt x="0" y="2038"/>
                  </a:lnTo>
                  <a:cubicBezTo>
                    <a:pt x="0" y="2080"/>
                    <a:pt x="19" y="2099"/>
                    <a:pt x="37" y="2117"/>
                  </a:cubicBezTo>
                  <a:lnTo>
                    <a:pt x="1308" y="2117"/>
                  </a:lnTo>
                  <a:cubicBezTo>
                    <a:pt x="1326" y="2099"/>
                    <a:pt x="1345" y="2080"/>
                    <a:pt x="1345" y="2038"/>
                  </a:cubicBezTo>
                  <a:lnTo>
                    <a:pt x="1345" y="287"/>
                  </a:lnTo>
                  <a:cubicBezTo>
                    <a:pt x="1345" y="190"/>
                    <a:pt x="1308" y="56"/>
                    <a:pt x="1271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9" name="Google Shape;749;p39"/>
            <p:cNvSpPr/>
            <p:nvPr/>
          </p:nvSpPr>
          <p:spPr>
            <a:xfrm>
              <a:off x="763396" y="4183469"/>
              <a:ext cx="40069" cy="5973"/>
            </a:xfrm>
            <a:custGeom>
              <a:avLst/>
              <a:gdLst/>
              <a:ahLst/>
              <a:cxnLst/>
              <a:rect l="l" t="t" r="r" b="b"/>
              <a:pathLst>
                <a:path w="1429" h="213" extrusionOk="0">
                  <a:moveTo>
                    <a:pt x="42" y="0"/>
                  </a:moveTo>
                  <a:cubicBezTo>
                    <a:pt x="19" y="0"/>
                    <a:pt x="1" y="19"/>
                    <a:pt x="1" y="42"/>
                  </a:cubicBezTo>
                  <a:lnTo>
                    <a:pt x="1" y="176"/>
                  </a:lnTo>
                  <a:cubicBezTo>
                    <a:pt x="1" y="194"/>
                    <a:pt x="19" y="213"/>
                    <a:pt x="42" y="213"/>
                  </a:cubicBezTo>
                  <a:lnTo>
                    <a:pt x="1387" y="213"/>
                  </a:lnTo>
                  <a:cubicBezTo>
                    <a:pt x="1405" y="213"/>
                    <a:pt x="1429" y="194"/>
                    <a:pt x="1429" y="176"/>
                  </a:cubicBezTo>
                  <a:lnTo>
                    <a:pt x="1429" y="42"/>
                  </a:lnTo>
                  <a:cubicBezTo>
                    <a:pt x="1429" y="19"/>
                    <a:pt x="1405" y="0"/>
                    <a:pt x="1387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0" name="Google Shape;750;p39"/>
            <p:cNvSpPr/>
            <p:nvPr/>
          </p:nvSpPr>
          <p:spPr>
            <a:xfrm>
              <a:off x="766649" y="4211060"/>
              <a:ext cx="30872" cy="21002"/>
            </a:xfrm>
            <a:custGeom>
              <a:avLst/>
              <a:gdLst/>
              <a:ahLst/>
              <a:cxnLst/>
              <a:rect l="l" t="t" r="r" b="b"/>
              <a:pathLst>
                <a:path w="1101" h="749" extrusionOk="0">
                  <a:moveTo>
                    <a:pt x="1003" y="0"/>
                  </a:moveTo>
                  <a:lnTo>
                    <a:pt x="0" y="153"/>
                  </a:lnTo>
                  <a:lnTo>
                    <a:pt x="97" y="749"/>
                  </a:lnTo>
                  <a:lnTo>
                    <a:pt x="1100" y="578"/>
                  </a:lnTo>
                  <a:lnTo>
                    <a:pt x="1003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1" name="Google Shape;751;p39"/>
            <p:cNvSpPr/>
            <p:nvPr/>
          </p:nvSpPr>
          <p:spPr>
            <a:xfrm>
              <a:off x="782323" y="4183469"/>
              <a:ext cx="9225" cy="5973"/>
            </a:xfrm>
            <a:custGeom>
              <a:avLst/>
              <a:gdLst/>
              <a:ahLst/>
              <a:cxnLst/>
              <a:rect l="l" t="t" r="r" b="b"/>
              <a:pathLst>
                <a:path w="329" h="213" extrusionOk="0">
                  <a:moveTo>
                    <a:pt x="60" y="0"/>
                  </a:moveTo>
                  <a:lnTo>
                    <a:pt x="0" y="213"/>
                  </a:lnTo>
                  <a:lnTo>
                    <a:pt x="310" y="213"/>
                  </a:lnTo>
                  <a:cubicBezTo>
                    <a:pt x="310" y="134"/>
                    <a:pt x="310" y="60"/>
                    <a:pt x="328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2" name="Google Shape;752;p39"/>
            <p:cNvSpPr/>
            <p:nvPr/>
          </p:nvSpPr>
          <p:spPr>
            <a:xfrm>
              <a:off x="763396" y="4183469"/>
              <a:ext cx="40069" cy="5973"/>
            </a:xfrm>
            <a:custGeom>
              <a:avLst/>
              <a:gdLst/>
              <a:ahLst/>
              <a:cxnLst/>
              <a:rect l="l" t="t" r="r" b="b"/>
              <a:pathLst>
                <a:path w="1429" h="213" extrusionOk="0">
                  <a:moveTo>
                    <a:pt x="1313" y="0"/>
                  </a:moveTo>
                  <a:lnTo>
                    <a:pt x="1234" y="134"/>
                  </a:lnTo>
                  <a:cubicBezTo>
                    <a:pt x="1234" y="134"/>
                    <a:pt x="213" y="157"/>
                    <a:pt x="1" y="157"/>
                  </a:cubicBezTo>
                  <a:lnTo>
                    <a:pt x="1" y="176"/>
                  </a:lnTo>
                  <a:cubicBezTo>
                    <a:pt x="1" y="194"/>
                    <a:pt x="19" y="213"/>
                    <a:pt x="42" y="213"/>
                  </a:cubicBezTo>
                  <a:lnTo>
                    <a:pt x="1387" y="213"/>
                  </a:lnTo>
                  <a:cubicBezTo>
                    <a:pt x="1405" y="213"/>
                    <a:pt x="1429" y="194"/>
                    <a:pt x="1429" y="176"/>
                  </a:cubicBezTo>
                  <a:lnTo>
                    <a:pt x="1429" y="42"/>
                  </a:lnTo>
                  <a:cubicBezTo>
                    <a:pt x="1429" y="19"/>
                    <a:pt x="1405" y="0"/>
                    <a:pt x="138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3" name="Google Shape;753;p39"/>
            <p:cNvSpPr/>
            <p:nvPr/>
          </p:nvSpPr>
          <p:spPr>
            <a:xfrm>
              <a:off x="846591" y="4189413"/>
              <a:ext cx="41611" cy="62613"/>
            </a:xfrm>
            <a:custGeom>
              <a:avLst/>
              <a:gdLst/>
              <a:ahLst/>
              <a:cxnLst/>
              <a:rect l="l" t="t" r="r" b="b"/>
              <a:pathLst>
                <a:path w="1484" h="2233" extrusionOk="0">
                  <a:moveTo>
                    <a:pt x="79" y="1"/>
                  </a:moveTo>
                  <a:cubicBezTo>
                    <a:pt x="79" y="1"/>
                    <a:pt x="0" y="213"/>
                    <a:pt x="0" y="347"/>
                  </a:cubicBezTo>
                  <a:lnTo>
                    <a:pt x="0" y="2098"/>
                  </a:lnTo>
                  <a:cubicBezTo>
                    <a:pt x="0" y="2196"/>
                    <a:pt x="79" y="2232"/>
                    <a:pt x="79" y="2232"/>
                  </a:cubicBezTo>
                  <a:lnTo>
                    <a:pt x="1405" y="2232"/>
                  </a:lnTo>
                  <a:cubicBezTo>
                    <a:pt x="1405" y="2232"/>
                    <a:pt x="1483" y="2177"/>
                    <a:pt x="1483" y="2098"/>
                  </a:cubicBezTo>
                  <a:lnTo>
                    <a:pt x="1483" y="347"/>
                  </a:lnTo>
                  <a:cubicBezTo>
                    <a:pt x="1483" y="269"/>
                    <a:pt x="1442" y="176"/>
                    <a:pt x="1423" y="98"/>
                  </a:cubicBezTo>
                  <a:cubicBezTo>
                    <a:pt x="1405" y="38"/>
                    <a:pt x="1386" y="1"/>
                    <a:pt x="1386" y="1"/>
                  </a:cubicBez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4" name="Google Shape;754;p39"/>
            <p:cNvSpPr/>
            <p:nvPr/>
          </p:nvSpPr>
          <p:spPr>
            <a:xfrm>
              <a:off x="848133" y="4191096"/>
              <a:ext cx="37854" cy="59389"/>
            </a:xfrm>
            <a:custGeom>
              <a:avLst/>
              <a:gdLst/>
              <a:ahLst/>
              <a:cxnLst/>
              <a:rect l="l" t="t" r="r" b="b"/>
              <a:pathLst>
                <a:path w="1350" h="2118" extrusionOk="0">
                  <a:moveTo>
                    <a:pt x="79" y="1"/>
                  </a:moveTo>
                  <a:cubicBezTo>
                    <a:pt x="42" y="56"/>
                    <a:pt x="1" y="190"/>
                    <a:pt x="1" y="287"/>
                  </a:cubicBezTo>
                  <a:lnTo>
                    <a:pt x="1" y="2038"/>
                  </a:lnTo>
                  <a:cubicBezTo>
                    <a:pt x="1" y="2080"/>
                    <a:pt x="24" y="2099"/>
                    <a:pt x="42" y="2117"/>
                  </a:cubicBezTo>
                  <a:lnTo>
                    <a:pt x="1313" y="2117"/>
                  </a:lnTo>
                  <a:cubicBezTo>
                    <a:pt x="1331" y="2099"/>
                    <a:pt x="1350" y="2080"/>
                    <a:pt x="1350" y="2038"/>
                  </a:cubicBezTo>
                  <a:lnTo>
                    <a:pt x="1350" y="287"/>
                  </a:lnTo>
                  <a:cubicBezTo>
                    <a:pt x="1350" y="190"/>
                    <a:pt x="1313" y="56"/>
                    <a:pt x="1271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5" name="Google Shape;755;p39"/>
            <p:cNvSpPr/>
            <p:nvPr/>
          </p:nvSpPr>
          <p:spPr>
            <a:xfrm>
              <a:off x="847096" y="4183469"/>
              <a:ext cx="39929" cy="5973"/>
            </a:xfrm>
            <a:custGeom>
              <a:avLst/>
              <a:gdLst/>
              <a:ahLst/>
              <a:cxnLst/>
              <a:rect l="l" t="t" r="r" b="b"/>
              <a:pathLst>
                <a:path w="1424" h="213" extrusionOk="0">
                  <a:moveTo>
                    <a:pt x="38" y="0"/>
                  </a:moveTo>
                  <a:cubicBezTo>
                    <a:pt x="19" y="0"/>
                    <a:pt x="1" y="19"/>
                    <a:pt x="1" y="42"/>
                  </a:cubicBezTo>
                  <a:lnTo>
                    <a:pt x="1" y="176"/>
                  </a:lnTo>
                  <a:cubicBezTo>
                    <a:pt x="1" y="194"/>
                    <a:pt x="19" y="213"/>
                    <a:pt x="38" y="213"/>
                  </a:cubicBezTo>
                  <a:lnTo>
                    <a:pt x="1387" y="213"/>
                  </a:lnTo>
                  <a:cubicBezTo>
                    <a:pt x="1405" y="213"/>
                    <a:pt x="1424" y="194"/>
                    <a:pt x="1424" y="176"/>
                  </a:cubicBezTo>
                  <a:lnTo>
                    <a:pt x="1424" y="42"/>
                  </a:lnTo>
                  <a:cubicBezTo>
                    <a:pt x="1424" y="19"/>
                    <a:pt x="1405" y="0"/>
                    <a:pt x="1387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6" name="Google Shape;756;p39"/>
            <p:cNvSpPr/>
            <p:nvPr/>
          </p:nvSpPr>
          <p:spPr>
            <a:xfrm>
              <a:off x="852536" y="4207807"/>
              <a:ext cx="32947" cy="26974"/>
            </a:xfrm>
            <a:custGeom>
              <a:avLst/>
              <a:gdLst/>
              <a:ahLst/>
              <a:cxnLst/>
              <a:rect l="l" t="t" r="r" b="b"/>
              <a:pathLst>
                <a:path w="1175" h="962" extrusionOk="0">
                  <a:moveTo>
                    <a:pt x="250" y="1"/>
                  </a:moveTo>
                  <a:lnTo>
                    <a:pt x="1" y="560"/>
                  </a:lnTo>
                  <a:lnTo>
                    <a:pt x="943" y="962"/>
                  </a:lnTo>
                  <a:lnTo>
                    <a:pt x="1174" y="421"/>
                  </a:lnTo>
                  <a:lnTo>
                    <a:pt x="250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7" name="Google Shape;757;p39"/>
            <p:cNvSpPr/>
            <p:nvPr/>
          </p:nvSpPr>
          <p:spPr>
            <a:xfrm>
              <a:off x="866023" y="4183469"/>
              <a:ext cx="9225" cy="5973"/>
            </a:xfrm>
            <a:custGeom>
              <a:avLst/>
              <a:gdLst/>
              <a:ahLst/>
              <a:cxnLst/>
              <a:rect l="l" t="t" r="r" b="b"/>
              <a:pathLst>
                <a:path w="329" h="213" extrusionOk="0">
                  <a:moveTo>
                    <a:pt x="56" y="0"/>
                  </a:moveTo>
                  <a:lnTo>
                    <a:pt x="0" y="213"/>
                  </a:lnTo>
                  <a:lnTo>
                    <a:pt x="310" y="213"/>
                  </a:lnTo>
                  <a:cubicBezTo>
                    <a:pt x="310" y="134"/>
                    <a:pt x="328" y="60"/>
                    <a:pt x="328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8" name="Google Shape;758;p39"/>
            <p:cNvSpPr/>
            <p:nvPr/>
          </p:nvSpPr>
          <p:spPr>
            <a:xfrm>
              <a:off x="847096" y="4183469"/>
              <a:ext cx="39929" cy="5973"/>
            </a:xfrm>
            <a:custGeom>
              <a:avLst/>
              <a:gdLst/>
              <a:ahLst/>
              <a:cxnLst/>
              <a:rect l="l" t="t" r="r" b="b"/>
              <a:pathLst>
                <a:path w="1424" h="213" extrusionOk="0">
                  <a:moveTo>
                    <a:pt x="1308" y="0"/>
                  </a:moveTo>
                  <a:lnTo>
                    <a:pt x="1234" y="134"/>
                  </a:lnTo>
                  <a:cubicBezTo>
                    <a:pt x="1234" y="134"/>
                    <a:pt x="213" y="157"/>
                    <a:pt x="1" y="157"/>
                  </a:cubicBezTo>
                  <a:lnTo>
                    <a:pt x="1" y="176"/>
                  </a:lnTo>
                  <a:cubicBezTo>
                    <a:pt x="1" y="194"/>
                    <a:pt x="19" y="213"/>
                    <a:pt x="38" y="213"/>
                  </a:cubicBezTo>
                  <a:lnTo>
                    <a:pt x="1387" y="213"/>
                  </a:lnTo>
                  <a:cubicBezTo>
                    <a:pt x="1405" y="213"/>
                    <a:pt x="1424" y="194"/>
                    <a:pt x="1424" y="176"/>
                  </a:cubicBezTo>
                  <a:lnTo>
                    <a:pt x="1424" y="42"/>
                  </a:lnTo>
                  <a:cubicBezTo>
                    <a:pt x="1424" y="19"/>
                    <a:pt x="1405" y="0"/>
                    <a:pt x="138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9" name="Google Shape;759;p39"/>
            <p:cNvSpPr/>
            <p:nvPr/>
          </p:nvSpPr>
          <p:spPr>
            <a:xfrm>
              <a:off x="930291" y="4189413"/>
              <a:ext cx="41611" cy="62613"/>
            </a:xfrm>
            <a:custGeom>
              <a:avLst/>
              <a:gdLst/>
              <a:ahLst/>
              <a:cxnLst/>
              <a:rect l="l" t="t" r="r" b="b"/>
              <a:pathLst>
                <a:path w="1484" h="2233" extrusionOk="0">
                  <a:moveTo>
                    <a:pt x="74" y="1"/>
                  </a:moveTo>
                  <a:cubicBezTo>
                    <a:pt x="74" y="1"/>
                    <a:pt x="0" y="213"/>
                    <a:pt x="0" y="347"/>
                  </a:cubicBezTo>
                  <a:lnTo>
                    <a:pt x="0" y="2098"/>
                  </a:lnTo>
                  <a:cubicBezTo>
                    <a:pt x="0" y="2196"/>
                    <a:pt x="74" y="2232"/>
                    <a:pt x="74" y="2232"/>
                  </a:cubicBezTo>
                  <a:lnTo>
                    <a:pt x="1405" y="2232"/>
                  </a:lnTo>
                  <a:cubicBezTo>
                    <a:pt x="1405" y="2232"/>
                    <a:pt x="1483" y="2177"/>
                    <a:pt x="1483" y="2098"/>
                  </a:cubicBezTo>
                  <a:lnTo>
                    <a:pt x="1483" y="347"/>
                  </a:lnTo>
                  <a:cubicBezTo>
                    <a:pt x="1483" y="269"/>
                    <a:pt x="1442" y="176"/>
                    <a:pt x="1423" y="98"/>
                  </a:cubicBezTo>
                  <a:cubicBezTo>
                    <a:pt x="1405" y="38"/>
                    <a:pt x="1386" y="1"/>
                    <a:pt x="1386" y="1"/>
                  </a:cubicBez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0" name="Google Shape;760;p39"/>
            <p:cNvSpPr/>
            <p:nvPr/>
          </p:nvSpPr>
          <p:spPr>
            <a:xfrm>
              <a:off x="931833" y="4191096"/>
              <a:ext cx="37854" cy="59389"/>
            </a:xfrm>
            <a:custGeom>
              <a:avLst/>
              <a:gdLst/>
              <a:ahLst/>
              <a:cxnLst/>
              <a:rect l="l" t="t" r="r" b="b"/>
              <a:pathLst>
                <a:path w="1350" h="2118" extrusionOk="0">
                  <a:moveTo>
                    <a:pt x="79" y="1"/>
                  </a:moveTo>
                  <a:cubicBezTo>
                    <a:pt x="61" y="56"/>
                    <a:pt x="1" y="190"/>
                    <a:pt x="1" y="287"/>
                  </a:cubicBezTo>
                  <a:lnTo>
                    <a:pt x="1" y="2038"/>
                  </a:lnTo>
                  <a:cubicBezTo>
                    <a:pt x="1" y="2080"/>
                    <a:pt x="19" y="2099"/>
                    <a:pt x="42" y="2117"/>
                  </a:cubicBezTo>
                  <a:lnTo>
                    <a:pt x="1313" y="2117"/>
                  </a:lnTo>
                  <a:cubicBezTo>
                    <a:pt x="1331" y="2099"/>
                    <a:pt x="1350" y="2080"/>
                    <a:pt x="1350" y="2038"/>
                  </a:cubicBezTo>
                  <a:lnTo>
                    <a:pt x="1350" y="287"/>
                  </a:lnTo>
                  <a:cubicBezTo>
                    <a:pt x="1350" y="190"/>
                    <a:pt x="1313" y="56"/>
                    <a:pt x="1290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1" name="Google Shape;761;p39"/>
            <p:cNvSpPr/>
            <p:nvPr/>
          </p:nvSpPr>
          <p:spPr>
            <a:xfrm>
              <a:off x="930795" y="4183469"/>
              <a:ext cx="39929" cy="5973"/>
            </a:xfrm>
            <a:custGeom>
              <a:avLst/>
              <a:gdLst/>
              <a:ahLst/>
              <a:cxnLst/>
              <a:rect l="l" t="t" r="r" b="b"/>
              <a:pathLst>
                <a:path w="1424" h="213" extrusionOk="0">
                  <a:moveTo>
                    <a:pt x="38" y="0"/>
                  </a:moveTo>
                  <a:cubicBezTo>
                    <a:pt x="19" y="0"/>
                    <a:pt x="1" y="19"/>
                    <a:pt x="1" y="42"/>
                  </a:cubicBezTo>
                  <a:lnTo>
                    <a:pt x="1" y="176"/>
                  </a:lnTo>
                  <a:cubicBezTo>
                    <a:pt x="1" y="194"/>
                    <a:pt x="19" y="213"/>
                    <a:pt x="38" y="213"/>
                  </a:cubicBezTo>
                  <a:lnTo>
                    <a:pt x="1387" y="213"/>
                  </a:lnTo>
                  <a:cubicBezTo>
                    <a:pt x="1405" y="213"/>
                    <a:pt x="1424" y="194"/>
                    <a:pt x="1424" y="176"/>
                  </a:cubicBezTo>
                  <a:lnTo>
                    <a:pt x="1424" y="42"/>
                  </a:lnTo>
                  <a:cubicBezTo>
                    <a:pt x="1424" y="19"/>
                    <a:pt x="1405" y="0"/>
                    <a:pt x="1387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2" name="Google Shape;762;p39"/>
            <p:cNvSpPr/>
            <p:nvPr/>
          </p:nvSpPr>
          <p:spPr>
            <a:xfrm>
              <a:off x="935085" y="4205620"/>
              <a:ext cx="32919" cy="26974"/>
            </a:xfrm>
            <a:custGeom>
              <a:avLst/>
              <a:gdLst/>
              <a:ahLst/>
              <a:cxnLst/>
              <a:rect l="l" t="t" r="r" b="b"/>
              <a:pathLst>
                <a:path w="1174" h="962" extrusionOk="0">
                  <a:moveTo>
                    <a:pt x="250" y="0"/>
                  </a:moveTo>
                  <a:lnTo>
                    <a:pt x="0" y="559"/>
                  </a:lnTo>
                  <a:lnTo>
                    <a:pt x="943" y="961"/>
                  </a:lnTo>
                  <a:lnTo>
                    <a:pt x="1174" y="42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3" name="Google Shape;763;p39"/>
            <p:cNvSpPr/>
            <p:nvPr/>
          </p:nvSpPr>
          <p:spPr>
            <a:xfrm>
              <a:off x="950227" y="4183469"/>
              <a:ext cx="8720" cy="5973"/>
            </a:xfrm>
            <a:custGeom>
              <a:avLst/>
              <a:gdLst/>
              <a:ahLst/>
              <a:cxnLst/>
              <a:rect l="l" t="t" r="r" b="b"/>
              <a:pathLst>
                <a:path w="311" h="213" extrusionOk="0">
                  <a:moveTo>
                    <a:pt x="38" y="0"/>
                  </a:moveTo>
                  <a:lnTo>
                    <a:pt x="1" y="213"/>
                  </a:lnTo>
                  <a:lnTo>
                    <a:pt x="287" y="213"/>
                  </a:lnTo>
                  <a:cubicBezTo>
                    <a:pt x="310" y="134"/>
                    <a:pt x="310" y="60"/>
                    <a:pt x="310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4" name="Google Shape;764;p39"/>
            <p:cNvSpPr/>
            <p:nvPr/>
          </p:nvSpPr>
          <p:spPr>
            <a:xfrm>
              <a:off x="930795" y="4183469"/>
              <a:ext cx="39929" cy="5973"/>
            </a:xfrm>
            <a:custGeom>
              <a:avLst/>
              <a:gdLst/>
              <a:ahLst/>
              <a:cxnLst/>
              <a:rect l="l" t="t" r="r" b="b"/>
              <a:pathLst>
                <a:path w="1424" h="213" extrusionOk="0">
                  <a:moveTo>
                    <a:pt x="1308" y="0"/>
                  </a:moveTo>
                  <a:lnTo>
                    <a:pt x="1234" y="134"/>
                  </a:lnTo>
                  <a:cubicBezTo>
                    <a:pt x="1234" y="134"/>
                    <a:pt x="213" y="157"/>
                    <a:pt x="1" y="157"/>
                  </a:cubicBezTo>
                  <a:lnTo>
                    <a:pt x="1" y="176"/>
                  </a:lnTo>
                  <a:cubicBezTo>
                    <a:pt x="1" y="194"/>
                    <a:pt x="19" y="213"/>
                    <a:pt x="38" y="213"/>
                  </a:cubicBezTo>
                  <a:lnTo>
                    <a:pt x="1387" y="213"/>
                  </a:lnTo>
                  <a:cubicBezTo>
                    <a:pt x="1405" y="213"/>
                    <a:pt x="1424" y="194"/>
                    <a:pt x="1424" y="176"/>
                  </a:cubicBezTo>
                  <a:lnTo>
                    <a:pt x="1424" y="42"/>
                  </a:lnTo>
                  <a:cubicBezTo>
                    <a:pt x="1424" y="19"/>
                    <a:pt x="1405" y="0"/>
                    <a:pt x="138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5" name="Google Shape;765;p39"/>
            <p:cNvSpPr/>
            <p:nvPr/>
          </p:nvSpPr>
          <p:spPr>
            <a:xfrm>
              <a:off x="1013962" y="4189413"/>
              <a:ext cx="41499" cy="62613"/>
            </a:xfrm>
            <a:custGeom>
              <a:avLst/>
              <a:gdLst/>
              <a:ahLst/>
              <a:cxnLst/>
              <a:rect l="l" t="t" r="r" b="b"/>
              <a:pathLst>
                <a:path w="1480" h="2233" extrusionOk="0">
                  <a:moveTo>
                    <a:pt x="75" y="1"/>
                  </a:moveTo>
                  <a:cubicBezTo>
                    <a:pt x="75" y="1"/>
                    <a:pt x="1" y="213"/>
                    <a:pt x="1" y="347"/>
                  </a:cubicBezTo>
                  <a:lnTo>
                    <a:pt x="1" y="2098"/>
                  </a:lnTo>
                  <a:cubicBezTo>
                    <a:pt x="1" y="2196"/>
                    <a:pt x="75" y="2232"/>
                    <a:pt x="75" y="2232"/>
                  </a:cubicBezTo>
                  <a:lnTo>
                    <a:pt x="1406" y="2232"/>
                  </a:lnTo>
                  <a:cubicBezTo>
                    <a:pt x="1406" y="2232"/>
                    <a:pt x="1480" y="2177"/>
                    <a:pt x="1480" y="2098"/>
                  </a:cubicBezTo>
                  <a:lnTo>
                    <a:pt x="1480" y="347"/>
                  </a:lnTo>
                  <a:cubicBezTo>
                    <a:pt x="1480" y="269"/>
                    <a:pt x="1443" y="176"/>
                    <a:pt x="1424" y="98"/>
                  </a:cubicBezTo>
                  <a:cubicBezTo>
                    <a:pt x="1406" y="38"/>
                    <a:pt x="1387" y="1"/>
                    <a:pt x="1387" y="1"/>
                  </a:cubicBez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6" name="Google Shape;766;p39"/>
            <p:cNvSpPr/>
            <p:nvPr/>
          </p:nvSpPr>
          <p:spPr>
            <a:xfrm>
              <a:off x="1015532" y="4191096"/>
              <a:ext cx="37854" cy="59389"/>
            </a:xfrm>
            <a:custGeom>
              <a:avLst/>
              <a:gdLst/>
              <a:ahLst/>
              <a:cxnLst/>
              <a:rect l="l" t="t" r="r" b="b"/>
              <a:pathLst>
                <a:path w="1350" h="2118" extrusionOk="0">
                  <a:moveTo>
                    <a:pt x="79" y="1"/>
                  </a:moveTo>
                  <a:cubicBezTo>
                    <a:pt x="60" y="56"/>
                    <a:pt x="0" y="190"/>
                    <a:pt x="0" y="287"/>
                  </a:cubicBezTo>
                  <a:lnTo>
                    <a:pt x="0" y="2038"/>
                  </a:lnTo>
                  <a:cubicBezTo>
                    <a:pt x="0" y="2080"/>
                    <a:pt x="19" y="2099"/>
                    <a:pt x="37" y="2117"/>
                  </a:cubicBezTo>
                  <a:lnTo>
                    <a:pt x="1308" y="2117"/>
                  </a:lnTo>
                  <a:cubicBezTo>
                    <a:pt x="1331" y="2099"/>
                    <a:pt x="1350" y="2080"/>
                    <a:pt x="1350" y="2038"/>
                  </a:cubicBezTo>
                  <a:lnTo>
                    <a:pt x="1350" y="287"/>
                  </a:lnTo>
                  <a:cubicBezTo>
                    <a:pt x="1350" y="190"/>
                    <a:pt x="1308" y="56"/>
                    <a:pt x="1290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7" name="Google Shape;767;p39"/>
            <p:cNvSpPr/>
            <p:nvPr/>
          </p:nvSpPr>
          <p:spPr>
            <a:xfrm>
              <a:off x="1014999" y="4183469"/>
              <a:ext cx="39424" cy="5973"/>
            </a:xfrm>
            <a:custGeom>
              <a:avLst/>
              <a:gdLst/>
              <a:ahLst/>
              <a:cxnLst/>
              <a:rect l="l" t="t" r="r" b="b"/>
              <a:pathLst>
                <a:path w="1406" h="213" extrusionOk="0">
                  <a:moveTo>
                    <a:pt x="19" y="0"/>
                  </a:moveTo>
                  <a:cubicBezTo>
                    <a:pt x="1" y="0"/>
                    <a:pt x="1" y="19"/>
                    <a:pt x="1" y="42"/>
                  </a:cubicBezTo>
                  <a:lnTo>
                    <a:pt x="1" y="176"/>
                  </a:lnTo>
                  <a:cubicBezTo>
                    <a:pt x="1" y="194"/>
                    <a:pt x="1" y="213"/>
                    <a:pt x="19" y="213"/>
                  </a:cubicBezTo>
                  <a:lnTo>
                    <a:pt x="1369" y="213"/>
                  </a:lnTo>
                  <a:cubicBezTo>
                    <a:pt x="1387" y="213"/>
                    <a:pt x="1406" y="194"/>
                    <a:pt x="1406" y="176"/>
                  </a:cubicBezTo>
                  <a:lnTo>
                    <a:pt x="1406" y="42"/>
                  </a:lnTo>
                  <a:cubicBezTo>
                    <a:pt x="1406" y="19"/>
                    <a:pt x="1387" y="0"/>
                    <a:pt x="1369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8" name="Google Shape;768;p39"/>
            <p:cNvSpPr/>
            <p:nvPr/>
          </p:nvSpPr>
          <p:spPr>
            <a:xfrm>
              <a:off x="1018252" y="4209882"/>
              <a:ext cx="33452" cy="28657"/>
            </a:xfrm>
            <a:custGeom>
              <a:avLst/>
              <a:gdLst/>
              <a:ahLst/>
              <a:cxnLst/>
              <a:rect l="l" t="t" r="r" b="b"/>
              <a:pathLst>
                <a:path w="1193" h="1022" extrusionOk="0">
                  <a:moveTo>
                    <a:pt x="310" y="1"/>
                  </a:moveTo>
                  <a:lnTo>
                    <a:pt x="0" y="523"/>
                  </a:lnTo>
                  <a:lnTo>
                    <a:pt x="888" y="1022"/>
                  </a:lnTo>
                  <a:lnTo>
                    <a:pt x="1193" y="523"/>
                  </a:lnTo>
                  <a:lnTo>
                    <a:pt x="310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9" name="Google Shape;769;p39"/>
            <p:cNvSpPr/>
            <p:nvPr/>
          </p:nvSpPr>
          <p:spPr>
            <a:xfrm>
              <a:off x="1033926" y="4183469"/>
              <a:ext cx="8580" cy="5973"/>
            </a:xfrm>
            <a:custGeom>
              <a:avLst/>
              <a:gdLst/>
              <a:ahLst/>
              <a:cxnLst/>
              <a:rect l="l" t="t" r="r" b="b"/>
              <a:pathLst>
                <a:path w="306" h="213" extrusionOk="0">
                  <a:moveTo>
                    <a:pt x="38" y="0"/>
                  </a:moveTo>
                  <a:lnTo>
                    <a:pt x="1" y="213"/>
                  </a:lnTo>
                  <a:lnTo>
                    <a:pt x="287" y="213"/>
                  </a:lnTo>
                  <a:cubicBezTo>
                    <a:pt x="306" y="134"/>
                    <a:pt x="306" y="60"/>
                    <a:pt x="306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0" name="Google Shape;770;p39"/>
            <p:cNvSpPr/>
            <p:nvPr/>
          </p:nvSpPr>
          <p:spPr>
            <a:xfrm>
              <a:off x="1014999" y="4183469"/>
              <a:ext cx="39424" cy="5973"/>
            </a:xfrm>
            <a:custGeom>
              <a:avLst/>
              <a:gdLst/>
              <a:ahLst/>
              <a:cxnLst/>
              <a:rect l="l" t="t" r="r" b="b"/>
              <a:pathLst>
                <a:path w="1406" h="213" extrusionOk="0">
                  <a:moveTo>
                    <a:pt x="1290" y="0"/>
                  </a:moveTo>
                  <a:lnTo>
                    <a:pt x="1235" y="134"/>
                  </a:lnTo>
                  <a:cubicBezTo>
                    <a:pt x="1235" y="134"/>
                    <a:pt x="195" y="157"/>
                    <a:pt x="1" y="157"/>
                  </a:cubicBezTo>
                  <a:lnTo>
                    <a:pt x="1" y="176"/>
                  </a:lnTo>
                  <a:cubicBezTo>
                    <a:pt x="1" y="194"/>
                    <a:pt x="1" y="213"/>
                    <a:pt x="19" y="213"/>
                  </a:cubicBezTo>
                  <a:lnTo>
                    <a:pt x="1369" y="213"/>
                  </a:lnTo>
                  <a:cubicBezTo>
                    <a:pt x="1387" y="213"/>
                    <a:pt x="1406" y="194"/>
                    <a:pt x="1406" y="176"/>
                  </a:cubicBezTo>
                  <a:lnTo>
                    <a:pt x="1406" y="42"/>
                  </a:lnTo>
                  <a:cubicBezTo>
                    <a:pt x="1406" y="19"/>
                    <a:pt x="1387" y="0"/>
                    <a:pt x="1369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1" name="Google Shape;771;p39"/>
            <p:cNvSpPr/>
            <p:nvPr/>
          </p:nvSpPr>
          <p:spPr>
            <a:xfrm>
              <a:off x="762359" y="4293582"/>
              <a:ext cx="57818" cy="83223"/>
            </a:xfrm>
            <a:custGeom>
              <a:avLst/>
              <a:gdLst/>
              <a:ahLst/>
              <a:cxnLst/>
              <a:rect l="l" t="t" r="r" b="b"/>
              <a:pathLst>
                <a:path w="2062" h="2968" extrusionOk="0">
                  <a:moveTo>
                    <a:pt x="384" y="1"/>
                  </a:moveTo>
                  <a:lnTo>
                    <a:pt x="38" y="620"/>
                  </a:lnTo>
                  <a:cubicBezTo>
                    <a:pt x="19" y="657"/>
                    <a:pt x="1" y="712"/>
                    <a:pt x="19" y="754"/>
                  </a:cubicBezTo>
                  <a:lnTo>
                    <a:pt x="135" y="2852"/>
                  </a:lnTo>
                  <a:lnTo>
                    <a:pt x="135" y="2967"/>
                  </a:lnTo>
                  <a:lnTo>
                    <a:pt x="1928" y="2967"/>
                  </a:lnTo>
                  <a:lnTo>
                    <a:pt x="1965" y="2353"/>
                  </a:lnTo>
                  <a:lnTo>
                    <a:pt x="2062" y="754"/>
                  </a:lnTo>
                  <a:cubicBezTo>
                    <a:pt x="2062" y="712"/>
                    <a:pt x="2043" y="657"/>
                    <a:pt x="2020" y="620"/>
                  </a:cubicBezTo>
                  <a:lnTo>
                    <a:pt x="1697" y="1"/>
                  </a:ln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2" name="Google Shape;772;p39"/>
            <p:cNvSpPr/>
            <p:nvPr/>
          </p:nvSpPr>
          <p:spPr>
            <a:xfrm>
              <a:off x="765079" y="4295797"/>
              <a:ext cx="52379" cy="78288"/>
            </a:xfrm>
            <a:custGeom>
              <a:avLst/>
              <a:gdLst/>
              <a:ahLst/>
              <a:cxnLst/>
              <a:rect l="l" t="t" r="r" b="b"/>
              <a:pathLst>
                <a:path w="1868" h="2792" extrusionOk="0">
                  <a:moveTo>
                    <a:pt x="347" y="0"/>
                  </a:moveTo>
                  <a:lnTo>
                    <a:pt x="19" y="578"/>
                  </a:lnTo>
                  <a:cubicBezTo>
                    <a:pt x="1" y="596"/>
                    <a:pt x="1" y="633"/>
                    <a:pt x="1" y="675"/>
                  </a:cubicBezTo>
                  <a:lnTo>
                    <a:pt x="135" y="2791"/>
                  </a:lnTo>
                  <a:lnTo>
                    <a:pt x="1752" y="2791"/>
                  </a:lnTo>
                  <a:lnTo>
                    <a:pt x="1868" y="675"/>
                  </a:lnTo>
                  <a:cubicBezTo>
                    <a:pt x="1868" y="633"/>
                    <a:pt x="1868" y="596"/>
                    <a:pt x="1849" y="578"/>
                  </a:cubicBezTo>
                  <a:lnTo>
                    <a:pt x="1540" y="0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3" name="Google Shape;773;p39"/>
            <p:cNvSpPr/>
            <p:nvPr/>
          </p:nvSpPr>
          <p:spPr>
            <a:xfrm>
              <a:off x="771556" y="4289320"/>
              <a:ext cx="39957" cy="4290"/>
            </a:xfrm>
            <a:custGeom>
              <a:avLst/>
              <a:gdLst/>
              <a:ahLst/>
              <a:cxnLst/>
              <a:rect l="l" t="t" r="r" b="b"/>
              <a:pathLst>
                <a:path w="1425" h="153" extrusionOk="0">
                  <a:moveTo>
                    <a:pt x="19" y="0"/>
                  </a:moveTo>
                  <a:cubicBezTo>
                    <a:pt x="19" y="0"/>
                    <a:pt x="1" y="0"/>
                    <a:pt x="1" y="19"/>
                  </a:cubicBezTo>
                  <a:lnTo>
                    <a:pt x="1" y="37"/>
                  </a:lnTo>
                  <a:lnTo>
                    <a:pt x="1" y="116"/>
                  </a:lnTo>
                  <a:cubicBezTo>
                    <a:pt x="1" y="134"/>
                    <a:pt x="1" y="134"/>
                    <a:pt x="19" y="153"/>
                  </a:cubicBezTo>
                  <a:lnTo>
                    <a:pt x="1387" y="153"/>
                  </a:lnTo>
                  <a:cubicBezTo>
                    <a:pt x="1406" y="153"/>
                    <a:pt x="1424" y="134"/>
                    <a:pt x="1424" y="116"/>
                  </a:cubicBezTo>
                  <a:lnTo>
                    <a:pt x="1424" y="37"/>
                  </a:lnTo>
                  <a:cubicBezTo>
                    <a:pt x="1424" y="19"/>
                    <a:pt x="1406" y="0"/>
                    <a:pt x="1387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4" name="Google Shape;774;p39"/>
            <p:cNvSpPr/>
            <p:nvPr/>
          </p:nvSpPr>
          <p:spPr>
            <a:xfrm>
              <a:off x="772089" y="4289320"/>
              <a:ext cx="39424" cy="4290"/>
            </a:xfrm>
            <a:custGeom>
              <a:avLst/>
              <a:gdLst/>
              <a:ahLst/>
              <a:cxnLst/>
              <a:rect l="l" t="t" r="r" b="b"/>
              <a:pathLst>
                <a:path w="1406" h="153" extrusionOk="0">
                  <a:moveTo>
                    <a:pt x="1211" y="0"/>
                  </a:moveTo>
                  <a:lnTo>
                    <a:pt x="1211" y="97"/>
                  </a:lnTo>
                  <a:cubicBezTo>
                    <a:pt x="1211" y="97"/>
                    <a:pt x="213" y="134"/>
                    <a:pt x="0" y="153"/>
                  </a:cubicBezTo>
                  <a:lnTo>
                    <a:pt x="1368" y="153"/>
                  </a:lnTo>
                  <a:cubicBezTo>
                    <a:pt x="1387" y="153"/>
                    <a:pt x="1405" y="134"/>
                    <a:pt x="1405" y="116"/>
                  </a:cubicBezTo>
                  <a:lnTo>
                    <a:pt x="1405" y="37"/>
                  </a:lnTo>
                  <a:cubicBezTo>
                    <a:pt x="1405" y="19"/>
                    <a:pt x="1387" y="0"/>
                    <a:pt x="1368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5" name="Google Shape;775;p39"/>
            <p:cNvSpPr/>
            <p:nvPr/>
          </p:nvSpPr>
          <p:spPr>
            <a:xfrm>
              <a:off x="771556" y="4289320"/>
              <a:ext cx="39957" cy="1570"/>
            </a:xfrm>
            <a:custGeom>
              <a:avLst/>
              <a:gdLst/>
              <a:ahLst/>
              <a:cxnLst/>
              <a:rect l="l" t="t" r="r" b="b"/>
              <a:pathLst>
                <a:path w="1425" h="56" extrusionOk="0">
                  <a:moveTo>
                    <a:pt x="19" y="0"/>
                  </a:moveTo>
                  <a:cubicBezTo>
                    <a:pt x="19" y="0"/>
                    <a:pt x="1" y="0"/>
                    <a:pt x="1" y="19"/>
                  </a:cubicBezTo>
                  <a:lnTo>
                    <a:pt x="1424" y="56"/>
                  </a:lnTo>
                  <a:lnTo>
                    <a:pt x="1424" y="37"/>
                  </a:lnTo>
                  <a:cubicBezTo>
                    <a:pt x="1424" y="19"/>
                    <a:pt x="1406" y="0"/>
                    <a:pt x="138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6" name="Google Shape;776;p39"/>
            <p:cNvSpPr/>
            <p:nvPr/>
          </p:nvSpPr>
          <p:spPr>
            <a:xfrm>
              <a:off x="771051" y="4331941"/>
              <a:ext cx="37209" cy="28657"/>
            </a:xfrm>
            <a:custGeom>
              <a:avLst/>
              <a:gdLst/>
              <a:ahLst/>
              <a:cxnLst/>
              <a:rect l="l" t="t" r="r" b="b"/>
              <a:pathLst>
                <a:path w="1327" h="1022" extrusionOk="0">
                  <a:moveTo>
                    <a:pt x="134" y="0"/>
                  </a:moveTo>
                  <a:lnTo>
                    <a:pt x="0" y="596"/>
                  </a:lnTo>
                  <a:lnTo>
                    <a:pt x="1017" y="1022"/>
                  </a:lnTo>
                  <a:lnTo>
                    <a:pt x="1327" y="444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7" name="Google Shape;777;p39"/>
            <p:cNvSpPr/>
            <p:nvPr/>
          </p:nvSpPr>
          <p:spPr>
            <a:xfrm>
              <a:off x="829879" y="4293582"/>
              <a:ext cx="57790" cy="83223"/>
            </a:xfrm>
            <a:custGeom>
              <a:avLst/>
              <a:gdLst/>
              <a:ahLst/>
              <a:cxnLst/>
              <a:rect l="l" t="t" r="r" b="b"/>
              <a:pathLst>
                <a:path w="2061" h="2968" extrusionOk="0">
                  <a:moveTo>
                    <a:pt x="365" y="1"/>
                  </a:moveTo>
                  <a:lnTo>
                    <a:pt x="37" y="620"/>
                  </a:lnTo>
                  <a:cubicBezTo>
                    <a:pt x="19" y="657"/>
                    <a:pt x="0" y="712"/>
                    <a:pt x="0" y="754"/>
                  </a:cubicBezTo>
                  <a:lnTo>
                    <a:pt x="116" y="2852"/>
                  </a:lnTo>
                  <a:lnTo>
                    <a:pt x="134" y="2967"/>
                  </a:lnTo>
                  <a:lnTo>
                    <a:pt x="1922" y="2967"/>
                  </a:lnTo>
                  <a:lnTo>
                    <a:pt x="1964" y="2353"/>
                  </a:lnTo>
                  <a:lnTo>
                    <a:pt x="2061" y="754"/>
                  </a:lnTo>
                  <a:cubicBezTo>
                    <a:pt x="2061" y="712"/>
                    <a:pt x="2038" y="657"/>
                    <a:pt x="2019" y="620"/>
                  </a:cubicBezTo>
                  <a:lnTo>
                    <a:pt x="1673" y="1"/>
                  </a:ln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8" name="Google Shape;778;p39"/>
            <p:cNvSpPr/>
            <p:nvPr/>
          </p:nvSpPr>
          <p:spPr>
            <a:xfrm>
              <a:off x="832599" y="4295797"/>
              <a:ext cx="52351" cy="78288"/>
            </a:xfrm>
            <a:custGeom>
              <a:avLst/>
              <a:gdLst/>
              <a:ahLst/>
              <a:cxnLst/>
              <a:rect l="l" t="t" r="r" b="b"/>
              <a:pathLst>
                <a:path w="1867" h="2792" extrusionOk="0">
                  <a:moveTo>
                    <a:pt x="324" y="0"/>
                  </a:moveTo>
                  <a:lnTo>
                    <a:pt x="19" y="578"/>
                  </a:lnTo>
                  <a:cubicBezTo>
                    <a:pt x="0" y="596"/>
                    <a:pt x="0" y="633"/>
                    <a:pt x="0" y="675"/>
                  </a:cubicBezTo>
                  <a:lnTo>
                    <a:pt x="116" y="2791"/>
                  </a:lnTo>
                  <a:lnTo>
                    <a:pt x="1751" y="2791"/>
                  </a:lnTo>
                  <a:lnTo>
                    <a:pt x="1867" y="675"/>
                  </a:lnTo>
                  <a:cubicBezTo>
                    <a:pt x="1867" y="633"/>
                    <a:pt x="1867" y="596"/>
                    <a:pt x="1848" y="578"/>
                  </a:cubicBezTo>
                  <a:lnTo>
                    <a:pt x="1539" y="0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9" name="Google Shape;779;p39"/>
            <p:cNvSpPr/>
            <p:nvPr/>
          </p:nvSpPr>
          <p:spPr>
            <a:xfrm>
              <a:off x="838431" y="4289320"/>
              <a:ext cx="40041" cy="4290"/>
            </a:xfrm>
            <a:custGeom>
              <a:avLst/>
              <a:gdLst/>
              <a:ahLst/>
              <a:cxnLst/>
              <a:rect l="l" t="t" r="r" b="b"/>
              <a:pathLst>
                <a:path w="1428" h="153" extrusionOk="0">
                  <a:moveTo>
                    <a:pt x="42" y="0"/>
                  </a:moveTo>
                  <a:cubicBezTo>
                    <a:pt x="23" y="0"/>
                    <a:pt x="23" y="0"/>
                    <a:pt x="0" y="19"/>
                  </a:cubicBezTo>
                  <a:lnTo>
                    <a:pt x="0" y="37"/>
                  </a:lnTo>
                  <a:lnTo>
                    <a:pt x="0" y="116"/>
                  </a:lnTo>
                  <a:cubicBezTo>
                    <a:pt x="0" y="134"/>
                    <a:pt x="23" y="134"/>
                    <a:pt x="23" y="153"/>
                  </a:cubicBezTo>
                  <a:lnTo>
                    <a:pt x="1409" y="153"/>
                  </a:lnTo>
                  <a:cubicBezTo>
                    <a:pt x="1428" y="153"/>
                    <a:pt x="1428" y="134"/>
                    <a:pt x="1428" y="116"/>
                  </a:cubicBezTo>
                  <a:lnTo>
                    <a:pt x="1428" y="37"/>
                  </a:lnTo>
                  <a:cubicBezTo>
                    <a:pt x="1428" y="19"/>
                    <a:pt x="1428" y="0"/>
                    <a:pt x="1409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0" name="Google Shape;780;p39"/>
            <p:cNvSpPr/>
            <p:nvPr/>
          </p:nvSpPr>
          <p:spPr>
            <a:xfrm>
              <a:off x="839076" y="4289320"/>
              <a:ext cx="39396" cy="4290"/>
            </a:xfrm>
            <a:custGeom>
              <a:avLst/>
              <a:gdLst/>
              <a:ahLst/>
              <a:cxnLst/>
              <a:rect l="l" t="t" r="r" b="b"/>
              <a:pathLst>
                <a:path w="1405" h="153" extrusionOk="0">
                  <a:moveTo>
                    <a:pt x="1211" y="0"/>
                  </a:moveTo>
                  <a:cubicBezTo>
                    <a:pt x="1211" y="56"/>
                    <a:pt x="1229" y="97"/>
                    <a:pt x="1211" y="97"/>
                  </a:cubicBezTo>
                  <a:cubicBezTo>
                    <a:pt x="1211" y="97"/>
                    <a:pt x="208" y="134"/>
                    <a:pt x="0" y="153"/>
                  </a:cubicBezTo>
                  <a:lnTo>
                    <a:pt x="1386" y="153"/>
                  </a:lnTo>
                  <a:cubicBezTo>
                    <a:pt x="1405" y="153"/>
                    <a:pt x="1405" y="134"/>
                    <a:pt x="1405" y="116"/>
                  </a:cubicBezTo>
                  <a:lnTo>
                    <a:pt x="1405" y="37"/>
                  </a:lnTo>
                  <a:cubicBezTo>
                    <a:pt x="1405" y="19"/>
                    <a:pt x="1405" y="0"/>
                    <a:pt x="1386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1" name="Google Shape;781;p39"/>
            <p:cNvSpPr/>
            <p:nvPr/>
          </p:nvSpPr>
          <p:spPr>
            <a:xfrm>
              <a:off x="838431" y="4289320"/>
              <a:ext cx="40041" cy="1570"/>
            </a:xfrm>
            <a:custGeom>
              <a:avLst/>
              <a:gdLst/>
              <a:ahLst/>
              <a:cxnLst/>
              <a:rect l="l" t="t" r="r" b="b"/>
              <a:pathLst>
                <a:path w="1428" h="56" extrusionOk="0">
                  <a:moveTo>
                    <a:pt x="42" y="0"/>
                  </a:moveTo>
                  <a:cubicBezTo>
                    <a:pt x="23" y="0"/>
                    <a:pt x="23" y="0"/>
                    <a:pt x="0" y="19"/>
                  </a:cubicBezTo>
                  <a:lnTo>
                    <a:pt x="1428" y="56"/>
                  </a:lnTo>
                  <a:lnTo>
                    <a:pt x="1428" y="37"/>
                  </a:lnTo>
                  <a:cubicBezTo>
                    <a:pt x="1428" y="19"/>
                    <a:pt x="1428" y="0"/>
                    <a:pt x="1409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2" name="Google Shape;782;p39"/>
            <p:cNvSpPr/>
            <p:nvPr/>
          </p:nvSpPr>
          <p:spPr>
            <a:xfrm>
              <a:off x="838431" y="4328688"/>
              <a:ext cx="35639" cy="22180"/>
            </a:xfrm>
            <a:custGeom>
              <a:avLst/>
              <a:gdLst/>
              <a:ahLst/>
              <a:cxnLst/>
              <a:rect l="l" t="t" r="r" b="b"/>
              <a:pathLst>
                <a:path w="1271" h="791" extrusionOk="0">
                  <a:moveTo>
                    <a:pt x="1271" y="1"/>
                  </a:moveTo>
                  <a:lnTo>
                    <a:pt x="0" y="195"/>
                  </a:lnTo>
                  <a:lnTo>
                    <a:pt x="176" y="791"/>
                  </a:lnTo>
                  <a:lnTo>
                    <a:pt x="1271" y="675"/>
                  </a:lnTo>
                  <a:lnTo>
                    <a:pt x="1271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3" name="Google Shape;783;p39"/>
            <p:cNvSpPr/>
            <p:nvPr/>
          </p:nvSpPr>
          <p:spPr>
            <a:xfrm>
              <a:off x="897372" y="4293582"/>
              <a:ext cx="57174" cy="83223"/>
            </a:xfrm>
            <a:custGeom>
              <a:avLst/>
              <a:gdLst/>
              <a:ahLst/>
              <a:cxnLst/>
              <a:rect l="l" t="t" r="r" b="b"/>
              <a:pathLst>
                <a:path w="2039" h="2968" extrusionOk="0">
                  <a:moveTo>
                    <a:pt x="365" y="1"/>
                  </a:moveTo>
                  <a:lnTo>
                    <a:pt x="19" y="620"/>
                  </a:lnTo>
                  <a:cubicBezTo>
                    <a:pt x="0" y="657"/>
                    <a:pt x="0" y="712"/>
                    <a:pt x="0" y="754"/>
                  </a:cubicBezTo>
                  <a:lnTo>
                    <a:pt x="116" y="2852"/>
                  </a:lnTo>
                  <a:lnTo>
                    <a:pt x="116" y="2967"/>
                  </a:lnTo>
                  <a:lnTo>
                    <a:pt x="1904" y="2967"/>
                  </a:lnTo>
                  <a:lnTo>
                    <a:pt x="1941" y="2353"/>
                  </a:lnTo>
                  <a:lnTo>
                    <a:pt x="2038" y="754"/>
                  </a:lnTo>
                  <a:cubicBezTo>
                    <a:pt x="2038" y="712"/>
                    <a:pt x="2038" y="657"/>
                    <a:pt x="2001" y="620"/>
                  </a:cubicBezTo>
                  <a:lnTo>
                    <a:pt x="1673" y="1"/>
                  </a:ln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4" name="Google Shape;784;p39"/>
            <p:cNvSpPr/>
            <p:nvPr/>
          </p:nvSpPr>
          <p:spPr>
            <a:xfrm>
              <a:off x="899447" y="4295797"/>
              <a:ext cx="53024" cy="78288"/>
            </a:xfrm>
            <a:custGeom>
              <a:avLst/>
              <a:gdLst/>
              <a:ahLst/>
              <a:cxnLst/>
              <a:rect l="l" t="t" r="r" b="b"/>
              <a:pathLst>
                <a:path w="1891" h="2792" extrusionOk="0">
                  <a:moveTo>
                    <a:pt x="347" y="0"/>
                  </a:moveTo>
                  <a:lnTo>
                    <a:pt x="19" y="578"/>
                  </a:lnTo>
                  <a:cubicBezTo>
                    <a:pt x="19" y="596"/>
                    <a:pt x="0" y="633"/>
                    <a:pt x="0" y="675"/>
                  </a:cubicBezTo>
                  <a:lnTo>
                    <a:pt x="134" y="2791"/>
                  </a:lnTo>
                  <a:lnTo>
                    <a:pt x="1752" y="2791"/>
                  </a:lnTo>
                  <a:lnTo>
                    <a:pt x="1867" y="675"/>
                  </a:lnTo>
                  <a:cubicBezTo>
                    <a:pt x="1890" y="633"/>
                    <a:pt x="1867" y="596"/>
                    <a:pt x="1849" y="578"/>
                  </a:cubicBezTo>
                  <a:lnTo>
                    <a:pt x="1544" y="0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5" name="Google Shape;785;p39"/>
            <p:cNvSpPr/>
            <p:nvPr/>
          </p:nvSpPr>
          <p:spPr>
            <a:xfrm>
              <a:off x="905924" y="4289320"/>
              <a:ext cx="40069" cy="4290"/>
            </a:xfrm>
            <a:custGeom>
              <a:avLst/>
              <a:gdLst/>
              <a:ahLst/>
              <a:cxnLst/>
              <a:rect l="l" t="t" r="r" b="b"/>
              <a:pathLst>
                <a:path w="1429" h="153" extrusionOk="0">
                  <a:moveTo>
                    <a:pt x="19" y="0"/>
                  </a:moveTo>
                  <a:cubicBezTo>
                    <a:pt x="19" y="0"/>
                    <a:pt x="0" y="0"/>
                    <a:pt x="0" y="19"/>
                  </a:cubicBezTo>
                  <a:lnTo>
                    <a:pt x="0" y="37"/>
                  </a:lnTo>
                  <a:lnTo>
                    <a:pt x="0" y="116"/>
                  </a:lnTo>
                  <a:cubicBezTo>
                    <a:pt x="0" y="134"/>
                    <a:pt x="0" y="134"/>
                    <a:pt x="19" y="153"/>
                  </a:cubicBezTo>
                  <a:lnTo>
                    <a:pt x="1387" y="153"/>
                  </a:lnTo>
                  <a:cubicBezTo>
                    <a:pt x="1405" y="153"/>
                    <a:pt x="1428" y="134"/>
                    <a:pt x="1428" y="116"/>
                  </a:cubicBezTo>
                  <a:lnTo>
                    <a:pt x="1428" y="37"/>
                  </a:lnTo>
                  <a:cubicBezTo>
                    <a:pt x="1428" y="19"/>
                    <a:pt x="1405" y="0"/>
                    <a:pt x="1387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6" name="Google Shape;786;p39"/>
            <p:cNvSpPr/>
            <p:nvPr/>
          </p:nvSpPr>
          <p:spPr>
            <a:xfrm>
              <a:off x="906428" y="4289320"/>
              <a:ext cx="39564" cy="4290"/>
            </a:xfrm>
            <a:custGeom>
              <a:avLst/>
              <a:gdLst/>
              <a:ahLst/>
              <a:cxnLst/>
              <a:rect l="l" t="t" r="r" b="b"/>
              <a:pathLst>
                <a:path w="1411" h="153" extrusionOk="0">
                  <a:moveTo>
                    <a:pt x="1216" y="0"/>
                  </a:moveTo>
                  <a:lnTo>
                    <a:pt x="1216" y="97"/>
                  </a:lnTo>
                  <a:cubicBezTo>
                    <a:pt x="1216" y="97"/>
                    <a:pt x="213" y="134"/>
                    <a:pt x="1" y="153"/>
                  </a:cubicBezTo>
                  <a:lnTo>
                    <a:pt x="1369" y="153"/>
                  </a:lnTo>
                  <a:cubicBezTo>
                    <a:pt x="1387" y="153"/>
                    <a:pt x="1410" y="134"/>
                    <a:pt x="1410" y="116"/>
                  </a:cubicBezTo>
                  <a:lnTo>
                    <a:pt x="1410" y="37"/>
                  </a:lnTo>
                  <a:cubicBezTo>
                    <a:pt x="1410" y="19"/>
                    <a:pt x="1387" y="0"/>
                    <a:pt x="1369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7" name="Google Shape;787;p39"/>
            <p:cNvSpPr/>
            <p:nvPr/>
          </p:nvSpPr>
          <p:spPr>
            <a:xfrm>
              <a:off x="905924" y="4289320"/>
              <a:ext cx="40069" cy="1570"/>
            </a:xfrm>
            <a:custGeom>
              <a:avLst/>
              <a:gdLst/>
              <a:ahLst/>
              <a:cxnLst/>
              <a:rect l="l" t="t" r="r" b="b"/>
              <a:pathLst>
                <a:path w="1429" h="56" extrusionOk="0">
                  <a:moveTo>
                    <a:pt x="19" y="0"/>
                  </a:moveTo>
                  <a:cubicBezTo>
                    <a:pt x="19" y="0"/>
                    <a:pt x="0" y="0"/>
                    <a:pt x="0" y="19"/>
                  </a:cubicBezTo>
                  <a:lnTo>
                    <a:pt x="1428" y="56"/>
                  </a:lnTo>
                  <a:lnTo>
                    <a:pt x="1428" y="37"/>
                  </a:lnTo>
                  <a:cubicBezTo>
                    <a:pt x="1428" y="19"/>
                    <a:pt x="1405" y="0"/>
                    <a:pt x="138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8" name="Google Shape;788;p39"/>
            <p:cNvSpPr/>
            <p:nvPr/>
          </p:nvSpPr>
          <p:spPr>
            <a:xfrm>
              <a:off x="906428" y="4327650"/>
              <a:ext cx="36845" cy="25965"/>
            </a:xfrm>
            <a:custGeom>
              <a:avLst/>
              <a:gdLst/>
              <a:ahLst/>
              <a:cxnLst/>
              <a:rect l="l" t="t" r="r" b="b"/>
              <a:pathLst>
                <a:path w="1314" h="926" extrusionOk="0">
                  <a:moveTo>
                    <a:pt x="79" y="1"/>
                  </a:moveTo>
                  <a:lnTo>
                    <a:pt x="1" y="615"/>
                  </a:lnTo>
                  <a:lnTo>
                    <a:pt x="1064" y="925"/>
                  </a:lnTo>
                  <a:lnTo>
                    <a:pt x="1313" y="306"/>
                  </a:lnTo>
                  <a:lnTo>
                    <a:pt x="79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9" name="Google Shape;789;p39"/>
            <p:cNvSpPr/>
            <p:nvPr/>
          </p:nvSpPr>
          <p:spPr>
            <a:xfrm>
              <a:off x="964219" y="4293582"/>
              <a:ext cx="57818" cy="83223"/>
            </a:xfrm>
            <a:custGeom>
              <a:avLst/>
              <a:gdLst/>
              <a:ahLst/>
              <a:cxnLst/>
              <a:rect l="l" t="t" r="r" b="b"/>
              <a:pathLst>
                <a:path w="2062" h="2968" extrusionOk="0">
                  <a:moveTo>
                    <a:pt x="366" y="1"/>
                  </a:moveTo>
                  <a:lnTo>
                    <a:pt x="42" y="620"/>
                  </a:lnTo>
                  <a:cubicBezTo>
                    <a:pt x="19" y="657"/>
                    <a:pt x="1" y="712"/>
                    <a:pt x="1" y="754"/>
                  </a:cubicBezTo>
                  <a:lnTo>
                    <a:pt x="135" y="2852"/>
                  </a:lnTo>
                  <a:lnTo>
                    <a:pt x="135" y="2967"/>
                  </a:lnTo>
                  <a:lnTo>
                    <a:pt x="1927" y="2967"/>
                  </a:lnTo>
                  <a:lnTo>
                    <a:pt x="1964" y="2353"/>
                  </a:lnTo>
                  <a:lnTo>
                    <a:pt x="2061" y="754"/>
                  </a:lnTo>
                  <a:cubicBezTo>
                    <a:pt x="2061" y="712"/>
                    <a:pt x="2043" y="657"/>
                    <a:pt x="2024" y="620"/>
                  </a:cubicBezTo>
                  <a:lnTo>
                    <a:pt x="1678" y="1"/>
                  </a:ln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0" name="Google Shape;790;p39"/>
            <p:cNvSpPr/>
            <p:nvPr/>
          </p:nvSpPr>
          <p:spPr>
            <a:xfrm>
              <a:off x="966939" y="4295797"/>
              <a:ext cx="52379" cy="78288"/>
            </a:xfrm>
            <a:custGeom>
              <a:avLst/>
              <a:gdLst/>
              <a:ahLst/>
              <a:cxnLst/>
              <a:rect l="l" t="t" r="r" b="b"/>
              <a:pathLst>
                <a:path w="1868" h="2792" extrusionOk="0">
                  <a:moveTo>
                    <a:pt x="329" y="0"/>
                  </a:moveTo>
                  <a:lnTo>
                    <a:pt x="19" y="578"/>
                  </a:lnTo>
                  <a:cubicBezTo>
                    <a:pt x="1" y="596"/>
                    <a:pt x="1" y="633"/>
                    <a:pt x="1" y="675"/>
                  </a:cubicBezTo>
                  <a:lnTo>
                    <a:pt x="116" y="2791"/>
                  </a:lnTo>
                  <a:lnTo>
                    <a:pt x="1752" y="2791"/>
                  </a:lnTo>
                  <a:lnTo>
                    <a:pt x="1867" y="675"/>
                  </a:lnTo>
                  <a:cubicBezTo>
                    <a:pt x="1867" y="633"/>
                    <a:pt x="1867" y="596"/>
                    <a:pt x="1849" y="578"/>
                  </a:cubicBezTo>
                  <a:lnTo>
                    <a:pt x="1539" y="0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1" name="Google Shape;791;p39"/>
            <p:cNvSpPr/>
            <p:nvPr/>
          </p:nvSpPr>
          <p:spPr>
            <a:xfrm>
              <a:off x="972911" y="4289320"/>
              <a:ext cx="40434" cy="4290"/>
            </a:xfrm>
            <a:custGeom>
              <a:avLst/>
              <a:gdLst/>
              <a:ahLst/>
              <a:cxnLst/>
              <a:rect l="l" t="t" r="r" b="b"/>
              <a:pathLst>
                <a:path w="1442" h="153" extrusionOk="0">
                  <a:moveTo>
                    <a:pt x="37" y="0"/>
                  </a:moveTo>
                  <a:cubicBezTo>
                    <a:pt x="19" y="0"/>
                    <a:pt x="19" y="0"/>
                    <a:pt x="0" y="19"/>
                  </a:cubicBezTo>
                  <a:lnTo>
                    <a:pt x="0" y="37"/>
                  </a:lnTo>
                  <a:lnTo>
                    <a:pt x="0" y="116"/>
                  </a:lnTo>
                  <a:cubicBezTo>
                    <a:pt x="0" y="134"/>
                    <a:pt x="19" y="134"/>
                    <a:pt x="37" y="153"/>
                  </a:cubicBezTo>
                  <a:lnTo>
                    <a:pt x="1405" y="153"/>
                  </a:lnTo>
                  <a:cubicBezTo>
                    <a:pt x="1423" y="153"/>
                    <a:pt x="1442" y="134"/>
                    <a:pt x="1442" y="116"/>
                  </a:cubicBezTo>
                  <a:lnTo>
                    <a:pt x="1442" y="37"/>
                  </a:lnTo>
                  <a:cubicBezTo>
                    <a:pt x="1442" y="19"/>
                    <a:pt x="1423" y="0"/>
                    <a:pt x="1405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2" name="Google Shape;792;p39"/>
            <p:cNvSpPr/>
            <p:nvPr/>
          </p:nvSpPr>
          <p:spPr>
            <a:xfrm>
              <a:off x="973949" y="4289320"/>
              <a:ext cx="39396" cy="4290"/>
            </a:xfrm>
            <a:custGeom>
              <a:avLst/>
              <a:gdLst/>
              <a:ahLst/>
              <a:cxnLst/>
              <a:rect l="l" t="t" r="r" b="b"/>
              <a:pathLst>
                <a:path w="1405" h="153" extrusionOk="0">
                  <a:moveTo>
                    <a:pt x="1197" y="0"/>
                  </a:moveTo>
                  <a:cubicBezTo>
                    <a:pt x="1197" y="56"/>
                    <a:pt x="1215" y="97"/>
                    <a:pt x="1215" y="97"/>
                  </a:cubicBezTo>
                  <a:cubicBezTo>
                    <a:pt x="1197" y="97"/>
                    <a:pt x="194" y="134"/>
                    <a:pt x="0" y="153"/>
                  </a:cubicBezTo>
                  <a:lnTo>
                    <a:pt x="1368" y="153"/>
                  </a:lnTo>
                  <a:cubicBezTo>
                    <a:pt x="1386" y="153"/>
                    <a:pt x="1405" y="134"/>
                    <a:pt x="1405" y="116"/>
                  </a:cubicBezTo>
                  <a:lnTo>
                    <a:pt x="1405" y="37"/>
                  </a:lnTo>
                  <a:cubicBezTo>
                    <a:pt x="1405" y="19"/>
                    <a:pt x="1386" y="0"/>
                    <a:pt x="1368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3" name="Google Shape;793;p39"/>
            <p:cNvSpPr/>
            <p:nvPr/>
          </p:nvSpPr>
          <p:spPr>
            <a:xfrm>
              <a:off x="972911" y="4289320"/>
              <a:ext cx="40434" cy="1570"/>
            </a:xfrm>
            <a:custGeom>
              <a:avLst/>
              <a:gdLst/>
              <a:ahLst/>
              <a:cxnLst/>
              <a:rect l="l" t="t" r="r" b="b"/>
              <a:pathLst>
                <a:path w="1442" h="56" extrusionOk="0">
                  <a:moveTo>
                    <a:pt x="37" y="0"/>
                  </a:moveTo>
                  <a:cubicBezTo>
                    <a:pt x="19" y="0"/>
                    <a:pt x="19" y="0"/>
                    <a:pt x="0" y="19"/>
                  </a:cubicBezTo>
                  <a:lnTo>
                    <a:pt x="1442" y="56"/>
                  </a:lnTo>
                  <a:lnTo>
                    <a:pt x="1442" y="37"/>
                  </a:lnTo>
                  <a:cubicBezTo>
                    <a:pt x="1442" y="19"/>
                    <a:pt x="1423" y="0"/>
                    <a:pt x="1405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4" name="Google Shape;794;p39"/>
            <p:cNvSpPr/>
            <p:nvPr/>
          </p:nvSpPr>
          <p:spPr>
            <a:xfrm>
              <a:off x="975631" y="4323893"/>
              <a:ext cx="35639" cy="18815"/>
            </a:xfrm>
            <a:custGeom>
              <a:avLst/>
              <a:gdLst/>
              <a:ahLst/>
              <a:cxnLst/>
              <a:rect l="l" t="t" r="r" b="b"/>
              <a:pathLst>
                <a:path w="1271" h="671" extrusionOk="0">
                  <a:moveTo>
                    <a:pt x="0" y="1"/>
                  </a:moveTo>
                  <a:lnTo>
                    <a:pt x="74" y="615"/>
                  </a:lnTo>
                  <a:lnTo>
                    <a:pt x="1174" y="671"/>
                  </a:lnTo>
                  <a:lnTo>
                    <a:pt x="1271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5" name="Google Shape;795;p39"/>
            <p:cNvSpPr/>
            <p:nvPr/>
          </p:nvSpPr>
          <p:spPr>
            <a:xfrm>
              <a:off x="1031739" y="4293582"/>
              <a:ext cx="57286" cy="83223"/>
            </a:xfrm>
            <a:custGeom>
              <a:avLst/>
              <a:gdLst/>
              <a:ahLst/>
              <a:cxnLst/>
              <a:rect l="l" t="t" r="r" b="b"/>
              <a:pathLst>
                <a:path w="2043" h="2968" extrusionOk="0">
                  <a:moveTo>
                    <a:pt x="365" y="1"/>
                  </a:moveTo>
                  <a:lnTo>
                    <a:pt x="37" y="620"/>
                  </a:lnTo>
                  <a:cubicBezTo>
                    <a:pt x="0" y="657"/>
                    <a:pt x="0" y="712"/>
                    <a:pt x="0" y="754"/>
                  </a:cubicBezTo>
                  <a:lnTo>
                    <a:pt x="116" y="2852"/>
                  </a:lnTo>
                  <a:lnTo>
                    <a:pt x="116" y="2967"/>
                  </a:lnTo>
                  <a:lnTo>
                    <a:pt x="1927" y="2967"/>
                  </a:lnTo>
                  <a:lnTo>
                    <a:pt x="1945" y="2353"/>
                  </a:lnTo>
                  <a:lnTo>
                    <a:pt x="2042" y="754"/>
                  </a:lnTo>
                  <a:cubicBezTo>
                    <a:pt x="2042" y="712"/>
                    <a:pt x="2042" y="657"/>
                    <a:pt x="2001" y="620"/>
                  </a:cubicBezTo>
                  <a:lnTo>
                    <a:pt x="1677" y="1"/>
                  </a:ln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6" name="Google Shape;796;p39"/>
            <p:cNvSpPr/>
            <p:nvPr/>
          </p:nvSpPr>
          <p:spPr>
            <a:xfrm>
              <a:off x="1033926" y="4295797"/>
              <a:ext cx="52883" cy="78288"/>
            </a:xfrm>
            <a:custGeom>
              <a:avLst/>
              <a:gdLst/>
              <a:ahLst/>
              <a:cxnLst/>
              <a:rect l="l" t="t" r="r" b="b"/>
              <a:pathLst>
                <a:path w="1886" h="2792" extrusionOk="0">
                  <a:moveTo>
                    <a:pt x="347" y="0"/>
                  </a:moveTo>
                  <a:lnTo>
                    <a:pt x="38" y="578"/>
                  </a:lnTo>
                  <a:cubicBezTo>
                    <a:pt x="19" y="596"/>
                    <a:pt x="1" y="633"/>
                    <a:pt x="1" y="675"/>
                  </a:cubicBezTo>
                  <a:lnTo>
                    <a:pt x="135" y="2791"/>
                  </a:lnTo>
                  <a:lnTo>
                    <a:pt x="1752" y="2791"/>
                  </a:lnTo>
                  <a:lnTo>
                    <a:pt x="1886" y="675"/>
                  </a:lnTo>
                  <a:cubicBezTo>
                    <a:pt x="1886" y="633"/>
                    <a:pt x="1867" y="596"/>
                    <a:pt x="1849" y="578"/>
                  </a:cubicBezTo>
                  <a:lnTo>
                    <a:pt x="1539" y="0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7" name="Google Shape;797;p39"/>
            <p:cNvSpPr/>
            <p:nvPr/>
          </p:nvSpPr>
          <p:spPr>
            <a:xfrm>
              <a:off x="1040404" y="4289320"/>
              <a:ext cx="39929" cy="4290"/>
            </a:xfrm>
            <a:custGeom>
              <a:avLst/>
              <a:gdLst/>
              <a:ahLst/>
              <a:cxnLst/>
              <a:rect l="l" t="t" r="r" b="b"/>
              <a:pathLst>
                <a:path w="1424" h="153" extrusionOk="0">
                  <a:moveTo>
                    <a:pt x="38" y="0"/>
                  </a:moveTo>
                  <a:cubicBezTo>
                    <a:pt x="19" y="0"/>
                    <a:pt x="1" y="0"/>
                    <a:pt x="1" y="19"/>
                  </a:cubicBezTo>
                  <a:lnTo>
                    <a:pt x="1" y="37"/>
                  </a:lnTo>
                  <a:lnTo>
                    <a:pt x="1" y="116"/>
                  </a:lnTo>
                  <a:cubicBezTo>
                    <a:pt x="1" y="134"/>
                    <a:pt x="1" y="134"/>
                    <a:pt x="19" y="153"/>
                  </a:cubicBezTo>
                  <a:lnTo>
                    <a:pt x="1387" y="153"/>
                  </a:lnTo>
                  <a:cubicBezTo>
                    <a:pt x="1405" y="153"/>
                    <a:pt x="1424" y="134"/>
                    <a:pt x="1424" y="116"/>
                  </a:cubicBezTo>
                  <a:lnTo>
                    <a:pt x="1424" y="37"/>
                  </a:lnTo>
                  <a:cubicBezTo>
                    <a:pt x="1424" y="19"/>
                    <a:pt x="1405" y="0"/>
                    <a:pt x="1387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8" name="Google Shape;798;p39"/>
            <p:cNvSpPr/>
            <p:nvPr/>
          </p:nvSpPr>
          <p:spPr>
            <a:xfrm>
              <a:off x="1040936" y="4289320"/>
              <a:ext cx="39396" cy="4290"/>
            </a:xfrm>
            <a:custGeom>
              <a:avLst/>
              <a:gdLst/>
              <a:ahLst/>
              <a:cxnLst/>
              <a:rect l="l" t="t" r="r" b="b"/>
              <a:pathLst>
                <a:path w="1405" h="153" extrusionOk="0">
                  <a:moveTo>
                    <a:pt x="1211" y="0"/>
                  </a:moveTo>
                  <a:lnTo>
                    <a:pt x="1211" y="97"/>
                  </a:lnTo>
                  <a:cubicBezTo>
                    <a:pt x="1211" y="97"/>
                    <a:pt x="213" y="134"/>
                    <a:pt x="0" y="153"/>
                  </a:cubicBezTo>
                  <a:lnTo>
                    <a:pt x="1368" y="153"/>
                  </a:lnTo>
                  <a:cubicBezTo>
                    <a:pt x="1386" y="153"/>
                    <a:pt x="1405" y="134"/>
                    <a:pt x="1405" y="116"/>
                  </a:cubicBezTo>
                  <a:lnTo>
                    <a:pt x="1405" y="37"/>
                  </a:lnTo>
                  <a:cubicBezTo>
                    <a:pt x="1405" y="19"/>
                    <a:pt x="1386" y="0"/>
                    <a:pt x="1368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9" name="Google Shape;799;p39"/>
            <p:cNvSpPr/>
            <p:nvPr/>
          </p:nvSpPr>
          <p:spPr>
            <a:xfrm>
              <a:off x="1040404" y="4289320"/>
              <a:ext cx="39929" cy="1570"/>
            </a:xfrm>
            <a:custGeom>
              <a:avLst/>
              <a:gdLst/>
              <a:ahLst/>
              <a:cxnLst/>
              <a:rect l="l" t="t" r="r" b="b"/>
              <a:pathLst>
                <a:path w="1424" h="56" extrusionOk="0">
                  <a:moveTo>
                    <a:pt x="38" y="0"/>
                  </a:moveTo>
                  <a:cubicBezTo>
                    <a:pt x="19" y="0"/>
                    <a:pt x="1" y="0"/>
                    <a:pt x="1" y="19"/>
                  </a:cubicBezTo>
                  <a:lnTo>
                    <a:pt x="1424" y="56"/>
                  </a:lnTo>
                  <a:lnTo>
                    <a:pt x="1424" y="37"/>
                  </a:lnTo>
                  <a:cubicBezTo>
                    <a:pt x="1424" y="19"/>
                    <a:pt x="1405" y="0"/>
                    <a:pt x="138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0" name="Google Shape;800;p39"/>
            <p:cNvSpPr/>
            <p:nvPr/>
          </p:nvSpPr>
          <p:spPr>
            <a:xfrm>
              <a:off x="1038721" y="4333623"/>
              <a:ext cx="36817" cy="25937"/>
            </a:xfrm>
            <a:custGeom>
              <a:avLst/>
              <a:gdLst/>
              <a:ahLst/>
              <a:cxnLst/>
              <a:rect l="l" t="t" r="r" b="b"/>
              <a:pathLst>
                <a:path w="1313" h="925" extrusionOk="0">
                  <a:moveTo>
                    <a:pt x="79" y="0"/>
                  </a:moveTo>
                  <a:lnTo>
                    <a:pt x="1" y="615"/>
                  </a:lnTo>
                  <a:lnTo>
                    <a:pt x="1059" y="925"/>
                  </a:lnTo>
                  <a:lnTo>
                    <a:pt x="1313" y="287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801" name="Google Shape;801;p39"/>
          <p:cNvGrpSpPr/>
          <p:nvPr/>
        </p:nvGrpSpPr>
        <p:grpSpPr>
          <a:xfrm flipH="1">
            <a:off x="1071105" y="629386"/>
            <a:ext cx="2354339" cy="906993"/>
            <a:chOff x="237646" y="4005303"/>
            <a:chExt cx="312534" cy="120404"/>
          </a:xfrm>
        </p:grpSpPr>
        <p:sp>
          <p:nvSpPr>
            <p:cNvPr id="802" name="Google Shape;802;p39"/>
            <p:cNvSpPr/>
            <p:nvPr/>
          </p:nvSpPr>
          <p:spPr>
            <a:xfrm>
              <a:off x="272753" y="4047951"/>
              <a:ext cx="12983" cy="73465"/>
            </a:xfrm>
            <a:custGeom>
              <a:avLst/>
              <a:gdLst/>
              <a:ahLst/>
              <a:cxnLst/>
              <a:rect l="l" t="t" r="r" b="b"/>
              <a:pathLst>
                <a:path w="463" h="2620" extrusionOk="0">
                  <a:moveTo>
                    <a:pt x="19" y="0"/>
                  </a:moveTo>
                  <a:cubicBezTo>
                    <a:pt x="38" y="60"/>
                    <a:pt x="38" y="97"/>
                    <a:pt x="38" y="157"/>
                  </a:cubicBezTo>
                  <a:lnTo>
                    <a:pt x="38" y="291"/>
                  </a:lnTo>
                  <a:lnTo>
                    <a:pt x="38" y="370"/>
                  </a:lnTo>
                  <a:lnTo>
                    <a:pt x="38" y="541"/>
                  </a:lnTo>
                  <a:lnTo>
                    <a:pt x="38" y="966"/>
                  </a:lnTo>
                  <a:lnTo>
                    <a:pt x="38" y="1562"/>
                  </a:lnTo>
                  <a:cubicBezTo>
                    <a:pt x="38" y="1830"/>
                    <a:pt x="38" y="2079"/>
                    <a:pt x="19" y="2333"/>
                  </a:cubicBezTo>
                  <a:lnTo>
                    <a:pt x="19" y="2504"/>
                  </a:lnTo>
                  <a:cubicBezTo>
                    <a:pt x="19" y="2523"/>
                    <a:pt x="19" y="2523"/>
                    <a:pt x="1" y="2541"/>
                  </a:cubicBezTo>
                  <a:lnTo>
                    <a:pt x="1" y="2620"/>
                  </a:lnTo>
                  <a:lnTo>
                    <a:pt x="347" y="2620"/>
                  </a:lnTo>
                  <a:lnTo>
                    <a:pt x="347" y="2541"/>
                  </a:lnTo>
                  <a:lnTo>
                    <a:pt x="366" y="2523"/>
                  </a:lnTo>
                  <a:lnTo>
                    <a:pt x="366" y="2504"/>
                  </a:lnTo>
                  <a:lnTo>
                    <a:pt x="366" y="2449"/>
                  </a:lnTo>
                  <a:cubicBezTo>
                    <a:pt x="366" y="2407"/>
                    <a:pt x="384" y="2389"/>
                    <a:pt x="384" y="2352"/>
                  </a:cubicBezTo>
                  <a:lnTo>
                    <a:pt x="384" y="2333"/>
                  </a:lnTo>
                  <a:lnTo>
                    <a:pt x="384" y="2310"/>
                  </a:lnTo>
                  <a:cubicBezTo>
                    <a:pt x="403" y="2255"/>
                    <a:pt x="403" y="2176"/>
                    <a:pt x="403" y="2102"/>
                  </a:cubicBezTo>
                  <a:cubicBezTo>
                    <a:pt x="421" y="2079"/>
                    <a:pt x="421" y="2061"/>
                    <a:pt x="421" y="2042"/>
                  </a:cubicBezTo>
                  <a:lnTo>
                    <a:pt x="421" y="2005"/>
                  </a:lnTo>
                  <a:lnTo>
                    <a:pt x="421" y="1964"/>
                  </a:lnTo>
                  <a:lnTo>
                    <a:pt x="421" y="1927"/>
                  </a:lnTo>
                  <a:cubicBezTo>
                    <a:pt x="421" y="1908"/>
                    <a:pt x="421" y="1890"/>
                    <a:pt x="444" y="1871"/>
                  </a:cubicBezTo>
                  <a:lnTo>
                    <a:pt x="444" y="1793"/>
                  </a:lnTo>
                  <a:lnTo>
                    <a:pt x="444" y="1733"/>
                  </a:lnTo>
                  <a:lnTo>
                    <a:pt x="444" y="1714"/>
                  </a:lnTo>
                  <a:lnTo>
                    <a:pt x="444" y="1659"/>
                  </a:lnTo>
                  <a:lnTo>
                    <a:pt x="444" y="1617"/>
                  </a:lnTo>
                  <a:cubicBezTo>
                    <a:pt x="444" y="1599"/>
                    <a:pt x="444" y="1599"/>
                    <a:pt x="463" y="1580"/>
                  </a:cubicBezTo>
                  <a:lnTo>
                    <a:pt x="463" y="1562"/>
                  </a:lnTo>
                  <a:lnTo>
                    <a:pt x="463" y="1428"/>
                  </a:lnTo>
                  <a:lnTo>
                    <a:pt x="463" y="1409"/>
                  </a:lnTo>
                  <a:lnTo>
                    <a:pt x="463" y="1349"/>
                  </a:lnTo>
                  <a:lnTo>
                    <a:pt x="463" y="1331"/>
                  </a:lnTo>
                  <a:lnTo>
                    <a:pt x="463" y="1252"/>
                  </a:lnTo>
                  <a:lnTo>
                    <a:pt x="463" y="1178"/>
                  </a:lnTo>
                  <a:lnTo>
                    <a:pt x="463" y="1155"/>
                  </a:lnTo>
                  <a:cubicBezTo>
                    <a:pt x="463" y="966"/>
                    <a:pt x="463" y="753"/>
                    <a:pt x="444" y="559"/>
                  </a:cubicBezTo>
                  <a:lnTo>
                    <a:pt x="444" y="504"/>
                  </a:lnTo>
                  <a:lnTo>
                    <a:pt x="444" y="462"/>
                  </a:lnTo>
                  <a:lnTo>
                    <a:pt x="444" y="425"/>
                  </a:lnTo>
                  <a:lnTo>
                    <a:pt x="444" y="370"/>
                  </a:lnTo>
                  <a:lnTo>
                    <a:pt x="444" y="347"/>
                  </a:lnTo>
                  <a:lnTo>
                    <a:pt x="444" y="310"/>
                  </a:lnTo>
                  <a:cubicBezTo>
                    <a:pt x="421" y="273"/>
                    <a:pt x="421" y="231"/>
                    <a:pt x="421" y="194"/>
                  </a:cubicBezTo>
                  <a:lnTo>
                    <a:pt x="421" y="157"/>
                  </a:lnTo>
                  <a:lnTo>
                    <a:pt x="421" y="139"/>
                  </a:lnTo>
                  <a:lnTo>
                    <a:pt x="421" y="97"/>
                  </a:lnTo>
                  <a:cubicBezTo>
                    <a:pt x="421" y="60"/>
                    <a:pt x="403" y="42"/>
                    <a:pt x="403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3" name="Google Shape;803;p39"/>
            <p:cNvSpPr/>
            <p:nvPr/>
          </p:nvSpPr>
          <p:spPr>
            <a:xfrm>
              <a:off x="237646" y="4047951"/>
              <a:ext cx="16235" cy="73465"/>
            </a:xfrm>
            <a:custGeom>
              <a:avLst/>
              <a:gdLst/>
              <a:ahLst/>
              <a:cxnLst/>
              <a:rect l="l" t="t" r="r" b="b"/>
              <a:pathLst>
                <a:path w="579" h="2620" extrusionOk="0">
                  <a:moveTo>
                    <a:pt x="171" y="0"/>
                  </a:moveTo>
                  <a:cubicBezTo>
                    <a:pt x="153" y="0"/>
                    <a:pt x="135" y="23"/>
                    <a:pt x="135" y="42"/>
                  </a:cubicBezTo>
                  <a:cubicBezTo>
                    <a:pt x="116" y="157"/>
                    <a:pt x="98" y="273"/>
                    <a:pt x="79" y="370"/>
                  </a:cubicBezTo>
                  <a:lnTo>
                    <a:pt x="79" y="462"/>
                  </a:lnTo>
                  <a:cubicBezTo>
                    <a:pt x="1" y="1118"/>
                    <a:pt x="37" y="1733"/>
                    <a:pt x="171" y="2310"/>
                  </a:cubicBezTo>
                  <a:cubicBezTo>
                    <a:pt x="195" y="2389"/>
                    <a:pt x="195" y="2449"/>
                    <a:pt x="213" y="2504"/>
                  </a:cubicBezTo>
                  <a:cubicBezTo>
                    <a:pt x="213" y="2523"/>
                    <a:pt x="213" y="2523"/>
                    <a:pt x="232" y="2523"/>
                  </a:cubicBezTo>
                  <a:lnTo>
                    <a:pt x="232" y="2583"/>
                  </a:lnTo>
                  <a:cubicBezTo>
                    <a:pt x="250" y="2601"/>
                    <a:pt x="269" y="2620"/>
                    <a:pt x="287" y="2620"/>
                  </a:cubicBezTo>
                  <a:lnTo>
                    <a:pt x="578" y="2620"/>
                  </a:lnTo>
                  <a:lnTo>
                    <a:pt x="578" y="2541"/>
                  </a:lnTo>
                  <a:cubicBezTo>
                    <a:pt x="560" y="2523"/>
                    <a:pt x="560" y="2523"/>
                    <a:pt x="560" y="2504"/>
                  </a:cubicBezTo>
                  <a:cubicBezTo>
                    <a:pt x="560" y="2449"/>
                    <a:pt x="541" y="2389"/>
                    <a:pt x="541" y="2310"/>
                  </a:cubicBezTo>
                  <a:cubicBezTo>
                    <a:pt x="463" y="1756"/>
                    <a:pt x="444" y="1137"/>
                    <a:pt x="481" y="485"/>
                  </a:cubicBezTo>
                  <a:lnTo>
                    <a:pt x="481" y="370"/>
                  </a:lnTo>
                  <a:cubicBezTo>
                    <a:pt x="500" y="254"/>
                    <a:pt x="500" y="139"/>
                    <a:pt x="51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4" name="Google Shape;804;p39"/>
            <p:cNvSpPr/>
            <p:nvPr/>
          </p:nvSpPr>
          <p:spPr>
            <a:xfrm>
              <a:off x="249563" y="4047951"/>
              <a:ext cx="14020" cy="73465"/>
            </a:xfrm>
            <a:custGeom>
              <a:avLst/>
              <a:gdLst/>
              <a:ahLst/>
              <a:cxnLst/>
              <a:rect l="l" t="t" r="r" b="b"/>
              <a:pathLst>
                <a:path w="500" h="2620" extrusionOk="0">
                  <a:moveTo>
                    <a:pt x="93" y="0"/>
                  </a:moveTo>
                  <a:cubicBezTo>
                    <a:pt x="1" y="947"/>
                    <a:pt x="19" y="1830"/>
                    <a:pt x="153" y="2620"/>
                  </a:cubicBezTo>
                  <a:lnTo>
                    <a:pt x="500" y="2620"/>
                  </a:lnTo>
                  <a:cubicBezTo>
                    <a:pt x="440" y="1830"/>
                    <a:pt x="440" y="947"/>
                    <a:pt x="481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5" name="Google Shape;805;p39"/>
            <p:cNvSpPr/>
            <p:nvPr/>
          </p:nvSpPr>
          <p:spPr>
            <a:xfrm>
              <a:off x="262518" y="4047951"/>
              <a:ext cx="11300" cy="73465"/>
            </a:xfrm>
            <a:custGeom>
              <a:avLst/>
              <a:gdLst/>
              <a:ahLst/>
              <a:cxnLst/>
              <a:rect l="l" t="t" r="r" b="b"/>
              <a:pathLst>
                <a:path w="403" h="2620" extrusionOk="0">
                  <a:moveTo>
                    <a:pt x="19" y="0"/>
                  </a:moveTo>
                  <a:cubicBezTo>
                    <a:pt x="19" y="60"/>
                    <a:pt x="1" y="97"/>
                    <a:pt x="1" y="157"/>
                  </a:cubicBezTo>
                  <a:lnTo>
                    <a:pt x="1" y="291"/>
                  </a:lnTo>
                  <a:lnTo>
                    <a:pt x="1" y="370"/>
                  </a:lnTo>
                  <a:lnTo>
                    <a:pt x="1" y="504"/>
                  </a:lnTo>
                  <a:lnTo>
                    <a:pt x="1" y="1021"/>
                  </a:lnTo>
                  <a:lnTo>
                    <a:pt x="1" y="1617"/>
                  </a:lnTo>
                  <a:cubicBezTo>
                    <a:pt x="1" y="1871"/>
                    <a:pt x="1" y="2102"/>
                    <a:pt x="19" y="2333"/>
                  </a:cubicBezTo>
                  <a:lnTo>
                    <a:pt x="19" y="2504"/>
                  </a:lnTo>
                  <a:cubicBezTo>
                    <a:pt x="38" y="2541"/>
                    <a:pt x="38" y="2583"/>
                    <a:pt x="38" y="2620"/>
                  </a:cubicBezTo>
                  <a:lnTo>
                    <a:pt x="366" y="2620"/>
                  </a:lnTo>
                  <a:lnTo>
                    <a:pt x="366" y="2541"/>
                  </a:lnTo>
                  <a:cubicBezTo>
                    <a:pt x="384" y="2523"/>
                    <a:pt x="384" y="2523"/>
                    <a:pt x="384" y="2504"/>
                  </a:cubicBezTo>
                  <a:lnTo>
                    <a:pt x="384" y="2333"/>
                  </a:lnTo>
                  <a:cubicBezTo>
                    <a:pt x="403" y="2079"/>
                    <a:pt x="403" y="1830"/>
                    <a:pt x="403" y="1562"/>
                  </a:cubicBezTo>
                  <a:lnTo>
                    <a:pt x="403" y="966"/>
                  </a:lnTo>
                  <a:lnTo>
                    <a:pt x="403" y="541"/>
                  </a:lnTo>
                  <a:lnTo>
                    <a:pt x="403" y="370"/>
                  </a:lnTo>
                  <a:lnTo>
                    <a:pt x="403" y="291"/>
                  </a:lnTo>
                  <a:lnTo>
                    <a:pt x="403" y="157"/>
                  </a:lnTo>
                  <a:cubicBezTo>
                    <a:pt x="403" y="97"/>
                    <a:pt x="403" y="60"/>
                    <a:pt x="38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6" name="Google Shape;806;p39"/>
            <p:cNvSpPr/>
            <p:nvPr/>
          </p:nvSpPr>
          <p:spPr>
            <a:xfrm>
              <a:off x="272753" y="4047951"/>
              <a:ext cx="2103" cy="73465"/>
            </a:xfrm>
            <a:custGeom>
              <a:avLst/>
              <a:gdLst/>
              <a:ahLst/>
              <a:cxnLst/>
              <a:rect l="l" t="t" r="r" b="b"/>
              <a:pathLst>
                <a:path w="75" h="2620" extrusionOk="0">
                  <a:moveTo>
                    <a:pt x="19" y="0"/>
                  </a:moveTo>
                  <a:cubicBezTo>
                    <a:pt x="38" y="60"/>
                    <a:pt x="38" y="97"/>
                    <a:pt x="38" y="157"/>
                  </a:cubicBezTo>
                  <a:lnTo>
                    <a:pt x="38" y="291"/>
                  </a:lnTo>
                  <a:lnTo>
                    <a:pt x="38" y="370"/>
                  </a:lnTo>
                  <a:lnTo>
                    <a:pt x="38" y="541"/>
                  </a:lnTo>
                  <a:lnTo>
                    <a:pt x="38" y="966"/>
                  </a:lnTo>
                  <a:lnTo>
                    <a:pt x="38" y="1562"/>
                  </a:lnTo>
                  <a:cubicBezTo>
                    <a:pt x="38" y="1830"/>
                    <a:pt x="38" y="2079"/>
                    <a:pt x="19" y="2333"/>
                  </a:cubicBezTo>
                  <a:lnTo>
                    <a:pt x="19" y="2504"/>
                  </a:lnTo>
                  <a:cubicBezTo>
                    <a:pt x="19" y="2523"/>
                    <a:pt x="19" y="2523"/>
                    <a:pt x="1" y="2541"/>
                  </a:cubicBezTo>
                  <a:lnTo>
                    <a:pt x="1" y="2620"/>
                  </a:lnTo>
                  <a:lnTo>
                    <a:pt x="38" y="2620"/>
                  </a:lnTo>
                  <a:lnTo>
                    <a:pt x="38" y="2504"/>
                  </a:lnTo>
                  <a:cubicBezTo>
                    <a:pt x="38" y="2449"/>
                    <a:pt x="38" y="2389"/>
                    <a:pt x="56" y="2333"/>
                  </a:cubicBezTo>
                  <a:lnTo>
                    <a:pt x="56" y="2158"/>
                  </a:lnTo>
                  <a:cubicBezTo>
                    <a:pt x="56" y="1964"/>
                    <a:pt x="75" y="1774"/>
                    <a:pt x="75" y="1562"/>
                  </a:cubicBezTo>
                  <a:lnTo>
                    <a:pt x="75" y="966"/>
                  </a:lnTo>
                  <a:lnTo>
                    <a:pt x="75" y="541"/>
                  </a:lnTo>
                  <a:cubicBezTo>
                    <a:pt x="75" y="485"/>
                    <a:pt x="75" y="425"/>
                    <a:pt x="56" y="370"/>
                  </a:cubicBezTo>
                  <a:lnTo>
                    <a:pt x="56" y="291"/>
                  </a:lnTo>
                  <a:lnTo>
                    <a:pt x="56" y="157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7" name="Google Shape;807;p39"/>
            <p:cNvSpPr/>
            <p:nvPr/>
          </p:nvSpPr>
          <p:spPr>
            <a:xfrm>
              <a:off x="282482" y="4047951"/>
              <a:ext cx="15702" cy="73465"/>
            </a:xfrm>
            <a:custGeom>
              <a:avLst/>
              <a:gdLst/>
              <a:ahLst/>
              <a:cxnLst/>
              <a:rect l="l" t="t" r="r" b="b"/>
              <a:pathLst>
                <a:path w="560" h="2620" extrusionOk="0">
                  <a:moveTo>
                    <a:pt x="56" y="0"/>
                  </a:moveTo>
                  <a:cubicBezTo>
                    <a:pt x="56" y="42"/>
                    <a:pt x="74" y="60"/>
                    <a:pt x="74" y="97"/>
                  </a:cubicBezTo>
                  <a:lnTo>
                    <a:pt x="74" y="157"/>
                  </a:lnTo>
                  <a:lnTo>
                    <a:pt x="74" y="194"/>
                  </a:lnTo>
                  <a:lnTo>
                    <a:pt x="74" y="254"/>
                  </a:lnTo>
                  <a:cubicBezTo>
                    <a:pt x="74" y="273"/>
                    <a:pt x="97" y="291"/>
                    <a:pt x="97" y="310"/>
                  </a:cubicBezTo>
                  <a:lnTo>
                    <a:pt x="97" y="370"/>
                  </a:lnTo>
                  <a:lnTo>
                    <a:pt x="97" y="425"/>
                  </a:lnTo>
                  <a:lnTo>
                    <a:pt x="97" y="462"/>
                  </a:lnTo>
                  <a:lnTo>
                    <a:pt x="97" y="485"/>
                  </a:lnTo>
                  <a:lnTo>
                    <a:pt x="97" y="504"/>
                  </a:lnTo>
                  <a:lnTo>
                    <a:pt x="97" y="559"/>
                  </a:lnTo>
                  <a:cubicBezTo>
                    <a:pt x="116" y="753"/>
                    <a:pt x="116" y="966"/>
                    <a:pt x="116" y="1155"/>
                  </a:cubicBezTo>
                  <a:lnTo>
                    <a:pt x="116" y="1178"/>
                  </a:lnTo>
                  <a:lnTo>
                    <a:pt x="116" y="1252"/>
                  </a:lnTo>
                  <a:lnTo>
                    <a:pt x="116" y="1331"/>
                  </a:lnTo>
                  <a:lnTo>
                    <a:pt x="116" y="1349"/>
                  </a:lnTo>
                  <a:lnTo>
                    <a:pt x="116" y="1409"/>
                  </a:lnTo>
                  <a:lnTo>
                    <a:pt x="116" y="1428"/>
                  </a:lnTo>
                  <a:lnTo>
                    <a:pt x="116" y="1562"/>
                  </a:lnTo>
                  <a:lnTo>
                    <a:pt x="116" y="1580"/>
                  </a:lnTo>
                  <a:cubicBezTo>
                    <a:pt x="97" y="1599"/>
                    <a:pt x="97" y="1617"/>
                    <a:pt x="97" y="1617"/>
                  </a:cubicBezTo>
                  <a:lnTo>
                    <a:pt x="97" y="1659"/>
                  </a:lnTo>
                  <a:lnTo>
                    <a:pt x="97" y="1714"/>
                  </a:lnTo>
                  <a:lnTo>
                    <a:pt x="97" y="1733"/>
                  </a:lnTo>
                  <a:lnTo>
                    <a:pt x="97" y="1793"/>
                  </a:lnTo>
                  <a:lnTo>
                    <a:pt x="97" y="1811"/>
                  </a:lnTo>
                  <a:cubicBezTo>
                    <a:pt x="97" y="1848"/>
                    <a:pt x="74" y="1890"/>
                    <a:pt x="74" y="1927"/>
                  </a:cubicBezTo>
                  <a:lnTo>
                    <a:pt x="74" y="1964"/>
                  </a:lnTo>
                  <a:lnTo>
                    <a:pt x="74" y="2005"/>
                  </a:lnTo>
                  <a:lnTo>
                    <a:pt x="74" y="2042"/>
                  </a:lnTo>
                  <a:cubicBezTo>
                    <a:pt x="74" y="2061"/>
                    <a:pt x="74" y="2079"/>
                    <a:pt x="56" y="2102"/>
                  </a:cubicBezTo>
                  <a:cubicBezTo>
                    <a:pt x="56" y="2176"/>
                    <a:pt x="56" y="2255"/>
                    <a:pt x="37" y="2310"/>
                  </a:cubicBezTo>
                  <a:lnTo>
                    <a:pt x="37" y="2333"/>
                  </a:lnTo>
                  <a:lnTo>
                    <a:pt x="37" y="2352"/>
                  </a:lnTo>
                  <a:cubicBezTo>
                    <a:pt x="37" y="2389"/>
                    <a:pt x="19" y="2407"/>
                    <a:pt x="19" y="2449"/>
                  </a:cubicBezTo>
                  <a:lnTo>
                    <a:pt x="19" y="2504"/>
                  </a:lnTo>
                  <a:lnTo>
                    <a:pt x="19" y="2523"/>
                  </a:lnTo>
                  <a:lnTo>
                    <a:pt x="0" y="2541"/>
                  </a:lnTo>
                  <a:lnTo>
                    <a:pt x="0" y="2620"/>
                  </a:lnTo>
                  <a:lnTo>
                    <a:pt x="287" y="2620"/>
                  </a:lnTo>
                  <a:cubicBezTo>
                    <a:pt x="305" y="2620"/>
                    <a:pt x="328" y="2601"/>
                    <a:pt x="347" y="2583"/>
                  </a:cubicBezTo>
                  <a:cubicBezTo>
                    <a:pt x="347" y="2541"/>
                    <a:pt x="365" y="2523"/>
                    <a:pt x="365" y="2504"/>
                  </a:cubicBezTo>
                  <a:cubicBezTo>
                    <a:pt x="384" y="2449"/>
                    <a:pt x="384" y="2389"/>
                    <a:pt x="402" y="2333"/>
                  </a:cubicBezTo>
                  <a:lnTo>
                    <a:pt x="402" y="2310"/>
                  </a:lnTo>
                  <a:cubicBezTo>
                    <a:pt x="518" y="1774"/>
                    <a:pt x="559" y="1197"/>
                    <a:pt x="518" y="578"/>
                  </a:cubicBezTo>
                  <a:cubicBezTo>
                    <a:pt x="499" y="504"/>
                    <a:pt x="499" y="444"/>
                    <a:pt x="499" y="370"/>
                  </a:cubicBezTo>
                  <a:cubicBezTo>
                    <a:pt x="481" y="291"/>
                    <a:pt x="481" y="231"/>
                    <a:pt x="462" y="157"/>
                  </a:cubicBezTo>
                  <a:cubicBezTo>
                    <a:pt x="462" y="116"/>
                    <a:pt x="462" y="79"/>
                    <a:pt x="444" y="42"/>
                  </a:cubicBezTo>
                  <a:cubicBezTo>
                    <a:pt x="444" y="23"/>
                    <a:pt x="421" y="0"/>
                    <a:pt x="40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8" name="Google Shape;808;p39"/>
            <p:cNvSpPr/>
            <p:nvPr/>
          </p:nvSpPr>
          <p:spPr>
            <a:xfrm>
              <a:off x="249563" y="4047951"/>
              <a:ext cx="5356" cy="73465"/>
            </a:xfrm>
            <a:custGeom>
              <a:avLst/>
              <a:gdLst/>
              <a:ahLst/>
              <a:cxnLst/>
              <a:rect l="l" t="t" r="r" b="b"/>
              <a:pathLst>
                <a:path w="191" h="2620" extrusionOk="0">
                  <a:moveTo>
                    <a:pt x="93" y="0"/>
                  </a:moveTo>
                  <a:cubicBezTo>
                    <a:pt x="1" y="947"/>
                    <a:pt x="19" y="1830"/>
                    <a:pt x="153" y="2620"/>
                  </a:cubicBezTo>
                  <a:lnTo>
                    <a:pt x="190" y="2620"/>
                  </a:lnTo>
                  <a:cubicBezTo>
                    <a:pt x="172" y="2583"/>
                    <a:pt x="172" y="2541"/>
                    <a:pt x="172" y="2504"/>
                  </a:cubicBezTo>
                  <a:cubicBezTo>
                    <a:pt x="153" y="2449"/>
                    <a:pt x="153" y="2389"/>
                    <a:pt x="135" y="2310"/>
                  </a:cubicBezTo>
                  <a:cubicBezTo>
                    <a:pt x="56" y="1617"/>
                    <a:pt x="38" y="832"/>
                    <a:pt x="116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9" name="Google Shape;809;p39"/>
            <p:cNvSpPr/>
            <p:nvPr/>
          </p:nvSpPr>
          <p:spPr>
            <a:xfrm>
              <a:off x="261873" y="4047951"/>
              <a:ext cx="2243" cy="73465"/>
            </a:xfrm>
            <a:custGeom>
              <a:avLst/>
              <a:gdLst/>
              <a:ahLst/>
              <a:cxnLst/>
              <a:rect l="l" t="t" r="r" b="b"/>
              <a:pathLst>
                <a:path w="80" h="2620" extrusionOk="0">
                  <a:moveTo>
                    <a:pt x="42" y="0"/>
                  </a:moveTo>
                  <a:cubicBezTo>
                    <a:pt x="1" y="947"/>
                    <a:pt x="1" y="1830"/>
                    <a:pt x="61" y="2620"/>
                  </a:cubicBezTo>
                  <a:lnTo>
                    <a:pt x="79" y="2620"/>
                  </a:lnTo>
                  <a:cubicBezTo>
                    <a:pt x="24" y="1830"/>
                    <a:pt x="24" y="947"/>
                    <a:pt x="42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0" name="Google Shape;810;p39"/>
            <p:cNvSpPr/>
            <p:nvPr/>
          </p:nvSpPr>
          <p:spPr>
            <a:xfrm>
              <a:off x="243086" y="4046914"/>
              <a:ext cx="50164" cy="1066"/>
            </a:xfrm>
            <a:custGeom>
              <a:avLst/>
              <a:gdLst/>
              <a:ahLst/>
              <a:cxnLst/>
              <a:rect l="l" t="t" r="r" b="b"/>
              <a:pathLst>
                <a:path w="1789" h="38" extrusionOk="0">
                  <a:moveTo>
                    <a:pt x="19" y="0"/>
                  </a:moveTo>
                  <a:cubicBezTo>
                    <a:pt x="1" y="0"/>
                    <a:pt x="1" y="0"/>
                    <a:pt x="1" y="19"/>
                  </a:cubicBezTo>
                  <a:lnTo>
                    <a:pt x="1" y="37"/>
                  </a:lnTo>
                  <a:lnTo>
                    <a:pt x="1789" y="37"/>
                  </a:lnTo>
                  <a:lnTo>
                    <a:pt x="1789" y="19"/>
                  </a:lnTo>
                  <a:cubicBezTo>
                    <a:pt x="1789" y="0"/>
                    <a:pt x="1789" y="0"/>
                    <a:pt x="1770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1" name="Google Shape;811;p39"/>
            <p:cNvSpPr/>
            <p:nvPr/>
          </p:nvSpPr>
          <p:spPr>
            <a:xfrm>
              <a:off x="252171" y="4076048"/>
              <a:ext cx="30844" cy="18422"/>
            </a:xfrm>
            <a:custGeom>
              <a:avLst/>
              <a:gdLst/>
              <a:ahLst/>
              <a:cxnLst/>
              <a:rect l="l" t="t" r="r" b="b"/>
              <a:pathLst>
                <a:path w="1100" h="657" extrusionOk="0">
                  <a:moveTo>
                    <a:pt x="984" y="1"/>
                  </a:moveTo>
                  <a:lnTo>
                    <a:pt x="0" y="98"/>
                  </a:lnTo>
                  <a:lnTo>
                    <a:pt x="79" y="657"/>
                  </a:lnTo>
                  <a:lnTo>
                    <a:pt x="1100" y="523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2" name="Google Shape;812;p39"/>
            <p:cNvSpPr/>
            <p:nvPr/>
          </p:nvSpPr>
          <p:spPr>
            <a:xfrm>
              <a:off x="282482" y="4047951"/>
              <a:ext cx="4823" cy="73465"/>
            </a:xfrm>
            <a:custGeom>
              <a:avLst/>
              <a:gdLst/>
              <a:ahLst/>
              <a:cxnLst/>
              <a:rect l="l" t="t" r="r" b="b"/>
              <a:pathLst>
                <a:path w="172" h="2620" extrusionOk="0">
                  <a:moveTo>
                    <a:pt x="56" y="0"/>
                  </a:moveTo>
                  <a:cubicBezTo>
                    <a:pt x="56" y="42"/>
                    <a:pt x="74" y="60"/>
                    <a:pt x="74" y="97"/>
                  </a:cubicBezTo>
                  <a:lnTo>
                    <a:pt x="74" y="139"/>
                  </a:lnTo>
                  <a:lnTo>
                    <a:pt x="74" y="157"/>
                  </a:lnTo>
                  <a:lnTo>
                    <a:pt x="74" y="194"/>
                  </a:lnTo>
                  <a:lnTo>
                    <a:pt x="74" y="254"/>
                  </a:lnTo>
                  <a:cubicBezTo>
                    <a:pt x="74" y="273"/>
                    <a:pt x="97" y="291"/>
                    <a:pt x="97" y="310"/>
                  </a:cubicBezTo>
                  <a:lnTo>
                    <a:pt x="97" y="347"/>
                  </a:lnTo>
                  <a:lnTo>
                    <a:pt x="97" y="370"/>
                  </a:lnTo>
                  <a:lnTo>
                    <a:pt x="97" y="425"/>
                  </a:lnTo>
                  <a:lnTo>
                    <a:pt x="97" y="485"/>
                  </a:lnTo>
                  <a:lnTo>
                    <a:pt x="97" y="559"/>
                  </a:lnTo>
                  <a:cubicBezTo>
                    <a:pt x="116" y="753"/>
                    <a:pt x="116" y="966"/>
                    <a:pt x="116" y="1155"/>
                  </a:cubicBezTo>
                  <a:lnTo>
                    <a:pt x="116" y="1178"/>
                  </a:lnTo>
                  <a:lnTo>
                    <a:pt x="116" y="1252"/>
                  </a:lnTo>
                  <a:lnTo>
                    <a:pt x="116" y="1331"/>
                  </a:lnTo>
                  <a:lnTo>
                    <a:pt x="116" y="1349"/>
                  </a:lnTo>
                  <a:lnTo>
                    <a:pt x="116" y="1409"/>
                  </a:lnTo>
                  <a:lnTo>
                    <a:pt x="116" y="1428"/>
                  </a:lnTo>
                  <a:lnTo>
                    <a:pt x="116" y="1562"/>
                  </a:lnTo>
                  <a:lnTo>
                    <a:pt x="116" y="1580"/>
                  </a:lnTo>
                  <a:cubicBezTo>
                    <a:pt x="97" y="1599"/>
                    <a:pt x="97" y="1599"/>
                    <a:pt x="97" y="1617"/>
                  </a:cubicBezTo>
                  <a:lnTo>
                    <a:pt x="97" y="1659"/>
                  </a:lnTo>
                  <a:lnTo>
                    <a:pt x="97" y="1714"/>
                  </a:lnTo>
                  <a:lnTo>
                    <a:pt x="97" y="1733"/>
                  </a:lnTo>
                  <a:lnTo>
                    <a:pt x="97" y="1793"/>
                  </a:lnTo>
                  <a:lnTo>
                    <a:pt x="97" y="1811"/>
                  </a:lnTo>
                  <a:lnTo>
                    <a:pt x="97" y="1871"/>
                  </a:lnTo>
                  <a:cubicBezTo>
                    <a:pt x="74" y="1890"/>
                    <a:pt x="74" y="1908"/>
                    <a:pt x="74" y="1927"/>
                  </a:cubicBezTo>
                  <a:lnTo>
                    <a:pt x="74" y="1964"/>
                  </a:lnTo>
                  <a:lnTo>
                    <a:pt x="74" y="2005"/>
                  </a:lnTo>
                  <a:lnTo>
                    <a:pt x="74" y="2042"/>
                  </a:lnTo>
                  <a:cubicBezTo>
                    <a:pt x="74" y="2061"/>
                    <a:pt x="74" y="2079"/>
                    <a:pt x="56" y="2102"/>
                  </a:cubicBezTo>
                  <a:cubicBezTo>
                    <a:pt x="56" y="2176"/>
                    <a:pt x="56" y="2255"/>
                    <a:pt x="37" y="2310"/>
                  </a:cubicBezTo>
                  <a:lnTo>
                    <a:pt x="37" y="2333"/>
                  </a:lnTo>
                  <a:lnTo>
                    <a:pt x="37" y="2352"/>
                  </a:lnTo>
                  <a:cubicBezTo>
                    <a:pt x="37" y="2389"/>
                    <a:pt x="19" y="2407"/>
                    <a:pt x="19" y="2449"/>
                  </a:cubicBezTo>
                  <a:lnTo>
                    <a:pt x="19" y="2504"/>
                  </a:lnTo>
                  <a:lnTo>
                    <a:pt x="19" y="2523"/>
                  </a:lnTo>
                  <a:lnTo>
                    <a:pt x="0" y="2541"/>
                  </a:lnTo>
                  <a:lnTo>
                    <a:pt x="0" y="2620"/>
                  </a:lnTo>
                  <a:lnTo>
                    <a:pt x="37" y="2620"/>
                  </a:lnTo>
                  <a:cubicBezTo>
                    <a:pt x="37" y="2583"/>
                    <a:pt x="37" y="2541"/>
                    <a:pt x="56" y="2504"/>
                  </a:cubicBezTo>
                  <a:cubicBezTo>
                    <a:pt x="56" y="2449"/>
                    <a:pt x="56" y="2389"/>
                    <a:pt x="74" y="2333"/>
                  </a:cubicBezTo>
                  <a:cubicBezTo>
                    <a:pt x="153" y="1774"/>
                    <a:pt x="171" y="1178"/>
                    <a:pt x="134" y="559"/>
                  </a:cubicBezTo>
                  <a:lnTo>
                    <a:pt x="134" y="370"/>
                  </a:lnTo>
                  <a:cubicBezTo>
                    <a:pt x="134" y="347"/>
                    <a:pt x="116" y="328"/>
                    <a:pt x="116" y="310"/>
                  </a:cubicBezTo>
                  <a:lnTo>
                    <a:pt x="116" y="157"/>
                  </a:lnTo>
                  <a:cubicBezTo>
                    <a:pt x="116" y="97"/>
                    <a:pt x="97" y="60"/>
                    <a:pt x="97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3" name="Google Shape;813;p39"/>
            <p:cNvSpPr/>
            <p:nvPr/>
          </p:nvSpPr>
          <p:spPr>
            <a:xfrm>
              <a:off x="239189" y="4052354"/>
              <a:ext cx="57818" cy="5973"/>
            </a:xfrm>
            <a:custGeom>
              <a:avLst/>
              <a:gdLst/>
              <a:ahLst/>
              <a:cxnLst/>
              <a:rect l="l" t="t" r="r" b="b"/>
              <a:pathLst>
                <a:path w="2062" h="213" extrusionOk="0">
                  <a:moveTo>
                    <a:pt x="24" y="0"/>
                  </a:moveTo>
                  <a:cubicBezTo>
                    <a:pt x="24" y="19"/>
                    <a:pt x="1" y="56"/>
                    <a:pt x="1" y="74"/>
                  </a:cubicBezTo>
                  <a:lnTo>
                    <a:pt x="1" y="116"/>
                  </a:lnTo>
                  <a:lnTo>
                    <a:pt x="1" y="213"/>
                  </a:lnTo>
                  <a:lnTo>
                    <a:pt x="2062" y="213"/>
                  </a:lnTo>
                  <a:lnTo>
                    <a:pt x="2062" y="171"/>
                  </a:lnTo>
                  <a:lnTo>
                    <a:pt x="2062" y="153"/>
                  </a:lnTo>
                  <a:lnTo>
                    <a:pt x="2062" y="134"/>
                  </a:lnTo>
                  <a:lnTo>
                    <a:pt x="2062" y="116"/>
                  </a:lnTo>
                  <a:lnTo>
                    <a:pt x="2062" y="97"/>
                  </a:lnTo>
                  <a:lnTo>
                    <a:pt x="2062" y="74"/>
                  </a:lnTo>
                  <a:lnTo>
                    <a:pt x="2062" y="56"/>
                  </a:lnTo>
                  <a:lnTo>
                    <a:pt x="2062" y="37"/>
                  </a:lnTo>
                  <a:lnTo>
                    <a:pt x="2043" y="19"/>
                  </a:lnTo>
                  <a:lnTo>
                    <a:pt x="2043" y="0"/>
                  </a:ln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4" name="Google Shape;814;p39"/>
            <p:cNvSpPr/>
            <p:nvPr/>
          </p:nvSpPr>
          <p:spPr>
            <a:xfrm>
              <a:off x="241909" y="4113369"/>
              <a:ext cx="52379" cy="4823"/>
            </a:xfrm>
            <a:custGeom>
              <a:avLst/>
              <a:gdLst/>
              <a:ahLst/>
              <a:cxnLst/>
              <a:rect l="l" t="t" r="r" b="b"/>
              <a:pathLst>
                <a:path w="1868" h="172" extrusionOk="0">
                  <a:moveTo>
                    <a:pt x="1" y="0"/>
                  </a:moveTo>
                  <a:lnTo>
                    <a:pt x="1" y="37"/>
                  </a:lnTo>
                  <a:lnTo>
                    <a:pt x="1" y="93"/>
                  </a:lnTo>
                  <a:cubicBezTo>
                    <a:pt x="19" y="116"/>
                    <a:pt x="19" y="153"/>
                    <a:pt x="43" y="171"/>
                  </a:cubicBezTo>
                  <a:lnTo>
                    <a:pt x="1831" y="171"/>
                  </a:lnTo>
                  <a:cubicBezTo>
                    <a:pt x="1849" y="134"/>
                    <a:pt x="1868" y="74"/>
                    <a:pt x="1868" y="19"/>
                  </a:cubicBezTo>
                  <a:lnTo>
                    <a:pt x="1868" y="0"/>
                  </a:ln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5" name="Google Shape;815;p39"/>
            <p:cNvSpPr/>
            <p:nvPr/>
          </p:nvSpPr>
          <p:spPr>
            <a:xfrm>
              <a:off x="239189" y="4052354"/>
              <a:ext cx="57818" cy="5973"/>
            </a:xfrm>
            <a:custGeom>
              <a:avLst/>
              <a:gdLst/>
              <a:ahLst/>
              <a:cxnLst/>
              <a:rect l="l" t="t" r="r" b="b"/>
              <a:pathLst>
                <a:path w="2062" h="213" extrusionOk="0">
                  <a:moveTo>
                    <a:pt x="1946" y="0"/>
                  </a:moveTo>
                  <a:lnTo>
                    <a:pt x="1965" y="153"/>
                  </a:lnTo>
                  <a:lnTo>
                    <a:pt x="1641" y="153"/>
                  </a:lnTo>
                  <a:lnTo>
                    <a:pt x="1484" y="134"/>
                  </a:lnTo>
                  <a:lnTo>
                    <a:pt x="833" y="134"/>
                  </a:lnTo>
                  <a:lnTo>
                    <a:pt x="1" y="116"/>
                  </a:lnTo>
                  <a:lnTo>
                    <a:pt x="1" y="213"/>
                  </a:lnTo>
                  <a:lnTo>
                    <a:pt x="2062" y="213"/>
                  </a:lnTo>
                  <a:lnTo>
                    <a:pt x="2062" y="171"/>
                  </a:lnTo>
                  <a:lnTo>
                    <a:pt x="2062" y="153"/>
                  </a:lnTo>
                  <a:lnTo>
                    <a:pt x="2062" y="134"/>
                  </a:lnTo>
                  <a:lnTo>
                    <a:pt x="2062" y="116"/>
                  </a:lnTo>
                  <a:lnTo>
                    <a:pt x="2062" y="97"/>
                  </a:lnTo>
                  <a:lnTo>
                    <a:pt x="2062" y="74"/>
                  </a:lnTo>
                  <a:lnTo>
                    <a:pt x="2062" y="56"/>
                  </a:lnTo>
                  <a:lnTo>
                    <a:pt x="2062" y="37"/>
                  </a:lnTo>
                  <a:lnTo>
                    <a:pt x="2043" y="19"/>
                  </a:lnTo>
                  <a:lnTo>
                    <a:pt x="2043" y="0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6" name="Google Shape;816;p39"/>
            <p:cNvSpPr/>
            <p:nvPr/>
          </p:nvSpPr>
          <p:spPr>
            <a:xfrm>
              <a:off x="241909" y="4113369"/>
              <a:ext cx="52379" cy="4823"/>
            </a:xfrm>
            <a:custGeom>
              <a:avLst/>
              <a:gdLst/>
              <a:ahLst/>
              <a:cxnLst/>
              <a:rect l="l" t="t" r="r" b="b"/>
              <a:pathLst>
                <a:path w="1868" h="172" extrusionOk="0">
                  <a:moveTo>
                    <a:pt x="1775" y="0"/>
                  </a:moveTo>
                  <a:lnTo>
                    <a:pt x="1734" y="116"/>
                  </a:lnTo>
                  <a:lnTo>
                    <a:pt x="1" y="93"/>
                  </a:lnTo>
                  <a:lnTo>
                    <a:pt x="1" y="93"/>
                  </a:lnTo>
                  <a:cubicBezTo>
                    <a:pt x="19" y="116"/>
                    <a:pt x="19" y="153"/>
                    <a:pt x="43" y="171"/>
                  </a:cubicBezTo>
                  <a:lnTo>
                    <a:pt x="1831" y="171"/>
                  </a:lnTo>
                  <a:cubicBezTo>
                    <a:pt x="1868" y="116"/>
                    <a:pt x="1868" y="56"/>
                    <a:pt x="1868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7" name="Google Shape;817;p39"/>
            <p:cNvSpPr/>
            <p:nvPr/>
          </p:nvSpPr>
          <p:spPr>
            <a:xfrm>
              <a:off x="239862" y="4058298"/>
              <a:ext cx="57146" cy="5860"/>
            </a:xfrm>
            <a:custGeom>
              <a:avLst/>
              <a:gdLst/>
              <a:ahLst/>
              <a:cxnLst/>
              <a:rect l="l" t="t" r="r" b="b"/>
              <a:pathLst>
                <a:path w="2038" h="209" extrusionOk="0">
                  <a:moveTo>
                    <a:pt x="0" y="1"/>
                  </a:moveTo>
                  <a:lnTo>
                    <a:pt x="0" y="93"/>
                  </a:lnTo>
                  <a:lnTo>
                    <a:pt x="402" y="116"/>
                  </a:lnTo>
                  <a:lnTo>
                    <a:pt x="809" y="135"/>
                  </a:lnTo>
                  <a:lnTo>
                    <a:pt x="1211" y="172"/>
                  </a:lnTo>
                  <a:lnTo>
                    <a:pt x="1423" y="172"/>
                  </a:lnTo>
                  <a:lnTo>
                    <a:pt x="1617" y="190"/>
                  </a:lnTo>
                  <a:lnTo>
                    <a:pt x="1654" y="190"/>
                  </a:lnTo>
                  <a:lnTo>
                    <a:pt x="2038" y="209"/>
                  </a:lnTo>
                  <a:cubicBezTo>
                    <a:pt x="2019" y="135"/>
                    <a:pt x="2019" y="75"/>
                    <a:pt x="2019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8" name="Google Shape;818;p39"/>
            <p:cNvSpPr/>
            <p:nvPr/>
          </p:nvSpPr>
          <p:spPr>
            <a:xfrm>
              <a:off x="243619" y="4118164"/>
              <a:ext cx="49126" cy="2215"/>
            </a:xfrm>
            <a:custGeom>
              <a:avLst/>
              <a:gdLst/>
              <a:ahLst/>
              <a:cxnLst/>
              <a:rect l="l" t="t" r="r" b="b"/>
              <a:pathLst>
                <a:path w="1752" h="79" extrusionOk="0">
                  <a:moveTo>
                    <a:pt x="0" y="0"/>
                  </a:moveTo>
                  <a:cubicBezTo>
                    <a:pt x="0" y="19"/>
                    <a:pt x="0" y="19"/>
                    <a:pt x="19" y="19"/>
                  </a:cubicBezTo>
                  <a:lnTo>
                    <a:pt x="365" y="37"/>
                  </a:lnTo>
                  <a:lnTo>
                    <a:pt x="1386" y="61"/>
                  </a:lnTo>
                  <a:lnTo>
                    <a:pt x="1733" y="79"/>
                  </a:lnTo>
                  <a:cubicBezTo>
                    <a:pt x="1733" y="37"/>
                    <a:pt x="1751" y="19"/>
                    <a:pt x="1751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9" name="Google Shape;819;p39"/>
            <p:cNvSpPr/>
            <p:nvPr/>
          </p:nvSpPr>
          <p:spPr>
            <a:xfrm>
              <a:off x="518916" y="4035642"/>
              <a:ext cx="16235" cy="90064"/>
            </a:xfrm>
            <a:custGeom>
              <a:avLst/>
              <a:gdLst/>
              <a:ahLst/>
              <a:cxnLst/>
              <a:rect l="l" t="t" r="r" b="b"/>
              <a:pathLst>
                <a:path w="579" h="3212" extrusionOk="0">
                  <a:moveTo>
                    <a:pt x="38" y="0"/>
                  </a:moveTo>
                  <a:lnTo>
                    <a:pt x="38" y="171"/>
                  </a:lnTo>
                  <a:lnTo>
                    <a:pt x="38" y="347"/>
                  </a:lnTo>
                  <a:cubicBezTo>
                    <a:pt x="56" y="365"/>
                    <a:pt x="56" y="402"/>
                    <a:pt x="56" y="439"/>
                  </a:cubicBezTo>
                  <a:lnTo>
                    <a:pt x="56" y="633"/>
                  </a:lnTo>
                  <a:lnTo>
                    <a:pt x="56" y="1174"/>
                  </a:lnTo>
                  <a:lnTo>
                    <a:pt x="56" y="1904"/>
                  </a:lnTo>
                  <a:cubicBezTo>
                    <a:pt x="56" y="2232"/>
                    <a:pt x="38" y="2541"/>
                    <a:pt x="19" y="2846"/>
                  </a:cubicBezTo>
                  <a:lnTo>
                    <a:pt x="19" y="3059"/>
                  </a:lnTo>
                  <a:lnTo>
                    <a:pt x="19" y="3119"/>
                  </a:lnTo>
                  <a:cubicBezTo>
                    <a:pt x="19" y="3138"/>
                    <a:pt x="19" y="3174"/>
                    <a:pt x="1" y="3211"/>
                  </a:cubicBezTo>
                  <a:lnTo>
                    <a:pt x="421" y="3211"/>
                  </a:lnTo>
                  <a:cubicBezTo>
                    <a:pt x="421" y="3174"/>
                    <a:pt x="444" y="3156"/>
                    <a:pt x="444" y="3119"/>
                  </a:cubicBezTo>
                  <a:lnTo>
                    <a:pt x="444" y="3096"/>
                  </a:lnTo>
                  <a:lnTo>
                    <a:pt x="444" y="3077"/>
                  </a:lnTo>
                  <a:lnTo>
                    <a:pt x="444" y="3059"/>
                  </a:lnTo>
                  <a:cubicBezTo>
                    <a:pt x="444" y="3040"/>
                    <a:pt x="463" y="3022"/>
                    <a:pt x="463" y="3004"/>
                  </a:cubicBezTo>
                  <a:lnTo>
                    <a:pt x="463" y="2980"/>
                  </a:lnTo>
                  <a:cubicBezTo>
                    <a:pt x="463" y="2943"/>
                    <a:pt x="463" y="2925"/>
                    <a:pt x="481" y="2888"/>
                  </a:cubicBezTo>
                  <a:lnTo>
                    <a:pt x="481" y="2846"/>
                  </a:lnTo>
                  <a:cubicBezTo>
                    <a:pt x="500" y="2749"/>
                    <a:pt x="500" y="2675"/>
                    <a:pt x="518" y="2578"/>
                  </a:cubicBezTo>
                  <a:lnTo>
                    <a:pt x="518" y="2560"/>
                  </a:lnTo>
                  <a:lnTo>
                    <a:pt x="518" y="2481"/>
                  </a:lnTo>
                  <a:lnTo>
                    <a:pt x="518" y="2463"/>
                  </a:lnTo>
                  <a:lnTo>
                    <a:pt x="518" y="2384"/>
                  </a:lnTo>
                  <a:cubicBezTo>
                    <a:pt x="537" y="2384"/>
                    <a:pt x="537" y="2366"/>
                    <a:pt x="537" y="2366"/>
                  </a:cubicBezTo>
                  <a:lnTo>
                    <a:pt x="537" y="2287"/>
                  </a:lnTo>
                  <a:lnTo>
                    <a:pt x="537" y="2195"/>
                  </a:lnTo>
                  <a:cubicBezTo>
                    <a:pt x="537" y="2172"/>
                    <a:pt x="537" y="2135"/>
                    <a:pt x="560" y="2116"/>
                  </a:cubicBezTo>
                  <a:lnTo>
                    <a:pt x="560" y="2098"/>
                  </a:lnTo>
                  <a:lnTo>
                    <a:pt x="560" y="2019"/>
                  </a:lnTo>
                  <a:lnTo>
                    <a:pt x="560" y="1982"/>
                  </a:lnTo>
                  <a:lnTo>
                    <a:pt x="560" y="1922"/>
                  </a:lnTo>
                  <a:lnTo>
                    <a:pt x="560" y="1904"/>
                  </a:lnTo>
                  <a:cubicBezTo>
                    <a:pt x="560" y="1848"/>
                    <a:pt x="560" y="1788"/>
                    <a:pt x="578" y="1733"/>
                  </a:cubicBezTo>
                  <a:lnTo>
                    <a:pt x="578" y="1710"/>
                  </a:lnTo>
                  <a:lnTo>
                    <a:pt x="578" y="1636"/>
                  </a:lnTo>
                  <a:lnTo>
                    <a:pt x="578" y="1617"/>
                  </a:lnTo>
                  <a:lnTo>
                    <a:pt x="578" y="1520"/>
                  </a:lnTo>
                  <a:lnTo>
                    <a:pt x="578" y="1423"/>
                  </a:lnTo>
                  <a:lnTo>
                    <a:pt x="578" y="1405"/>
                  </a:lnTo>
                  <a:cubicBezTo>
                    <a:pt x="578" y="1174"/>
                    <a:pt x="578" y="924"/>
                    <a:pt x="560" y="670"/>
                  </a:cubicBezTo>
                  <a:lnTo>
                    <a:pt x="560" y="615"/>
                  </a:lnTo>
                  <a:lnTo>
                    <a:pt x="560" y="555"/>
                  </a:lnTo>
                  <a:lnTo>
                    <a:pt x="560" y="518"/>
                  </a:lnTo>
                  <a:cubicBezTo>
                    <a:pt x="537" y="481"/>
                    <a:pt x="537" y="462"/>
                    <a:pt x="537" y="439"/>
                  </a:cubicBezTo>
                  <a:lnTo>
                    <a:pt x="537" y="421"/>
                  </a:lnTo>
                  <a:lnTo>
                    <a:pt x="537" y="347"/>
                  </a:lnTo>
                  <a:cubicBezTo>
                    <a:pt x="537" y="305"/>
                    <a:pt x="537" y="268"/>
                    <a:pt x="518" y="208"/>
                  </a:cubicBezTo>
                  <a:lnTo>
                    <a:pt x="518" y="171"/>
                  </a:lnTo>
                  <a:lnTo>
                    <a:pt x="518" y="153"/>
                  </a:lnTo>
                  <a:lnTo>
                    <a:pt x="518" y="116"/>
                  </a:lnTo>
                  <a:lnTo>
                    <a:pt x="518" y="93"/>
                  </a:lnTo>
                  <a:cubicBezTo>
                    <a:pt x="518" y="56"/>
                    <a:pt x="518" y="19"/>
                    <a:pt x="500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0" name="Google Shape;820;p39"/>
            <p:cNvSpPr/>
            <p:nvPr/>
          </p:nvSpPr>
          <p:spPr>
            <a:xfrm>
              <a:off x="476295" y="4035642"/>
              <a:ext cx="19460" cy="90064"/>
            </a:xfrm>
            <a:custGeom>
              <a:avLst/>
              <a:gdLst/>
              <a:ahLst/>
              <a:cxnLst/>
              <a:rect l="l" t="t" r="r" b="b"/>
              <a:pathLst>
                <a:path w="694" h="3212" extrusionOk="0">
                  <a:moveTo>
                    <a:pt x="190" y="0"/>
                  </a:moveTo>
                  <a:cubicBezTo>
                    <a:pt x="172" y="0"/>
                    <a:pt x="135" y="19"/>
                    <a:pt x="135" y="37"/>
                  </a:cubicBezTo>
                  <a:cubicBezTo>
                    <a:pt x="116" y="171"/>
                    <a:pt x="93" y="305"/>
                    <a:pt x="75" y="439"/>
                  </a:cubicBezTo>
                  <a:lnTo>
                    <a:pt x="75" y="536"/>
                  </a:lnTo>
                  <a:cubicBezTo>
                    <a:pt x="1" y="1345"/>
                    <a:pt x="38" y="2116"/>
                    <a:pt x="190" y="2846"/>
                  </a:cubicBezTo>
                  <a:cubicBezTo>
                    <a:pt x="209" y="2906"/>
                    <a:pt x="232" y="2980"/>
                    <a:pt x="250" y="3059"/>
                  </a:cubicBezTo>
                  <a:lnTo>
                    <a:pt x="250" y="3096"/>
                  </a:lnTo>
                  <a:cubicBezTo>
                    <a:pt x="269" y="3119"/>
                    <a:pt x="269" y="3138"/>
                    <a:pt x="269" y="3174"/>
                  </a:cubicBezTo>
                  <a:cubicBezTo>
                    <a:pt x="287" y="3193"/>
                    <a:pt x="306" y="3211"/>
                    <a:pt x="324" y="3211"/>
                  </a:cubicBezTo>
                  <a:lnTo>
                    <a:pt x="694" y="3211"/>
                  </a:lnTo>
                  <a:lnTo>
                    <a:pt x="694" y="3119"/>
                  </a:lnTo>
                  <a:cubicBezTo>
                    <a:pt x="671" y="3096"/>
                    <a:pt x="671" y="3077"/>
                    <a:pt x="671" y="3059"/>
                  </a:cubicBezTo>
                  <a:cubicBezTo>
                    <a:pt x="671" y="2980"/>
                    <a:pt x="652" y="2906"/>
                    <a:pt x="652" y="2846"/>
                  </a:cubicBezTo>
                  <a:cubicBezTo>
                    <a:pt x="555" y="2135"/>
                    <a:pt x="518" y="1363"/>
                    <a:pt x="578" y="578"/>
                  </a:cubicBezTo>
                  <a:lnTo>
                    <a:pt x="578" y="439"/>
                  </a:lnTo>
                  <a:cubicBezTo>
                    <a:pt x="597" y="287"/>
                    <a:pt x="597" y="134"/>
                    <a:pt x="61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1" name="Google Shape;821;p39"/>
            <p:cNvSpPr/>
            <p:nvPr/>
          </p:nvSpPr>
          <p:spPr>
            <a:xfrm>
              <a:off x="490287" y="4035642"/>
              <a:ext cx="17273" cy="90064"/>
            </a:xfrm>
            <a:custGeom>
              <a:avLst/>
              <a:gdLst/>
              <a:ahLst/>
              <a:cxnLst/>
              <a:rect l="l" t="t" r="r" b="b"/>
              <a:pathLst>
                <a:path w="616" h="3212" extrusionOk="0">
                  <a:moveTo>
                    <a:pt x="116" y="0"/>
                  </a:moveTo>
                  <a:cubicBezTo>
                    <a:pt x="1" y="1132"/>
                    <a:pt x="38" y="2232"/>
                    <a:pt x="195" y="3211"/>
                  </a:cubicBezTo>
                  <a:lnTo>
                    <a:pt x="615" y="3211"/>
                  </a:lnTo>
                  <a:cubicBezTo>
                    <a:pt x="560" y="2232"/>
                    <a:pt x="560" y="1132"/>
                    <a:pt x="597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2" name="Google Shape;822;p39"/>
            <p:cNvSpPr/>
            <p:nvPr/>
          </p:nvSpPr>
          <p:spPr>
            <a:xfrm>
              <a:off x="505961" y="4035642"/>
              <a:ext cx="14553" cy="90064"/>
            </a:xfrm>
            <a:custGeom>
              <a:avLst/>
              <a:gdLst/>
              <a:ahLst/>
              <a:cxnLst/>
              <a:rect l="l" t="t" r="r" b="b"/>
              <a:pathLst>
                <a:path w="519" h="3212" extrusionOk="0">
                  <a:moveTo>
                    <a:pt x="38" y="0"/>
                  </a:moveTo>
                  <a:cubicBezTo>
                    <a:pt x="19" y="56"/>
                    <a:pt x="19" y="116"/>
                    <a:pt x="19" y="171"/>
                  </a:cubicBezTo>
                  <a:lnTo>
                    <a:pt x="19" y="324"/>
                  </a:lnTo>
                  <a:lnTo>
                    <a:pt x="19" y="439"/>
                  </a:lnTo>
                  <a:lnTo>
                    <a:pt x="19" y="596"/>
                  </a:lnTo>
                  <a:cubicBezTo>
                    <a:pt x="1" y="827"/>
                    <a:pt x="1" y="1040"/>
                    <a:pt x="1" y="1248"/>
                  </a:cubicBezTo>
                  <a:cubicBezTo>
                    <a:pt x="1" y="1502"/>
                    <a:pt x="1" y="1733"/>
                    <a:pt x="19" y="1982"/>
                  </a:cubicBezTo>
                  <a:cubicBezTo>
                    <a:pt x="19" y="2269"/>
                    <a:pt x="19" y="2578"/>
                    <a:pt x="38" y="2846"/>
                  </a:cubicBezTo>
                  <a:cubicBezTo>
                    <a:pt x="38" y="2925"/>
                    <a:pt x="38" y="3004"/>
                    <a:pt x="56" y="3059"/>
                  </a:cubicBezTo>
                  <a:lnTo>
                    <a:pt x="56" y="3211"/>
                  </a:lnTo>
                  <a:lnTo>
                    <a:pt x="463" y="3211"/>
                  </a:lnTo>
                  <a:cubicBezTo>
                    <a:pt x="481" y="3174"/>
                    <a:pt x="481" y="3138"/>
                    <a:pt x="481" y="3119"/>
                  </a:cubicBezTo>
                  <a:lnTo>
                    <a:pt x="481" y="3059"/>
                  </a:lnTo>
                  <a:lnTo>
                    <a:pt x="481" y="2846"/>
                  </a:lnTo>
                  <a:cubicBezTo>
                    <a:pt x="500" y="2541"/>
                    <a:pt x="518" y="2232"/>
                    <a:pt x="518" y="1904"/>
                  </a:cubicBezTo>
                  <a:lnTo>
                    <a:pt x="518" y="1174"/>
                  </a:lnTo>
                  <a:lnTo>
                    <a:pt x="518" y="633"/>
                  </a:lnTo>
                  <a:lnTo>
                    <a:pt x="518" y="439"/>
                  </a:lnTo>
                  <a:cubicBezTo>
                    <a:pt x="518" y="402"/>
                    <a:pt x="518" y="365"/>
                    <a:pt x="500" y="347"/>
                  </a:cubicBezTo>
                  <a:lnTo>
                    <a:pt x="500" y="171"/>
                  </a:lnTo>
                  <a:lnTo>
                    <a:pt x="5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3" name="Google Shape;823;p39"/>
            <p:cNvSpPr/>
            <p:nvPr/>
          </p:nvSpPr>
          <p:spPr>
            <a:xfrm>
              <a:off x="518916" y="4035642"/>
              <a:ext cx="2748" cy="90064"/>
            </a:xfrm>
            <a:custGeom>
              <a:avLst/>
              <a:gdLst/>
              <a:ahLst/>
              <a:cxnLst/>
              <a:rect l="l" t="t" r="r" b="b"/>
              <a:pathLst>
                <a:path w="98" h="3212" extrusionOk="0">
                  <a:moveTo>
                    <a:pt x="38" y="0"/>
                  </a:moveTo>
                  <a:lnTo>
                    <a:pt x="38" y="171"/>
                  </a:lnTo>
                  <a:lnTo>
                    <a:pt x="38" y="347"/>
                  </a:lnTo>
                  <a:cubicBezTo>
                    <a:pt x="56" y="365"/>
                    <a:pt x="56" y="402"/>
                    <a:pt x="56" y="439"/>
                  </a:cubicBezTo>
                  <a:lnTo>
                    <a:pt x="56" y="633"/>
                  </a:lnTo>
                  <a:lnTo>
                    <a:pt x="56" y="1174"/>
                  </a:lnTo>
                  <a:lnTo>
                    <a:pt x="56" y="1904"/>
                  </a:lnTo>
                  <a:cubicBezTo>
                    <a:pt x="56" y="2232"/>
                    <a:pt x="38" y="2541"/>
                    <a:pt x="19" y="2846"/>
                  </a:cubicBezTo>
                  <a:lnTo>
                    <a:pt x="19" y="3059"/>
                  </a:lnTo>
                  <a:lnTo>
                    <a:pt x="19" y="3119"/>
                  </a:lnTo>
                  <a:cubicBezTo>
                    <a:pt x="19" y="3138"/>
                    <a:pt x="19" y="3174"/>
                    <a:pt x="1" y="3211"/>
                  </a:cubicBezTo>
                  <a:lnTo>
                    <a:pt x="38" y="3211"/>
                  </a:lnTo>
                  <a:cubicBezTo>
                    <a:pt x="38" y="3156"/>
                    <a:pt x="56" y="3119"/>
                    <a:pt x="56" y="3059"/>
                  </a:cubicBezTo>
                  <a:lnTo>
                    <a:pt x="56" y="2846"/>
                  </a:lnTo>
                  <a:cubicBezTo>
                    <a:pt x="56" y="2791"/>
                    <a:pt x="75" y="2712"/>
                    <a:pt x="75" y="2657"/>
                  </a:cubicBezTo>
                  <a:cubicBezTo>
                    <a:pt x="75" y="2403"/>
                    <a:pt x="98" y="2153"/>
                    <a:pt x="98" y="1904"/>
                  </a:cubicBezTo>
                  <a:lnTo>
                    <a:pt x="98" y="1174"/>
                  </a:lnTo>
                  <a:lnTo>
                    <a:pt x="98" y="633"/>
                  </a:lnTo>
                  <a:cubicBezTo>
                    <a:pt x="98" y="578"/>
                    <a:pt x="98" y="499"/>
                    <a:pt x="75" y="439"/>
                  </a:cubicBezTo>
                  <a:lnTo>
                    <a:pt x="75" y="347"/>
                  </a:lnTo>
                  <a:lnTo>
                    <a:pt x="75" y="171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4" name="Google Shape;824;p39"/>
            <p:cNvSpPr/>
            <p:nvPr/>
          </p:nvSpPr>
          <p:spPr>
            <a:xfrm>
              <a:off x="530721" y="4035642"/>
              <a:ext cx="19460" cy="90064"/>
            </a:xfrm>
            <a:custGeom>
              <a:avLst/>
              <a:gdLst/>
              <a:ahLst/>
              <a:cxnLst/>
              <a:rect l="l" t="t" r="r" b="b"/>
              <a:pathLst>
                <a:path w="694" h="3212" extrusionOk="0">
                  <a:moveTo>
                    <a:pt x="79" y="0"/>
                  </a:moveTo>
                  <a:cubicBezTo>
                    <a:pt x="97" y="19"/>
                    <a:pt x="97" y="56"/>
                    <a:pt x="97" y="93"/>
                  </a:cubicBezTo>
                  <a:lnTo>
                    <a:pt x="97" y="116"/>
                  </a:lnTo>
                  <a:lnTo>
                    <a:pt x="97" y="171"/>
                  </a:lnTo>
                  <a:lnTo>
                    <a:pt x="97" y="208"/>
                  </a:lnTo>
                  <a:cubicBezTo>
                    <a:pt x="116" y="250"/>
                    <a:pt x="116" y="268"/>
                    <a:pt x="116" y="287"/>
                  </a:cubicBezTo>
                  <a:lnTo>
                    <a:pt x="116" y="347"/>
                  </a:lnTo>
                  <a:lnTo>
                    <a:pt x="116" y="439"/>
                  </a:lnTo>
                  <a:cubicBezTo>
                    <a:pt x="116" y="462"/>
                    <a:pt x="116" y="481"/>
                    <a:pt x="139" y="518"/>
                  </a:cubicBezTo>
                  <a:lnTo>
                    <a:pt x="139" y="555"/>
                  </a:lnTo>
                  <a:lnTo>
                    <a:pt x="139" y="578"/>
                  </a:lnTo>
                  <a:lnTo>
                    <a:pt x="139" y="615"/>
                  </a:lnTo>
                  <a:lnTo>
                    <a:pt x="139" y="652"/>
                  </a:lnTo>
                  <a:lnTo>
                    <a:pt x="139" y="670"/>
                  </a:lnTo>
                  <a:cubicBezTo>
                    <a:pt x="157" y="924"/>
                    <a:pt x="157" y="1174"/>
                    <a:pt x="157" y="1405"/>
                  </a:cubicBezTo>
                  <a:lnTo>
                    <a:pt x="157" y="1423"/>
                  </a:lnTo>
                  <a:lnTo>
                    <a:pt x="157" y="1520"/>
                  </a:lnTo>
                  <a:lnTo>
                    <a:pt x="157" y="1617"/>
                  </a:lnTo>
                  <a:lnTo>
                    <a:pt x="157" y="1636"/>
                  </a:lnTo>
                  <a:lnTo>
                    <a:pt x="157" y="1710"/>
                  </a:lnTo>
                  <a:lnTo>
                    <a:pt x="157" y="1733"/>
                  </a:lnTo>
                  <a:cubicBezTo>
                    <a:pt x="139" y="1788"/>
                    <a:pt x="139" y="1848"/>
                    <a:pt x="139" y="1904"/>
                  </a:cubicBezTo>
                  <a:lnTo>
                    <a:pt x="139" y="1922"/>
                  </a:lnTo>
                  <a:lnTo>
                    <a:pt x="139" y="1982"/>
                  </a:lnTo>
                  <a:lnTo>
                    <a:pt x="139" y="2019"/>
                  </a:lnTo>
                  <a:lnTo>
                    <a:pt x="139" y="2098"/>
                  </a:lnTo>
                  <a:lnTo>
                    <a:pt x="139" y="2116"/>
                  </a:lnTo>
                  <a:cubicBezTo>
                    <a:pt x="116" y="2135"/>
                    <a:pt x="116" y="2172"/>
                    <a:pt x="116" y="2195"/>
                  </a:cubicBezTo>
                  <a:lnTo>
                    <a:pt x="116" y="2366"/>
                  </a:lnTo>
                  <a:cubicBezTo>
                    <a:pt x="116" y="2366"/>
                    <a:pt x="116" y="2384"/>
                    <a:pt x="97" y="2384"/>
                  </a:cubicBezTo>
                  <a:lnTo>
                    <a:pt x="97" y="2463"/>
                  </a:lnTo>
                  <a:lnTo>
                    <a:pt x="97" y="2481"/>
                  </a:lnTo>
                  <a:lnTo>
                    <a:pt x="97" y="2560"/>
                  </a:lnTo>
                  <a:lnTo>
                    <a:pt x="97" y="2578"/>
                  </a:lnTo>
                  <a:cubicBezTo>
                    <a:pt x="79" y="2675"/>
                    <a:pt x="60" y="2749"/>
                    <a:pt x="60" y="2846"/>
                  </a:cubicBezTo>
                  <a:lnTo>
                    <a:pt x="60" y="2888"/>
                  </a:lnTo>
                  <a:cubicBezTo>
                    <a:pt x="42" y="2925"/>
                    <a:pt x="42" y="2943"/>
                    <a:pt x="42" y="2980"/>
                  </a:cubicBezTo>
                  <a:lnTo>
                    <a:pt x="42" y="3004"/>
                  </a:lnTo>
                  <a:cubicBezTo>
                    <a:pt x="42" y="3022"/>
                    <a:pt x="23" y="3040"/>
                    <a:pt x="23" y="3059"/>
                  </a:cubicBezTo>
                  <a:lnTo>
                    <a:pt x="23" y="3077"/>
                  </a:lnTo>
                  <a:lnTo>
                    <a:pt x="23" y="3096"/>
                  </a:lnTo>
                  <a:lnTo>
                    <a:pt x="23" y="3119"/>
                  </a:lnTo>
                  <a:cubicBezTo>
                    <a:pt x="23" y="3156"/>
                    <a:pt x="0" y="3174"/>
                    <a:pt x="0" y="3211"/>
                  </a:cubicBezTo>
                  <a:lnTo>
                    <a:pt x="370" y="3211"/>
                  </a:lnTo>
                  <a:cubicBezTo>
                    <a:pt x="407" y="3211"/>
                    <a:pt x="425" y="3193"/>
                    <a:pt x="425" y="3174"/>
                  </a:cubicBezTo>
                  <a:lnTo>
                    <a:pt x="425" y="3156"/>
                  </a:lnTo>
                  <a:cubicBezTo>
                    <a:pt x="444" y="3119"/>
                    <a:pt x="444" y="3096"/>
                    <a:pt x="462" y="3059"/>
                  </a:cubicBezTo>
                  <a:cubicBezTo>
                    <a:pt x="485" y="2980"/>
                    <a:pt x="485" y="2925"/>
                    <a:pt x="504" y="2846"/>
                  </a:cubicBezTo>
                  <a:cubicBezTo>
                    <a:pt x="656" y="2172"/>
                    <a:pt x="693" y="1442"/>
                    <a:pt x="638" y="693"/>
                  </a:cubicBezTo>
                  <a:cubicBezTo>
                    <a:pt x="638" y="615"/>
                    <a:pt x="638" y="518"/>
                    <a:pt x="619" y="439"/>
                  </a:cubicBezTo>
                  <a:cubicBezTo>
                    <a:pt x="619" y="347"/>
                    <a:pt x="601" y="268"/>
                    <a:pt x="578" y="171"/>
                  </a:cubicBezTo>
                  <a:cubicBezTo>
                    <a:pt x="578" y="134"/>
                    <a:pt x="578" y="74"/>
                    <a:pt x="559" y="37"/>
                  </a:cubicBezTo>
                  <a:cubicBezTo>
                    <a:pt x="559" y="19"/>
                    <a:pt x="541" y="0"/>
                    <a:pt x="50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5" name="Google Shape;825;p39"/>
            <p:cNvSpPr/>
            <p:nvPr/>
          </p:nvSpPr>
          <p:spPr>
            <a:xfrm>
              <a:off x="490287" y="4035642"/>
              <a:ext cx="6505" cy="90064"/>
            </a:xfrm>
            <a:custGeom>
              <a:avLst/>
              <a:gdLst/>
              <a:ahLst/>
              <a:cxnLst/>
              <a:rect l="l" t="t" r="r" b="b"/>
              <a:pathLst>
                <a:path w="232" h="3212" extrusionOk="0">
                  <a:moveTo>
                    <a:pt x="116" y="0"/>
                  </a:moveTo>
                  <a:cubicBezTo>
                    <a:pt x="1" y="1132"/>
                    <a:pt x="38" y="2232"/>
                    <a:pt x="195" y="3211"/>
                  </a:cubicBezTo>
                  <a:lnTo>
                    <a:pt x="232" y="3211"/>
                  </a:lnTo>
                  <a:cubicBezTo>
                    <a:pt x="232" y="3156"/>
                    <a:pt x="213" y="3096"/>
                    <a:pt x="213" y="3059"/>
                  </a:cubicBezTo>
                  <a:cubicBezTo>
                    <a:pt x="195" y="2980"/>
                    <a:pt x="195" y="2906"/>
                    <a:pt x="172" y="2846"/>
                  </a:cubicBezTo>
                  <a:cubicBezTo>
                    <a:pt x="56" y="1964"/>
                    <a:pt x="56" y="998"/>
                    <a:pt x="153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6" name="Google Shape;826;p39"/>
            <p:cNvSpPr/>
            <p:nvPr/>
          </p:nvSpPr>
          <p:spPr>
            <a:xfrm>
              <a:off x="505961" y="4035642"/>
              <a:ext cx="2103" cy="90064"/>
            </a:xfrm>
            <a:custGeom>
              <a:avLst/>
              <a:gdLst/>
              <a:ahLst/>
              <a:cxnLst/>
              <a:rect l="l" t="t" r="r" b="b"/>
              <a:pathLst>
                <a:path w="75" h="3212" extrusionOk="0">
                  <a:moveTo>
                    <a:pt x="38" y="0"/>
                  </a:moveTo>
                  <a:cubicBezTo>
                    <a:pt x="1" y="1132"/>
                    <a:pt x="1" y="2232"/>
                    <a:pt x="56" y="3211"/>
                  </a:cubicBezTo>
                  <a:lnTo>
                    <a:pt x="75" y="3211"/>
                  </a:lnTo>
                  <a:cubicBezTo>
                    <a:pt x="19" y="2232"/>
                    <a:pt x="19" y="1132"/>
                    <a:pt x="56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7" name="Google Shape;827;p39"/>
            <p:cNvSpPr/>
            <p:nvPr/>
          </p:nvSpPr>
          <p:spPr>
            <a:xfrm>
              <a:off x="482127" y="4033427"/>
              <a:ext cx="62221" cy="2243"/>
            </a:xfrm>
            <a:custGeom>
              <a:avLst/>
              <a:gdLst/>
              <a:ahLst/>
              <a:cxnLst/>
              <a:rect l="l" t="t" r="r" b="b"/>
              <a:pathLst>
                <a:path w="2219" h="80" extrusionOk="0">
                  <a:moveTo>
                    <a:pt x="42" y="1"/>
                  </a:moveTo>
                  <a:cubicBezTo>
                    <a:pt x="24" y="1"/>
                    <a:pt x="1" y="19"/>
                    <a:pt x="1" y="38"/>
                  </a:cubicBezTo>
                  <a:lnTo>
                    <a:pt x="1" y="79"/>
                  </a:lnTo>
                  <a:lnTo>
                    <a:pt x="2218" y="79"/>
                  </a:lnTo>
                  <a:lnTo>
                    <a:pt x="2218" y="38"/>
                  </a:lnTo>
                  <a:cubicBezTo>
                    <a:pt x="2218" y="19"/>
                    <a:pt x="2218" y="1"/>
                    <a:pt x="2195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8" name="Google Shape;828;p39"/>
            <p:cNvSpPr/>
            <p:nvPr/>
          </p:nvSpPr>
          <p:spPr>
            <a:xfrm>
              <a:off x="494044" y="4070608"/>
              <a:ext cx="41107" cy="30872"/>
            </a:xfrm>
            <a:custGeom>
              <a:avLst/>
              <a:gdLst/>
              <a:ahLst/>
              <a:cxnLst/>
              <a:rect l="l" t="t" r="r" b="b"/>
              <a:pathLst>
                <a:path w="1466" h="1101" extrusionOk="0">
                  <a:moveTo>
                    <a:pt x="1137" y="1"/>
                  </a:moveTo>
                  <a:lnTo>
                    <a:pt x="1" y="486"/>
                  </a:lnTo>
                  <a:lnTo>
                    <a:pt x="310" y="1100"/>
                  </a:lnTo>
                  <a:lnTo>
                    <a:pt x="1465" y="560"/>
                  </a:lnTo>
                  <a:lnTo>
                    <a:pt x="1137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9" name="Google Shape;829;p39"/>
            <p:cNvSpPr/>
            <p:nvPr/>
          </p:nvSpPr>
          <p:spPr>
            <a:xfrm>
              <a:off x="530721" y="4035642"/>
              <a:ext cx="5973" cy="90064"/>
            </a:xfrm>
            <a:custGeom>
              <a:avLst/>
              <a:gdLst/>
              <a:ahLst/>
              <a:cxnLst/>
              <a:rect l="l" t="t" r="r" b="b"/>
              <a:pathLst>
                <a:path w="213" h="3212" extrusionOk="0">
                  <a:moveTo>
                    <a:pt x="79" y="0"/>
                  </a:moveTo>
                  <a:cubicBezTo>
                    <a:pt x="97" y="19"/>
                    <a:pt x="97" y="56"/>
                    <a:pt x="97" y="93"/>
                  </a:cubicBezTo>
                  <a:lnTo>
                    <a:pt x="97" y="116"/>
                  </a:lnTo>
                  <a:lnTo>
                    <a:pt x="97" y="153"/>
                  </a:lnTo>
                  <a:lnTo>
                    <a:pt x="97" y="171"/>
                  </a:lnTo>
                  <a:lnTo>
                    <a:pt x="97" y="208"/>
                  </a:lnTo>
                  <a:cubicBezTo>
                    <a:pt x="116" y="250"/>
                    <a:pt x="116" y="268"/>
                    <a:pt x="116" y="287"/>
                  </a:cubicBezTo>
                  <a:lnTo>
                    <a:pt x="116" y="347"/>
                  </a:lnTo>
                  <a:lnTo>
                    <a:pt x="116" y="421"/>
                  </a:lnTo>
                  <a:lnTo>
                    <a:pt x="116" y="439"/>
                  </a:lnTo>
                  <a:cubicBezTo>
                    <a:pt x="116" y="462"/>
                    <a:pt x="116" y="481"/>
                    <a:pt x="139" y="518"/>
                  </a:cubicBezTo>
                  <a:lnTo>
                    <a:pt x="139" y="578"/>
                  </a:lnTo>
                  <a:lnTo>
                    <a:pt x="139" y="652"/>
                  </a:lnTo>
                  <a:lnTo>
                    <a:pt x="139" y="670"/>
                  </a:lnTo>
                  <a:cubicBezTo>
                    <a:pt x="157" y="924"/>
                    <a:pt x="157" y="1174"/>
                    <a:pt x="157" y="1405"/>
                  </a:cubicBezTo>
                  <a:lnTo>
                    <a:pt x="157" y="1423"/>
                  </a:lnTo>
                  <a:lnTo>
                    <a:pt x="157" y="1520"/>
                  </a:lnTo>
                  <a:lnTo>
                    <a:pt x="157" y="1617"/>
                  </a:lnTo>
                  <a:lnTo>
                    <a:pt x="157" y="1636"/>
                  </a:lnTo>
                  <a:lnTo>
                    <a:pt x="157" y="1710"/>
                  </a:lnTo>
                  <a:lnTo>
                    <a:pt x="157" y="1733"/>
                  </a:lnTo>
                  <a:cubicBezTo>
                    <a:pt x="139" y="1788"/>
                    <a:pt x="139" y="1848"/>
                    <a:pt x="139" y="1904"/>
                  </a:cubicBezTo>
                  <a:lnTo>
                    <a:pt x="139" y="1922"/>
                  </a:lnTo>
                  <a:lnTo>
                    <a:pt x="139" y="1982"/>
                  </a:lnTo>
                  <a:lnTo>
                    <a:pt x="139" y="2019"/>
                  </a:lnTo>
                  <a:lnTo>
                    <a:pt x="139" y="2098"/>
                  </a:lnTo>
                  <a:lnTo>
                    <a:pt x="139" y="2116"/>
                  </a:lnTo>
                  <a:cubicBezTo>
                    <a:pt x="116" y="2135"/>
                    <a:pt x="116" y="2172"/>
                    <a:pt x="116" y="2195"/>
                  </a:cubicBezTo>
                  <a:lnTo>
                    <a:pt x="116" y="2287"/>
                  </a:lnTo>
                  <a:lnTo>
                    <a:pt x="116" y="2366"/>
                  </a:lnTo>
                  <a:cubicBezTo>
                    <a:pt x="116" y="2366"/>
                    <a:pt x="116" y="2384"/>
                    <a:pt x="97" y="2384"/>
                  </a:cubicBezTo>
                  <a:lnTo>
                    <a:pt x="97" y="2463"/>
                  </a:lnTo>
                  <a:lnTo>
                    <a:pt x="97" y="2481"/>
                  </a:lnTo>
                  <a:lnTo>
                    <a:pt x="97" y="2560"/>
                  </a:lnTo>
                  <a:lnTo>
                    <a:pt x="97" y="2578"/>
                  </a:lnTo>
                  <a:cubicBezTo>
                    <a:pt x="79" y="2675"/>
                    <a:pt x="60" y="2749"/>
                    <a:pt x="60" y="2846"/>
                  </a:cubicBezTo>
                  <a:lnTo>
                    <a:pt x="60" y="2888"/>
                  </a:lnTo>
                  <a:cubicBezTo>
                    <a:pt x="42" y="2925"/>
                    <a:pt x="42" y="2943"/>
                    <a:pt x="42" y="2980"/>
                  </a:cubicBezTo>
                  <a:lnTo>
                    <a:pt x="42" y="3004"/>
                  </a:lnTo>
                  <a:cubicBezTo>
                    <a:pt x="42" y="3022"/>
                    <a:pt x="23" y="3040"/>
                    <a:pt x="23" y="3059"/>
                  </a:cubicBezTo>
                  <a:lnTo>
                    <a:pt x="23" y="3077"/>
                  </a:lnTo>
                  <a:lnTo>
                    <a:pt x="23" y="3096"/>
                  </a:lnTo>
                  <a:lnTo>
                    <a:pt x="23" y="3119"/>
                  </a:lnTo>
                  <a:cubicBezTo>
                    <a:pt x="23" y="3156"/>
                    <a:pt x="0" y="3174"/>
                    <a:pt x="0" y="3211"/>
                  </a:cubicBezTo>
                  <a:lnTo>
                    <a:pt x="42" y="3211"/>
                  </a:lnTo>
                  <a:cubicBezTo>
                    <a:pt x="60" y="3156"/>
                    <a:pt x="60" y="3119"/>
                    <a:pt x="60" y="3059"/>
                  </a:cubicBezTo>
                  <a:cubicBezTo>
                    <a:pt x="79" y="3004"/>
                    <a:pt x="97" y="2925"/>
                    <a:pt x="97" y="2846"/>
                  </a:cubicBezTo>
                  <a:cubicBezTo>
                    <a:pt x="194" y="2172"/>
                    <a:pt x="213" y="1442"/>
                    <a:pt x="176" y="670"/>
                  </a:cubicBezTo>
                  <a:lnTo>
                    <a:pt x="176" y="439"/>
                  </a:lnTo>
                  <a:cubicBezTo>
                    <a:pt x="157" y="402"/>
                    <a:pt x="157" y="384"/>
                    <a:pt x="157" y="365"/>
                  </a:cubicBezTo>
                  <a:cubicBezTo>
                    <a:pt x="157" y="287"/>
                    <a:pt x="157" y="231"/>
                    <a:pt x="139" y="171"/>
                  </a:cubicBezTo>
                  <a:lnTo>
                    <a:pt x="139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0" name="Google Shape;830;p39"/>
            <p:cNvSpPr/>
            <p:nvPr/>
          </p:nvSpPr>
          <p:spPr>
            <a:xfrm>
              <a:off x="477332" y="4040437"/>
              <a:ext cx="71810" cy="7543"/>
            </a:xfrm>
            <a:custGeom>
              <a:avLst/>
              <a:gdLst/>
              <a:ahLst/>
              <a:cxnLst/>
              <a:rect l="l" t="t" r="r" b="b"/>
              <a:pathLst>
                <a:path w="2561" h="269" extrusionOk="0">
                  <a:moveTo>
                    <a:pt x="38" y="0"/>
                  </a:moveTo>
                  <a:cubicBezTo>
                    <a:pt x="38" y="37"/>
                    <a:pt x="19" y="60"/>
                    <a:pt x="19" y="97"/>
                  </a:cubicBezTo>
                  <a:lnTo>
                    <a:pt x="19" y="134"/>
                  </a:lnTo>
                  <a:cubicBezTo>
                    <a:pt x="1" y="176"/>
                    <a:pt x="1" y="213"/>
                    <a:pt x="1" y="268"/>
                  </a:cubicBezTo>
                  <a:lnTo>
                    <a:pt x="2560" y="268"/>
                  </a:lnTo>
                  <a:lnTo>
                    <a:pt x="2560" y="213"/>
                  </a:lnTo>
                  <a:lnTo>
                    <a:pt x="2560" y="194"/>
                  </a:lnTo>
                  <a:lnTo>
                    <a:pt x="2560" y="176"/>
                  </a:lnTo>
                  <a:lnTo>
                    <a:pt x="2560" y="153"/>
                  </a:lnTo>
                  <a:lnTo>
                    <a:pt x="2560" y="134"/>
                  </a:lnTo>
                  <a:lnTo>
                    <a:pt x="2560" y="97"/>
                  </a:lnTo>
                  <a:cubicBezTo>
                    <a:pt x="2560" y="97"/>
                    <a:pt x="2542" y="97"/>
                    <a:pt x="2542" y="79"/>
                  </a:cubicBezTo>
                  <a:lnTo>
                    <a:pt x="2542" y="60"/>
                  </a:lnTo>
                  <a:lnTo>
                    <a:pt x="2542" y="19"/>
                  </a:lnTo>
                  <a:cubicBezTo>
                    <a:pt x="2523" y="19"/>
                    <a:pt x="2523" y="0"/>
                    <a:pt x="2523" y="0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1" name="Google Shape;831;p39"/>
            <p:cNvSpPr/>
            <p:nvPr/>
          </p:nvSpPr>
          <p:spPr>
            <a:xfrm>
              <a:off x="480585" y="4115444"/>
              <a:ext cx="65305" cy="5973"/>
            </a:xfrm>
            <a:custGeom>
              <a:avLst/>
              <a:gdLst/>
              <a:ahLst/>
              <a:cxnLst/>
              <a:rect l="l" t="t" r="r" b="b"/>
              <a:pathLst>
                <a:path w="2329" h="213" extrusionOk="0">
                  <a:moveTo>
                    <a:pt x="0" y="0"/>
                  </a:moveTo>
                  <a:cubicBezTo>
                    <a:pt x="0" y="19"/>
                    <a:pt x="19" y="42"/>
                    <a:pt x="19" y="60"/>
                  </a:cubicBezTo>
                  <a:lnTo>
                    <a:pt x="19" y="116"/>
                  </a:lnTo>
                  <a:cubicBezTo>
                    <a:pt x="37" y="158"/>
                    <a:pt x="37" y="194"/>
                    <a:pt x="56" y="213"/>
                  </a:cubicBezTo>
                  <a:lnTo>
                    <a:pt x="2273" y="213"/>
                  </a:lnTo>
                  <a:cubicBezTo>
                    <a:pt x="2310" y="158"/>
                    <a:pt x="2329" y="97"/>
                    <a:pt x="2329" y="42"/>
                  </a:cubicBezTo>
                  <a:lnTo>
                    <a:pt x="2329" y="0"/>
                  </a:ln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2" name="Google Shape;832;p39"/>
            <p:cNvSpPr/>
            <p:nvPr/>
          </p:nvSpPr>
          <p:spPr>
            <a:xfrm>
              <a:off x="477332" y="4040437"/>
              <a:ext cx="71810" cy="7543"/>
            </a:xfrm>
            <a:custGeom>
              <a:avLst/>
              <a:gdLst/>
              <a:ahLst/>
              <a:cxnLst/>
              <a:rect l="l" t="t" r="r" b="b"/>
              <a:pathLst>
                <a:path w="2561" h="269" extrusionOk="0">
                  <a:moveTo>
                    <a:pt x="2408" y="0"/>
                  </a:moveTo>
                  <a:lnTo>
                    <a:pt x="2445" y="194"/>
                  </a:lnTo>
                  <a:lnTo>
                    <a:pt x="2061" y="194"/>
                  </a:lnTo>
                  <a:lnTo>
                    <a:pt x="2020" y="176"/>
                  </a:lnTo>
                  <a:lnTo>
                    <a:pt x="1521" y="176"/>
                  </a:lnTo>
                  <a:lnTo>
                    <a:pt x="1040" y="153"/>
                  </a:lnTo>
                  <a:lnTo>
                    <a:pt x="19" y="134"/>
                  </a:lnTo>
                  <a:cubicBezTo>
                    <a:pt x="1" y="176"/>
                    <a:pt x="1" y="213"/>
                    <a:pt x="1" y="268"/>
                  </a:cubicBezTo>
                  <a:lnTo>
                    <a:pt x="2560" y="268"/>
                  </a:lnTo>
                  <a:lnTo>
                    <a:pt x="2560" y="213"/>
                  </a:lnTo>
                  <a:lnTo>
                    <a:pt x="2560" y="194"/>
                  </a:lnTo>
                  <a:lnTo>
                    <a:pt x="2560" y="176"/>
                  </a:lnTo>
                  <a:lnTo>
                    <a:pt x="2560" y="153"/>
                  </a:lnTo>
                  <a:lnTo>
                    <a:pt x="2560" y="134"/>
                  </a:lnTo>
                  <a:lnTo>
                    <a:pt x="2560" y="97"/>
                  </a:lnTo>
                  <a:cubicBezTo>
                    <a:pt x="2560" y="97"/>
                    <a:pt x="2542" y="97"/>
                    <a:pt x="2542" y="79"/>
                  </a:cubicBezTo>
                  <a:lnTo>
                    <a:pt x="2542" y="60"/>
                  </a:lnTo>
                  <a:lnTo>
                    <a:pt x="2542" y="19"/>
                  </a:lnTo>
                  <a:cubicBezTo>
                    <a:pt x="2523" y="19"/>
                    <a:pt x="2523" y="0"/>
                    <a:pt x="2523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3" name="Google Shape;833;p39"/>
            <p:cNvSpPr/>
            <p:nvPr/>
          </p:nvSpPr>
          <p:spPr>
            <a:xfrm>
              <a:off x="481090" y="4115444"/>
              <a:ext cx="64800" cy="5973"/>
            </a:xfrm>
            <a:custGeom>
              <a:avLst/>
              <a:gdLst/>
              <a:ahLst/>
              <a:cxnLst/>
              <a:rect l="l" t="t" r="r" b="b"/>
              <a:pathLst>
                <a:path w="2311" h="213" extrusionOk="0">
                  <a:moveTo>
                    <a:pt x="2177" y="0"/>
                  </a:moveTo>
                  <a:lnTo>
                    <a:pt x="2140" y="158"/>
                  </a:lnTo>
                  <a:lnTo>
                    <a:pt x="1" y="116"/>
                  </a:lnTo>
                  <a:lnTo>
                    <a:pt x="1" y="116"/>
                  </a:lnTo>
                  <a:cubicBezTo>
                    <a:pt x="19" y="158"/>
                    <a:pt x="19" y="194"/>
                    <a:pt x="38" y="213"/>
                  </a:cubicBezTo>
                  <a:lnTo>
                    <a:pt x="2255" y="213"/>
                  </a:lnTo>
                  <a:cubicBezTo>
                    <a:pt x="2292" y="158"/>
                    <a:pt x="2311" y="79"/>
                    <a:pt x="2311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4" name="Google Shape;834;p39"/>
            <p:cNvSpPr/>
            <p:nvPr/>
          </p:nvSpPr>
          <p:spPr>
            <a:xfrm>
              <a:off x="478370" y="4047951"/>
              <a:ext cx="70240" cy="7150"/>
            </a:xfrm>
            <a:custGeom>
              <a:avLst/>
              <a:gdLst/>
              <a:ahLst/>
              <a:cxnLst/>
              <a:rect l="l" t="t" r="r" b="b"/>
              <a:pathLst>
                <a:path w="2505" h="255" extrusionOk="0">
                  <a:moveTo>
                    <a:pt x="1" y="0"/>
                  </a:moveTo>
                  <a:lnTo>
                    <a:pt x="1" y="97"/>
                  </a:lnTo>
                  <a:lnTo>
                    <a:pt x="504" y="139"/>
                  </a:lnTo>
                  <a:lnTo>
                    <a:pt x="1003" y="157"/>
                  </a:lnTo>
                  <a:lnTo>
                    <a:pt x="1502" y="194"/>
                  </a:lnTo>
                  <a:lnTo>
                    <a:pt x="1544" y="194"/>
                  </a:lnTo>
                  <a:lnTo>
                    <a:pt x="1752" y="213"/>
                  </a:lnTo>
                  <a:lnTo>
                    <a:pt x="2006" y="231"/>
                  </a:lnTo>
                  <a:lnTo>
                    <a:pt x="2043" y="231"/>
                  </a:lnTo>
                  <a:lnTo>
                    <a:pt x="2505" y="254"/>
                  </a:lnTo>
                  <a:cubicBezTo>
                    <a:pt x="2505" y="176"/>
                    <a:pt x="2505" y="79"/>
                    <a:pt x="2486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5" name="Google Shape;835;p39"/>
            <p:cNvSpPr/>
            <p:nvPr/>
          </p:nvSpPr>
          <p:spPr>
            <a:xfrm>
              <a:off x="398568" y="4007518"/>
              <a:ext cx="21002" cy="118189"/>
            </a:xfrm>
            <a:custGeom>
              <a:avLst/>
              <a:gdLst/>
              <a:ahLst/>
              <a:cxnLst/>
              <a:rect l="l" t="t" r="r" b="b"/>
              <a:pathLst>
                <a:path w="749" h="4215" extrusionOk="0">
                  <a:moveTo>
                    <a:pt x="37" y="0"/>
                  </a:moveTo>
                  <a:cubicBezTo>
                    <a:pt x="37" y="79"/>
                    <a:pt x="37" y="171"/>
                    <a:pt x="56" y="250"/>
                  </a:cubicBezTo>
                  <a:lnTo>
                    <a:pt x="56" y="463"/>
                  </a:lnTo>
                  <a:lnTo>
                    <a:pt x="56" y="597"/>
                  </a:lnTo>
                  <a:lnTo>
                    <a:pt x="56" y="846"/>
                  </a:lnTo>
                  <a:cubicBezTo>
                    <a:pt x="74" y="1077"/>
                    <a:pt x="74" y="1327"/>
                    <a:pt x="74" y="1558"/>
                  </a:cubicBezTo>
                  <a:cubicBezTo>
                    <a:pt x="74" y="1886"/>
                    <a:pt x="74" y="2195"/>
                    <a:pt x="56" y="2523"/>
                  </a:cubicBezTo>
                  <a:cubicBezTo>
                    <a:pt x="56" y="2944"/>
                    <a:pt x="37" y="3350"/>
                    <a:pt x="37" y="3752"/>
                  </a:cubicBezTo>
                  <a:cubicBezTo>
                    <a:pt x="19" y="3831"/>
                    <a:pt x="19" y="3928"/>
                    <a:pt x="19" y="4025"/>
                  </a:cubicBezTo>
                  <a:lnTo>
                    <a:pt x="19" y="4080"/>
                  </a:lnTo>
                  <a:cubicBezTo>
                    <a:pt x="19" y="4122"/>
                    <a:pt x="0" y="4177"/>
                    <a:pt x="0" y="4214"/>
                  </a:cubicBezTo>
                  <a:lnTo>
                    <a:pt x="536" y="4214"/>
                  </a:lnTo>
                  <a:cubicBezTo>
                    <a:pt x="555" y="4177"/>
                    <a:pt x="555" y="4141"/>
                    <a:pt x="555" y="4099"/>
                  </a:cubicBezTo>
                  <a:lnTo>
                    <a:pt x="578" y="4080"/>
                  </a:lnTo>
                  <a:lnTo>
                    <a:pt x="578" y="4062"/>
                  </a:lnTo>
                  <a:lnTo>
                    <a:pt x="578" y="4043"/>
                  </a:lnTo>
                  <a:lnTo>
                    <a:pt x="578" y="4025"/>
                  </a:lnTo>
                  <a:cubicBezTo>
                    <a:pt x="578" y="4007"/>
                    <a:pt x="578" y="3965"/>
                    <a:pt x="596" y="3946"/>
                  </a:cubicBezTo>
                  <a:lnTo>
                    <a:pt x="596" y="3928"/>
                  </a:lnTo>
                  <a:cubicBezTo>
                    <a:pt x="596" y="3868"/>
                    <a:pt x="615" y="3831"/>
                    <a:pt x="615" y="3794"/>
                  </a:cubicBezTo>
                  <a:lnTo>
                    <a:pt x="615" y="3752"/>
                  </a:lnTo>
                  <a:lnTo>
                    <a:pt x="615" y="3734"/>
                  </a:lnTo>
                  <a:cubicBezTo>
                    <a:pt x="633" y="3618"/>
                    <a:pt x="652" y="3503"/>
                    <a:pt x="652" y="3387"/>
                  </a:cubicBezTo>
                  <a:lnTo>
                    <a:pt x="652" y="3369"/>
                  </a:lnTo>
                  <a:cubicBezTo>
                    <a:pt x="670" y="3332"/>
                    <a:pt x="670" y="3290"/>
                    <a:pt x="670" y="3272"/>
                  </a:cubicBezTo>
                  <a:lnTo>
                    <a:pt x="670" y="3235"/>
                  </a:lnTo>
                  <a:cubicBezTo>
                    <a:pt x="670" y="3198"/>
                    <a:pt x="670" y="3175"/>
                    <a:pt x="693" y="3138"/>
                  </a:cubicBezTo>
                  <a:lnTo>
                    <a:pt x="693" y="3101"/>
                  </a:lnTo>
                  <a:lnTo>
                    <a:pt x="693" y="3004"/>
                  </a:lnTo>
                  <a:cubicBezTo>
                    <a:pt x="693" y="2967"/>
                    <a:pt x="693" y="2925"/>
                    <a:pt x="712" y="2888"/>
                  </a:cubicBezTo>
                  <a:lnTo>
                    <a:pt x="712" y="2773"/>
                  </a:lnTo>
                  <a:lnTo>
                    <a:pt x="712" y="2754"/>
                  </a:lnTo>
                  <a:lnTo>
                    <a:pt x="712" y="2657"/>
                  </a:lnTo>
                  <a:cubicBezTo>
                    <a:pt x="712" y="2639"/>
                    <a:pt x="712" y="2620"/>
                    <a:pt x="730" y="2620"/>
                  </a:cubicBezTo>
                  <a:lnTo>
                    <a:pt x="730" y="2597"/>
                  </a:lnTo>
                  <a:lnTo>
                    <a:pt x="730" y="2523"/>
                  </a:lnTo>
                  <a:lnTo>
                    <a:pt x="730" y="2274"/>
                  </a:lnTo>
                  <a:lnTo>
                    <a:pt x="730" y="2251"/>
                  </a:lnTo>
                  <a:lnTo>
                    <a:pt x="730" y="2158"/>
                  </a:lnTo>
                  <a:lnTo>
                    <a:pt x="730" y="2117"/>
                  </a:lnTo>
                  <a:cubicBezTo>
                    <a:pt x="749" y="2080"/>
                    <a:pt x="749" y="2043"/>
                    <a:pt x="749" y="2020"/>
                  </a:cubicBezTo>
                  <a:lnTo>
                    <a:pt x="749" y="2001"/>
                  </a:lnTo>
                  <a:lnTo>
                    <a:pt x="749" y="1886"/>
                  </a:lnTo>
                  <a:lnTo>
                    <a:pt x="749" y="1867"/>
                  </a:lnTo>
                  <a:cubicBezTo>
                    <a:pt x="749" y="1539"/>
                    <a:pt x="730" y="1211"/>
                    <a:pt x="730" y="888"/>
                  </a:cubicBezTo>
                  <a:cubicBezTo>
                    <a:pt x="730" y="865"/>
                    <a:pt x="712" y="846"/>
                    <a:pt x="712" y="809"/>
                  </a:cubicBezTo>
                  <a:lnTo>
                    <a:pt x="712" y="749"/>
                  </a:lnTo>
                  <a:lnTo>
                    <a:pt x="712" y="694"/>
                  </a:lnTo>
                  <a:lnTo>
                    <a:pt x="712" y="597"/>
                  </a:lnTo>
                  <a:lnTo>
                    <a:pt x="712" y="560"/>
                  </a:lnTo>
                  <a:cubicBezTo>
                    <a:pt x="693" y="541"/>
                    <a:pt x="693" y="499"/>
                    <a:pt x="693" y="481"/>
                  </a:cubicBezTo>
                  <a:lnTo>
                    <a:pt x="693" y="310"/>
                  </a:lnTo>
                  <a:cubicBezTo>
                    <a:pt x="670" y="287"/>
                    <a:pt x="670" y="268"/>
                    <a:pt x="670" y="250"/>
                  </a:cubicBezTo>
                  <a:lnTo>
                    <a:pt x="670" y="231"/>
                  </a:lnTo>
                  <a:lnTo>
                    <a:pt x="670" y="171"/>
                  </a:lnTo>
                  <a:lnTo>
                    <a:pt x="670" y="134"/>
                  </a:lnTo>
                  <a:cubicBezTo>
                    <a:pt x="670" y="98"/>
                    <a:pt x="652" y="56"/>
                    <a:pt x="652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6" name="Google Shape;836;p39"/>
            <p:cNvSpPr/>
            <p:nvPr/>
          </p:nvSpPr>
          <p:spPr>
            <a:xfrm>
              <a:off x="342320" y="4007518"/>
              <a:ext cx="25965" cy="118189"/>
            </a:xfrm>
            <a:custGeom>
              <a:avLst/>
              <a:gdLst/>
              <a:ahLst/>
              <a:cxnLst/>
              <a:rect l="l" t="t" r="r" b="b"/>
              <a:pathLst>
                <a:path w="926" h="4215" extrusionOk="0">
                  <a:moveTo>
                    <a:pt x="274" y="0"/>
                  </a:moveTo>
                  <a:cubicBezTo>
                    <a:pt x="232" y="0"/>
                    <a:pt x="195" y="37"/>
                    <a:pt x="195" y="79"/>
                  </a:cubicBezTo>
                  <a:cubicBezTo>
                    <a:pt x="158" y="250"/>
                    <a:pt x="135" y="426"/>
                    <a:pt x="116" y="597"/>
                  </a:cubicBezTo>
                  <a:lnTo>
                    <a:pt x="116" y="731"/>
                  </a:lnTo>
                  <a:cubicBezTo>
                    <a:pt x="1" y="1789"/>
                    <a:pt x="61" y="2791"/>
                    <a:pt x="274" y="3734"/>
                  </a:cubicBezTo>
                  <a:cubicBezTo>
                    <a:pt x="292" y="3812"/>
                    <a:pt x="311" y="3909"/>
                    <a:pt x="329" y="4007"/>
                  </a:cubicBezTo>
                  <a:lnTo>
                    <a:pt x="329" y="4025"/>
                  </a:lnTo>
                  <a:cubicBezTo>
                    <a:pt x="347" y="4043"/>
                    <a:pt x="347" y="4062"/>
                    <a:pt x="347" y="4062"/>
                  </a:cubicBezTo>
                  <a:cubicBezTo>
                    <a:pt x="347" y="4099"/>
                    <a:pt x="366" y="4122"/>
                    <a:pt x="366" y="4159"/>
                  </a:cubicBezTo>
                  <a:cubicBezTo>
                    <a:pt x="389" y="4196"/>
                    <a:pt x="408" y="4214"/>
                    <a:pt x="445" y="4214"/>
                  </a:cubicBezTo>
                  <a:lnTo>
                    <a:pt x="925" y="4214"/>
                  </a:lnTo>
                  <a:cubicBezTo>
                    <a:pt x="925" y="4177"/>
                    <a:pt x="907" y="4122"/>
                    <a:pt x="907" y="4080"/>
                  </a:cubicBezTo>
                  <a:cubicBezTo>
                    <a:pt x="907" y="4062"/>
                    <a:pt x="907" y="4043"/>
                    <a:pt x="888" y="4025"/>
                  </a:cubicBezTo>
                  <a:lnTo>
                    <a:pt x="888" y="4007"/>
                  </a:lnTo>
                  <a:cubicBezTo>
                    <a:pt x="888" y="3909"/>
                    <a:pt x="870" y="3812"/>
                    <a:pt x="851" y="3734"/>
                  </a:cubicBezTo>
                  <a:cubicBezTo>
                    <a:pt x="736" y="2810"/>
                    <a:pt x="694" y="1812"/>
                    <a:pt x="754" y="772"/>
                  </a:cubicBezTo>
                  <a:cubicBezTo>
                    <a:pt x="754" y="712"/>
                    <a:pt x="773" y="657"/>
                    <a:pt x="773" y="597"/>
                  </a:cubicBezTo>
                  <a:cubicBezTo>
                    <a:pt x="791" y="402"/>
                    <a:pt x="791" y="195"/>
                    <a:pt x="8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7" name="Google Shape;837;p39"/>
            <p:cNvSpPr/>
            <p:nvPr/>
          </p:nvSpPr>
          <p:spPr>
            <a:xfrm>
              <a:off x="361247" y="4007518"/>
              <a:ext cx="22180" cy="118189"/>
            </a:xfrm>
            <a:custGeom>
              <a:avLst/>
              <a:gdLst/>
              <a:ahLst/>
              <a:cxnLst/>
              <a:rect l="l" t="t" r="r" b="b"/>
              <a:pathLst>
                <a:path w="791" h="4215" extrusionOk="0">
                  <a:moveTo>
                    <a:pt x="135" y="0"/>
                  </a:moveTo>
                  <a:cubicBezTo>
                    <a:pt x="1" y="1502"/>
                    <a:pt x="38" y="2944"/>
                    <a:pt x="250" y="4214"/>
                  </a:cubicBezTo>
                  <a:lnTo>
                    <a:pt x="791" y="4214"/>
                  </a:lnTo>
                  <a:cubicBezTo>
                    <a:pt x="712" y="2944"/>
                    <a:pt x="712" y="1502"/>
                    <a:pt x="754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8" name="Google Shape;838;p39"/>
            <p:cNvSpPr/>
            <p:nvPr/>
          </p:nvSpPr>
          <p:spPr>
            <a:xfrm>
              <a:off x="381716" y="4007518"/>
              <a:ext cx="18955" cy="118189"/>
            </a:xfrm>
            <a:custGeom>
              <a:avLst/>
              <a:gdLst/>
              <a:ahLst/>
              <a:cxnLst/>
              <a:rect l="l" t="t" r="r" b="b"/>
              <a:pathLst>
                <a:path w="676" h="4215" extrusionOk="0">
                  <a:moveTo>
                    <a:pt x="24" y="0"/>
                  </a:moveTo>
                  <a:lnTo>
                    <a:pt x="24" y="250"/>
                  </a:lnTo>
                  <a:lnTo>
                    <a:pt x="24" y="444"/>
                  </a:lnTo>
                  <a:cubicBezTo>
                    <a:pt x="24" y="499"/>
                    <a:pt x="24" y="541"/>
                    <a:pt x="1" y="597"/>
                  </a:cubicBezTo>
                  <a:lnTo>
                    <a:pt x="1" y="809"/>
                  </a:lnTo>
                  <a:lnTo>
                    <a:pt x="1" y="1636"/>
                  </a:lnTo>
                  <a:lnTo>
                    <a:pt x="1" y="2597"/>
                  </a:lnTo>
                  <a:cubicBezTo>
                    <a:pt x="24" y="3004"/>
                    <a:pt x="24" y="3369"/>
                    <a:pt x="42" y="3752"/>
                  </a:cubicBezTo>
                  <a:cubicBezTo>
                    <a:pt x="42" y="3831"/>
                    <a:pt x="42" y="3928"/>
                    <a:pt x="61" y="4025"/>
                  </a:cubicBezTo>
                  <a:lnTo>
                    <a:pt x="61" y="4214"/>
                  </a:lnTo>
                  <a:lnTo>
                    <a:pt x="601" y="4214"/>
                  </a:lnTo>
                  <a:cubicBezTo>
                    <a:pt x="601" y="4177"/>
                    <a:pt x="620" y="4122"/>
                    <a:pt x="620" y="4080"/>
                  </a:cubicBezTo>
                  <a:lnTo>
                    <a:pt x="620" y="4025"/>
                  </a:lnTo>
                  <a:cubicBezTo>
                    <a:pt x="620" y="3928"/>
                    <a:pt x="620" y="3831"/>
                    <a:pt x="638" y="3752"/>
                  </a:cubicBezTo>
                  <a:cubicBezTo>
                    <a:pt x="638" y="3350"/>
                    <a:pt x="657" y="2944"/>
                    <a:pt x="657" y="2523"/>
                  </a:cubicBezTo>
                  <a:cubicBezTo>
                    <a:pt x="675" y="2195"/>
                    <a:pt x="675" y="1886"/>
                    <a:pt x="675" y="1558"/>
                  </a:cubicBezTo>
                  <a:cubicBezTo>
                    <a:pt x="675" y="1327"/>
                    <a:pt x="675" y="1077"/>
                    <a:pt x="657" y="846"/>
                  </a:cubicBezTo>
                  <a:lnTo>
                    <a:pt x="657" y="597"/>
                  </a:lnTo>
                  <a:lnTo>
                    <a:pt x="657" y="463"/>
                  </a:lnTo>
                  <a:lnTo>
                    <a:pt x="657" y="250"/>
                  </a:lnTo>
                  <a:cubicBezTo>
                    <a:pt x="638" y="171"/>
                    <a:pt x="638" y="79"/>
                    <a:pt x="63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9" name="Google Shape;839;p39"/>
            <p:cNvSpPr/>
            <p:nvPr/>
          </p:nvSpPr>
          <p:spPr>
            <a:xfrm>
              <a:off x="398568" y="4007518"/>
              <a:ext cx="3253" cy="118189"/>
            </a:xfrm>
            <a:custGeom>
              <a:avLst/>
              <a:gdLst/>
              <a:ahLst/>
              <a:cxnLst/>
              <a:rect l="l" t="t" r="r" b="b"/>
              <a:pathLst>
                <a:path w="116" h="4215" extrusionOk="0">
                  <a:moveTo>
                    <a:pt x="37" y="0"/>
                  </a:moveTo>
                  <a:cubicBezTo>
                    <a:pt x="37" y="79"/>
                    <a:pt x="37" y="171"/>
                    <a:pt x="56" y="250"/>
                  </a:cubicBezTo>
                  <a:lnTo>
                    <a:pt x="56" y="463"/>
                  </a:lnTo>
                  <a:lnTo>
                    <a:pt x="56" y="597"/>
                  </a:lnTo>
                  <a:lnTo>
                    <a:pt x="56" y="846"/>
                  </a:lnTo>
                  <a:cubicBezTo>
                    <a:pt x="74" y="1077"/>
                    <a:pt x="74" y="1327"/>
                    <a:pt x="74" y="1558"/>
                  </a:cubicBezTo>
                  <a:cubicBezTo>
                    <a:pt x="74" y="1886"/>
                    <a:pt x="74" y="2195"/>
                    <a:pt x="56" y="2523"/>
                  </a:cubicBezTo>
                  <a:cubicBezTo>
                    <a:pt x="56" y="2944"/>
                    <a:pt x="37" y="3350"/>
                    <a:pt x="37" y="3752"/>
                  </a:cubicBezTo>
                  <a:cubicBezTo>
                    <a:pt x="19" y="3831"/>
                    <a:pt x="19" y="3928"/>
                    <a:pt x="19" y="4025"/>
                  </a:cubicBezTo>
                  <a:lnTo>
                    <a:pt x="19" y="4080"/>
                  </a:lnTo>
                  <a:cubicBezTo>
                    <a:pt x="19" y="4122"/>
                    <a:pt x="0" y="4177"/>
                    <a:pt x="0" y="4214"/>
                  </a:cubicBezTo>
                  <a:lnTo>
                    <a:pt x="56" y="4214"/>
                  </a:lnTo>
                  <a:lnTo>
                    <a:pt x="56" y="4025"/>
                  </a:lnTo>
                  <a:cubicBezTo>
                    <a:pt x="74" y="3928"/>
                    <a:pt x="74" y="3831"/>
                    <a:pt x="74" y="3752"/>
                  </a:cubicBezTo>
                  <a:cubicBezTo>
                    <a:pt x="74" y="3660"/>
                    <a:pt x="74" y="3563"/>
                    <a:pt x="93" y="3484"/>
                  </a:cubicBezTo>
                  <a:cubicBezTo>
                    <a:pt x="93" y="3156"/>
                    <a:pt x="116" y="2828"/>
                    <a:pt x="116" y="2505"/>
                  </a:cubicBezTo>
                  <a:lnTo>
                    <a:pt x="116" y="1539"/>
                  </a:lnTo>
                  <a:lnTo>
                    <a:pt x="116" y="846"/>
                  </a:lnTo>
                  <a:cubicBezTo>
                    <a:pt x="116" y="772"/>
                    <a:pt x="116" y="675"/>
                    <a:pt x="93" y="597"/>
                  </a:cubicBezTo>
                  <a:lnTo>
                    <a:pt x="93" y="463"/>
                  </a:lnTo>
                  <a:lnTo>
                    <a:pt x="93" y="250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0" name="Google Shape;840;p39"/>
            <p:cNvSpPr/>
            <p:nvPr/>
          </p:nvSpPr>
          <p:spPr>
            <a:xfrm>
              <a:off x="413597" y="4007518"/>
              <a:ext cx="25937" cy="118189"/>
            </a:xfrm>
            <a:custGeom>
              <a:avLst/>
              <a:gdLst/>
              <a:ahLst/>
              <a:cxnLst/>
              <a:rect l="l" t="t" r="r" b="b"/>
              <a:pathLst>
                <a:path w="925" h="4215" extrusionOk="0">
                  <a:moveTo>
                    <a:pt x="116" y="0"/>
                  </a:moveTo>
                  <a:cubicBezTo>
                    <a:pt x="116" y="56"/>
                    <a:pt x="134" y="98"/>
                    <a:pt x="134" y="134"/>
                  </a:cubicBezTo>
                  <a:lnTo>
                    <a:pt x="134" y="171"/>
                  </a:lnTo>
                  <a:lnTo>
                    <a:pt x="134" y="250"/>
                  </a:lnTo>
                  <a:lnTo>
                    <a:pt x="134" y="287"/>
                  </a:lnTo>
                  <a:lnTo>
                    <a:pt x="157" y="310"/>
                  </a:lnTo>
                  <a:lnTo>
                    <a:pt x="157" y="402"/>
                  </a:lnTo>
                  <a:lnTo>
                    <a:pt x="157" y="481"/>
                  </a:lnTo>
                  <a:cubicBezTo>
                    <a:pt x="157" y="518"/>
                    <a:pt x="176" y="560"/>
                    <a:pt x="176" y="597"/>
                  </a:cubicBezTo>
                  <a:lnTo>
                    <a:pt x="176" y="694"/>
                  </a:lnTo>
                  <a:lnTo>
                    <a:pt x="176" y="749"/>
                  </a:lnTo>
                  <a:lnTo>
                    <a:pt x="176" y="772"/>
                  </a:lnTo>
                  <a:lnTo>
                    <a:pt x="176" y="809"/>
                  </a:lnTo>
                  <a:cubicBezTo>
                    <a:pt x="176" y="828"/>
                    <a:pt x="176" y="865"/>
                    <a:pt x="194" y="888"/>
                  </a:cubicBezTo>
                  <a:cubicBezTo>
                    <a:pt x="194" y="1211"/>
                    <a:pt x="213" y="1539"/>
                    <a:pt x="213" y="1867"/>
                  </a:cubicBezTo>
                  <a:lnTo>
                    <a:pt x="213" y="1886"/>
                  </a:lnTo>
                  <a:lnTo>
                    <a:pt x="213" y="2001"/>
                  </a:lnTo>
                  <a:lnTo>
                    <a:pt x="213" y="2020"/>
                  </a:lnTo>
                  <a:cubicBezTo>
                    <a:pt x="213" y="2043"/>
                    <a:pt x="213" y="2080"/>
                    <a:pt x="194" y="2117"/>
                  </a:cubicBezTo>
                  <a:lnTo>
                    <a:pt x="194" y="2158"/>
                  </a:lnTo>
                  <a:lnTo>
                    <a:pt x="194" y="2251"/>
                  </a:lnTo>
                  <a:lnTo>
                    <a:pt x="194" y="2274"/>
                  </a:lnTo>
                  <a:lnTo>
                    <a:pt x="194" y="2523"/>
                  </a:lnTo>
                  <a:lnTo>
                    <a:pt x="194" y="2620"/>
                  </a:lnTo>
                  <a:cubicBezTo>
                    <a:pt x="176" y="2620"/>
                    <a:pt x="176" y="2639"/>
                    <a:pt x="176" y="2657"/>
                  </a:cubicBezTo>
                  <a:lnTo>
                    <a:pt x="176" y="2754"/>
                  </a:lnTo>
                  <a:lnTo>
                    <a:pt x="176" y="2773"/>
                  </a:lnTo>
                  <a:lnTo>
                    <a:pt x="176" y="2888"/>
                  </a:lnTo>
                  <a:cubicBezTo>
                    <a:pt x="157" y="2967"/>
                    <a:pt x="157" y="3022"/>
                    <a:pt x="157" y="3101"/>
                  </a:cubicBezTo>
                  <a:lnTo>
                    <a:pt x="157" y="3138"/>
                  </a:lnTo>
                  <a:cubicBezTo>
                    <a:pt x="134" y="3175"/>
                    <a:pt x="134" y="3198"/>
                    <a:pt x="134" y="3235"/>
                  </a:cubicBezTo>
                  <a:lnTo>
                    <a:pt x="134" y="3272"/>
                  </a:lnTo>
                  <a:cubicBezTo>
                    <a:pt x="134" y="3290"/>
                    <a:pt x="134" y="3332"/>
                    <a:pt x="116" y="3369"/>
                  </a:cubicBezTo>
                  <a:lnTo>
                    <a:pt x="116" y="3387"/>
                  </a:lnTo>
                  <a:cubicBezTo>
                    <a:pt x="116" y="3503"/>
                    <a:pt x="97" y="3618"/>
                    <a:pt x="79" y="3734"/>
                  </a:cubicBezTo>
                  <a:lnTo>
                    <a:pt x="79" y="3752"/>
                  </a:lnTo>
                  <a:lnTo>
                    <a:pt x="79" y="3794"/>
                  </a:lnTo>
                  <a:cubicBezTo>
                    <a:pt x="79" y="3831"/>
                    <a:pt x="60" y="3868"/>
                    <a:pt x="60" y="3928"/>
                  </a:cubicBezTo>
                  <a:lnTo>
                    <a:pt x="60" y="3946"/>
                  </a:lnTo>
                  <a:cubicBezTo>
                    <a:pt x="60" y="3965"/>
                    <a:pt x="42" y="3983"/>
                    <a:pt x="42" y="4007"/>
                  </a:cubicBezTo>
                  <a:lnTo>
                    <a:pt x="42" y="4025"/>
                  </a:lnTo>
                  <a:lnTo>
                    <a:pt x="42" y="4043"/>
                  </a:lnTo>
                  <a:lnTo>
                    <a:pt x="42" y="4062"/>
                  </a:lnTo>
                  <a:lnTo>
                    <a:pt x="42" y="4080"/>
                  </a:lnTo>
                  <a:lnTo>
                    <a:pt x="19" y="4099"/>
                  </a:lnTo>
                  <a:cubicBezTo>
                    <a:pt x="19" y="4141"/>
                    <a:pt x="19" y="4177"/>
                    <a:pt x="0" y="4214"/>
                  </a:cubicBezTo>
                  <a:lnTo>
                    <a:pt x="481" y="4214"/>
                  </a:lnTo>
                  <a:cubicBezTo>
                    <a:pt x="522" y="4214"/>
                    <a:pt x="559" y="4196"/>
                    <a:pt x="559" y="4159"/>
                  </a:cubicBezTo>
                  <a:lnTo>
                    <a:pt x="578" y="4141"/>
                  </a:lnTo>
                  <a:cubicBezTo>
                    <a:pt x="578" y="4099"/>
                    <a:pt x="596" y="4062"/>
                    <a:pt x="596" y="4025"/>
                  </a:cubicBezTo>
                  <a:lnTo>
                    <a:pt x="596" y="4007"/>
                  </a:lnTo>
                  <a:cubicBezTo>
                    <a:pt x="638" y="3928"/>
                    <a:pt x="656" y="3831"/>
                    <a:pt x="675" y="3752"/>
                  </a:cubicBezTo>
                  <a:lnTo>
                    <a:pt x="675" y="3734"/>
                  </a:lnTo>
                  <a:cubicBezTo>
                    <a:pt x="869" y="2851"/>
                    <a:pt x="924" y="1904"/>
                    <a:pt x="850" y="925"/>
                  </a:cubicBezTo>
                  <a:cubicBezTo>
                    <a:pt x="827" y="809"/>
                    <a:pt x="827" y="694"/>
                    <a:pt x="809" y="597"/>
                  </a:cubicBezTo>
                  <a:cubicBezTo>
                    <a:pt x="809" y="481"/>
                    <a:pt x="790" y="365"/>
                    <a:pt x="772" y="250"/>
                  </a:cubicBezTo>
                  <a:cubicBezTo>
                    <a:pt x="772" y="195"/>
                    <a:pt x="753" y="134"/>
                    <a:pt x="753" y="79"/>
                  </a:cubicBezTo>
                  <a:cubicBezTo>
                    <a:pt x="735" y="37"/>
                    <a:pt x="712" y="0"/>
                    <a:pt x="67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1" name="Google Shape;841;p39"/>
            <p:cNvSpPr/>
            <p:nvPr/>
          </p:nvSpPr>
          <p:spPr>
            <a:xfrm>
              <a:off x="361247" y="4007518"/>
              <a:ext cx="8188" cy="118189"/>
            </a:xfrm>
            <a:custGeom>
              <a:avLst/>
              <a:gdLst/>
              <a:ahLst/>
              <a:cxnLst/>
              <a:rect l="l" t="t" r="r" b="b"/>
              <a:pathLst>
                <a:path w="292" h="4215" extrusionOk="0">
                  <a:moveTo>
                    <a:pt x="135" y="0"/>
                  </a:moveTo>
                  <a:cubicBezTo>
                    <a:pt x="1" y="1502"/>
                    <a:pt x="38" y="2944"/>
                    <a:pt x="250" y="4214"/>
                  </a:cubicBezTo>
                  <a:lnTo>
                    <a:pt x="292" y="4214"/>
                  </a:lnTo>
                  <a:cubicBezTo>
                    <a:pt x="292" y="4141"/>
                    <a:pt x="269" y="4080"/>
                    <a:pt x="269" y="4007"/>
                  </a:cubicBezTo>
                  <a:cubicBezTo>
                    <a:pt x="250" y="3909"/>
                    <a:pt x="232" y="3812"/>
                    <a:pt x="232" y="3734"/>
                  </a:cubicBezTo>
                  <a:cubicBezTo>
                    <a:pt x="79" y="2579"/>
                    <a:pt x="61" y="1327"/>
                    <a:pt x="195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2" name="Google Shape;842;p39"/>
            <p:cNvSpPr/>
            <p:nvPr/>
          </p:nvSpPr>
          <p:spPr>
            <a:xfrm>
              <a:off x="381211" y="4007518"/>
              <a:ext cx="3253" cy="118189"/>
            </a:xfrm>
            <a:custGeom>
              <a:avLst/>
              <a:gdLst/>
              <a:ahLst/>
              <a:cxnLst/>
              <a:rect l="l" t="t" r="r" b="b"/>
              <a:pathLst>
                <a:path w="116" h="4215" extrusionOk="0">
                  <a:moveTo>
                    <a:pt x="42" y="0"/>
                  </a:moveTo>
                  <a:cubicBezTo>
                    <a:pt x="0" y="1502"/>
                    <a:pt x="0" y="2944"/>
                    <a:pt x="79" y="4214"/>
                  </a:cubicBezTo>
                  <a:lnTo>
                    <a:pt x="116" y="4214"/>
                  </a:lnTo>
                  <a:cubicBezTo>
                    <a:pt x="42" y="2944"/>
                    <a:pt x="19" y="1502"/>
                    <a:pt x="79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3" name="Google Shape;843;p39"/>
            <p:cNvSpPr/>
            <p:nvPr/>
          </p:nvSpPr>
          <p:spPr>
            <a:xfrm>
              <a:off x="350507" y="4005303"/>
              <a:ext cx="80980" cy="2243"/>
            </a:xfrm>
            <a:custGeom>
              <a:avLst/>
              <a:gdLst/>
              <a:ahLst/>
              <a:cxnLst/>
              <a:rect l="l" t="t" r="r" b="b"/>
              <a:pathLst>
                <a:path w="2888" h="80" extrusionOk="0">
                  <a:moveTo>
                    <a:pt x="37" y="1"/>
                  </a:moveTo>
                  <a:cubicBezTo>
                    <a:pt x="19" y="1"/>
                    <a:pt x="0" y="19"/>
                    <a:pt x="0" y="43"/>
                  </a:cubicBezTo>
                  <a:lnTo>
                    <a:pt x="0" y="79"/>
                  </a:lnTo>
                  <a:lnTo>
                    <a:pt x="2888" y="79"/>
                  </a:lnTo>
                  <a:lnTo>
                    <a:pt x="2888" y="43"/>
                  </a:lnTo>
                  <a:cubicBezTo>
                    <a:pt x="2888" y="19"/>
                    <a:pt x="2888" y="1"/>
                    <a:pt x="2846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4" name="Google Shape;844;p39"/>
            <p:cNvSpPr/>
            <p:nvPr/>
          </p:nvSpPr>
          <p:spPr>
            <a:xfrm>
              <a:off x="366182" y="4038866"/>
              <a:ext cx="50164" cy="42144"/>
            </a:xfrm>
            <a:custGeom>
              <a:avLst/>
              <a:gdLst/>
              <a:ahLst/>
              <a:cxnLst/>
              <a:rect l="l" t="t" r="r" b="b"/>
              <a:pathLst>
                <a:path w="1789" h="1503" extrusionOk="0">
                  <a:moveTo>
                    <a:pt x="365" y="1"/>
                  </a:moveTo>
                  <a:lnTo>
                    <a:pt x="0" y="828"/>
                  </a:lnTo>
                  <a:lnTo>
                    <a:pt x="1502" y="1502"/>
                  </a:lnTo>
                  <a:lnTo>
                    <a:pt x="1788" y="712"/>
                  </a:lnTo>
                  <a:lnTo>
                    <a:pt x="365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5" name="Google Shape;845;p39"/>
            <p:cNvSpPr/>
            <p:nvPr/>
          </p:nvSpPr>
          <p:spPr>
            <a:xfrm>
              <a:off x="413597" y="4007518"/>
              <a:ext cx="8188" cy="118189"/>
            </a:xfrm>
            <a:custGeom>
              <a:avLst/>
              <a:gdLst/>
              <a:ahLst/>
              <a:cxnLst/>
              <a:rect l="l" t="t" r="r" b="b"/>
              <a:pathLst>
                <a:path w="292" h="4215" extrusionOk="0">
                  <a:moveTo>
                    <a:pt x="116" y="0"/>
                  </a:moveTo>
                  <a:cubicBezTo>
                    <a:pt x="116" y="56"/>
                    <a:pt x="134" y="98"/>
                    <a:pt x="134" y="134"/>
                  </a:cubicBezTo>
                  <a:lnTo>
                    <a:pt x="134" y="171"/>
                  </a:lnTo>
                  <a:lnTo>
                    <a:pt x="134" y="231"/>
                  </a:lnTo>
                  <a:lnTo>
                    <a:pt x="134" y="250"/>
                  </a:lnTo>
                  <a:lnTo>
                    <a:pt x="134" y="287"/>
                  </a:lnTo>
                  <a:lnTo>
                    <a:pt x="157" y="310"/>
                  </a:lnTo>
                  <a:lnTo>
                    <a:pt x="157" y="402"/>
                  </a:lnTo>
                  <a:lnTo>
                    <a:pt x="157" y="481"/>
                  </a:lnTo>
                  <a:cubicBezTo>
                    <a:pt x="157" y="499"/>
                    <a:pt x="157" y="541"/>
                    <a:pt x="176" y="560"/>
                  </a:cubicBezTo>
                  <a:lnTo>
                    <a:pt x="176" y="597"/>
                  </a:lnTo>
                  <a:lnTo>
                    <a:pt x="176" y="694"/>
                  </a:lnTo>
                  <a:lnTo>
                    <a:pt x="176" y="772"/>
                  </a:lnTo>
                  <a:cubicBezTo>
                    <a:pt x="176" y="809"/>
                    <a:pt x="176" y="846"/>
                    <a:pt x="194" y="888"/>
                  </a:cubicBezTo>
                  <a:cubicBezTo>
                    <a:pt x="194" y="1211"/>
                    <a:pt x="213" y="1539"/>
                    <a:pt x="213" y="1867"/>
                  </a:cubicBezTo>
                  <a:lnTo>
                    <a:pt x="213" y="1886"/>
                  </a:lnTo>
                  <a:lnTo>
                    <a:pt x="213" y="2001"/>
                  </a:lnTo>
                  <a:lnTo>
                    <a:pt x="213" y="2020"/>
                  </a:lnTo>
                  <a:cubicBezTo>
                    <a:pt x="213" y="2043"/>
                    <a:pt x="213" y="2080"/>
                    <a:pt x="194" y="2117"/>
                  </a:cubicBezTo>
                  <a:lnTo>
                    <a:pt x="194" y="2158"/>
                  </a:lnTo>
                  <a:lnTo>
                    <a:pt x="194" y="2251"/>
                  </a:lnTo>
                  <a:lnTo>
                    <a:pt x="194" y="2274"/>
                  </a:lnTo>
                  <a:lnTo>
                    <a:pt x="194" y="2523"/>
                  </a:lnTo>
                  <a:lnTo>
                    <a:pt x="194" y="2597"/>
                  </a:lnTo>
                  <a:lnTo>
                    <a:pt x="194" y="2620"/>
                  </a:lnTo>
                  <a:cubicBezTo>
                    <a:pt x="176" y="2620"/>
                    <a:pt x="176" y="2639"/>
                    <a:pt x="176" y="2657"/>
                  </a:cubicBezTo>
                  <a:lnTo>
                    <a:pt x="176" y="2754"/>
                  </a:lnTo>
                  <a:lnTo>
                    <a:pt x="176" y="2773"/>
                  </a:lnTo>
                  <a:lnTo>
                    <a:pt x="176" y="2888"/>
                  </a:lnTo>
                  <a:cubicBezTo>
                    <a:pt x="157" y="2925"/>
                    <a:pt x="157" y="2967"/>
                    <a:pt x="157" y="3004"/>
                  </a:cubicBezTo>
                  <a:lnTo>
                    <a:pt x="157" y="3101"/>
                  </a:lnTo>
                  <a:lnTo>
                    <a:pt x="157" y="3138"/>
                  </a:lnTo>
                  <a:cubicBezTo>
                    <a:pt x="134" y="3175"/>
                    <a:pt x="134" y="3198"/>
                    <a:pt x="134" y="3235"/>
                  </a:cubicBezTo>
                  <a:lnTo>
                    <a:pt x="134" y="3272"/>
                  </a:lnTo>
                  <a:cubicBezTo>
                    <a:pt x="134" y="3290"/>
                    <a:pt x="134" y="3332"/>
                    <a:pt x="116" y="3369"/>
                  </a:cubicBezTo>
                  <a:lnTo>
                    <a:pt x="116" y="3387"/>
                  </a:lnTo>
                  <a:cubicBezTo>
                    <a:pt x="116" y="3503"/>
                    <a:pt x="97" y="3618"/>
                    <a:pt x="79" y="3734"/>
                  </a:cubicBezTo>
                  <a:lnTo>
                    <a:pt x="79" y="3752"/>
                  </a:lnTo>
                  <a:lnTo>
                    <a:pt x="79" y="3794"/>
                  </a:lnTo>
                  <a:cubicBezTo>
                    <a:pt x="79" y="3831"/>
                    <a:pt x="60" y="3868"/>
                    <a:pt x="60" y="3928"/>
                  </a:cubicBezTo>
                  <a:lnTo>
                    <a:pt x="60" y="3946"/>
                  </a:lnTo>
                  <a:cubicBezTo>
                    <a:pt x="60" y="3965"/>
                    <a:pt x="42" y="3983"/>
                    <a:pt x="42" y="4007"/>
                  </a:cubicBezTo>
                  <a:lnTo>
                    <a:pt x="42" y="4025"/>
                  </a:lnTo>
                  <a:lnTo>
                    <a:pt x="42" y="4043"/>
                  </a:lnTo>
                  <a:lnTo>
                    <a:pt x="42" y="4062"/>
                  </a:lnTo>
                  <a:lnTo>
                    <a:pt x="42" y="4080"/>
                  </a:lnTo>
                  <a:lnTo>
                    <a:pt x="19" y="4099"/>
                  </a:lnTo>
                  <a:cubicBezTo>
                    <a:pt x="19" y="4141"/>
                    <a:pt x="19" y="4177"/>
                    <a:pt x="0" y="4214"/>
                  </a:cubicBezTo>
                  <a:lnTo>
                    <a:pt x="60" y="4214"/>
                  </a:lnTo>
                  <a:cubicBezTo>
                    <a:pt x="79" y="4159"/>
                    <a:pt x="79" y="4080"/>
                    <a:pt x="97" y="4025"/>
                  </a:cubicBezTo>
                  <a:cubicBezTo>
                    <a:pt x="116" y="3928"/>
                    <a:pt x="116" y="3831"/>
                    <a:pt x="134" y="3752"/>
                  </a:cubicBezTo>
                  <a:cubicBezTo>
                    <a:pt x="250" y="2851"/>
                    <a:pt x="291" y="1886"/>
                    <a:pt x="231" y="888"/>
                  </a:cubicBezTo>
                  <a:lnTo>
                    <a:pt x="231" y="597"/>
                  </a:lnTo>
                  <a:cubicBezTo>
                    <a:pt x="213" y="560"/>
                    <a:pt x="213" y="518"/>
                    <a:pt x="213" y="481"/>
                  </a:cubicBezTo>
                  <a:cubicBezTo>
                    <a:pt x="213" y="402"/>
                    <a:pt x="213" y="329"/>
                    <a:pt x="194" y="250"/>
                  </a:cubicBezTo>
                  <a:cubicBezTo>
                    <a:pt x="194" y="171"/>
                    <a:pt x="176" y="79"/>
                    <a:pt x="176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6" name="Google Shape;846;p39"/>
            <p:cNvSpPr/>
            <p:nvPr/>
          </p:nvSpPr>
          <p:spPr>
            <a:xfrm>
              <a:off x="344030" y="4014500"/>
              <a:ext cx="93934" cy="9758"/>
            </a:xfrm>
            <a:custGeom>
              <a:avLst/>
              <a:gdLst/>
              <a:ahLst/>
              <a:cxnLst/>
              <a:rect l="l" t="t" r="r" b="b"/>
              <a:pathLst>
                <a:path w="3350" h="348" extrusionOk="0">
                  <a:moveTo>
                    <a:pt x="55" y="1"/>
                  </a:moveTo>
                  <a:cubicBezTo>
                    <a:pt x="37" y="38"/>
                    <a:pt x="37" y="80"/>
                    <a:pt x="18" y="116"/>
                  </a:cubicBezTo>
                  <a:lnTo>
                    <a:pt x="18" y="177"/>
                  </a:lnTo>
                  <a:cubicBezTo>
                    <a:pt x="18" y="232"/>
                    <a:pt x="0" y="292"/>
                    <a:pt x="18" y="348"/>
                  </a:cubicBezTo>
                  <a:lnTo>
                    <a:pt x="3350" y="348"/>
                  </a:lnTo>
                  <a:lnTo>
                    <a:pt x="3350" y="269"/>
                  </a:lnTo>
                  <a:lnTo>
                    <a:pt x="3350" y="232"/>
                  </a:lnTo>
                  <a:lnTo>
                    <a:pt x="3350" y="195"/>
                  </a:lnTo>
                  <a:lnTo>
                    <a:pt x="3350" y="177"/>
                  </a:lnTo>
                  <a:lnTo>
                    <a:pt x="3350" y="153"/>
                  </a:lnTo>
                  <a:lnTo>
                    <a:pt x="3331" y="135"/>
                  </a:lnTo>
                  <a:lnTo>
                    <a:pt x="3331" y="98"/>
                  </a:lnTo>
                  <a:lnTo>
                    <a:pt x="3331" y="80"/>
                  </a:lnTo>
                  <a:lnTo>
                    <a:pt x="3331" y="61"/>
                  </a:lnTo>
                  <a:cubicBezTo>
                    <a:pt x="3308" y="61"/>
                    <a:pt x="3308" y="38"/>
                    <a:pt x="3308" y="19"/>
                  </a:cubicBezTo>
                  <a:cubicBezTo>
                    <a:pt x="3308" y="19"/>
                    <a:pt x="3308" y="1"/>
                    <a:pt x="3290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7" name="Google Shape;847;p39"/>
            <p:cNvSpPr/>
            <p:nvPr/>
          </p:nvSpPr>
          <p:spPr>
            <a:xfrm>
              <a:off x="348797" y="4112724"/>
              <a:ext cx="84765" cy="7655"/>
            </a:xfrm>
            <a:custGeom>
              <a:avLst/>
              <a:gdLst/>
              <a:ahLst/>
              <a:cxnLst/>
              <a:rect l="l" t="t" r="r" b="b"/>
              <a:pathLst>
                <a:path w="3023" h="273" extrusionOk="0">
                  <a:moveTo>
                    <a:pt x="1" y="0"/>
                  </a:moveTo>
                  <a:lnTo>
                    <a:pt x="1" y="60"/>
                  </a:lnTo>
                  <a:lnTo>
                    <a:pt x="1" y="139"/>
                  </a:lnTo>
                  <a:cubicBezTo>
                    <a:pt x="19" y="176"/>
                    <a:pt x="43" y="231"/>
                    <a:pt x="61" y="273"/>
                  </a:cubicBezTo>
                  <a:lnTo>
                    <a:pt x="2949" y="273"/>
                  </a:lnTo>
                  <a:cubicBezTo>
                    <a:pt x="2986" y="194"/>
                    <a:pt x="3023" y="116"/>
                    <a:pt x="3023" y="42"/>
                  </a:cubicBezTo>
                  <a:lnTo>
                    <a:pt x="3023" y="0"/>
                  </a:ln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8" name="Google Shape;848;p39"/>
            <p:cNvSpPr/>
            <p:nvPr/>
          </p:nvSpPr>
          <p:spPr>
            <a:xfrm>
              <a:off x="344030" y="4014500"/>
              <a:ext cx="93934" cy="9758"/>
            </a:xfrm>
            <a:custGeom>
              <a:avLst/>
              <a:gdLst/>
              <a:ahLst/>
              <a:cxnLst/>
              <a:rect l="l" t="t" r="r" b="b"/>
              <a:pathLst>
                <a:path w="3350" h="348" extrusionOk="0">
                  <a:moveTo>
                    <a:pt x="3137" y="1"/>
                  </a:moveTo>
                  <a:lnTo>
                    <a:pt x="3193" y="250"/>
                  </a:lnTo>
                  <a:lnTo>
                    <a:pt x="2694" y="232"/>
                  </a:lnTo>
                  <a:lnTo>
                    <a:pt x="2407" y="232"/>
                  </a:lnTo>
                  <a:lnTo>
                    <a:pt x="2038" y="214"/>
                  </a:lnTo>
                  <a:lnTo>
                    <a:pt x="2001" y="214"/>
                  </a:lnTo>
                  <a:lnTo>
                    <a:pt x="1368" y="195"/>
                  </a:lnTo>
                  <a:lnTo>
                    <a:pt x="18" y="177"/>
                  </a:lnTo>
                  <a:cubicBezTo>
                    <a:pt x="18" y="232"/>
                    <a:pt x="0" y="292"/>
                    <a:pt x="18" y="348"/>
                  </a:cubicBezTo>
                  <a:lnTo>
                    <a:pt x="3350" y="348"/>
                  </a:lnTo>
                  <a:lnTo>
                    <a:pt x="3350" y="269"/>
                  </a:lnTo>
                  <a:lnTo>
                    <a:pt x="3350" y="232"/>
                  </a:lnTo>
                  <a:lnTo>
                    <a:pt x="3350" y="195"/>
                  </a:lnTo>
                  <a:lnTo>
                    <a:pt x="3350" y="177"/>
                  </a:lnTo>
                  <a:lnTo>
                    <a:pt x="3350" y="153"/>
                  </a:lnTo>
                  <a:lnTo>
                    <a:pt x="3331" y="135"/>
                  </a:lnTo>
                  <a:lnTo>
                    <a:pt x="3331" y="98"/>
                  </a:lnTo>
                  <a:lnTo>
                    <a:pt x="3331" y="61"/>
                  </a:lnTo>
                  <a:cubicBezTo>
                    <a:pt x="3308" y="61"/>
                    <a:pt x="3308" y="38"/>
                    <a:pt x="3308" y="19"/>
                  </a:cubicBezTo>
                  <a:cubicBezTo>
                    <a:pt x="3308" y="19"/>
                    <a:pt x="3308" y="1"/>
                    <a:pt x="3290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9" name="Google Shape;849;p39"/>
            <p:cNvSpPr/>
            <p:nvPr/>
          </p:nvSpPr>
          <p:spPr>
            <a:xfrm>
              <a:off x="348797" y="4112724"/>
              <a:ext cx="84765" cy="7655"/>
            </a:xfrm>
            <a:custGeom>
              <a:avLst/>
              <a:gdLst/>
              <a:ahLst/>
              <a:cxnLst/>
              <a:rect l="l" t="t" r="r" b="b"/>
              <a:pathLst>
                <a:path w="3023" h="273" extrusionOk="0">
                  <a:moveTo>
                    <a:pt x="2852" y="0"/>
                  </a:moveTo>
                  <a:lnTo>
                    <a:pt x="2792" y="176"/>
                  </a:lnTo>
                  <a:lnTo>
                    <a:pt x="1" y="139"/>
                  </a:lnTo>
                  <a:lnTo>
                    <a:pt x="1" y="139"/>
                  </a:lnTo>
                  <a:cubicBezTo>
                    <a:pt x="19" y="176"/>
                    <a:pt x="43" y="231"/>
                    <a:pt x="61" y="273"/>
                  </a:cubicBezTo>
                  <a:lnTo>
                    <a:pt x="2949" y="273"/>
                  </a:lnTo>
                  <a:cubicBezTo>
                    <a:pt x="3004" y="176"/>
                    <a:pt x="3023" y="79"/>
                    <a:pt x="3023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0" name="Google Shape;850;p39"/>
            <p:cNvSpPr/>
            <p:nvPr/>
          </p:nvSpPr>
          <p:spPr>
            <a:xfrm>
              <a:off x="345572" y="4024230"/>
              <a:ext cx="91887" cy="9225"/>
            </a:xfrm>
            <a:custGeom>
              <a:avLst/>
              <a:gdLst/>
              <a:ahLst/>
              <a:cxnLst/>
              <a:rect l="l" t="t" r="r" b="b"/>
              <a:pathLst>
                <a:path w="3277" h="329" extrusionOk="0">
                  <a:moveTo>
                    <a:pt x="0" y="1"/>
                  </a:moveTo>
                  <a:lnTo>
                    <a:pt x="0" y="135"/>
                  </a:lnTo>
                  <a:lnTo>
                    <a:pt x="638" y="176"/>
                  </a:lnTo>
                  <a:lnTo>
                    <a:pt x="1290" y="213"/>
                  </a:lnTo>
                  <a:lnTo>
                    <a:pt x="1946" y="250"/>
                  </a:lnTo>
                  <a:lnTo>
                    <a:pt x="2006" y="250"/>
                  </a:lnTo>
                  <a:lnTo>
                    <a:pt x="2292" y="269"/>
                  </a:lnTo>
                  <a:lnTo>
                    <a:pt x="2620" y="292"/>
                  </a:lnTo>
                  <a:lnTo>
                    <a:pt x="2657" y="292"/>
                  </a:lnTo>
                  <a:lnTo>
                    <a:pt x="3276" y="329"/>
                  </a:lnTo>
                  <a:cubicBezTo>
                    <a:pt x="3253" y="213"/>
                    <a:pt x="3253" y="98"/>
                    <a:pt x="3235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851" name="Google Shape;851;p39"/>
          <p:cNvGrpSpPr/>
          <p:nvPr/>
        </p:nvGrpSpPr>
        <p:grpSpPr>
          <a:xfrm>
            <a:off x="4542775" y="1813029"/>
            <a:ext cx="1878461" cy="4075796"/>
            <a:chOff x="6718924" y="3669636"/>
            <a:chExt cx="317974" cy="689924"/>
          </a:xfrm>
        </p:grpSpPr>
        <p:sp>
          <p:nvSpPr>
            <p:cNvPr id="852" name="Google Shape;852;p39"/>
            <p:cNvSpPr/>
            <p:nvPr/>
          </p:nvSpPr>
          <p:spPr>
            <a:xfrm>
              <a:off x="6986734" y="4330903"/>
              <a:ext cx="50164" cy="28657"/>
            </a:xfrm>
            <a:custGeom>
              <a:avLst/>
              <a:gdLst/>
              <a:ahLst/>
              <a:cxnLst/>
              <a:rect l="l" t="t" r="r" b="b"/>
              <a:pathLst>
                <a:path w="1789" h="1022" extrusionOk="0">
                  <a:moveTo>
                    <a:pt x="134" y="0"/>
                  </a:moveTo>
                  <a:cubicBezTo>
                    <a:pt x="134" y="0"/>
                    <a:pt x="0" y="384"/>
                    <a:pt x="0" y="596"/>
                  </a:cubicBezTo>
                  <a:cubicBezTo>
                    <a:pt x="0" y="809"/>
                    <a:pt x="190" y="1022"/>
                    <a:pt x="190" y="1022"/>
                  </a:cubicBezTo>
                  <a:lnTo>
                    <a:pt x="1618" y="1022"/>
                  </a:lnTo>
                  <a:cubicBezTo>
                    <a:pt x="1618" y="1022"/>
                    <a:pt x="1788" y="883"/>
                    <a:pt x="1710" y="615"/>
                  </a:cubicBezTo>
                  <a:cubicBezTo>
                    <a:pt x="1636" y="347"/>
                    <a:pt x="1058" y="0"/>
                    <a:pt x="1058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3" name="Google Shape;853;p39"/>
            <p:cNvSpPr/>
            <p:nvPr/>
          </p:nvSpPr>
          <p:spPr>
            <a:xfrm>
              <a:off x="6804699" y="4330903"/>
              <a:ext cx="47051" cy="28657"/>
            </a:xfrm>
            <a:custGeom>
              <a:avLst/>
              <a:gdLst/>
              <a:ahLst/>
              <a:cxnLst/>
              <a:rect l="l" t="t" r="r" b="b"/>
              <a:pathLst>
                <a:path w="1678" h="1022" extrusionOk="0">
                  <a:moveTo>
                    <a:pt x="486" y="0"/>
                  </a:moveTo>
                  <a:cubicBezTo>
                    <a:pt x="213" y="347"/>
                    <a:pt x="0" y="578"/>
                    <a:pt x="24" y="791"/>
                  </a:cubicBezTo>
                  <a:cubicBezTo>
                    <a:pt x="42" y="943"/>
                    <a:pt x="255" y="1022"/>
                    <a:pt x="255" y="1022"/>
                  </a:cubicBezTo>
                  <a:lnTo>
                    <a:pt x="1544" y="1022"/>
                  </a:lnTo>
                  <a:cubicBezTo>
                    <a:pt x="1544" y="1022"/>
                    <a:pt x="1678" y="906"/>
                    <a:pt x="1678" y="767"/>
                  </a:cubicBezTo>
                  <a:cubicBezTo>
                    <a:pt x="1678" y="462"/>
                    <a:pt x="1368" y="0"/>
                    <a:pt x="1368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4" name="Google Shape;854;p39"/>
            <p:cNvSpPr/>
            <p:nvPr/>
          </p:nvSpPr>
          <p:spPr>
            <a:xfrm>
              <a:off x="6819335" y="3771589"/>
              <a:ext cx="48621" cy="13487"/>
            </a:xfrm>
            <a:custGeom>
              <a:avLst/>
              <a:gdLst/>
              <a:ahLst/>
              <a:cxnLst/>
              <a:rect l="l" t="t" r="r" b="b"/>
              <a:pathLst>
                <a:path w="1734" h="481" extrusionOk="0">
                  <a:moveTo>
                    <a:pt x="791" y="1"/>
                  </a:moveTo>
                  <a:cubicBezTo>
                    <a:pt x="362" y="1"/>
                    <a:pt x="19" y="79"/>
                    <a:pt x="19" y="79"/>
                  </a:cubicBezTo>
                  <a:cubicBezTo>
                    <a:pt x="19" y="79"/>
                    <a:pt x="1" y="292"/>
                    <a:pt x="19" y="328"/>
                  </a:cubicBezTo>
                  <a:cubicBezTo>
                    <a:pt x="19" y="365"/>
                    <a:pt x="135" y="407"/>
                    <a:pt x="153" y="426"/>
                  </a:cubicBezTo>
                  <a:cubicBezTo>
                    <a:pt x="172" y="444"/>
                    <a:pt x="597" y="481"/>
                    <a:pt x="634" y="481"/>
                  </a:cubicBezTo>
                  <a:cubicBezTo>
                    <a:pt x="675" y="481"/>
                    <a:pt x="1387" y="462"/>
                    <a:pt x="1387" y="462"/>
                  </a:cubicBezTo>
                  <a:cubicBezTo>
                    <a:pt x="1387" y="462"/>
                    <a:pt x="1733" y="310"/>
                    <a:pt x="1465" y="79"/>
                  </a:cubicBezTo>
                  <a:cubicBezTo>
                    <a:pt x="1240" y="20"/>
                    <a:pt x="1005" y="1"/>
                    <a:pt x="791" y="1"/>
                  </a:cubicBezTo>
                  <a:close/>
                </a:path>
              </a:pathLst>
            </a:custGeom>
            <a:solidFill>
              <a:srgbClr val="8982A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5" name="Google Shape;855;p39"/>
            <p:cNvSpPr/>
            <p:nvPr/>
          </p:nvSpPr>
          <p:spPr>
            <a:xfrm>
              <a:off x="6793426" y="4168439"/>
              <a:ext cx="58856" cy="164791"/>
            </a:xfrm>
            <a:custGeom>
              <a:avLst/>
              <a:gdLst/>
              <a:ahLst/>
              <a:cxnLst/>
              <a:rect l="l" t="t" r="r" b="b"/>
              <a:pathLst>
                <a:path w="2099" h="5877" extrusionOk="0">
                  <a:moveTo>
                    <a:pt x="0" y="0"/>
                  </a:moveTo>
                  <a:lnTo>
                    <a:pt x="0" y="712"/>
                  </a:lnTo>
                  <a:lnTo>
                    <a:pt x="0" y="1114"/>
                  </a:lnTo>
                  <a:cubicBezTo>
                    <a:pt x="0" y="1691"/>
                    <a:pt x="633" y="5522"/>
                    <a:pt x="888" y="5794"/>
                  </a:cubicBezTo>
                  <a:cubicBezTo>
                    <a:pt x="1013" y="5853"/>
                    <a:pt x="1156" y="5876"/>
                    <a:pt x="1287" y="5876"/>
                  </a:cubicBezTo>
                  <a:cubicBezTo>
                    <a:pt x="1372" y="5876"/>
                    <a:pt x="1453" y="5866"/>
                    <a:pt x="1521" y="5850"/>
                  </a:cubicBezTo>
                  <a:cubicBezTo>
                    <a:pt x="1673" y="5831"/>
                    <a:pt x="1770" y="5794"/>
                    <a:pt x="1770" y="5794"/>
                  </a:cubicBezTo>
                  <a:cubicBezTo>
                    <a:pt x="1770" y="4561"/>
                    <a:pt x="2098" y="3193"/>
                    <a:pt x="2098" y="2269"/>
                  </a:cubicBezTo>
                  <a:cubicBezTo>
                    <a:pt x="2098" y="1345"/>
                    <a:pt x="2043" y="0"/>
                    <a:pt x="2043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6" name="Google Shape;856;p39"/>
            <p:cNvSpPr/>
            <p:nvPr/>
          </p:nvSpPr>
          <p:spPr>
            <a:xfrm>
              <a:off x="6892155" y="3783506"/>
              <a:ext cx="68053" cy="103159"/>
            </a:xfrm>
            <a:custGeom>
              <a:avLst/>
              <a:gdLst/>
              <a:ahLst/>
              <a:cxnLst/>
              <a:rect l="l" t="t" r="r" b="b"/>
              <a:pathLst>
                <a:path w="2427" h="3679" extrusionOk="0">
                  <a:moveTo>
                    <a:pt x="157" y="1"/>
                  </a:moveTo>
                  <a:lnTo>
                    <a:pt x="0" y="1964"/>
                  </a:lnTo>
                  <a:cubicBezTo>
                    <a:pt x="273" y="2463"/>
                    <a:pt x="809" y="3041"/>
                    <a:pt x="1137" y="3387"/>
                  </a:cubicBezTo>
                  <a:cubicBezTo>
                    <a:pt x="1155" y="3406"/>
                    <a:pt x="1155" y="3406"/>
                    <a:pt x="1179" y="3424"/>
                  </a:cubicBezTo>
                  <a:cubicBezTo>
                    <a:pt x="1234" y="3484"/>
                    <a:pt x="1294" y="3540"/>
                    <a:pt x="1331" y="3581"/>
                  </a:cubicBezTo>
                  <a:cubicBezTo>
                    <a:pt x="1386" y="3637"/>
                    <a:pt x="1428" y="3678"/>
                    <a:pt x="1428" y="3678"/>
                  </a:cubicBezTo>
                  <a:lnTo>
                    <a:pt x="2426" y="3272"/>
                  </a:lnTo>
                  <a:cubicBezTo>
                    <a:pt x="2426" y="3272"/>
                    <a:pt x="1350" y="999"/>
                    <a:pt x="869" y="421"/>
                  </a:cubicBezTo>
                  <a:cubicBezTo>
                    <a:pt x="578" y="190"/>
                    <a:pt x="370" y="98"/>
                    <a:pt x="254" y="37"/>
                  </a:cubicBezTo>
                  <a:cubicBezTo>
                    <a:pt x="194" y="19"/>
                    <a:pt x="157" y="1"/>
                    <a:pt x="15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7" name="Google Shape;857;p39"/>
            <p:cNvSpPr/>
            <p:nvPr/>
          </p:nvSpPr>
          <p:spPr>
            <a:xfrm>
              <a:off x="6718924" y="3783506"/>
              <a:ext cx="70240" cy="95000"/>
            </a:xfrm>
            <a:custGeom>
              <a:avLst/>
              <a:gdLst/>
              <a:ahLst/>
              <a:cxnLst/>
              <a:rect l="l" t="t" r="r" b="b"/>
              <a:pathLst>
                <a:path w="2505" h="3388" extrusionOk="0">
                  <a:moveTo>
                    <a:pt x="2329" y="1"/>
                  </a:moveTo>
                  <a:cubicBezTo>
                    <a:pt x="2329" y="1"/>
                    <a:pt x="1946" y="74"/>
                    <a:pt x="1442" y="384"/>
                  </a:cubicBezTo>
                  <a:cubicBezTo>
                    <a:pt x="888" y="1096"/>
                    <a:pt x="1" y="2311"/>
                    <a:pt x="56" y="2773"/>
                  </a:cubicBezTo>
                  <a:cubicBezTo>
                    <a:pt x="79" y="2985"/>
                    <a:pt x="731" y="3387"/>
                    <a:pt x="731" y="3387"/>
                  </a:cubicBezTo>
                  <a:lnTo>
                    <a:pt x="2505" y="1964"/>
                  </a:lnTo>
                  <a:lnTo>
                    <a:pt x="2329" y="1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8" name="Google Shape;858;p39"/>
            <p:cNvSpPr/>
            <p:nvPr/>
          </p:nvSpPr>
          <p:spPr>
            <a:xfrm>
              <a:off x="6822588" y="3966439"/>
              <a:ext cx="145247" cy="202028"/>
            </a:xfrm>
            <a:custGeom>
              <a:avLst/>
              <a:gdLst/>
              <a:ahLst/>
              <a:cxnLst/>
              <a:rect l="l" t="t" r="r" b="b"/>
              <a:pathLst>
                <a:path w="5180" h="7205" extrusionOk="0">
                  <a:moveTo>
                    <a:pt x="0" y="1"/>
                  </a:moveTo>
                  <a:cubicBezTo>
                    <a:pt x="924" y="3776"/>
                    <a:pt x="3271" y="7204"/>
                    <a:pt x="3271" y="7204"/>
                  </a:cubicBezTo>
                  <a:lnTo>
                    <a:pt x="5180" y="7204"/>
                  </a:lnTo>
                  <a:cubicBezTo>
                    <a:pt x="3965" y="2140"/>
                    <a:pt x="3100" y="1"/>
                    <a:pt x="3100" y="1"/>
                  </a:cubicBezTo>
                  <a:close/>
                </a:path>
              </a:pathLst>
            </a:custGeom>
            <a:solidFill>
              <a:srgbClr val="5D343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9" name="Google Shape;859;p39"/>
            <p:cNvSpPr/>
            <p:nvPr/>
          </p:nvSpPr>
          <p:spPr>
            <a:xfrm>
              <a:off x="6914307" y="4168439"/>
              <a:ext cx="102122" cy="165716"/>
            </a:xfrm>
            <a:custGeom>
              <a:avLst/>
              <a:gdLst/>
              <a:ahLst/>
              <a:cxnLst/>
              <a:rect l="l" t="t" r="r" b="b"/>
              <a:pathLst>
                <a:path w="3642" h="5910" extrusionOk="0">
                  <a:moveTo>
                    <a:pt x="0" y="0"/>
                  </a:moveTo>
                  <a:cubicBezTo>
                    <a:pt x="0" y="0"/>
                    <a:pt x="61" y="980"/>
                    <a:pt x="310" y="1691"/>
                  </a:cubicBezTo>
                  <a:cubicBezTo>
                    <a:pt x="735" y="2925"/>
                    <a:pt x="1003" y="3156"/>
                    <a:pt x="2717" y="5794"/>
                  </a:cubicBezTo>
                  <a:cubicBezTo>
                    <a:pt x="2717" y="5794"/>
                    <a:pt x="2791" y="5831"/>
                    <a:pt x="2930" y="5868"/>
                  </a:cubicBezTo>
                  <a:cubicBezTo>
                    <a:pt x="3022" y="5891"/>
                    <a:pt x="3119" y="5910"/>
                    <a:pt x="3235" y="5910"/>
                  </a:cubicBezTo>
                  <a:cubicBezTo>
                    <a:pt x="3526" y="5910"/>
                    <a:pt x="3641" y="5794"/>
                    <a:pt x="3641" y="5794"/>
                  </a:cubicBezTo>
                  <a:lnTo>
                    <a:pt x="2930" y="3387"/>
                  </a:lnTo>
                  <a:lnTo>
                    <a:pt x="2080" y="555"/>
                  </a:lnTo>
                  <a:lnTo>
                    <a:pt x="1909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0" name="Google Shape;860;p39"/>
            <p:cNvSpPr/>
            <p:nvPr/>
          </p:nvSpPr>
          <p:spPr>
            <a:xfrm>
              <a:off x="6768022" y="3966439"/>
              <a:ext cx="88522" cy="202028"/>
            </a:xfrm>
            <a:custGeom>
              <a:avLst/>
              <a:gdLst/>
              <a:ahLst/>
              <a:cxnLst/>
              <a:rect l="l" t="t" r="r" b="b"/>
              <a:pathLst>
                <a:path w="3157" h="7205" extrusionOk="0">
                  <a:moveTo>
                    <a:pt x="269" y="1"/>
                  </a:moveTo>
                  <a:cubicBezTo>
                    <a:pt x="269" y="1"/>
                    <a:pt x="116" y="560"/>
                    <a:pt x="1" y="1502"/>
                  </a:cubicBezTo>
                  <a:cubicBezTo>
                    <a:pt x="1" y="2870"/>
                    <a:pt x="1003" y="7204"/>
                    <a:pt x="1003" y="7204"/>
                  </a:cubicBezTo>
                  <a:lnTo>
                    <a:pt x="2792" y="7204"/>
                  </a:lnTo>
                  <a:cubicBezTo>
                    <a:pt x="3157" y="3873"/>
                    <a:pt x="2949" y="1"/>
                    <a:pt x="2949" y="1"/>
                  </a:cubicBezTo>
                  <a:close/>
                </a:path>
              </a:pathLst>
            </a:custGeom>
            <a:solidFill>
              <a:srgbClr val="5D343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1" name="Google Shape;861;p39"/>
            <p:cNvSpPr/>
            <p:nvPr/>
          </p:nvSpPr>
          <p:spPr>
            <a:xfrm>
              <a:off x="6819868" y="3733763"/>
              <a:ext cx="39929" cy="48593"/>
            </a:xfrm>
            <a:custGeom>
              <a:avLst/>
              <a:gdLst/>
              <a:ahLst/>
              <a:cxnLst/>
              <a:rect l="l" t="t" r="r" b="b"/>
              <a:pathLst>
                <a:path w="1424" h="1733" extrusionOk="0">
                  <a:moveTo>
                    <a:pt x="268" y="0"/>
                  </a:moveTo>
                  <a:cubicBezTo>
                    <a:pt x="268" y="0"/>
                    <a:pt x="231" y="716"/>
                    <a:pt x="97" y="1409"/>
                  </a:cubicBezTo>
                  <a:cubicBezTo>
                    <a:pt x="97" y="1446"/>
                    <a:pt x="79" y="1465"/>
                    <a:pt x="37" y="1465"/>
                  </a:cubicBezTo>
                  <a:lnTo>
                    <a:pt x="0" y="1465"/>
                  </a:lnTo>
                  <a:cubicBezTo>
                    <a:pt x="60" y="1562"/>
                    <a:pt x="194" y="1733"/>
                    <a:pt x="730" y="1733"/>
                  </a:cubicBezTo>
                  <a:cubicBezTo>
                    <a:pt x="1271" y="1733"/>
                    <a:pt x="1405" y="1562"/>
                    <a:pt x="1423" y="1465"/>
                  </a:cubicBezTo>
                  <a:cubicBezTo>
                    <a:pt x="1405" y="1465"/>
                    <a:pt x="1368" y="1446"/>
                    <a:pt x="1368" y="1409"/>
                  </a:cubicBezTo>
                  <a:lnTo>
                    <a:pt x="1192" y="0"/>
                  </a:lnTo>
                  <a:close/>
                </a:path>
              </a:pathLst>
            </a:custGeom>
            <a:solidFill>
              <a:srgbClr val="FC96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2" name="Google Shape;862;p39"/>
            <p:cNvSpPr/>
            <p:nvPr/>
          </p:nvSpPr>
          <p:spPr>
            <a:xfrm>
              <a:off x="6775537" y="3773776"/>
              <a:ext cx="134003" cy="209403"/>
            </a:xfrm>
            <a:custGeom>
              <a:avLst/>
              <a:gdLst/>
              <a:ahLst/>
              <a:cxnLst/>
              <a:rect l="l" t="t" r="r" b="b"/>
              <a:pathLst>
                <a:path w="4779" h="7468" extrusionOk="0">
                  <a:moveTo>
                    <a:pt x="1581" y="1"/>
                  </a:moveTo>
                  <a:lnTo>
                    <a:pt x="1410" y="56"/>
                  </a:lnTo>
                  <a:lnTo>
                    <a:pt x="1350" y="75"/>
                  </a:lnTo>
                  <a:cubicBezTo>
                    <a:pt x="1119" y="135"/>
                    <a:pt x="772" y="214"/>
                    <a:pt x="310" y="348"/>
                  </a:cubicBezTo>
                  <a:cubicBezTo>
                    <a:pt x="158" y="1503"/>
                    <a:pt x="213" y="2639"/>
                    <a:pt x="486" y="3582"/>
                  </a:cubicBezTo>
                  <a:cubicBezTo>
                    <a:pt x="560" y="4926"/>
                    <a:pt x="329" y="4792"/>
                    <a:pt x="486" y="5236"/>
                  </a:cubicBezTo>
                  <a:lnTo>
                    <a:pt x="486" y="5255"/>
                  </a:lnTo>
                  <a:cubicBezTo>
                    <a:pt x="176" y="6220"/>
                    <a:pt x="1" y="6872"/>
                    <a:pt x="1" y="6872"/>
                  </a:cubicBezTo>
                  <a:cubicBezTo>
                    <a:pt x="1" y="6872"/>
                    <a:pt x="1234" y="7468"/>
                    <a:pt x="2967" y="7468"/>
                  </a:cubicBezTo>
                  <a:cubicBezTo>
                    <a:pt x="4584" y="7468"/>
                    <a:pt x="4778" y="6872"/>
                    <a:pt x="4778" y="6872"/>
                  </a:cubicBezTo>
                  <a:lnTo>
                    <a:pt x="4275" y="5333"/>
                  </a:lnTo>
                  <a:lnTo>
                    <a:pt x="4159" y="5005"/>
                  </a:lnTo>
                  <a:cubicBezTo>
                    <a:pt x="4159" y="5005"/>
                    <a:pt x="4275" y="3813"/>
                    <a:pt x="4353" y="2598"/>
                  </a:cubicBezTo>
                  <a:cubicBezTo>
                    <a:pt x="4390" y="1674"/>
                    <a:pt x="4413" y="731"/>
                    <a:pt x="4316" y="348"/>
                  </a:cubicBezTo>
                  <a:cubicBezTo>
                    <a:pt x="3910" y="190"/>
                    <a:pt x="3679" y="135"/>
                    <a:pt x="3448" y="98"/>
                  </a:cubicBezTo>
                  <a:lnTo>
                    <a:pt x="3217" y="38"/>
                  </a:lnTo>
                  <a:lnTo>
                    <a:pt x="3027" y="1"/>
                  </a:lnTo>
                  <a:cubicBezTo>
                    <a:pt x="3027" y="1"/>
                    <a:pt x="3027" y="19"/>
                    <a:pt x="3004" y="38"/>
                  </a:cubicBezTo>
                  <a:cubicBezTo>
                    <a:pt x="2986" y="135"/>
                    <a:pt x="2852" y="306"/>
                    <a:pt x="2311" y="306"/>
                  </a:cubicBezTo>
                  <a:cubicBezTo>
                    <a:pt x="1775" y="306"/>
                    <a:pt x="1641" y="135"/>
                    <a:pt x="1581" y="38"/>
                  </a:cubicBezTo>
                  <a:lnTo>
                    <a:pt x="15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3" name="Google Shape;863;p39"/>
            <p:cNvSpPr/>
            <p:nvPr/>
          </p:nvSpPr>
          <p:spPr>
            <a:xfrm>
              <a:off x="6775537" y="3921098"/>
              <a:ext cx="134003" cy="62081"/>
            </a:xfrm>
            <a:custGeom>
              <a:avLst/>
              <a:gdLst/>
              <a:ahLst/>
              <a:cxnLst/>
              <a:rect l="l" t="t" r="r" b="b"/>
              <a:pathLst>
                <a:path w="4779" h="2214" extrusionOk="0">
                  <a:moveTo>
                    <a:pt x="486" y="1"/>
                  </a:moveTo>
                  <a:cubicBezTo>
                    <a:pt x="463" y="98"/>
                    <a:pt x="426" y="176"/>
                    <a:pt x="407" y="273"/>
                  </a:cubicBezTo>
                  <a:cubicBezTo>
                    <a:pt x="347" y="444"/>
                    <a:pt x="310" y="597"/>
                    <a:pt x="255" y="735"/>
                  </a:cubicBezTo>
                  <a:cubicBezTo>
                    <a:pt x="98" y="1290"/>
                    <a:pt x="1" y="1618"/>
                    <a:pt x="1" y="1618"/>
                  </a:cubicBezTo>
                  <a:cubicBezTo>
                    <a:pt x="1" y="1618"/>
                    <a:pt x="1234" y="2214"/>
                    <a:pt x="2967" y="2214"/>
                  </a:cubicBezTo>
                  <a:cubicBezTo>
                    <a:pt x="4584" y="2214"/>
                    <a:pt x="4778" y="1618"/>
                    <a:pt x="4778" y="1618"/>
                  </a:cubicBezTo>
                  <a:lnTo>
                    <a:pt x="4275" y="79"/>
                  </a:lnTo>
                  <a:cubicBezTo>
                    <a:pt x="3556" y="206"/>
                    <a:pt x="2930" y="253"/>
                    <a:pt x="2398" y="253"/>
                  </a:cubicBezTo>
                  <a:cubicBezTo>
                    <a:pt x="1477" y="253"/>
                    <a:pt x="838" y="112"/>
                    <a:pt x="486" y="1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4" name="Google Shape;864;p39"/>
            <p:cNvSpPr/>
            <p:nvPr/>
          </p:nvSpPr>
          <p:spPr>
            <a:xfrm>
              <a:off x="6803661" y="3775795"/>
              <a:ext cx="16235" cy="66034"/>
            </a:xfrm>
            <a:custGeom>
              <a:avLst/>
              <a:gdLst/>
              <a:ahLst/>
              <a:cxnLst/>
              <a:rect l="l" t="t" r="r" b="b"/>
              <a:pathLst>
                <a:path w="579" h="2355" extrusionOk="0">
                  <a:moveTo>
                    <a:pt x="289" y="1"/>
                  </a:moveTo>
                  <a:cubicBezTo>
                    <a:pt x="97" y="1"/>
                    <a:pt x="0" y="81"/>
                    <a:pt x="0" y="81"/>
                  </a:cubicBezTo>
                  <a:cubicBezTo>
                    <a:pt x="0" y="81"/>
                    <a:pt x="250" y="1084"/>
                    <a:pt x="195" y="2313"/>
                  </a:cubicBezTo>
                  <a:lnTo>
                    <a:pt x="523" y="2355"/>
                  </a:lnTo>
                  <a:cubicBezTo>
                    <a:pt x="523" y="2355"/>
                    <a:pt x="578" y="604"/>
                    <a:pt x="347" y="3"/>
                  </a:cubicBezTo>
                  <a:cubicBezTo>
                    <a:pt x="327" y="1"/>
                    <a:pt x="308" y="1"/>
                    <a:pt x="289" y="1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5" name="Google Shape;865;p39"/>
            <p:cNvSpPr/>
            <p:nvPr/>
          </p:nvSpPr>
          <p:spPr>
            <a:xfrm>
              <a:off x="6865714" y="3776496"/>
              <a:ext cx="16740" cy="65333"/>
            </a:xfrm>
            <a:custGeom>
              <a:avLst/>
              <a:gdLst/>
              <a:ahLst/>
              <a:cxnLst/>
              <a:rect l="l" t="t" r="r" b="b"/>
              <a:pathLst>
                <a:path w="597" h="2330" extrusionOk="0">
                  <a:moveTo>
                    <a:pt x="232" y="1"/>
                  </a:moveTo>
                  <a:cubicBezTo>
                    <a:pt x="1" y="597"/>
                    <a:pt x="19" y="2330"/>
                    <a:pt x="19" y="2330"/>
                  </a:cubicBezTo>
                  <a:lnTo>
                    <a:pt x="366" y="2288"/>
                  </a:lnTo>
                  <a:cubicBezTo>
                    <a:pt x="310" y="1059"/>
                    <a:pt x="597" y="93"/>
                    <a:pt x="597" y="93"/>
                  </a:cubicBezTo>
                  <a:cubicBezTo>
                    <a:pt x="597" y="93"/>
                    <a:pt x="523" y="1"/>
                    <a:pt x="232" y="1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6" name="Google Shape;866;p39"/>
            <p:cNvSpPr/>
            <p:nvPr/>
          </p:nvSpPr>
          <p:spPr>
            <a:xfrm>
              <a:off x="6763227" y="3825622"/>
              <a:ext cx="208365" cy="365249"/>
            </a:xfrm>
            <a:custGeom>
              <a:avLst/>
              <a:gdLst/>
              <a:ahLst/>
              <a:cxnLst/>
              <a:rect l="l" t="t" r="r" b="b"/>
              <a:pathLst>
                <a:path w="7431" h="13026" extrusionOk="0">
                  <a:moveTo>
                    <a:pt x="1327" y="0"/>
                  </a:moveTo>
                  <a:cubicBezTo>
                    <a:pt x="1327" y="0"/>
                    <a:pt x="1655" y="1867"/>
                    <a:pt x="999" y="3715"/>
                  </a:cubicBezTo>
                  <a:cubicBezTo>
                    <a:pt x="943" y="3868"/>
                    <a:pt x="883" y="4025"/>
                    <a:pt x="828" y="4177"/>
                  </a:cubicBezTo>
                  <a:cubicBezTo>
                    <a:pt x="809" y="4214"/>
                    <a:pt x="786" y="4256"/>
                    <a:pt x="768" y="4274"/>
                  </a:cubicBezTo>
                  <a:cubicBezTo>
                    <a:pt x="384" y="5101"/>
                    <a:pt x="135" y="6007"/>
                    <a:pt x="93" y="6913"/>
                  </a:cubicBezTo>
                  <a:cubicBezTo>
                    <a:pt x="1" y="8761"/>
                    <a:pt x="190" y="10087"/>
                    <a:pt x="809" y="12434"/>
                  </a:cubicBezTo>
                  <a:cubicBezTo>
                    <a:pt x="902" y="12457"/>
                    <a:pt x="980" y="12476"/>
                    <a:pt x="1077" y="12494"/>
                  </a:cubicBezTo>
                  <a:cubicBezTo>
                    <a:pt x="1849" y="12688"/>
                    <a:pt x="2542" y="12822"/>
                    <a:pt x="3138" y="12896"/>
                  </a:cubicBezTo>
                  <a:cubicBezTo>
                    <a:pt x="3775" y="12986"/>
                    <a:pt x="4324" y="13026"/>
                    <a:pt x="4794" y="13026"/>
                  </a:cubicBezTo>
                  <a:cubicBezTo>
                    <a:pt x="5047" y="13026"/>
                    <a:pt x="5277" y="13014"/>
                    <a:pt x="5485" y="12993"/>
                  </a:cubicBezTo>
                  <a:cubicBezTo>
                    <a:pt x="6622" y="12878"/>
                    <a:pt x="7140" y="12531"/>
                    <a:pt x="7334" y="12342"/>
                  </a:cubicBezTo>
                  <a:cubicBezTo>
                    <a:pt x="7412" y="12282"/>
                    <a:pt x="7431" y="12226"/>
                    <a:pt x="7431" y="12226"/>
                  </a:cubicBezTo>
                  <a:cubicBezTo>
                    <a:pt x="7431" y="12226"/>
                    <a:pt x="6294" y="7490"/>
                    <a:pt x="5638" y="5619"/>
                  </a:cubicBezTo>
                  <a:cubicBezTo>
                    <a:pt x="5254" y="4542"/>
                    <a:pt x="4945" y="3655"/>
                    <a:pt x="4755" y="3101"/>
                  </a:cubicBezTo>
                  <a:cubicBezTo>
                    <a:pt x="4621" y="2694"/>
                    <a:pt x="4543" y="2463"/>
                    <a:pt x="4543" y="2463"/>
                  </a:cubicBezTo>
                  <a:cubicBezTo>
                    <a:pt x="4543" y="2463"/>
                    <a:pt x="4640" y="1386"/>
                    <a:pt x="4598" y="56"/>
                  </a:cubicBezTo>
                  <a:lnTo>
                    <a:pt x="4598" y="56"/>
                  </a:lnTo>
                  <a:cubicBezTo>
                    <a:pt x="4084" y="136"/>
                    <a:pt x="3590" y="164"/>
                    <a:pt x="3149" y="164"/>
                  </a:cubicBezTo>
                  <a:cubicBezTo>
                    <a:pt x="2086" y="164"/>
                    <a:pt x="1327" y="0"/>
                    <a:pt x="1327" y="0"/>
                  </a:cubicBez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7" name="Google Shape;867;p39"/>
            <p:cNvSpPr/>
            <p:nvPr/>
          </p:nvSpPr>
          <p:spPr>
            <a:xfrm>
              <a:off x="6785912" y="3912546"/>
              <a:ext cx="185681" cy="278325"/>
            </a:xfrm>
            <a:custGeom>
              <a:avLst/>
              <a:gdLst/>
              <a:ahLst/>
              <a:cxnLst/>
              <a:rect l="l" t="t" r="r" b="b"/>
              <a:pathLst>
                <a:path w="6622" h="9926" extrusionOk="0">
                  <a:moveTo>
                    <a:pt x="3946" y="1"/>
                  </a:moveTo>
                  <a:lnTo>
                    <a:pt x="2269" y="555"/>
                  </a:lnTo>
                  <a:lnTo>
                    <a:pt x="2597" y="2311"/>
                  </a:lnTo>
                  <a:cubicBezTo>
                    <a:pt x="2669" y="2678"/>
                    <a:pt x="2994" y="2933"/>
                    <a:pt x="3359" y="2933"/>
                  </a:cubicBezTo>
                  <a:cubicBezTo>
                    <a:pt x="3395" y="2933"/>
                    <a:pt x="3430" y="2930"/>
                    <a:pt x="3466" y="2925"/>
                  </a:cubicBezTo>
                  <a:cubicBezTo>
                    <a:pt x="3504" y="2921"/>
                    <a:pt x="3542" y="2918"/>
                    <a:pt x="3579" y="2918"/>
                  </a:cubicBezTo>
                  <a:cubicBezTo>
                    <a:pt x="4014" y="2918"/>
                    <a:pt x="4396" y="3233"/>
                    <a:pt x="4464" y="3697"/>
                  </a:cubicBezTo>
                  <a:cubicBezTo>
                    <a:pt x="4464" y="3831"/>
                    <a:pt x="4506" y="4002"/>
                    <a:pt x="4524" y="4178"/>
                  </a:cubicBezTo>
                  <a:cubicBezTo>
                    <a:pt x="4829" y="6890"/>
                    <a:pt x="2731" y="9279"/>
                    <a:pt x="0" y="9334"/>
                  </a:cubicBezTo>
                  <a:cubicBezTo>
                    <a:pt x="93" y="9357"/>
                    <a:pt x="171" y="9376"/>
                    <a:pt x="268" y="9394"/>
                  </a:cubicBezTo>
                  <a:cubicBezTo>
                    <a:pt x="1040" y="9588"/>
                    <a:pt x="1733" y="9722"/>
                    <a:pt x="2329" y="9796"/>
                  </a:cubicBezTo>
                  <a:cubicBezTo>
                    <a:pt x="2966" y="9886"/>
                    <a:pt x="3515" y="9926"/>
                    <a:pt x="3985" y="9926"/>
                  </a:cubicBezTo>
                  <a:cubicBezTo>
                    <a:pt x="4238" y="9926"/>
                    <a:pt x="4468" y="9914"/>
                    <a:pt x="4676" y="9893"/>
                  </a:cubicBezTo>
                  <a:cubicBezTo>
                    <a:pt x="5813" y="9778"/>
                    <a:pt x="6331" y="9431"/>
                    <a:pt x="6525" y="9242"/>
                  </a:cubicBezTo>
                  <a:cubicBezTo>
                    <a:pt x="6603" y="9182"/>
                    <a:pt x="6622" y="9126"/>
                    <a:pt x="6622" y="9126"/>
                  </a:cubicBezTo>
                  <a:cubicBezTo>
                    <a:pt x="6622" y="9126"/>
                    <a:pt x="5485" y="4390"/>
                    <a:pt x="4829" y="2519"/>
                  </a:cubicBezTo>
                  <a:cubicBezTo>
                    <a:pt x="4445" y="1442"/>
                    <a:pt x="4136" y="555"/>
                    <a:pt x="3946" y="1"/>
                  </a:cubicBezTo>
                  <a:close/>
                </a:path>
              </a:pathLst>
            </a:custGeom>
            <a:solidFill>
              <a:srgbClr val="9B5C31">
                <a:alpha val="4375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8" name="Google Shape;868;p39"/>
            <p:cNvSpPr/>
            <p:nvPr/>
          </p:nvSpPr>
          <p:spPr>
            <a:xfrm>
              <a:off x="6797184" y="3814210"/>
              <a:ext cx="15702" cy="21675"/>
            </a:xfrm>
            <a:custGeom>
              <a:avLst/>
              <a:gdLst/>
              <a:ahLst/>
              <a:cxnLst/>
              <a:rect l="l" t="t" r="r" b="b"/>
              <a:pathLst>
                <a:path w="560" h="773" extrusionOk="0">
                  <a:moveTo>
                    <a:pt x="462" y="1"/>
                  </a:moveTo>
                  <a:cubicBezTo>
                    <a:pt x="462" y="1"/>
                    <a:pt x="310" y="42"/>
                    <a:pt x="79" y="135"/>
                  </a:cubicBezTo>
                  <a:cubicBezTo>
                    <a:pt x="61" y="135"/>
                    <a:pt x="19" y="158"/>
                    <a:pt x="0" y="158"/>
                  </a:cubicBezTo>
                  <a:cubicBezTo>
                    <a:pt x="0" y="158"/>
                    <a:pt x="37" y="481"/>
                    <a:pt x="61" y="772"/>
                  </a:cubicBezTo>
                  <a:lnTo>
                    <a:pt x="560" y="504"/>
                  </a:lnTo>
                  <a:lnTo>
                    <a:pt x="560" y="481"/>
                  </a:lnTo>
                  <a:lnTo>
                    <a:pt x="462" y="1"/>
                  </a:lnTo>
                  <a:close/>
                </a:path>
              </a:pathLst>
            </a:custGeom>
            <a:solidFill>
              <a:srgbClr val="FEB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9" name="Google Shape;869;p39"/>
            <p:cNvSpPr/>
            <p:nvPr/>
          </p:nvSpPr>
          <p:spPr>
            <a:xfrm>
              <a:off x="6782659" y="3928753"/>
              <a:ext cx="8580" cy="13487"/>
            </a:xfrm>
            <a:custGeom>
              <a:avLst/>
              <a:gdLst/>
              <a:ahLst/>
              <a:cxnLst/>
              <a:rect l="l" t="t" r="r" b="b"/>
              <a:pathLst>
                <a:path w="306" h="481" extrusionOk="0">
                  <a:moveTo>
                    <a:pt x="135" y="0"/>
                  </a:moveTo>
                  <a:cubicBezTo>
                    <a:pt x="75" y="153"/>
                    <a:pt x="1" y="324"/>
                    <a:pt x="1" y="439"/>
                  </a:cubicBezTo>
                  <a:cubicBezTo>
                    <a:pt x="38" y="462"/>
                    <a:pt x="75" y="481"/>
                    <a:pt x="116" y="481"/>
                  </a:cubicBezTo>
                  <a:cubicBezTo>
                    <a:pt x="190" y="324"/>
                    <a:pt x="250" y="171"/>
                    <a:pt x="306" y="19"/>
                  </a:cubicBezTo>
                  <a:lnTo>
                    <a:pt x="135" y="0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0" name="Google Shape;870;p39"/>
            <p:cNvSpPr/>
            <p:nvPr/>
          </p:nvSpPr>
          <p:spPr>
            <a:xfrm>
              <a:off x="6719457" y="3818612"/>
              <a:ext cx="79942" cy="59753"/>
            </a:xfrm>
            <a:custGeom>
              <a:avLst/>
              <a:gdLst/>
              <a:ahLst/>
              <a:cxnLst/>
              <a:rect l="l" t="t" r="r" b="b"/>
              <a:pathLst>
                <a:path w="2851" h="2131" extrusionOk="0">
                  <a:moveTo>
                    <a:pt x="2772" y="1"/>
                  </a:moveTo>
                  <a:cubicBezTo>
                    <a:pt x="2735" y="19"/>
                    <a:pt x="2675" y="38"/>
                    <a:pt x="2638" y="38"/>
                  </a:cubicBezTo>
                  <a:cubicBezTo>
                    <a:pt x="1848" y="306"/>
                    <a:pt x="559" y="768"/>
                    <a:pt x="347" y="925"/>
                  </a:cubicBezTo>
                  <a:cubicBezTo>
                    <a:pt x="268" y="980"/>
                    <a:pt x="194" y="1077"/>
                    <a:pt x="134" y="1156"/>
                  </a:cubicBezTo>
                  <a:cubicBezTo>
                    <a:pt x="0" y="1364"/>
                    <a:pt x="0" y="1595"/>
                    <a:pt x="116" y="1789"/>
                  </a:cubicBezTo>
                  <a:cubicBezTo>
                    <a:pt x="176" y="1886"/>
                    <a:pt x="231" y="1964"/>
                    <a:pt x="328" y="2020"/>
                  </a:cubicBezTo>
                  <a:cubicBezTo>
                    <a:pt x="444" y="2096"/>
                    <a:pt x="554" y="2130"/>
                    <a:pt x="667" y="2130"/>
                  </a:cubicBezTo>
                  <a:cubicBezTo>
                    <a:pt x="1042" y="2130"/>
                    <a:pt x="1443" y="1748"/>
                    <a:pt x="2139" y="1230"/>
                  </a:cubicBezTo>
                  <a:cubicBezTo>
                    <a:pt x="2139" y="1230"/>
                    <a:pt x="2213" y="1174"/>
                    <a:pt x="2851" y="786"/>
                  </a:cubicBezTo>
                  <a:lnTo>
                    <a:pt x="2851" y="712"/>
                  </a:lnTo>
                  <a:cubicBezTo>
                    <a:pt x="2833" y="421"/>
                    <a:pt x="2772" y="1"/>
                    <a:pt x="277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1" name="Google Shape;871;p39"/>
            <p:cNvSpPr/>
            <p:nvPr/>
          </p:nvSpPr>
          <p:spPr>
            <a:xfrm>
              <a:off x="6912232" y="3898947"/>
              <a:ext cx="22039" cy="16459"/>
            </a:xfrm>
            <a:custGeom>
              <a:avLst/>
              <a:gdLst/>
              <a:ahLst/>
              <a:cxnLst/>
              <a:rect l="l" t="t" r="r" b="b"/>
              <a:pathLst>
                <a:path w="786" h="587" extrusionOk="0">
                  <a:moveTo>
                    <a:pt x="74" y="0"/>
                  </a:moveTo>
                  <a:cubicBezTo>
                    <a:pt x="19" y="24"/>
                    <a:pt x="1" y="97"/>
                    <a:pt x="19" y="176"/>
                  </a:cubicBezTo>
                  <a:cubicBezTo>
                    <a:pt x="50" y="355"/>
                    <a:pt x="261" y="586"/>
                    <a:pt x="589" y="586"/>
                  </a:cubicBezTo>
                  <a:cubicBezTo>
                    <a:pt x="651" y="586"/>
                    <a:pt x="716" y="578"/>
                    <a:pt x="786" y="560"/>
                  </a:cubicBezTo>
                  <a:cubicBezTo>
                    <a:pt x="786" y="560"/>
                    <a:pt x="500" y="79"/>
                    <a:pt x="171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2" name="Google Shape;872;p39"/>
            <p:cNvSpPr/>
            <p:nvPr/>
          </p:nvSpPr>
          <p:spPr>
            <a:xfrm>
              <a:off x="6903540" y="3897377"/>
              <a:ext cx="29722" cy="27507"/>
            </a:xfrm>
            <a:custGeom>
              <a:avLst/>
              <a:gdLst/>
              <a:ahLst/>
              <a:cxnLst/>
              <a:rect l="l" t="t" r="r" b="b"/>
              <a:pathLst>
                <a:path w="1060" h="981" extrusionOk="0">
                  <a:moveTo>
                    <a:pt x="500" y="1"/>
                  </a:moveTo>
                  <a:cubicBezTo>
                    <a:pt x="384" y="116"/>
                    <a:pt x="172" y="311"/>
                    <a:pt x="1" y="482"/>
                  </a:cubicBezTo>
                  <a:cubicBezTo>
                    <a:pt x="38" y="676"/>
                    <a:pt x="135" y="865"/>
                    <a:pt x="195" y="981"/>
                  </a:cubicBezTo>
                  <a:lnTo>
                    <a:pt x="1059" y="463"/>
                  </a:lnTo>
                  <a:cubicBezTo>
                    <a:pt x="980" y="384"/>
                    <a:pt x="749" y="98"/>
                    <a:pt x="500" y="1"/>
                  </a:cubicBezTo>
                  <a:close/>
                </a:path>
              </a:pathLst>
            </a:custGeom>
            <a:solidFill>
              <a:srgbClr val="FC96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3" name="Google Shape;873;p39"/>
            <p:cNvSpPr/>
            <p:nvPr/>
          </p:nvSpPr>
          <p:spPr>
            <a:xfrm>
              <a:off x="6914307" y="3864934"/>
              <a:ext cx="50808" cy="49715"/>
            </a:xfrm>
            <a:custGeom>
              <a:avLst/>
              <a:gdLst/>
              <a:ahLst/>
              <a:cxnLst/>
              <a:rect l="l" t="t" r="r" b="b"/>
              <a:pathLst>
                <a:path w="1812" h="1773" extrusionOk="0">
                  <a:moveTo>
                    <a:pt x="1240" y="0"/>
                  </a:moveTo>
                  <a:cubicBezTo>
                    <a:pt x="1185" y="0"/>
                    <a:pt x="1124" y="17"/>
                    <a:pt x="1059" y="58"/>
                  </a:cubicBezTo>
                  <a:cubicBezTo>
                    <a:pt x="791" y="252"/>
                    <a:pt x="578" y="405"/>
                    <a:pt x="444" y="562"/>
                  </a:cubicBezTo>
                  <a:cubicBezTo>
                    <a:pt x="116" y="964"/>
                    <a:pt x="0" y="1213"/>
                    <a:pt x="0" y="1213"/>
                  </a:cubicBezTo>
                  <a:cubicBezTo>
                    <a:pt x="14" y="1207"/>
                    <a:pt x="28" y="1205"/>
                    <a:pt x="40" y="1205"/>
                  </a:cubicBezTo>
                  <a:cubicBezTo>
                    <a:pt x="65" y="1205"/>
                    <a:pt x="85" y="1213"/>
                    <a:pt x="97" y="1213"/>
                  </a:cubicBezTo>
                  <a:cubicBezTo>
                    <a:pt x="231" y="1255"/>
                    <a:pt x="365" y="1352"/>
                    <a:pt x="481" y="1468"/>
                  </a:cubicBezTo>
                  <a:cubicBezTo>
                    <a:pt x="620" y="1620"/>
                    <a:pt x="712" y="1773"/>
                    <a:pt x="712" y="1773"/>
                  </a:cubicBezTo>
                  <a:cubicBezTo>
                    <a:pt x="1447" y="1255"/>
                    <a:pt x="1812" y="774"/>
                    <a:pt x="1599" y="289"/>
                  </a:cubicBezTo>
                  <a:lnTo>
                    <a:pt x="1599" y="271"/>
                  </a:lnTo>
                  <a:cubicBezTo>
                    <a:pt x="1539" y="169"/>
                    <a:pt x="1416" y="0"/>
                    <a:pt x="1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4" name="Google Shape;874;p39"/>
            <p:cNvSpPr/>
            <p:nvPr/>
          </p:nvSpPr>
          <p:spPr>
            <a:xfrm>
              <a:off x="6815073" y="3773776"/>
              <a:ext cx="50668" cy="17273"/>
            </a:xfrm>
            <a:custGeom>
              <a:avLst/>
              <a:gdLst/>
              <a:ahLst/>
              <a:cxnLst/>
              <a:rect l="l" t="t" r="r" b="b"/>
              <a:pathLst>
                <a:path w="1807" h="616" extrusionOk="0">
                  <a:moveTo>
                    <a:pt x="171" y="1"/>
                  </a:moveTo>
                  <a:lnTo>
                    <a:pt x="0" y="56"/>
                  </a:lnTo>
                  <a:cubicBezTo>
                    <a:pt x="19" y="232"/>
                    <a:pt x="153" y="615"/>
                    <a:pt x="883" y="615"/>
                  </a:cubicBezTo>
                  <a:cubicBezTo>
                    <a:pt x="1557" y="615"/>
                    <a:pt x="1733" y="287"/>
                    <a:pt x="1807" y="38"/>
                  </a:cubicBezTo>
                  <a:lnTo>
                    <a:pt x="1617" y="1"/>
                  </a:lnTo>
                  <a:cubicBezTo>
                    <a:pt x="1617" y="1"/>
                    <a:pt x="1617" y="19"/>
                    <a:pt x="1594" y="38"/>
                  </a:cubicBezTo>
                  <a:cubicBezTo>
                    <a:pt x="1576" y="135"/>
                    <a:pt x="1442" y="306"/>
                    <a:pt x="901" y="306"/>
                  </a:cubicBezTo>
                  <a:cubicBezTo>
                    <a:pt x="365" y="306"/>
                    <a:pt x="231" y="135"/>
                    <a:pt x="171" y="38"/>
                  </a:cubicBezTo>
                  <a:lnTo>
                    <a:pt x="171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5" name="Google Shape;875;p39"/>
            <p:cNvSpPr/>
            <p:nvPr/>
          </p:nvSpPr>
          <p:spPr>
            <a:xfrm>
              <a:off x="6819868" y="3843372"/>
              <a:ext cx="58828" cy="38920"/>
            </a:xfrm>
            <a:custGeom>
              <a:avLst/>
              <a:gdLst/>
              <a:ahLst/>
              <a:cxnLst/>
              <a:rect l="l" t="t" r="r" b="b"/>
              <a:pathLst>
                <a:path w="2098" h="1388" extrusionOk="0">
                  <a:moveTo>
                    <a:pt x="2098" y="0"/>
                  </a:moveTo>
                  <a:cubicBezTo>
                    <a:pt x="1704" y="88"/>
                    <a:pt x="1308" y="115"/>
                    <a:pt x="967" y="115"/>
                  </a:cubicBezTo>
                  <a:cubicBezTo>
                    <a:pt x="408" y="115"/>
                    <a:pt x="0" y="42"/>
                    <a:pt x="0" y="42"/>
                  </a:cubicBezTo>
                  <a:lnTo>
                    <a:pt x="0" y="42"/>
                  </a:lnTo>
                  <a:cubicBezTo>
                    <a:pt x="0" y="42"/>
                    <a:pt x="37" y="693"/>
                    <a:pt x="347" y="1331"/>
                  </a:cubicBezTo>
                  <a:cubicBezTo>
                    <a:pt x="562" y="1374"/>
                    <a:pt x="807" y="1388"/>
                    <a:pt x="1030" y="1388"/>
                  </a:cubicBezTo>
                  <a:cubicBezTo>
                    <a:pt x="1404" y="1388"/>
                    <a:pt x="1714" y="1349"/>
                    <a:pt x="1714" y="1349"/>
                  </a:cubicBezTo>
                  <a:cubicBezTo>
                    <a:pt x="1714" y="1349"/>
                    <a:pt x="1945" y="1021"/>
                    <a:pt x="2098" y="0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6" name="Google Shape;876;p39"/>
            <p:cNvSpPr/>
            <p:nvPr/>
          </p:nvSpPr>
          <p:spPr>
            <a:xfrm>
              <a:off x="6847460" y="3888180"/>
              <a:ext cx="68053" cy="93962"/>
            </a:xfrm>
            <a:custGeom>
              <a:avLst/>
              <a:gdLst/>
              <a:ahLst/>
              <a:cxnLst/>
              <a:rect l="l" t="t" r="r" b="b"/>
              <a:pathLst>
                <a:path w="2427" h="3351" extrusionOk="0">
                  <a:moveTo>
                    <a:pt x="1617" y="1"/>
                  </a:moveTo>
                  <a:lnTo>
                    <a:pt x="268" y="232"/>
                  </a:lnTo>
                  <a:lnTo>
                    <a:pt x="37" y="944"/>
                  </a:lnTo>
                  <a:cubicBezTo>
                    <a:pt x="19" y="985"/>
                    <a:pt x="0" y="1041"/>
                    <a:pt x="19" y="1101"/>
                  </a:cubicBezTo>
                  <a:lnTo>
                    <a:pt x="536" y="3235"/>
                  </a:lnTo>
                  <a:lnTo>
                    <a:pt x="555" y="3351"/>
                  </a:lnTo>
                  <a:lnTo>
                    <a:pt x="2426" y="3023"/>
                  </a:lnTo>
                  <a:lnTo>
                    <a:pt x="2329" y="2371"/>
                  </a:lnTo>
                  <a:lnTo>
                    <a:pt x="2135" y="712"/>
                  </a:lnTo>
                  <a:cubicBezTo>
                    <a:pt x="2135" y="657"/>
                    <a:pt x="2116" y="615"/>
                    <a:pt x="2079" y="578"/>
                  </a:cubicBezTo>
                  <a:lnTo>
                    <a:pt x="1617" y="1"/>
                  </a:ln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7" name="Google Shape;877;p39"/>
            <p:cNvSpPr/>
            <p:nvPr/>
          </p:nvSpPr>
          <p:spPr>
            <a:xfrm>
              <a:off x="6850039" y="3890899"/>
              <a:ext cx="62221" cy="88522"/>
            </a:xfrm>
            <a:custGeom>
              <a:avLst/>
              <a:gdLst/>
              <a:ahLst/>
              <a:cxnLst/>
              <a:rect l="l" t="t" r="r" b="b"/>
              <a:pathLst>
                <a:path w="2219" h="3157" extrusionOk="0">
                  <a:moveTo>
                    <a:pt x="1484" y="1"/>
                  </a:moveTo>
                  <a:lnTo>
                    <a:pt x="232" y="232"/>
                  </a:lnTo>
                  <a:lnTo>
                    <a:pt x="24" y="865"/>
                  </a:lnTo>
                  <a:cubicBezTo>
                    <a:pt x="24" y="907"/>
                    <a:pt x="1" y="944"/>
                    <a:pt x="24" y="981"/>
                  </a:cubicBezTo>
                  <a:lnTo>
                    <a:pt x="541" y="3157"/>
                  </a:lnTo>
                  <a:lnTo>
                    <a:pt x="2219" y="2852"/>
                  </a:lnTo>
                  <a:lnTo>
                    <a:pt x="1946" y="634"/>
                  </a:lnTo>
                  <a:cubicBezTo>
                    <a:pt x="1946" y="597"/>
                    <a:pt x="1927" y="560"/>
                    <a:pt x="1909" y="542"/>
                  </a:cubicBezTo>
                  <a:lnTo>
                    <a:pt x="1484" y="1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8" name="Google Shape;878;p39"/>
            <p:cNvSpPr/>
            <p:nvPr/>
          </p:nvSpPr>
          <p:spPr>
            <a:xfrm>
              <a:off x="6861452" y="3920061"/>
              <a:ext cx="37854" cy="23750"/>
            </a:xfrm>
            <a:custGeom>
              <a:avLst/>
              <a:gdLst/>
              <a:ahLst/>
              <a:cxnLst/>
              <a:rect l="l" t="t" r="r" b="b"/>
              <a:pathLst>
                <a:path w="1350" h="847" extrusionOk="0">
                  <a:moveTo>
                    <a:pt x="1308" y="1"/>
                  </a:moveTo>
                  <a:lnTo>
                    <a:pt x="0" y="232"/>
                  </a:lnTo>
                  <a:lnTo>
                    <a:pt x="194" y="846"/>
                  </a:lnTo>
                  <a:lnTo>
                    <a:pt x="1349" y="694"/>
                  </a:lnTo>
                  <a:lnTo>
                    <a:pt x="1308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9" name="Google Shape;879;p39"/>
            <p:cNvSpPr/>
            <p:nvPr/>
          </p:nvSpPr>
          <p:spPr>
            <a:xfrm>
              <a:off x="6901352" y="3905648"/>
              <a:ext cx="8692" cy="6561"/>
            </a:xfrm>
            <a:custGeom>
              <a:avLst/>
              <a:gdLst/>
              <a:ahLst/>
              <a:cxnLst/>
              <a:rect l="l" t="t" r="r" b="b"/>
              <a:pathLst>
                <a:path w="310" h="234" extrusionOk="0">
                  <a:moveTo>
                    <a:pt x="222" y="0"/>
                  </a:moveTo>
                  <a:cubicBezTo>
                    <a:pt x="208" y="0"/>
                    <a:pt x="192" y="6"/>
                    <a:pt x="176" y="16"/>
                  </a:cubicBezTo>
                  <a:lnTo>
                    <a:pt x="42" y="108"/>
                  </a:lnTo>
                  <a:cubicBezTo>
                    <a:pt x="0" y="131"/>
                    <a:pt x="0" y="168"/>
                    <a:pt x="19" y="205"/>
                  </a:cubicBezTo>
                  <a:cubicBezTo>
                    <a:pt x="35" y="218"/>
                    <a:pt x="49" y="233"/>
                    <a:pt x="69" y="233"/>
                  </a:cubicBezTo>
                  <a:cubicBezTo>
                    <a:pt x="77" y="233"/>
                    <a:pt x="86" y="230"/>
                    <a:pt x="97" y="223"/>
                  </a:cubicBezTo>
                  <a:lnTo>
                    <a:pt x="250" y="168"/>
                  </a:lnTo>
                  <a:cubicBezTo>
                    <a:pt x="310" y="168"/>
                    <a:pt x="310" y="108"/>
                    <a:pt x="291" y="71"/>
                  </a:cubicBezTo>
                  <a:lnTo>
                    <a:pt x="273" y="34"/>
                  </a:lnTo>
                  <a:cubicBezTo>
                    <a:pt x="260" y="10"/>
                    <a:pt x="242" y="0"/>
                    <a:pt x="222" y="0"/>
                  </a:cubicBezTo>
                  <a:close/>
                </a:path>
              </a:pathLst>
            </a:custGeom>
            <a:solidFill>
              <a:srgbClr val="FEB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0" name="Google Shape;880;p39"/>
            <p:cNvSpPr/>
            <p:nvPr/>
          </p:nvSpPr>
          <p:spPr>
            <a:xfrm>
              <a:off x="6901857" y="3913079"/>
              <a:ext cx="9225" cy="5328"/>
            </a:xfrm>
            <a:custGeom>
              <a:avLst/>
              <a:gdLst/>
              <a:ahLst/>
              <a:cxnLst/>
              <a:rect l="l" t="t" r="r" b="b"/>
              <a:pathLst>
                <a:path w="329" h="190" extrusionOk="0">
                  <a:moveTo>
                    <a:pt x="79" y="0"/>
                  </a:moveTo>
                  <a:cubicBezTo>
                    <a:pt x="42" y="0"/>
                    <a:pt x="1" y="37"/>
                    <a:pt x="1" y="56"/>
                  </a:cubicBezTo>
                  <a:cubicBezTo>
                    <a:pt x="1" y="97"/>
                    <a:pt x="24" y="134"/>
                    <a:pt x="61" y="134"/>
                  </a:cubicBezTo>
                  <a:lnTo>
                    <a:pt x="232" y="190"/>
                  </a:lnTo>
                  <a:cubicBezTo>
                    <a:pt x="273" y="190"/>
                    <a:pt x="310" y="171"/>
                    <a:pt x="329" y="134"/>
                  </a:cubicBezTo>
                  <a:lnTo>
                    <a:pt x="329" y="74"/>
                  </a:lnTo>
                  <a:cubicBezTo>
                    <a:pt x="329" y="37"/>
                    <a:pt x="292" y="0"/>
                    <a:pt x="255" y="0"/>
                  </a:cubicBezTo>
                  <a:close/>
                </a:path>
              </a:pathLst>
            </a:custGeom>
            <a:solidFill>
              <a:srgbClr val="FEB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1" name="Google Shape;881;p39"/>
            <p:cNvSpPr/>
            <p:nvPr/>
          </p:nvSpPr>
          <p:spPr>
            <a:xfrm>
              <a:off x="6902502" y="3919024"/>
              <a:ext cx="8580" cy="5524"/>
            </a:xfrm>
            <a:custGeom>
              <a:avLst/>
              <a:gdLst/>
              <a:ahLst/>
              <a:cxnLst/>
              <a:rect l="l" t="t" r="r" b="b"/>
              <a:pathLst>
                <a:path w="306" h="197" extrusionOk="0">
                  <a:moveTo>
                    <a:pt x="75" y="1"/>
                  </a:moveTo>
                  <a:cubicBezTo>
                    <a:pt x="38" y="1"/>
                    <a:pt x="19" y="19"/>
                    <a:pt x="1" y="38"/>
                  </a:cubicBezTo>
                  <a:cubicBezTo>
                    <a:pt x="1" y="75"/>
                    <a:pt x="19" y="116"/>
                    <a:pt x="38" y="135"/>
                  </a:cubicBezTo>
                  <a:lnTo>
                    <a:pt x="190" y="190"/>
                  </a:lnTo>
                  <a:cubicBezTo>
                    <a:pt x="201" y="195"/>
                    <a:pt x="212" y="197"/>
                    <a:pt x="223" y="197"/>
                  </a:cubicBezTo>
                  <a:cubicBezTo>
                    <a:pt x="256" y="197"/>
                    <a:pt x="287" y="176"/>
                    <a:pt x="287" y="135"/>
                  </a:cubicBezTo>
                  <a:lnTo>
                    <a:pt x="306" y="93"/>
                  </a:lnTo>
                  <a:cubicBezTo>
                    <a:pt x="306" y="56"/>
                    <a:pt x="287" y="19"/>
                    <a:pt x="250" y="19"/>
                  </a:cubicBezTo>
                  <a:lnTo>
                    <a:pt x="75" y="1"/>
                  </a:lnTo>
                  <a:close/>
                </a:path>
              </a:pathLst>
            </a:custGeom>
            <a:solidFill>
              <a:srgbClr val="FEB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2" name="Google Shape;882;p39"/>
            <p:cNvSpPr/>
            <p:nvPr/>
          </p:nvSpPr>
          <p:spPr>
            <a:xfrm>
              <a:off x="6903540" y="3924856"/>
              <a:ext cx="8076" cy="5159"/>
            </a:xfrm>
            <a:custGeom>
              <a:avLst/>
              <a:gdLst/>
              <a:ahLst/>
              <a:cxnLst/>
              <a:rect l="l" t="t" r="r" b="b"/>
              <a:pathLst>
                <a:path w="288" h="184" extrusionOk="0">
                  <a:moveTo>
                    <a:pt x="79" y="1"/>
                  </a:moveTo>
                  <a:cubicBezTo>
                    <a:pt x="56" y="1"/>
                    <a:pt x="19" y="24"/>
                    <a:pt x="19" y="42"/>
                  </a:cubicBezTo>
                  <a:cubicBezTo>
                    <a:pt x="1" y="79"/>
                    <a:pt x="19" y="98"/>
                    <a:pt x="38" y="116"/>
                  </a:cubicBezTo>
                  <a:lnTo>
                    <a:pt x="172" y="176"/>
                  </a:lnTo>
                  <a:cubicBezTo>
                    <a:pt x="183" y="181"/>
                    <a:pt x="194" y="183"/>
                    <a:pt x="204" y="183"/>
                  </a:cubicBezTo>
                  <a:cubicBezTo>
                    <a:pt x="232" y="183"/>
                    <a:pt x="255" y="166"/>
                    <a:pt x="269" y="139"/>
                  </a:cubicBezTo>
                  <a:lnTo>
                    <a:pt x="269" y="98"/>
                  </a:lnTo>
                  <a:cubicBezTo>
                    <a:pt x="287" y="61"/>
                    <a:pt x="250" y="24"/>
                    <a:pt x="232" y="24"/>
                  </a:cubicBezTo>
                  <a:lnTo>
                    <a:pt x="79" y="1"/>
                  </a:lnTo>
                  <a:close/>
                </a:path>
              </a:pathLst>
            </a:custGeom>
            <a:solidFill>
              <a:srgbClr val="FEB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3" name="Google Shape;883;p39"/>
            <p:cNvSpPr/>
            <p:nvPr/>
          </p:nvSpPr>
          <p:spPr>
            <a:xfrm>
              <a:off x="6853937" y="3669636"/>
              <a:ext cx="10767" cy="15029"/>
            </a:xfrm>
            <a:custGeom>
              <a:avLst/>
              <a:gdLst/>
              <a:ahLst/>
              <a:cxnLst/>
              <a:rect l="l" t="t" r="r" b="b"/>
              <a:pathLst>
                <a:path w="384" h="536" extrusionOk="0">
                  <a:moveTo>
                    <a:pt x="0" y="0"/>
                  </a:moveTo>
                  <a:lnTo>
                    <a:pt x="0" y="0"/>
                  </a:lnTo>
                  <a:cubicBezTo>
                    <a:pt x="171" y="134"/>
                    <a:pt x="0" y="462"/>
                    <a:pt x="0" y="462"/>
                  </a:cubicBezTo>
                  <a:lnTo>
                    <a:pt x="324" y="536"/>
                  </a:lnTo>
                  <a:cubicBezTo>
                    <a:pt x="324" y="536"/>
                    <a:pt x="287" y="305"/>
                    <a:pt x="384" y="250"/>
                  </a:cubicBezTo>
                  <a:cubicBezTo>
                    <a:pt x="369" y="244"/>
                    <a:pt x="354" y="242"/>
                    <a:pt x="341" y="242"/>
                  </a:cubicBezTo>
                  <a:cubicBezTo>
                    <a:pt x="249" y="242"/>
                    <a:pt x="190" y="347"/>
                    <a:pt x="190" y="347"/>
                  </a:cubicBezTo>
                  <a:cubicBezTo>
                    <a:pt x="231" y="208"/>
                    <a:pt x="153" y="55"/>
                    <a:pt x="0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4" name="Google Shape;884;p39"/>
            <p:cNvSpPr/>
            <p:nvPr/>
          </p:nvSpPr>
          <p:spPr>
            <a:xfrm>
              <a:off x="6813896" y="3713294"/>
              <a:ext cx="12478" cy="20553"/>
            </a:xfrm>
            <a:custGeom>
              <a:avLst/>
              <a:gdLst/>
              <a:ahLst/>
              <a:cxnLst/>
              <a:rect l="l" t="t" r="r" b="b"/>
              <a:pathLst>
                <a:path w="445" h="733" extrusionOk="0">
                  <a:moveTo>
                    <a:pt x="213" y="0"/>
                  </a:moveTo>
                  <a:cubicBezTo>
                    <a:pt x="98" y="0"/>
                    <a:pt x="19" y="134"/>
                    <a:pt x="0" y="347"/>
                  </a:cubicBezTo>
                  <a:cubicBezTo>
                    <a:pt x="0" y="559"/>
                    <a:pt x="61" y="730"/>
                    <a:pt x="176" y="730"/>
                  </a:cubicBezTo>
                  <a:cubicBezTo>
                    <a:pt x="184" y="732"/>
                    <a:pt x="192" y="732"/>
                    <a:pt x="200" y="732"/>
                  </a:cubicBezTo>
                  <a:cubicBezTo>
                    <a:pt x="321" y="732"/>
                    <a:pt x="408" y="566"/>
                    <a:pt x="426" y="384"/>
                  </a:cubicBezTo>
                  <a:cubicBezTo>
                    <a:pt x="444" y="176"/>
                    <a:pt x="347" y="0"/>
                    <a:pt x="213" y="0"/>
                  </a:cubicBezTo>
                  <a:close/>
                </a:path>
              </a:pathLst>
            </a:custGeom>
            <a:solidFill>
              <a:srgbClr val="FC96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5" name="Google Shape;885;p39"/>
            <p:cNvSpPr/>
            <p:nvPr/>
          </p:nvSpPr>
          <p:spPr>
            <a:xfrm>
              <a:off x="6869471" y="3734072"/>
              <a:ext cx="17918" cy="18310"/>
            </a:xfrm>
            <a:custGeom>
              <a:avLst/>
              <a:gdLst/>
              <a:ahLst/>
              <a:cxnLst/>
              <a:rect l="l" t="t" r="r" b="b"/>
              <a:pathLst>
                <a:path w="639" h="653" extrusionOk="0">
                  <a:moveTo>
                    <a:pt x="433" y="0"/>
                  </a:moveTo>
                  <a:cubicBezTo>
                    <a:pt x="339" y="0"/>
                    <a:pt x="224" y="76"/>
                    <a:pt x="139" y="202"/>
                  </a:cubicBezTo>
                  <a:cubicBezTo>
                    <a:pt x="24" y="377"/>
                    <a:pt x="1" y="567"/>
                    <a:pt x="98" y="627"/>
                  </a:cubicBezTo>
                  <a:cubicBezTo>
                    <a:pt x="123" y="644"/>
                    <a:pt x="151" y="652"/>
                    <a:pt x="180" y="652"/>
                  </a:cubicBezTo>
                  <a:cubicBezTo>
                    <a:pt x="281" y="652"/>
                    <a:pt x="396" y="555"/>
                    <a:pt x="486" y="433"/>
                  </a:cubicBezTo>
                  <a:cubicBezTo>
                    <a:pt x="601" y="262"/>
                    <a:pt x="638" y="105"/>
                    <a:pt x="523" y="31"/>
                  </a:cubicBezTo>
                  <a:cubicBezTo>
                    <a:pt x="497" y="10"/>
                    <a:pt x="466" y="0"/>
                    <a:pt x="433" y="0"/>
                  </a:cubicBezTo>
                  <a:close/>
                </a:path>
              </a:pathLst>
            </a:custGeom>
            <a:solidFill>
              <a:srgbClr val="FC96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6" name="Google Shape;886;p39"/>
            <p:cNvSpPr/>
            <p:nvPr/>
          </p:nvSpPr>
          <p:spPr>
            <a:xfrm>
              <a:off x="6815073" y="3688647"/>
              <a:ext cx="73857" cy="84008"/>
            </a:xfrm>
            <a:custGeom>
              <a:avLst/>
              <a:gdLst/>
              <a:ahLst/>
              <a:cxnLst/>
              <a:rect l="l" t="t" r="r" b="b"/>
              <a:pathLst>
                <a:path w="2634" h="2996" extrusionOk="0">
                  <a:moveTo>
                    <a:pt x="1400" y="0"/>
                  </a:moveTo>
                  <a:cubicBezTo>
                    <a:pt x="873" y="0"/>
                    <a:pt x="342" y="426"/>
                    <a:pt x="134" y="1055"/>
                  </a:cubicBezTo>
                  <a:cubicBezTo>
                    <a:pt x="0" y="1919"/>
                    <a:pt x="92" y="2168"/>
                    <a:pt x="518" y="2843"/>
                  </a:cubicBezTo>
                  <a:cubicBezTo>
                    <a:pt x="555" y="2861"/>
                    <a:pt x="883" y="2977"/>
                    <a:pt x="998" y="2995"/>
                  </a:cubicBezTo>
                  <a:cubicBezTo>
                    <a:pt x="1077" y="2977"/>
                    <a:pt x="1132" y="2958"/>
                    <a:pt x="1192" y="2940"/>
                  </a:cubicBezTo>
                  <a:cubicBezTo>
                    <a:pt x="1807" y="2727"/>
                    <a:pt x="2019" y="2496"/>
                    <a:pt x="2384" y="1803"/>
                  </a:cubicBezTo>
                  <a:cubicBezTo>
                    <a:pt x="2384" y="1785"/>
                    <a:pt x="2384" y="1785"/>
                    <a:pt x="2403" y="1766"/>
                  </a:cubicBezTo>
                  <a:cubicBezTo>
                    <a:pt x="2634" y="1013"/>
                    <a:pt x="2329" y="246"/>
                    <a:pt x="1710" y="52"/>
                  </a:cubicBezTo>
                  <a:cubicBezTo>
                    <a:pt x="1608" y="17"/>
                    <a:pt x="1504" y="0"/>
                    <a:pt x="1400" y="0"/>
                  </a:cubicBezTo>
                  <a:close/>
                </a:path>
              </a:pathLst>
            </a:custGeom>
            <a:solidFill>
              <a:srgbClr val="FEB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7" name="Google Shape;887;p39"/>
            <p:cNvSpPr/>
            <p:nvPr/>
          </p:nvSpPr>
          <p:spPr>
            <a:xfrm>
              <a:off x="6836047" y="3757064"/>
              <a:ext cx="10795" cy="3785"/>
            </a:xfrm>
            <a:custGeom>
              <a:avLst/>
              <a:gdLst/>
              <a:ahLst/>
              <a:cxnLst/>
              <a:rect l="l" t="t" r="r" b="b"/>
              <a:pathLst>
                <a:path w="385" h="135" extrusionOk="0">
                  <a:moveTo>
                    <a:pt x="1" y="1"/>
                  </a:moveTo>
                  <a:lnTo>
                    <a:pt x="1" y="19"/>
                  </a:lnTo>
                  <a:cubicBezTo>
                    <a:pt x="79" y="75"/>
                    <a:pt x="195" y="135"/>
                    <a:pt x="366" y="135"/>
                  </a:cubicBezTo>
                  <a:lnTo>
                    <a:pt x="384" y="135"/>
                  </a:lnTo>
                  <a:lnTo>
                    <a:pt x="384" y="116"/>
                  </a:lnTo>
                  <a:cubicBezTo>
                    <a:pt x="195" y="116"/>
                    <a:pt x="79" y="56"/>
                    <a:pt x="19" y="1"/>
                  </a:cubicBezTo>
                  <a:close/>
                </a:path>
              </a:pathLst>
            </a:custGeom>
            <a:solidFill>
              <a:srgbClr val="EF80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8" name="Google Shape;888;p39"/>
            <p:cNvSpPr/>
            <p:nvPr/>
          </p:nvSpPr>
          <p:spPr>
            <a:xfrm>
              <a:off x="6837730" y="3760822"/>
              <a:ext cx="5356" cy="2103"/>
            </a:xfrm>
            <a:custGeom>
              <a:avLst/>
              <a:gdLst/>
              <a:ahLst/>
              <a:cxnLst/>
              <a:rect l="l" t="t" r="r" b="b"/>
              <a:pathLst>
                <a:path w="191" h="75" extrusionOk="0">
                  <a:moveTo>
                    <a:pt x="1" y="1"/>
                  </a:moveTo>
                  <a:lnTo>
                    <a:pt x="1" y="19"/>
                  </a:lnTo>
                  <a:cubicBezTo>
                    <a:pt x="1" y="19"/>
                    <a:pt x="56" y="75"/>
                    <a:pt x="190" y="75"/>
                  </a:cubicBezTo>
                  <a:lnTo>
                    <a:pt x="190" y="56"/>
                  </a:lnTo>
                  <a:cubicBezTo>
                    <a:pt x="56" y="56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EF80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9" name="Google Shape;889;p39"/>
            <p:cNvSpPr/>
            <p:nvPr/>
          </p:nvSpPr>
          <p:spPr>
            <a:xfrm>
              <a:off x="6831252" y="3725211"/>
              <a:ext cx="12983" cy="4823"/>
            </a:xfrm>
            <a:custGeom>
              <a:avLst/>
              <a:gdLst/>
              <a:ahLst/>
              <a:cxnLst/>
              <a:rect l="l" t="t" r="r" b="b"/>
              <a:pathLst>
                <a:path w="463" h="172" extrusionOk="0">
                  <a:moveTo>
                    <a:pt x="1" y="0"/>
                  </a:moveTo>
                  <a:cubicBezTo>
                    <a:pt x="19" y="19"/>
                    <a:pt x="56" y="37"/>
                    <a:pt x="75" y="56"/>
                  </a:cubicBezTo>
                  <a:cubicBezTo>
                    <a:pt x="135" y="97"/>
                    <a:pt x="190" y="134"/>
                    <a:pt x="250" y="153"/>
                  </a:cubicBezTo>
                  <a:lnTo>
                    <a:pt x="269" y="153"/>
                  </a:lnTo>
                  <a:cubicBezTo>
                    <a:pt x="287" y="153"/>
                    <a:pt x="324" y="171"/>
                    <a:pt x="366" y="171"/>
                  </a:cubicBezTo>
                  <a:cubicBezTo>
                    <a:pt x="384" y="171"/>
                    <a:pt x="421" y="153"/>
                    <a:pt x="463" y="153"/>
                  </a:cubicBezTo>
                  <a:lnTo>
                    <a:pt x="366" y="153"/>
                  </a:lnTo>
                  <a:cubicBezTo>
                    <a:pt x="324" y="153"/>
                    <a:pt x="287" y="134"/>
                    <a:pt x="269" y="134"/>
                  </a:cubicBezTo>
                  <a:cubicBezTo>
                    <a:pt x="209" y="116"/>
                    <a:pt x="153" y="74"/>
                    <a:pt x="93" y="37"/>
                  </a:cubicBezTo>
                  <a:cubicBezTo>
                    <a:pt x="56" y="19"/>
                    <a:pt x="38" y="19"/>
                    <a:pt x="1" y="0"/>
                  </a:cubicBezTo>
                  <a:close/>
                </a:path>
              </a:pathLst>
            </a:custGeom>
            <a:solidFill>
              <a:srgbClr val="EF80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0" name="Google Shape;890;p39"/>
            <p:cNvSpPr/>
            <p:nvPr/>
          </p:nvSpPr>
          <p:spPr>
            <a:xfrm>
              <a:off x="6855002" y="3733259"/>
              <a:ext cx="15674" cy="4402"/>
            </a:xfrm>
            <a:custGeom>
              <a:avLst/>
              <a:gdLst/>
              <a:ahLst/>
              <a:cxnLst/>
              <a:rect l="l" t="t" r="r" b="b"/>
              <a:pathLst>
                <a:path w="559" h="157" extrusionOk="0">
                  <a:moveTo>
                    <a:pt x="0" y="0"/>
                  </a:moveTo>
                  <a:cubicBezTo>
                    <a:pt x="37" y="19"/>
                    <a:pt x="55" y="42"/>
                    <a:pt x="78" y="60"/>
                  </a:cubicBezTo>
                  <a:cubicBezTo>
                    <a:pt x="96" y="78"/>
                    <a:pt x="133" y="97"/>
                    <a:pt x="152" y="115"/>
                  </a:cubicBezTo>
                  <a:cubicBezTo>
                    <a:pt x="230" y="134"/>
                    <a:pt x="286" y="157"/>
                    <a:pt x="364" y="157"/>
                  </a:cubicBezTo>
                  <a:lnTo>
                    <a:pt x="558" y="157"/>
                  </a:lnTo>
                  <a:cubicBezTo>
                    <a:pt x="540" y="157"/>
                    <a:pt x="498" y="134"/>
                    <a:pt x="461" y="134"/>
                  </a:cubicBezTo>
                  <a:lnTo>
                    <a:pt x="364" y="134"/>
                  </a:lnTo>
                  <a:cubicBezTo>
                    <a:pt x="286" y="115"/>
                    <a:pt x="230" y="115"/>
                    <a:pt x="170" y="97"/>
                  </a:cubicBezTo>
                  <a:cubicBezTo>
                    <a:pt x="133" y="78"/>
                    <a:pt x="115" y="78"/>
                    <a:pt x="96" y="60"/>
                  </a:cubicBezTo>
                  <a:cubicBezTo>
                    <a:pt x="55" y="42"/>
                    <a:pt x="37" y="19"/>
                    <a:pt x="0" y="0"/>
                  </a:cubicBezTo>
                  <a:close/>
                </a:path>
              </a:pathLst>
            </a:custGeom>
            <a:solidFill>
              <a:srgbClr val="EF80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1" name="Google Shape;891;p39"/>
            <p:cNvSpPr/>
            <p:nvPr/>
          </p:nvSpPr>
          <p:spPr>
            <a:xfrm>
              <a:off x="6826345" y="3716855"/>
              <a:ext cx="20497" cy="6702"/>
            </a:xfrm>
            <a:custGeom>
              <a:avLst/>
              <a:gdLst/>
              <a:ahLst/>
              <a:cxnLst/>
              <a:rect l="l" t="t" r="r" b="b"/>
              <a:pathLst>
                <a:path w="731" h="239" extrusionOk="0">
                  <a:moveTo>
                    <a:pt x="101" y="0"/>
                  </a:moveTo>
                  <a:cubicBezTo>
                    <a:pt x="52" y="0"/>
                    <a:pt x="14" y="22"/>
                    <a:pt x="0" y="67"/>
                  </a:cubicBezTo>
                  <a:lnTo>
                    <a:pt x="231" y="141"/>
                  </a:lnTo>
                  <a:cubicBezTo>
                    <a:pt x="291" y="164"/>
                    <a:pt x="347" y="183"/>
                    <a:pt x="407" y="201"/>
                  </a:cubicBezTo>
                  <a:lnTo>
                    <a:pt x="499" y="220"/>
                  </a:lnTo>
                  <a:lnTo>
                    <a:pt x="522" y="238"/>
                  </a:lnTo>
                  <a:lnTo>
                    <a:pt x="596" y="238"/>
                  </a:lnTo>
                  <a:cubicBezTo>
                    <a:pt x="675" y="238"/>
                    <a:pt x="730" y="183"/>
                    <a:pt x="730" y="123"/>
                  </a:cubicBezTo>
                  <a:lnTo>
                    <a:pt x="522" y="123"/>
                  </a:lnTo>
                  <a:lnTo>
                    <a:pt x="462" y="104"/>
                  </a:lnTo>
                  <a:lnTo>
                    <a:pt x="384" y="86"/>
                  </a:lnTo>
                  <a:lnTo>
                    <a:pt x="153" y="7"/>
                  </a:lnTo>
                  <a:cubicBezTo>
                    <a:pt x="134" y="3"/>
                    <a:pt x="117" y="0"/>
                    <a:pt x="101" y="0"/>
                  </a:cubicBezTo>
                  <a:close/>
                </a:path>
              </a:pathLst>
            </a:custGeom>
            <a:solidFill>
              <a:srgbClr val="77363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2" name="Google Shape;892;p39"/>
            <p:cNvSpPr/>
            <p:nvPr/>
          </p:nvSpPr>
          <p:spPr>
            <a:xfrm>
              <a:off x="6816111" y="3679197"/>
              <a:ext cx="77222" cy="58996"/>
            </a:xfrm>
            <a:custGeom>
              <a:avLst/>
              <a:gdLst/>
              <a:ahLst/>
              <a:cxnLst/>
              <a:rect l="l" t="t" r="r" b="b"/>
              <a:pathLst>
                <a:path w="2754" h="2104" extrusionOk="0">
                  <a:moveTo>
                    <a:pt x="1133" y="1"/>
                  </a:moveTo>
                  <a:cubicBezTo>
                    <a:pt x="968" y="1"/>
                    <a:pt x="759" y="33"/>
                    <a:pt x="518" y="140"/>
                  </a:cubicBezTo>
                  <a:cubicBezTo>
                    <a:pt x="134" y="523"/>
                    <a:pt x="0" y="1022"/>
                    <a:pt x="79" y="1447"/>
                  </a:cubicBezTo>
                  <a:lnTo>
                    <a:pt x="79" y="1466"/>
                  </a:lnTo>
                  <a:cubicBezTo>
                    <a:pt x="94" y="1450"/>
                    <a:pt x="354" y="878"/>
                    <a:pt x="1017" y="878"/>
                  </a:cubicBezTo>
                  <a:cubicBezTo>
                    <a:pt x="1143" y="878"/>
                    <a:pt x="1285" y="899"/>
                    <a:pt x="1442" y="948"/>
                  </a:cubicBezTo>
                  <a:cubicBezTo>
                    <a:pt x="1617" y="1678"/>
                    <a:pt x="2310" y="1392"/>
                    <a:pt x="2366" y="2103"/>
                  </a:cubicBezTo>
                  <a:cubicBezTo>
                    <a:pt x="2366" y="2103"/>
                    <a:pt x="2426" y="2043"/>
                    <a:pt x="2504" y="1946"/>
                  </a:cubicBezTo>
                  <a:cubicBezTo>
                    <a:pt x="2620" y="1775"/>
                    <a:pt x="2754" y="1507"/>
                    <a:pt x="2754" y="1138"/>
                  </a:cubicBezTo>
                  <a:cubicBezTo>
                    <a:pt x="2754" y="967"/>
                    <a:pt x="2712" y="736"/>
                    <a:pt x="2597" y="505"/>
                  </a:cubicBezTo>
                  <a:cubicBezTo>
                    <a:pt x="2158" y="121"/>
                    <a:pt x="1557" y="79"/>
                    <a:pt x="1539" y="79"/>
                  </a:cubicBezTo>
                  <a:cubicBezTo>
                    <a:pt x="1539" y="79"/>
                    <a:pt x="1389" y="1"/>
                    <a:pt x="1133" y="1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3" name="Google Shape;893;p39"/>
            <p:cNvSpPr/>
            <p:nvPr/>
          </p:nvSpPr>
          <p:spPr>
            <a:xfrm>
              <a:off x="6840982" y="3733230"/>
              <a:ext cx="5860" cy="15198"/>
            </a:xfrm>
            <a:custGeom>
              <a:avLst/>
              <a:gdLst/>
              <a:ahLst/>
              <a:cxnLst/>
              <a:rect l="l" t="t" r="r" b="b"/>
              <a:pathLst>
                <a:path w="209" h="542" extrusionOk="0">
                  <a:moveTo>
                    <a:pt x="208" y="1"/>
                  </a:moveTo>
                  <a:lnTo>
                    <a:pt x="208" y="1"/>
                  </a:lnTo>
                  <a:cubicBezTo>
                    <a:pt x="208" y="1"/>
                    <a:pt x="56" y="347"/>
                    <a:pt x="0" y="541"/>
                  </a:cubicBezTo>
                  <a:lnTo>
                    <a:pt x="208" y="1"/>
                  </a:lnTo>
                  <a:close/>
                </a:path>
              </a:pathLst>
            </a:custGeom>
            <a:solidFill>
              <a:srgbClr val="EF80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4" name="Google Shape;894;p39"/>
            <p:cNvSpPr/>
            <p:nvPr/>
          </p:nvSpPr>
          <p:spPr>
            <a:xfrm>
              <a:off x="6840982" y="3733230"/>
              <a:ext cx="5860" cy="15198"/>
            </a:xfrm>
            <a:custGeom>
              <a:avLst/>
              <a:gdLst/>
              <a:ahLst/>
              <a:cxnLst/>
              <a:rect l="l" t="t" r="r" b="b"/>
              <a:pathLst>
                <a:path w="209" h="542" extrusionOk="0">
                  <a:moveTo>
                    <a:pt x="208" y="1"/>
                  </a:moveTo>
                  <a:lnTo>
                    <a:pt x="208" y="1"/>
                  </a:lnTo>
                  <a:cubicBezTo>
                    <a:pt x="171" y="79"/>
                    <a:pt x="134" y="176"/>
                    <a:pt x="93" y="273"/>
                  </a:cubicBezTo>
                  <a:cubicBezTo>
                    <a:pt x="56" y="347"/>
                    <a:pt x="19" y="444"/>
                    <a:pt x="0" y="541"/>
                  </a:cubicBezTo>
                  <a:cubicBezTo>
                    <a:pt x="37" y="444"/>
                    <a:pt x="74" y="366"/>
                    <a:pt x="116" y="273"/>
                  </a:cubicBezTo>
                  <a:cubicBezTo>
                    <a:pt x="153" y="176"/>
                    <a:pt x="190" y="98"/>
                    <a:pt x="208" y="1"/>
                  </a:cubicBezTo>
                  <a:close/>
                </a:path>
              </a:pathLst>
            </a:custGeom>
            <a:solidFill>
              <a:srgbClr val="EF80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5" name="Google Shape;895;p39"/>
            <p:cNvSpPr/>
            <p:nvPr/>
          </p:nvSpPr>
          <p:spPr>
            <a:xfrm>
              <a:off x="6837758" y="3748568"/>
              <a:ext cx="9197" cy="4206"/>
            </a:xfrm>
            <a:custGeom>
              <a:avLst/>
              <a:gdLst/>
              <a:ahLst/>
              <a:cxnLst/>
              <a:rect l="l" t="t" r="r" b="b"/>
              <a:pathLst>
                <a:path w="328" h="150" extrusionOk="0">
                  <a:moveTo>
                    <a:pt x="100" y="1"/>
                  </a:moveTo>
                  <a:cubicBezTo>
                    <a:pt x="1" y="1"/>
                    <a:pt x="70" y="115"/>
                    <a:pt x="152" y="147"/>
                  </a:cubicBezTo>
                  <a:cubicBezTo>
                    <a:pt x="160" y="149"/>
                    <a:pt x="169" y="150"/>
                    <a:pt x="178" y="150"/>
                  </a:cubicBezTo>
                  <a:cubicBezTo>
                    <a:pt x="252" y="150"/>
                    <a:pt x="328" y="83"/>
                    <a:pt x="171" y="13"/>
                  </a:cubicBezTo>
                  <a:cubicBezTo>
                    <a:pt x="141" y="4"/>
                    <a:pt x="118" y="1"/>
                    <a:pt x="100" y="1"/>
                  </a:cubicBezTo>
                  <a:close/>
                </a:path>
              </a:pathLst>
            </a:custGeom>
            <a:solidFill>
              <a:srgbClr val="EF806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6" name="Google Shape;896;p39"/>
            <p:cNvSpPr/>
            <p:nvPr/>
          </p:nvSpPr>
          <p:spPr>
            <a:xfrm>
              <a:off x="6822055" y="3732109"/>
              <a:ext cx="18955" cy="11721"/>
            </a:xfrm>
            <a:custGeom>
              <a:avLst/>
              <a:gdLst/>
              <a:ahLst/>
              <a:cxnLst/>
              <a:rect l="l" t="t" r="r" b="b"/>
              <a:pathLst>
                <a:path w="676" h="418" extrusionOk="0">
                  <a:moveTo>
                    <a:pt x="307" y="0"/>
                  </a:moveTo>
                  <a:cubicBezTo>
                    <a:pt x="171" y="0"/>
                    <a:pt x="35" y="55"/>
                    <a:pt x="19" y="156"/>
                  </a:cubicBezTo>
                  <a:cubicBezTo>
                    <a:pt x="1" y="272"/>
                    <a:pt x="135" y="387"/>
                    <a:pt x="306" y="406"/>
                  </a:cubicBezTo>
                  <a:cubicBezTo>
                    <a:pt x="335" y="414"/>
                    <a:pt x="364" y="417"/>
                    <a:pt x="393" y="417"/>
                  </a:cubicBezTo>
                  <a:cubicBezTo>
                    <a:pt x="516" y="417"/>
                    <a:pt x="622" y="351"/>
                    <a:pt x="652" y="272"/>
                  </a:cubicBezTo>
                  <a:cubicBezTo>
                    <a:pt x="675" y="156"/>
                    <a:pt x="537" y="41"/>
                    <a:pt x="366" y="4"/>
                  </a:cubicBezTo>
                  <a:cubicBezTo>
                    <a:pt x="346" y="1"/>
                    <a:pt x="327" y="0"/>
                    <a:pt x="307" y="0"/>
                  </a:cubicBezTo>
                  <a:close/>
                </a:path>
              </a:pathLst>
            </a:custGeom>
            <a:solidFill>
              <a:srgbClr val="FC96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7" name="Google Shape;897;p39"/>
            <p:cNvSpPr/>
            <p:nvPr/>
          </p:nvSpPr>
          <p:spPr>
            <a:xfrm>
              <a:off x="6851217" y="3740829"/>
              <a:ext cx="18282" cy="13459"/>
            </a:xfrm>
            <a:custGeom>
              <a:avLst/>
              <a:gdLst/>
              <a:ahLst/>
              <a:cxnLst/>
              <a:rect l="l" t="t" r="r" b="b"/>
              <a:pathLst>
                <a:path w="652" h="480" extrusionOk="0">
                  <a:moveTo>
                    <a:pt x="210" y="1"/>
                  </a:moveTo>
                  <a:cubicBezTo>
                    <a:pt x="147" y="1"/>
                    <a:pt x="93" y="21"/>
                    <a:pt x="56" y="58"/>
                  </a:cubicBezTo>
                  <a:cubicBezTo>
                    <a:pt x="0" y="155"/>
                    <a:pt x="56" y="307"/>
                    <a:pt x="213" y="404"/>
                  </a:cubicBezTo>
                  <a:cubicBezTo>
                    <a:pt x="283" y="455"/>
                    <a:pt x="364" y="480"/>
                    <a:pt x="434" y="480"/>
                  </a:cubicBezTo>
                  <a:cubicBezTo>
                    <a:pt x="496" y="480"/>
                    <a:pt x="549" y="460"/>
                    <a:pt x="578" y="423"/>
                  </a:cubicBezTo>
                  <a:cubicBezTo>
                    <a:pt x="652" y="326"/>
                    <a:pt x="578" y="173"/>
                    <a:pt x="444" y="76"/>
                  </a:cubicBezTo>
                  <a:cubicBezTo>
                    <a:pt x="361" y="25"/>
                    <a:pt x="280" y="1"/>
                    <a:pt x="210" y="1"/>
                  </a:cubicBezTo>
                  <a:close/>
                </a:path>
              </a:pathLst>
            </a:custGeom>
            <a:solidFill>
              <a:srgbClr val="FC96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8" name="Google Shape;898;p39"/>
            <p:cNvSpPr/>
            <p:nvPr/>
          </p:nvSpPr>
          <p:spPr>
            <a:xfrm>
              <a:off x="6827383" y="3810397"/>
              <a:ext cx="15702" cy="8300"/>
            </a:xfrm>
            <a:custGeom>
              <a:avLst/>
              <a:gdLst/>
              <a:ahLst/>
              <a:cxnLst/>
              <a:rect l="l" t="t" r="r" b="b"/>
              <a:pathLst>
                <a:path w="560" h="296" extrusionOk="0">
                  <a:moveTo>
                    <a:pt x="40" y="1"/>
                  </a:moveTo>
                  <a:cubicBezTo>
                    <a:pt x="15" y="1"/>
                    <a:pt x="0" y="3"/>
                    <a:pt x="0" y="3"/>
                  </a:cubicBezTo>
                  <a:lnTo>
                    <a:pt x="194" y="178"/>
                  </a:lnTo>
                  <a:cubicBezTo>
                    <a:pt x="194" y="197"/>
                    <a:pt x="347" y="294"/>
                    <a:pt x="347" y="294"/>
                  </a:cubicBezTo>
                  <a:cubicBezTo>
                    <a:pt x="347" y="294"/>
                    <a:pt x="363" y="296"/>
                    <a:pt x="386" y="296"/>
                  </a:cubicBezTo>
                  <a:cubicBezTo>
                    <a:pt x="437" y="296"/>
                    <a:pt x="521" y="287"/>
                    <a:pt x="559" y="234"/>
                  </a:cubicBezTo>
                  <a:cubicBezTo>
                    <a:pt x="364" y="24"/>
                    <a:pt x="131" y="1"/>
                    <a:pt x="40" y="1"/>
                  </a:cubicBezTo>
                  <a:close/>
                </a:path>
              </a:pathLst>
            </a:custGeom>
            <a:solidFill>
              <a:srgbClr val="F974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9" name="Google Shape;899;p39"/>
            <p:cNvSpPr/>
            <p:nvPr/>
          </p:nvSpPr>
          <p:spPr>
            <a:xfrm>
              <a:off x="6815578" y="3810593"/>
              <a:ext cx="35134" cy="26834"/>
            </a:xfrm>
            <a:custGeom>
              <a:avLst/>
              <a:gdLst/>
              <a:ahLst/>
              <a:cxnLst/>
              <a:rect l="l" t="t" r="r" b="b"/>
              <a:pathLst>
                <a:path w="1253" h="957" extrusionOk="0">
                  <a:moveTo>
                    <a:pt x="1221" y="0"/>
                  </a:moveTo>
                  <a:cubicBezTo>
                    <a:pt x="1211" y="0"/>
                    <a:pt x="1202" y="5"/>
                    <a:pt x="1193" y="14"/>
                  </a:cubicBezTo>
                  <a:lnTo>
                    <a:pt x="19" y="901"/>
                  </a:lnTo>
                  <a:cubicBezTo>
                    <a:pt x="1" y="901"/>
                    <a:pt x="1" y="920"/>
                    <a:pt x="19" y="938"/>
                  </a:cubicBezTo>
                  <a:cubicBezTo>
                    <a:pt x="19" y="957"/>
                    <a:pt x="38" y="957"/>
                    <a:pt x="56" y="957"/>
                  </a:cubicBezTo>
                  <a:lnTo>
                    <a:pt x="1230" y="74"/>
                  </a:lnTo>
                  <a:cubicBezTo>
                    <a:pt x="1253" y="56"/>
                    <a:pt x="1253" y="33"/>
                    <a:pt x="1253" y="14"/>
                  </a:cubicBezTo>
                  <a:cubicBezTo>
                    <a:pt x="1241" y="5"/>
                    <a:pt x="1231" y="0"/>
                    <a:pt x="1221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0" name="Google Shape;900;p39"/>
            <p:cNvSpPr/>
            <p:nvPr/>
          </p:nvSpPr>
          <p:spPr>
            <a:xfrm>
              <a:off x="6847460" y="3801424"/>
              <a:ext cx="15057" cy="12674"/>
            </a:xfrm>
            <a:custGeom>
              <a:avLst/>
              <a:gdLst/>
              <a:ahLst/>
              <a:cxnLst/>
              <a:rect l="l" t="t" r="r" b="b"/>
              <a:pathLst>
                <a:path w="537" h="452" extrusionOk="0">
                  <a:moveTo>
                    <a:pt x="331" y="0"/>
                  </a:moveTo>
                  <a:cubicBezTo>
                    <a:pt x="273" y="0"/>
                    <a:pt x="210" y="25"/>
                    <a:pt x="153" y="73"/>
                  </a:cubicBezTo>
                  <a:cubicBezTo>
                    <a:pt x="37" y="152"/>
                    <a:pt x="0" y="286"/>
                    <a:pt x="56" y="383"/>
                  </a:cubicBezTo>
                  <a:cubicBezTo>
                    <a:pt x="95" y="429"/>
                    <a:pt x="148" y="452"/>
                    <a:pt x="206" y="452"/>
                  </a:cubicBezTo>
                  <a:cubicBezTo>
                    <a:pt x="264" y="452"/>
                    <a:pt x="326" y="429"/>
                    <a:pt x="384" y="383"/>
                  </a:cubicBezTo>
                  <a:cubicBezTo>
                    <a:pt x="499" y="304"/>
                    <a:pt x="536" y="152"/>
                    <a:pt x="481" y="73"/>
                  </a:cubicBezTo>
                  <a:cubicBezTo>
                    <a:pt x="441" y="25"/>
                    <a:pt x="388" y="0"/>
                    <a:pt x="331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1" name="Google Shape;901;p39"/>
            <p:cNvSpPr/>
            <p:nvPr/>
          </p:nvSpPr>
          <p:spPr>
            <a:xfrm>
              <a:off x="6855479" y="3799713"/>
              <a:ext cx="8188" cy="9730"/>
            </a:xfrm>
            <a:custGeom>
              <a:avLst/>
              <a:gdLst/>
              <a:ahLst/>
              <a:cxnLst/>
              <a:rect l="l" t="t" r="r" b="b"/>
              <a:pathLst>
                <a:path w="292" h="347" extrusionOk="0">
                  <a:moveTo>
                    <a:pt x="1" y="0"/>
                  </a:moveTo>
                  <a:lnTo>
                    <a:pt x="250" y="347"/>
                  </a:lnTo>
                  <a:cubicBezTo>
                    <a:pt x="292" y="250"/>
                    <a:pt x="292" y="153"/>
                    <a:pt x="250" y="97"/>
                  </a:cubicBezTo>
                  <a:cubicBezTo>
                    <a:pt x="195" y="19"/>
                    <a:pt x="98" y="0"/>
                    <a:pt x="1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2" name="Google Shape;902;p39"/>
            <p:cNvSpPr/>
            <p:nvPr/>
          </p:nvSpPr>
          <p:spPr>
            <a:xfrm>
              <a:off x="6851217" y="3800218"/>
              <a:ext cx="10767" cy="12983"/>
            </a:xfrm>
            <a:custGeom>
              <a:avLst/>
              <a:gdLst/>
              <a:ahLst/>
              <a:cxnLst/>
              <a:rect l="l" t="t" r="r" b="b"/>
              <a:pathLst>
                <a:path w="384" h="463" extrusionOk="0">
                  <a:moveTo>
                    <a:pt x="116" y="1"/>
                  </a:moveTo>
                  <a:cubicBezTo>
                    <a:pt x="74" y="1"/>
                    <a:pt x="37" y="19"/>
                    <a:pt x="0" y="38"/>
                  </a:cubicBezTo>
                  <a:lnTo>
                    <a:pt x="305" y="463"/>
                  </a:lnTo>
                  <a:cubicBezTo>
                    <a:pt x="347" y="426"/>
                    <a:pt x="365" y="403"/>
                    <a:pt x="384" y="366"/>
                  </a:cubicBezTo>
                  <a:lnTo>
                    <a:pt x="116" y="1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3" name="Google Shape;903;p39"/>
            <p:cNvSpPr/>
            <p:nvPr/>
          </p:nvSpPr>
          <p:spPr>
            <a:xfrm>
              <a:off x="6845777" y="3805658"/>
              <a:ext cx="9225" cy="10150"/>
            </a:xfrm>
            <a:custGeom>
              <a:avLst/>
              <a:gdLst/>
              <a:ahLst/>
              <a:cxnLst/>
              <a:rect l="l" t="t" r="r" b="b"/>
              <a:pathLst>
                <a:path w="329" h="362" extrusionOk="0">
                  <a:moveTo>
                    <a:pt x="60" y="1"/>
                  </a:moveTo>
                  <a:cubicBezTo>
                    <a:pt x="19" y="75"/>
                    <a:pt x="0" y="190"/>
                    <a:pt x="60" y="269"/>
                  </a:cubicBezTo>
                  <a:cubicBezTo>
                    <a:pt x="101" y="326"/>
                    <a:pt x="174" y="362"/>
                    <a:pt x="249" y="362"/>
                  </a:cubicBezTo>
                  <a:cubicBezTo>
                    <a:pt x="275" y="362"/>
                    <a:pt x="302" y="357"/>
                    <a:pt x="328" y="347"/>
                  </a:cubicBezTo>
                  <a:lnTo>
                    <a:pt x="60" y="1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4" name="Google Shape;904;p39"/>
            <p:cNvSpPr/>
            <p:nvPr/>
          </p:nvSpPr>
          <p:spPr>
            <a:xfrm>
              <a:off x="6848497" y="3801788"/>
              <a:ext cx="10767" cy="13627"/>
            </a:xfrm>
            <a:custGeom>
              <a:avLst/>
              <a:gdLst/>
              <a:ahLst/>
              <a:cxnLst/>
              <a:rect l="l" t="t" r="r" b="b"/>
              <a:pathLst>
                <a:path w="384" h="486" extrusionOk="0">
                  <a:moveTo>
                    <a:pt x="79" y="0"/>
                  </a:moveTo>
                  <a:cubicBezTo>
                    <a:pt x="37" y="42"/>
                    <a:pt x="19" y="60"/>
                    <a:pt x="0" y="97"/>
                  </a:cubicBezTo>
                  <a:lnTo>
                    <a:pt x="287" y="485"/>
                  </a:lnTo>
                  <a:cubicBezTo>
                    <a:pt x="310" y="462"/>
                    <a:pt x="347" y="444"/>
                    <a:pt x="384" y="425"/>
                  </a:cubicBezTo>
                  <a:lnTo>
                    <a:pt x="79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5" name="Google Shape;905;p39"/>
            <p:cNvSpPr/>
            <p:nvPr/>
          </p:nvSpPr>
          <p:spPr>
            <a:xfrm>
              <a:off x="6821551" y="3810397"/>
              <a:ext cx="21535" cy="22124"/>
            </a:xfrm>
            <a:custGeom>
              <a:avLst/>
              <a:gdLst/>
              <a:ahLst/>
              <a:cxnLst/>
              <a:rect l="l" t="t" r="r" b="b"/>
              <a:pathLst>
                <a:path w="768" h="789" extrusionOk="0">
                  <a:moveTo>
                    <a:pt x="116" y="0"/>
                  </a:moveTo>
                  <a:cubicBezTo>
                    <a:pt x="96" y="0"/>
                    <a:pt x="76" y="1"/>
                    <a:pt x="56" y="3"/>
                  </a:cubicBezTo>
                  <a:lnTo>
                    <a:pt x="0" y="3"/>
                  </a:lnTo>
                  <a:cubicBezTo>
                    <a:pt x="0" y="3"/>
                    <a:pt x="171" y="483"/>
                    <a:pt x="153" y="774"/>
                  </a:cubicBezTo>
                  <a:cubicBezTo>
                    <a:pt x="162" y="783"/>
                    <a:pt x="176" y="788"/>
                    <a:pt x="192" y="788"/>
                  </a:cubicBezTo>
                  <a:cubicBezTo>
                    <a:pt x="209" y="788"/>
                    <a:pt x="229" y="783"/>
                    <a:pt x="250" y="774"/>
                  </a:cubicBezTo>
                  <a:cubicBezTo>
                    <a:pt x="305" y="774"/>
                    <a:pt x="347" y="733"/>
                    <a:pt x="365" y="677"/>
                  </a:cubicBezTo>
                  <a:lnTo>
                    <a:pt x="402" y="640"/>
                  </a:lnTo>
                  <a:cubicBezTo>
                    <a:pt x="439" y="599"/>
                    <a:pt x="481" y="562"/>
                    <a:pt x="499" y="502"/>
                  </a:cubicBezTo>
                  <a:cubicBezTo>
                    <a:pt x="505" y="509"/>
                    <a:pt x="512" y="511"/>
                    <a:pt x="520" y="511"/>
                  </a:cubicBezTo>
                  <a:cubicBezTo>
                    <a:pt x="538" y="511"/>
                    <a:pt x="561" y="496"/>
                    <a:pt x="578" y="483"/>
                  </a:cubicBezTo>
                  <a:lnTo>
                    <a:pt x="615" y="465"/>
                  </a:lnTo>
                  <a:cubicBezTo>
                    <a:pt x="633" y="446"/>
                    <a:pt x="633" y="428"/>
                    <a:pt x="615" y="409"/>
                  </a:cubicBezTo>
                  <a:lnTo>
                    <a:pt x="481" y="294"/>
                  </a:lnTo>
                  <a:lnTo>
                    <a:pt x="481" y="294"/>
                  </a:lnTo>
                  <a:lnTo>
                    <a:pt x="633" y="386"/>
                  </a:lnTo>
                  <a:cubicBezTo>
                    <a:pt x="642" y="398"/>
                    <a:pt x="657" y="403"/>
                    <a:pt x="672" y="403"/>
                  </a:cubicBezTo>
                  <a:cubicBezTo>
                    <a:pt x="687" y="403"/>
                    <a:pt x="702" y="398"/>
                    <a:pt x="712" y="386"/>
                  </a:cubicBezTo>
                  <a:lnTo>
                    <a:pt x="730" y="368"/>
                  </a:lnTo>
                  <a:cubicBezTo>
                    <a:pt x="749" y="368"/>
                    <a:pt x="767" y="331"/>
                    <a:pt x="749" y="312"/>
                  </a:cubicBezTo>
                  <a:cubicBezTo>
                    <a:pt x="730" y="294"/>
                    <a:pt x="730" y="294"/>
                    <a:pt x="712" y="271"/>
                  </a:cubicBezTo>
                  <a:cubicBezTo>
                    <a:pt x="550" y="96"/>
                    <a:pt x="342" y="0"/>
                    <a:pt x="116" y="0"/>
                  </a:cubicBezTo>
                  <a:close/>
                </a:path>
              </a:pathLst>
            </a:custGeom>
            <a:solidFill>
              <a:srgbClr val="FC96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6" name="Google Shape;906;p39"/>
            <p:cNvSpPr/>
            <p:nvPr/>
          </p:nvSpPr>
          <p:spPr>
            <a:xfrm>
              <a:off x="6810138" y="3810453"/>
              <a:ext cx="25432" cy="21703"/>
            </a:xfrm>
            <a:custGeom>
              <a:avLst/>
              <a:gdLst/>
              <a:ahLst/>
              <a:cxnLst/>
              <a:rect l="l" t="t" r="r" b="b"/>
              <a:pathLst>
                <a:path w="907" h="774" extrusionOk="0">
                  <a:moveTo>
                    <a:pt x="407" y="1"/>
                  </a:moveTo>
                  <a:cubicBezTo>
                    <a:pt x="195" y="1"/>
                    <a:pt x="0" y="135"/>
                    <a:pt x="0" y="135"/>
                  </a:cubicBezTo>
                  <a:lnTo>
                    <a:pt x="98" y="638"/>
                  </a:lnTo>
                  <a:cubicBezTo>
                    <a:pt x="98" y="638"/>
                    <a:pt x="389" y="774"/>
                    <a:pt x="535" y="774"/>
                  </a:cubicBezTo>
                  <a:cubicBezTo>
                    <a:pt x="544" y="774"/>
                    <a:pt x="552" y="773"/>
                    <a:pt x="560" y="772"/>
                  </a:cubicBezTo>
                  <a:cubicBezTo>
                    <a:pt x="638" y="772"/>
                    <a:pt x="712" y="712"/>
                    <a:pt x="754" y="638"/>
                  </a:cubicBezTo>
                  <a:lnTo>
                    <a:pt x="772" y="597"/>
                  </a:lnTo>
                  <a:cubicBezTo>
                    <a:pt x="906" y="329"/>
                    <a:pt x="731" y="19"/>
                    <a:pt x="444" y="1"/>
                  </a:cubicBezTo>
                  <a:close/>
                </a:path>
              </a:pathLst>
            </a:custGeom>
            <a:solidFill>
              <a:srgbClr val="FEB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7" name="Google Shape;907;p39"/>
            <p:cNvSpPr/>
            <p:nvPr/>
          </p:nvSpPr>
          <p:spPr>
            <a:xfrm>
              <a:off x="6853320" y="3806191"/>
              <a:ext cx="32386" cy="95252"/>
            </a:xfrm>
            <a:custGeom>
              <a:avLst/>
              <a:gdLst/>
              <a:ahLst/>
              <a:cxnLst/>
              <a:rect l="l" t="t" r="r" b="b"/>
              <a:pathLst>
                <a:path w="1155" h="3397" extrusionOk="0">
                  <a:moveTo>
                    <a:pt x="369" y="0"/>
                  </a:moveTo>
                  <a:cubicBezTo>
                    <a:pt x="327" y="0"/>
                    <a:pt x="309" y="37"/>
                    <a:pt x="346" y="56"/>
                  </a:cubicBezTo>
                  <a:cubicBezTo>
                    <a:pt x="540" y="190"/>
                    <a:pt x="692" y="402"/>
                    <a:pt x="771" y="633"/>
                  </a:cubicBezTo>
                  <a:cubicBezTo>
                    <a:pt x="886" y="906"/>
                    <a:pt x="886" y="1211"/>
                    <a:pt x="789" y="1502"/>
                  </a:cubicBezTo>
                  <a:cubicBezTo>
                    <a:pt x="771" y="1539"/>
                    <a:pt x="752" y="1599"/>
                    <a:pt x="715" y="1636"/>
                  </a:cubicBezTo>
                  <a:cubicBezTo>
                    <a:pt x="698" y="1663"/>
                    <a:pt x="664" y="1680"/>
                    <a:pt x="623" y="1680"/>
                  </a:cubicBezTo>
                  <a:cubicBezTo>
                    <a:pt x="609" y="1680"/>
                    <a:pt x="593" y="1678"/>
                    <a:pt x="577" y="1673"/>
                  </a:cubicBezTo>
                  <a:cubicBezTo>
                    <a:pt x="521" y="1673"/>
                    <a:pt x="484" y="1617"/>
                    <a:pt x="484" y="1576"/>
                  </a:cubicBezTo>
                  <a:cubicBezTo>
                    <a:pt x="461" y="1520"/>
                    <a:pt x="461" y="1460"/>
                    <a:pt x="461" y="1423"/>
                  </a:cubicBezTo>
                  <a:cubicBezTo>
                    <a:pt x="484" y="1229"/>
                    <a:pt x="521" y="1021"/>
                    <a:pt x="503" y="827"/>
                  </a:cubicBezTo>
                  <a:cubicBezTo>
                    <a:pt x="484" y="652"/>
                    <a:pt x="424" y="462"/>
                    <a:pt x="290" y="328"/>
                  </a:cubicBezTo>
                  <a:cubicBezTo>
                    <a:pt x="252" y="290"/>
                    <a:pt x="127" y="205"/>
                    <a:pt x="59" y="205"/>
                  </a:cubicBezTo>
                  <a:cubicBezTo>
                    <a:pt x="21" y="205"/>
                    <a:pt x="1" y="231"/>
                    <a:pt x="22" y="305"/>
                  </a:cubicBezTo>
                  <a:cubicBezTo>
                    <a:pt x="59" y="462"/>
                    <a:pt x="212" y="596"/>
                    <a:pt x="272" y="767"/>
                  </a:cubicBezTo>
                  <a:cubicBezTo>
                    <a:pt x="346" y="961"/>
                    <a:pt x="387" y="1174"/>
                    <a:pt x="387" y="1368"/>
                  </a:cubicBezTo>
                  <a:cubicBezTo>
                    <a:pt x="387" y="1599"/>
                    <a:pt x="346" y="1830"/>
                    <a:pt x="253" y="2061"/>
                  </a:cubicBezTo>
                  <a:cubicBezTo>
                    <a:pt x="212" y="2176"/>
                    <a:pt x="138" y="2310"/>
                    <a:pt x="115" y="2444"/>
                  </a:cubicBezTo>
                  <a:cubicBezTo>
                    <a:pt x="59" y="2772"/>
                    <a:pt x="253" y="3077"/>
                    <a:pt x="503" y="3271"/>
                  </a:cubicBezTo>
                  <a:cubicBezTo>
                    <a:pt x="597" y="3336"/>
                    <a:pt x="704" y="3397"/>
                    <a:pt x="813" y="3397"/>
                  </a:cubicBezTo>
                  <a:cubicBezTo>
                    <a:pt x="837" y="3397"/>
                    <a:pt x="862" y="3394"/>
                    <a:pt x="886" y="3387"/>
                  </a:cubicBezTo>
                  <a:cubicBezTo>
                    <a:pt x="965" y="3387"/>
                    <a:pt x="1020" y="3350"/>
                    <a:pt x="1062" y="3290"/>
                  </a:cubicBezTo>
                  <a:cubicBezTo>
                    <a:pt x="1154" y="3156"/>
                    <a:pt x="1099" y="2985"/>
                    <a:pt x="983" y="2888"/>
                  </a:cubicBezTo>
                  <a:cubicBezTo>
                    <a:pt x="905" y="2791"/>
                    <a:pt x="789" y="2712"/>
                    <a:pt x="715" y="2597"/>
                  </a:cubicBezTo>
                  <a:cubicBezTo>
                    <a:pt x="637" y="2444"/>
                    <a:pt x="637" y="2269"/>
                    <a:pt x="674" y="2098"/>
                  </a:cubicBezTo>
                  <a:cubicBezTo>
                    <a:pt x="715" y="1945"/>
                    <a:pt x="789" y="1788"/>
                    <a:pt x="849" y="1617"/>
                  </a:cubicBezTo>
                  <a:cubicBezTo>
                    <a:pt x="965" y="1308"/>
                    <a:pt x="1020" y="943"/>
                    <a:pt x="923" y="633"/>
                  </a:cubicBezTo>
                  <a:cubicBezTo>
                    <a:pt x="849" y="347"/>
                    <a:pt x="637" y="97"/>
                    <a:pt x="369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8" name="Google Shape;908;p39"/>
            <p:cNvSpPr/>
            <p:nvPr/>
          </p:nvSpPr>
          <p:spPr>
            <a:xfrm>
              <a:off x="6854974" y="3864990"/>
              <a:ext cx="6505" cy="9337"/>
            </a:xfrm>
            <a:custGeom>
              <a:avLst/>
              <a:gdLst/>
              <a:ahLst/>
              <a:cxnLst/>
              <a:rect l="l" t="t" r="r" b="b"/>
              <a:pathLst>
                <a:path w="232" h="333" extrusionOk="0">
                  <a:moveTo>
                    <a:pt x="171" y="1"/>
                  </a:moveTo>
                  <a:cubicBezTo>
                    <a:pt x="134" y="1"/>
                    <a:pt x="79" y="38"/>
                    <a:pt x="37" y="135"/>
                  </a:cubicBezTo>
                  <a:cubicBezTo>
                    <a:pt x="0" y="213"/>
                    <a:pt x="19" y="310"/>
                    <a:pt x="56" y="329"/>
                  </a:cubicBezTo>
                  <a:cubicBezTo>
                    <a:pt x="61" y="331"/>
                    <a:pt x="66" y="332"/>
                    <a:pt x="72" y="332"/>
                  </a:cubicBezTo>
                  <a:cubicBezTo>
                    <a:pt x="115" y="332"/>
                    <a:pt x="174" y="276"/>
                    <a:pt x="194" y="195"/>
                  </a:cubicBezTo>
                  <a:cubicBezTo>
                    <a:pt x="231" y="116"/>
                    <a:pt x="231" y="19"/>
                    <a:pt x="171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9" name="Google Shape;909;p39"/>
            <p:cNvSpPr/>
            <p:nvPr/>
          </p:nvSpPr>
          <p:spPr>
            <a:xfrm>
              <a:off x="6873873" y="3880469"/>
              <a:ext cx="6001" cy="5328"/>
            </a:xfrm>
            <a:custGeom>
              <a:avLst/>
              <a:gdLst/>
              <a:ahLst/>
              <a:cxnLst/>
              <a:rect l="l" t="t" r="r" b="b"/>
              <a:pathLst>
                <a:path w="214" h="190" extrusionOk="0">
                  <a:moveTo>
                    <a:pt x="53" y="1"/>
                  </a:moveTo>
                  <a:cubicBezTo>
                    <a:pt x="41" y="1"/>
                    <a:pt x="29" y="3"/>
                    <a:pt x="19" y="8"/>
                  </a:cubicBezTo>
                  <a:cubicBezTo>
                    <a:pt x="1" y="45"/>
                    <a:pt x="1" y="105"/>
                    <a:pt x="56" y="142"/>
                  </a:cubicBezTo>
                  <a:cubicBezTo>
                    <a:pt x="83" y="177"/>
                    <a:pt x="115" y="190"/>
                    <a:pt x="144" y="190"/>
                  </a:cubicBezTo>
                  <a:cubicBezTo>
                    <a:pt x="161" y="190"/>
                    <a:pt x="177" y="186"/>
                    <a:pt x="190" y="179"/>
                  </a:cubicBezTo>
                  <a:cubicBezTo>
                    <a:pt x="213" y="142"/>
                    <a:pt x="190" y="82"/>
                    <a:pt x="153" y="45"/>
                  </a:cubicBezTo>
                  <a:cubicBezTo>
                    <a:pt x="126" y="18"/>
                    <a:pt x="87" y="1"/>
                    <a:pt x="53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10" name="Google Shape;910;p39"/>
            <p:cNvSpPr/>
            <p:nvPr/>
          </p:nvSpPr>
          <p:spPr>
            <a:xfrm>
              <a:off x="6852759" y="3807172"/>
              <a:ext cx="22712" cy="27507"/>
            </a:xfrm>
            <a:custGeom>
              <a:avLst/>
              <a:gdLst/>
              <a:ahLst/>
              <a:cxnLst/>
              <a:rect l="l" t="t" r="r" b="b"/>
              <a:pathLst>
                <a:path w="810" h="981" extrusionOk="0">
                  <a:moveTo>
                    <a:pt x="357" y="0"/>
                  </a:moveTo>
                  <a:cubicBezTo>
                    <a:pt x="335" y="0"/>
                    <a:pt x="313" y="6"/>
                    <a:pt x="292" y="21"/>
                  </a:cubicBezTo>
                  <a:cubicBezTo>
                    <a:pt x="273" y="21"/>
                    <a:pt x="232" y="62"/>
                    <a:pt x="213" y="81"/>
                  </a:cubicBezTo>
                  <a:cubicBezTo>
                    <a:pt x="176" y="99"/>
                    <a:pt x="135" y="99"/>
                    <a:pt x="116" y="99"/>
                  </a:cubicBezTo>
                  <a:cubicBezTo>
                    <a:pt x="79" y="99"/>
                    <a:pt x="42" y="118"/>
                    <a:pt x="19" y="136"/>
                  </a:cubicBezTo>
                  <a:cubicBezTo>
                    <a:pt x="1" y="178"/>
                    <a:pt x="19" y="215"/>
                    <a:pt x="61" y="233"/>
                  </a:cubicBezTo>
                  <a:cubicBezTo>
                    <a:pt x="70" y="242"/>
                    <a:pt x="84" y="247"/>
                    <a:pt x="98" y="247"/>
                  </a:cubicBezTo>
                  <a:cubicBezTo>
                    <a:pt x="112" y="247"/>
                    <a:pt x="125" y="242"/>
                    <a:pt x="135" y="233"/>
                  </a:cubicBezTo>
                  <a:cubicBezTo>
                    <a:pt x="213" y="233"/>
                    <a:pt x="292" y="312"/>
                    <a:pt x="329" y="367"/>
                  </a:cubicBezTo>
                  <a:cubicBezTo>
                    <a:pt x="366" y="409"/>
                    <a:pt x="389" y="446"/>
                    <a:pt x="407" y="483"/>
                  </a:cubicBezTo>
                  <a:cubicBezTo>
                    <a:pt x="426" y="501"/>
                    <a:pt x="426" y="524"/>
                    <a:pt x="444" y="543"/>
                  </a:cubicBezTo>
                  <a:cubicBezTo>
                    <a:pt x="453" y="552"/>
                    <a:pt x="468" y="557"/>
                    <a:pt x="484" y="557"/>
                  </a:cubicBezTo>
                  <a:cubicBezTo>
                    <a:pt x="499" y="557"/>
                    <a:pt x="514" y="552"/>
                    <a:pt x="523" y="543"/>
                  </a:cubicBezTo>
                  <a:cubicBezTo>
                    <a:pt x="541" y="524"/>
                    <a:pt x="523" y="483"/>
                    <a:pt x="541" y="446"/>
                  </a:cubicBezTo>
                  <a:lnTo>
                    <a:pt x="597" y="446"/>
                  </a:lnTo>
                  <a:cubicBezTo>
                    <a:pt x="620" y="464"/>
                    <a:pt x="620" y="483"/>
                    <a:pt x="638" y="501"/>
                  </a:cubicBezTo>
                  <a:cubicBezTo>
                    <a:pt x="675" y="617"/>
                    <a:pt x="694" y="755"/>
                    <a:pt x="675" y="889"/>
                  </a:cubicBezTo>
                  <a:cubicBezTo>
                    <a:pt x="657" y="908"/>
                    <a:pt x="657" y="945"/>
                    <a:pt x="675" y="963"/>
                  </a:cubicBezTo>
                  <a:cubicBezTo>
                    <a:pt x="685" y="975"/>
                    <a:pt x="694" y="980"/>
                    <a:pt x="704" y="980"/>
                  </a:cubicBezTo>
                  <a:cubicBezTo>
                    <a:pt x="713" y="980"/>
                    <a:pt x="724" y="975"/>
                    <a:pt x="735" y="963"/>
                  </a:cubicBezTo>
                  <a:cubicBezTo>
                    <a:pt x="754" y="945"/>
                    <a:pt x="772" y="926"/>
                    <a:pt x="772" y="908"/>
                  </a:cubicBezTo>
                  <a:cubicBezTo>
                    <a:pt x="809" y="811"/>
                    <a:pt x="772" y="714"/>
                    <a:pt x="735" y="617"/>
                  </a:cubicBezTo>
                  <a:cubicBezTo>
                    <a:pt x="694" y="524"/>
                    <a:pt x="638" y="446"/>
                    <a:pt x="597" y="349"/>
                  </a:cubicBezTo>
                  <a:cubicBezTo>
                    <a:pt x="578" y="293"/>
                    <a:pt x="560" y="233"/>
                    <a:pt x="541" y="178"/>
                  </a:cubicBezTo>
                  <a:cubicBezTo>
                    <a:pt x="523" y="136"/>
                    <a:pt x="504" y="81"/>
                    <a:pt x="463" y="39"/>
                  </a:cubicBezTo>
                  <a:cubicBezTo>
                    <a:pt x="428" y="16"/>
                    <a:pt x="392" y="0"/>
                    <a:pt x="357" y="0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11" name="Google Shape;911;p39"/>
            <p:cNvSpPr/>
            <p:nvPr/>
          </p:nvSpPr>
          <p:spPr>
            <a:xfrm>
              <a:off x="6927766" y="3872505"/>
              <a:ext cx="37349" cy="42144"/>
            </a:xfrm>
            <a:custGeom>
              <a:avLst/>
              <a:gdLst/>
              <a:ahLst/>
              <a:cxnLst/>
              <a:rect l="l" t="t" r="r" b="b"/>
              <a:pathLst>
                <a:path w="1332" h="1503" extrusionOk="0">
                  <a:moveTo>
                    <a:pt x="1119" y="1"/>
                  </a:moveTo>
                  <a:cubicBezTo>
                    <a:pt x="925" y="560"/>
                    <a:pt x="311" y="1003"/>
                    <a:pt x="1" y="1198"/>
                  </a:cubicBezTo>
                  <a:cubicBezTo>
                    <a:pt x="140" y="1350"/>
                    <a:pt x="232" y="1503"/>
                    <a:pt x="232" y="1503"/>
                  </a:cubicBezTo>
                  <a:cubicBezTo>
                    <a:pt x="967" y="985"/>
                    <a:pt x="1332" y="504"/>
                    <a:pt x="1119" y="19"/>
                  </a:cubicBezTo>
                  <a:lnTo>
                    <a:pt x="1119" y="1"/>
                  </a:ln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12" name="Google Shape;912;p39"/>
            <p:cNvSpPr/>
            <p:nvPr/>
          </p:nvSpPr>
          <p:spPr>
            <a:xfrm>
              <a:off x="6896558" y="3783506"/>
              <a:ext cx="47444" cy="97187"/>
            </a:xfrm>
            <a:custGeom>
              <a:avLst/>
              <a:gdLst/>
              <a:ahLst/>
              <a:cxnLst/>
              <a:rect l="l" t="t" r="r" b="b"/>
              <a:pathLst>
                <a:path w="1692" h="3466" extrusionOk="0">
                  <a:moveTo>
                    <a:pt x="0" y="1"/>
                  </a:moveTo>
                  <a:lnTo>
                    <a:pt x="0" y="1"/>
                  </a:lnTo>
                  <a:cubicBezTo>
                    <a:pt x="97" y="384"/>
                    <a:pt x="74" y="1327"/>
                    <a:pt x="37" y="2251"/>
                  </a:cubicBezTo>
                  <a:cubicBezTo>
                    <a:pt x="305" y="2676"/>
                    <a:pt x="712" y="3119"/>
                    <a:pt x="980" y="3387"/>
                  </a:cubicBezTo>
                  <a:cubicBezTo>
                    <a:pt x="1022" y="3424"/>
                    <a:pt x="1040" y="3447"/>
                    <a:pt x="1077" y="3466"/>
                  </a:cubicBezTo>
                  <a:cubicBezTo>
                    <a:pt x="1211" y="3309"/>
                    <a:pt x="1424" y="3156"/>
                    <a:pt x="1692" y="2962"/>
                  </a:cubicBezTo>
                  <a:lnTo>
                    <a:pt x="1692" y="2962"/>
                  </a:lnTo>
                  <a:cubicBezTo>
                    <a:pt x="1521" y="3004"/>
                    <a:pt x="1229" y="3216"/>
                    <a:pt x="1059" y="3332"/>
                  </a:cubicBezTo>
                  <a:cubicBezTo>
                    <a:pt x="998" y="3235"/>
                    <a:pt x="791" y="2944"/>
                    <a:pt x="171" y="2080"/>
                  </a:cubicBezTo>
                  <a:cubicBezTo>
                    <a:pt x="231" y="1807"/>
                    <a:pt x="116" y="366"/>
                    <a:pt x="97" y="37"/>
                  </a:cubicBezTo>
                  <a:cubicBezTo>
                    <a:pt x="37" y="19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13" name="Google Shape;913;p39"/>
            <p:cNvSpPr/>
            <p:nvPr/>
          </p:nvSpPr>
          <p:spPr>
            <a:xfrm>
              <a:off x="6722682" y="3818612"/>
              <a:ext cx="76717" cy="59753"/>
            </a:xfrm>
            <a:custGeom>
              <a:avLst/>
              <a:gdLst/>
              <a:ahLst/>
              <a:cxnLst/>
              <a:rect l="l" t="t" r="r" b="b"/>
              <a:pathLst>
                <a:path w="2736" h="2131" extrusionOk="0">
                  <a:moveTo>
                    <a:pt x="2657" y="1"/>
                  </a:moveTo>
                  <a:cubicBezTo>
                    <a:pt x="2620" y="19"/>
                    <a:pt x="2560" y="38"/>
                    <a:pt x="2523" y="38"/>
                  </a:cubicBezTo>
                  <a:lnTo>
                    <a:pt x="2523" y="56"/>
                  </a:lnTo>
                  <a:cubicBezTo>
                    <a:pt x="2463" y="440"/>
                    <a:pt x="2232" y="768"/>
                    <a:pt x="1867" y="943"/>
                  </a:cubicBezTo>
                  <a:cubicBezTo>
                    <a:pt x="1253" y="1230"/>
                    <a:pt x="384" y="1618"/>
                    <a:pt x="1" y="1789"/>
                  </a:cubicBezTo>
                  <a:cubicBezTo>
                    <a:pt x="61" y="1886"/>
                    <a:pt x="116" y="1964"/>
                    <a:pt x="213" y="2020"/>
                  </a:cubicBezTo>
                  <a:cubicBezTo>
                    <a:pt x="329" y="2096"/>
                    <a:pt x="439" y="2130"/>
                    <a:pt x="552" y="2130"/>
                  </a:cubicBezTo>
                  <a:cubicBezTo>
                    <a:pt x="927" y="2130"/>
                    <a:pt x="1328" y="1748"/>
                    <a:pt x="2024" y="1230"/>
                  </a:cubicBezTo>
                  <a:cubicBezTo>
                    <a:pt x="2024" y="1230"/>
                    <a:pt x="2098" y="1174"/>
                    <a:pt x="2736" y="786"/>
                  </a:cubicBezTo>
                  <a:lnTo>
                    <a:pt x="2736" y="712"/>
                  </a:lnTo>
                  <a:cubicBezTo>
                    <a:pt x="2718" y="421"/>
                    <a:pt x="2657" y="1"/>
                    <a:pt x="2657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14" name="Google Shape;914;p39"/>
            <p:cNvSpPr/>
            <p:nvPr/>
          </p:nvSpPr>
          <p:spPr>
            <a:xfrm>
              <a:off x="6797184" y="3817967"/>
              <a:ext cx="15702" cy="17918"/>
            </a:xfrm>
            <a:custGeom>
              <a:avLst/>
              <a:gdLst/>
              <a:ahLst/>
              <a:cxnLst/>
              <a:rect l="l" t="t" r="r" b="b"/>
              <a:pathLst>
                <a:path w="560" h="639" extrusionOk="0">
                  <a:moveTo>
                    <a:pt x="79" y="1"/>
                  </a:moveTo>
                  <a:cubicBezTo>
                    <a:pt x="61" y="1"/>
                    <a:pt x="19" y="24"/>
                    <a:pt x="0" y="24"/>
                  </a:cubicBezTo>
                  <a:cubicBezTo>
                    <a:pt x="0" y="24"/>
                    <a:pt x="37" y="347"/>
                    <a:pt x="61" y="638"/>
                  </a:cubicBezTo>
                  <a:lnTo>
                    <a:pt x="560" y="370"/>
                  </a:lnTo>
                  <a:lnTo>
                    <a:pt x="560" y="347"/>
                  </a:lnTo>
                  <a:lnTo>
                    <a:pt x="176" y="463"/>
                  </a:lnTo>
                  <a:lnTo>
                    <a:pt x="79" y="1"/>
                  </a:lnTo>
                  <a:close/>
                </a:path>
              </a:pathLst>
            </a:custGeom>
            <a:solidFill>
              <a:srgbClr val="FC96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15" name="Google Shape;915;p39"/>
            <p:cNvSpPr/>
            <p:nvPr/>
          </p:nvSpPr>
          <p:spPr>
            <a:xfrm>
              <a:off x="6793426" y="4175954"/>
              <a:ext cx="58856" cy="156519"/>
            </a:xfrm>
            <a:custGeom>
              <a:avLst/>
              <a:gdLst/>
              <a:ahLst/>
              <a:cxnLst/>
              <a:rect l="l" t="t" r="r" b="b"/>
              <a:pathLst>
                <a:path w="2099" h="5582" extrusionOk="0">
                  <a:moveTo>
                    <a:pt x="0" y="0"/>
                  </a:moveTo>
                  <a:lnTo>
                    <a:pt x="0" y="444"/>
                  </a:lnTo>
                  <a:cubicBezTo>
                    <a:pt x="310" y="559"/>
                    <a:pt x="888" y="730"/>
                    <a:pt x="1327" y="730"/>
                  </a:cubicBezTo>
                  <a:cubicBezTo>
                    <a:pt x="1599" y="1557"/>
                    <a:pt x="1539" y="4561"/>
                    <a:pt x="1521" y="5582"/>
                  </a:cubicBezTo>
                  <a:cubicBezTo>
                    <a:pt x="1673" y="5563"/>
                    <a:pt x="1770" y="5526"/>
                    <a:pt x="1770" y="5526"/>
                  </a:cubicBezTo>
                  <a:cubicBezTo>
                    <a:pt x="1770" y="4293"/>
                    <a:pt x="2098" y="2925"/>
                    <a:pt x="2098" y="2001"/>
                  </a:cubicBezTo>
                  <a:cubicBezTo>
                    <a:pt x="2098" y="1502"/>
                    <a:pt x="2080" y="864"/>
                    <a:pt x="2061" y="402"/>
                  </a:cubicBezTo>
                  <a:cubicBezTo>
                    <a:pt x="1465" y="328"/>
                    <a:pt x="772" y="194"/>
                    <a:pt x="0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16" name="Google Shape;916;p39"/>
            <p:cNvSpPr/>
            <p:nvPr/>
          </p:nvSpPr>
          <p:spPr>
            <a:xfrm>
              <a:off x="6917027" y="4171664"/>
              <a:ext cx="79437" cy="161342"/>
            </a:xfrm>
            <a:custGeom>
              <a:avLst/>
              <a:gdLst/>
              <a:ahLst/>
              <a:cxnLst/>
              <a:rect l="l" t="t" r="r" b="b"/>
              <a:pathLst>
                <a:path w="2833" h="5754" extrusionOk="0">
                  <a:moveTo>
                    <a:pt x="1849" y="1"/>
                  </a:moveTo>
                  <a:cubicBezTo>
                    <a:pt x="1655" y="190"/>
                    <a:pt x="1137" y="537"/>
                    <a:pt x="0" y="652"/>
                  </a:cubicBezTo>
                  <a:cubicBezTo>
                    <a:pt x="37" y="943"/>
                    <a:pt x="116" y="1290"/>
                    <a:pt x="213" y="1576"/>
                  </a:cubicBezTo>
                  <a:cubicBezTo>
                    <a:pt x="638" y="2810"/>
                    <a:pt x="906" y="3041"/>
                    <a:pt x="2620" y="5679"/>
                  </a:cubicBezTo>
                  <a:cubicBezTo>
                    <a:pt x="2620" y="5679"/>
                    <a:pt x="2694" y="5716"/>
                    <a:pt x="2833" y="5753"/>
                  </a:cubicBezTo>
                  <a:cubicBezTo>
                    <a:pt x="2833" y="5753"/>
                    <a:pt x="1119" y="2773"/>
                    <a:pt x="499" y="1230"/>
                  </a:cubicBezTo>
                  <a:cubicBezTo>
                    <a:pt x="1040" y="962"/>
                    <a:pt x="1733" y="578"/>
                    <a:pt x="1983" y="440"/>
                  </a:cubicBezTo>
                  <a:lnTo>
                    <a:pt x="1849" y="1"/>
                  </a:ln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17" name="Google Shape;917;p39"/>
            <p:cNvSpPr/>
            <p:nvPr/>
          </p:nvSpPr>
          <p:spPr>
            <a:xfrm>
              <a:off x="6811176" y="4016715"/>
              <a:ext cx="73493" cy="77250"/>
            </a:xfrm>
            <a:custGeom>
              <a:avLst/>
              <a:gdLst/>
              <a:ahLst/>
              <a:cxnLst/>
              <a:rect l="l" t="t" r="r" b="b"/>
              <a:pathLst>
                <a:path w="2621" h="2755" extrusionOk="0">
                  <a:moveTo>
                    <a:pt x="0" y="1"/>
                  </a:moveTo>
                  <a:lnTo>
                    <a:pt x="791" y="1253"/>
                  </a:lnTo>
                  <a:lnTo>
                    <a:pt x="2620" y="275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18" name="Google Shape;918;p39"/>
            <p:cNvSpPr/>
            <p:nvPr/>
          </p:nvSpPr>
          <p:spPr>
            <a:xfrm>
              <a:off x="6782659" y="4108966"/>
              <a:ext cx="62613" cy="35667"/>
            </a:xfrm>
            <a:custGeom>
              <a:avLst/>
              <a:gdLst/>
              <a:ahLst/>
              <a:cxnLst/>
              <a:rect l="l" t="t" r="r" b="b"/>
              <a:pathLst>
                <a:path w="2233" h="1272" extrusionOk="0">
                  <a:moveTo>
                    <a:pt x="1" y="0"/>
                  </a:moveTo>
                  <a:lnTo>
                    <a:pt x="1114" y="827"/>
                  </a:lnTo>
                  <a:lnTo>
                    <a:pt x="2233" y="127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19" name="Google Shape;919;p39"/>
            <p:cNvSpPr/>
            <p:nvPr/>
          </p:nvSpPr>
          <p:spPr>
            <a:xfrm>
              <a:off x="6852254" y="3883917"/>
              <a:ext cx="42116" cy="11300"/>
            </a:xfrm>
            <a:custGeom>
              <a:avLst/>
              <a:gdLst/>
              <a:ahLst/>
              <a:cxnLst/>
              <a:rect l="l" t="t" r="r" b="b"/>
              <a:pathLst>
                <a:path w="1502" h="403" extrusionOk="0">
                  <a:moveTo>
                    <a:pt x="1446" y="0"/>
                  </a:moveTo>
                  <a:lnTo>
                    <a:pt x="37" y="250"/>
                  </a:lnTo>
                  <a:cubicBezTo>
                    <a:pt x="19" y="250"/>
                    <a:pt x="19" y="250"/>
                    <a:pt x="0" y="268"/>
                  </a:cubicBezTo>
                  <a:lnTo>
                    <a:pt x="0" y="287"/>
                  </a:lnTo>
                  <a:lnTo>
                    <a:pt x="19" y="365"/>
                  </a:lnTo>
                  <a:cubicBezTo>
                    <a:pt x="19" y="384"/>
                    <a:pt x="37" y="402"/>
                    <a:pt x="60" y="402"/>
                  </a:cubicBezTo>
                  <a:lnTo>
                    <a:pt x="1483" y="153"/>
                  </a:lnTo>
                  <a:cubicBezTo>
                    <a:pt x="1502" y="134"/>
                    <a:pt x="1502" y="116"/>
                    <a:pt x="1502" y="97"/>
                  </a:cubicBezTo>
                  <a:lnTo>
                    <a:pt x="1483" y="19"/>
                  </a:lnTo>
                  <a:cubicBezTo>
                    <a:pt x="1483" y="0"/>
                    <a:pt x="1465" y="0"/>
                    <a:pt x="1446" y="0"/>
                  </a:cubicBezTo>
                  <a:close/>
                </a:path>
              </a:pathLst>
            </a:custGeom>
            <a:solidFill>
              <a:srgbClr val="91F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0" name="Google Shape;920;p39"/>
            <p:cNvSpPr/>
            <p:nvPr/>
          </p:nvSpPr>
          <p:spPr>
            <a:xfrm>
              <a:off x="6853937" y="3883917"/>
              <a:ext cx="40434" cy="11300"/>
            </a:xfrm>
            <a:custGeom>
              <a:avLst/>
              <a:gdLst/>
              <a:ahLst/>
              <a:cxnLst/>
              <a:rect l="l" t="t" r="r" b="b"/>
              <a:pathLst>
                <a:path w="1442" h="403" extrusionOk="0">
                  <a:moveTo>
                    <a:pt x="1386" y="0"/>
                  </a:moveTo>
                  <a:lnTo>
                    <a:pt x="1211" y="19"/>
                  </a:lnTo>
                  <a:cubicBezTo>
                    <a:pt x="1229" y="74"/>
                    <a:pt x="1192" y="134"/>
                    <a:pt x="1132" y="153"/>
                  </a:cubicBezTo>
                  <a:cubicBezTo>
                    <a:pt x="883" y="213"/>
                    <a:pt x="171" y="365"/>
                    <a:pt x="0" y="402"/>
                  </a:cubicBezTo>
                  <a:lnTo>
                    <a:pt x="1423" y="153"/>
                  </a:lnTo>
                  <a:cubicBezTo>
                    <a:pt x="1442" y="134"/>
                    <a:pt x="1442" y="116"/>
                    <a:pt x="1442" y="97"/>
                  </a:cubicBezTo>
                  <a:lnTo>
                    <a:pt x="1423" y="19"/>
                  </a:lnTo>
                  <a:cubicBezTo>
                    <a:pt x="1423" y="0"/>
                    <a:pt x="1405" y="0"/>
                    <a:pt x="1386" y="0"/>
                  </a:cubicBezTo>
                  <a:close/>
                </a:path>
              </a:pathLst>
            </a:custGeom>
            <a:solidFill>
              <a:srgbClr val="B6F5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1" name="Google Shape;921;p39"/>
            <p:cNvSpPr/>
            <p:nvPr/>
          </p:nvSpPr>
          <p:spPr>
            <a:xfrm>
              <a:off x="6818298" y="3703620"/>
              <a:ext cx="64156" cy="34657"/>
            </a:xfrm>
            <a:custGeom>
              <a:avLst/>
              <a:gdLst/>
              <a:ahLst/>
              <a:cxnLst/>
              <a:rect l="l" t="t" r="r" b="b"/>
              <a:pathLst>
                <a:path w="2288" h="1236" extrusionOk="0">
                  <a:moveTo>
                    <a:pt x="927" y="0"/>
                  </a:moveTo>
                  <a:cubicBezTo>
                    <a:pt x="273" y="0"/>
                    <a:pt x="16" y="579"/>
                    <a:pt x="1" y="595"/>
                  </a:cubicBezTo>
                  <a:cubicBezTo>
                    <a:pt x="18" y="577"/>
                    <a:pt x="317" y="190"/>
                    <a:pt x="1194" y="190"/>
                  </a:cubicBezTo>
                  <a:cubicBezTo>
                    <a:pt x="1237" y="190"/>
                    <a:pt x="1281" y="191"/>
                    <a:pt x="1327" y="193"/>
                  </a:cubicBezTo>
                  <a:cubicBezTo>
                    <a:pt x="1327" y="636"/>
                    <a:pt x="1558" y="789"/>
                    <a:pt x="2001" y="904"/>
                  </a:cubicBezTo>
                  <a:cubicBezTo>
                    <a:pt x="2128" y="957"/>
                    <a:pt x="2254" y="1235"/>
                    <a:pt x="2284" y="1235"/>
                  </a:cubicBezTo>
                  <a:cubicBezTo>
                    <a:pt x="2285" y="1235"/>
                    <a:pt x="2287" y="1234"/>
                    <a:pt x="2288" y="1232"/>
                  </a:cubicBezTo>
                  <a:cubicBezTo>
                    <a:pt x="2251" y="521"/>
                    <a:pt x="1539" y="826"/>
                    <a:pt x="1364" y="77"/>
                  </a:cubicBezTo>
                  <a:cubicBezTo>
                    <a:pt x="1202" y="23"/>
                    <a:pt x="1057" y="0"/>
                    <a:pt x="927" y="0"/>
                  </a:cubicBezTo>
                  <a:close/>
                </a:path>
              </a:pathLst>
            </a:custGeom>
            <a:solidFill>
              <a:srgbClr val="FC96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2" name="Google Shape;922;p39"/>
            <p:cNvSpPr/>
            <p:nvPr/>
          </p:nvSpPr>
          <p:spPr>
            <a:xfrm>
              <a:off x="6857161" y="3719239"/>
              <a:ext cx="18815" cy="10795"/>
            </a:xfrm>
            <a:custGeom>
              <a:avLst/>
              <a:gdLst/>
              <a:ahLst/>
              <a:cxnLst/>
              <a:rect l="l" t="t" r="r" b="b"/>
              <a:pathLst>
                <a:path w="671" h="385" extrusionOk="0">
                  <a:moveTo>
                    <a:pt x="19" y="1"/>
                  </a:moveTo>
                  <a:lnTo>
                    <a:pt x="19" y="1"/>
                  </a:lnTo>
                  <a:cubicBezTo>
                    <a:pt x="1" y="38"/>
                    <a:pt x="19" y="116"/>
                    <a:pt x="75" y="153"/>
                  </a:cubicBezTo>
                  <a:lnTo>
                    <a:pt x="93" y="172"/>
                  </a:lnTo>
                  <a:cubicBezTo>
                    <a:pt x="116" y="195"/>
                    <a:pt x="116" y="195"/>
                    <a:pt x="135" y="195"/>
                  </a:cubicBezTo>
                  <a:lnTo>
                    <a:pt x="153" y="213"/>
                  </a:lnTo>
                  <a:lnTo>
                    <a:pt x="232" y="250"/>
                  </a:lnTo>
                  <a:cubicBezTo>
                    <a:pt x="287" y="269"/>
                    <a:pt x="347" y="287"/>
                    <a:pt x="403" y="310"/>
                  </a:cubicBezTo>
                  <a:cubicBezTo>
                    <a:pt x="518" y="347"/>
                    <a:pt x="537" y="347"/>
                    <a:pt x="652" y="384"/>
                  </a:cubicBezTo>
                  <a:cubicBezTo>
                    <a:pt x="671" y="329"/>
                    <a:pt x="634" y="269"/>
                    <a:pt x="578" y="250"/>
                  </a:cubicBezTo>
                  <a:cubicBezTo>
                    <a:pt x="463" y="213"/>
                    <a:pt x="440" y="213"/>
                    <a:pt x="324" y="172"/>
                  </a:cubicBezTo>
                  <a:lnTo>
                    <a:pt x="250" y="135"/>
                  </a:lnTo>
                  <a:lnTo>
                    <a:pt x="209" y="116"/>
                  </a:lnTo>
                  <a:lnTo>
                    <a:pt x="190" y="116"/>
                  </a:lnTo>
                  <a:lnTo>
                    <a:pt x="172" y="98"/>
                  </a:lnTo>
                  <a:lnTo>
                    <a:pt x="19" y="1"/>
                  </a:lnTo>
                  <a:close/>
                </a:path>
              </a:pathLst>
            </a:custGeom>
            <a:solidFill>
              <a:srgbClr val="77363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3" name="Google Shape;923;p39"/>
            <p:cNvSpPr/>
            <p:nvPr/>
          </p:nvSpPr>
          <p:spPr>
            <a:xfrm>
              <a:off x="6843057" y="3705779"/>
              <a:ext cx="39396" cy="65305"/>
            </a:xfrm>
            <a:custGeom>
              <a:avLst/>
              <a:gdLst/>
              <a:ahLst/>
              <a:cxnLst/>
              <a:rect l="l" t="t" r="r" b="b"/>
              <a:pathLst>
                <a:path w="1405" h="2329" extrusionOk="0">
                  <a:moveTo>
                    <a:pt x="481" y="0"/>
                  </a:moveTo>
                  <a:cubicBezTo>
                    <a:pt x="444" y="171"/>
                    <a:pt x="347" y="906"/>
                    <a:pt x="194" y="1252"/>
                  </a:cubicBezTo>
                  <a:cubicBezTo>
                    <a:pt x="0" y="1636"/>
                    <a:pt x="19" y="2153"/>
                    <a:pt x="194" y="2310"/>
                  </a:cubicBezTo>
                  <a:lnTo>
                    <a:pt x="194" y="2329"/>
                  </a:lnTo>
                  <a:cubicBezTo>
                    <a:pt x="809" y="2116"/>
                    <a:pt x="1021" y="1885"/>
                    <a:pt x="1386" y="1192"/>
                  </a:cubicBezTo>
                  <a:cubicBezTo>
                    <a:pt x="1386" y="1174"/>
                    <a:pt x="1386" y="1174"/>
                    <a:pt x="1405" y="1155"/>
                  </a:cubicBezTo>
                  <a:cubicBezTo>
                    <a:pt x="1368" y="444"/>
                    <a:pt x="656" y="730"/>
                    <a:pt x="481" y="0"/>
                  </a:cubicBezTo>
                  <a:close/>
                </a:path>
              </a:pathLst>
            </a:custGeom>
            <a:solidFill>
              <a:srgbClr val="FC96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4" name="Google Shape;924;p39"/>
            <p:cNvSpPr/>
            <p:nvPr/>
          </p:nvSpPr>
          <p:spPr>
            <a:xfrm>
              <a:off x="6818298" y="3703788"/>
              <a:ext cx="64156" cy="34405"/>
            </a:xfrm>
            <a:custGeom>
              <a:avLst/>
              <a:gdLst/>
              <a:ahLst/>
              <a:cxnLst/>
              <a:rect l="l" t="t" r="r" b="b"/>
              <a:pathLst>
                <a:path w="2288" h="1227" extrusionOk="0">
                  <a:moveTo>
                    <a:pt x="939" y="1"/>
                  </a:moveTo>
                  <a:cubicBezTo>
                    <a:pt x="276" y="1"/>
                    <a:pt x="16" y="573"/>
                    <a:pt x="1" y="589"/>
                  </a:cubicBezTo>
                  <a:lnTo>
                    <a:pt x="440" y="1051"/>
                  </a:lnTo>
                  <a:cubicBezTo>
                    <a:pt x="440" y="1051"/>
                    <a:pt x="1692" y="1226"/>
                    <a:pt x="2288" y="1226"/>
                  </a:cubicBezTo>
                  <a:cubicBezTo>
                    <a:pt x="2232" y="515"/>
                    <a:pt x="1539" y="801"/>
                    <a:pt x="1364" y="71"/>
                  </a:cubicBezTo>
                  <a:cubicBezTo>
                    <a:pt x="1207" y="22"/>
                    <a:pt x="1065" y="1"/>
                    <a:pt x="939" y="1"/>
                  </a:cubicBezTo>
                  <a:close/>
                </a:path>
              </a:pathLst>
            </a:custGeom>
            <a:solidFill>
              <a:srgbClr val="FC96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5" name="Google Shape;925;p39"/>
            <p:cNvSpPr/>
            <p:nvPr/>
          </p:nvSpPr>
          <p:spPr>
            <a:xfrm>
              <a:off x="6818298" y="3696582"/>
              <a:ext cx="65333" cy="41611"/>
            </a:xfrm>
            <a:custGeom>
              <a:avLst/>
              <a:gdLst/>
              <a:ahLst/>
              <a:cxnLst/>
              <a:rect l="l" t="t" r="r" b="b"/>
              <a:pathLst>
                <a:path w="2330" h="1484" extrusionOk="0">
                  <a:moveTo>
                    <a:pt x="1502" y="0"/>
                  </a:moveTo>
                  <a:lnTo>
                    <a:pt x="1133" y="56"/>
                  </a:lnTo>
                  <a:cubicBezTo>
                    <a:pt x="56" y="194"/>
                    <a:pt x="1" y="846"/>
                    <a:pt x="1" y="846"/>
                  </a:cubicBezTo>
                  <a:cubicBezTo>
                    <a:pt x="16" y="830"/>
                    <a:pt x="276" y="258"/>
                    <a:pt x="939" y="258"/>
                  </a:cubicBezTo>
                  <a:cubicBezTo>
                    <a:pt x="1065" y="258"/>
                    <a:pt x="1207" y="279"/>
                    <a:pt x="1364" y="328"/>
                  </a:cubicBezTo>
                  <a:cubicBezTo>
                    <a:pt x="1539" y="1058"/>
                    <a:pt x="2232" y="772"/>
                    <a:pt x="2288" y="1483"/>
                  </a:cubicBezTo>
                  <a:cubicBezTo>
                    <a:pt x="2329" y="1137"/>
                    <a:pt x="2195" y="887"/>
                    <a:pt x="1807" y="656"/>
                  </a:cubicBezTo>
                  <a:cubicBezTo>
                    <a:pt x="1424" y="425"/>
                    <a:pt x="1502" y="0"/>
                    <a:pt x="1502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6" name="Google Shape;926;p39"/>
            <p:cNvSpPr/>
            <p:nvPr/>
          </p:nvSpPr>
          <p:spPr>
            <a:xfrm>
              <a:off x="6816111" y="3679197"/>
              <a:ext cx="54566" cy="40602"/>
            </a:xfrm>
            <a:custGeom>
              <a:avLst/>
              <a:gdLst/>
              <a:ahLst/>
              <a:cxnLst/>
              <a:rect l="l" t="t" r="r" b="b"/>
              <a:pathLst>
                <a:path w="1946" h="1448" extrusionOk="0">
                  <a:moveTo>
                    <a:pt x="1133" y="1"/>
                  </a:moveTo>
                  <a:cubicBezTo>
                    <a:pt x="968" y="1"/>
                    <a:pt x="759" y="33"/>
                    <a:pt x="518" y="140"/>
                  </a:cubicBezTo>
                  <a:cubicBezTo>
                    <a:pt x="134" y="523"/>
                    <a:pt x="0" y="1022"/>
                    <a:pt x="79" y="1447"/>
                  </a:cubicBezTo>
                  <a:cubicBezTo>
                    <a:pt x="79" y="1447"/>
                    <a:pt x="116" y="602"/>
                    <a:pt x="730" y="311"/>
                  </a:cubicBezTo>
                  <a:cubicBezTo>
                    <a:pt x="776" y="297"/>
                    <a:pt x="846" y="289"/>
                    <a:pt x="928" y="289"/>
                  </a:cubicBezTo>
                  <a:cubicBezTo>
                    <a:pt x="1189" y="289"/>
                    <a:pt x="1580" y="370"/>
                    <a:pt x="1770" y="620"/>
                  </a:cubicBezTo>
                  <a:cubicBezTo>
                    <a:pt x="1751" y="523"/>
                    <a:pt x="1617" y="311"/>
                    <a:pt x="1118" y="195"/>
                  </a:cubicBezTo>
                  <a:cubicBezTo>
                    <a:pt x="1483" y="195"/>
                    <a:pt x="1811" y="329"/>
                    <a:pt x="1945" y="583"/>
                  </a:cubicBezTo>
                  <a:cubicBezTo>
                    <a:pt x="1945" y="445"/>
                    <a:pt x="1696" y="237"/>
                    <a:pt x="1539" y="79"/>
                  </a:cubicBezTo>
                  <a:cubicBezTo>
                    <a:pt x="1539" y="79"/>
                    <a:pt x="1389" y="1"/>
                    <a:pt x="1133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927" name="Google Shape;927;p39"/>
          <p:cNvGrpSpPr/>
          <p:nvPr/>
        </p:nvGrpSpPr>
        <p:grpSpPr>
          <a:xfrm>
            <a:off x="3719691" y="4628785"/>
            <a:ext cx="1039915" cy="1288616"/>
            <a:chOff x="-927775" y="3696016"/>
            <a:chExt cx="615528" cy="762736"/>
          </a:xfrm>
        </p:grpSpPr>
        <p:sp>
          <p:nvSpPr>
            <p:cNvPr id="928" name="Google Shape;928;p39"/>
            <p:cNvSpPr/>
            <p:nvPr/>
          </p:nvSpPr>
          <p:spPr>
            <a:xfrm>
              <a:off x="-571653" y="3711051"/>
              <a:ext cx="132396" cy="747701"/>
            </a:xfrm>
            <a:custGeom>
              <a:avLst/>
              <a:gdLst/>
              <a:ahLst/>
              <a:cxnLst/>
              <a:rect l="l" t="t" r="r" b="b"/>
              <a:pathLst>
                <a:path w="1180" h="6664" extrusionOk="0">
                  <a:moveTo>
                    <a:pt x="61" y="1"/>
                  </a:moveTo>
                  <a:cubicBezTo>
                    <a:pt x="61" y="139"/>
                    <a:pt x="61" y="255"/>
                    <a:pt x="80" y="389"/>
                  </a:cubicBezTo>
                  <a:lnTo>
                    <a:pt x="80" y="735"/>
                  </a:lnTo>
                  <a:lnTo>
                    <a:pt x="80" y="925"/>
                  </a:lnTo>
                  <a:cubicBezTo>
                    <a:pt x="98" y="1063"/>
                    <a:pt x="98" y="1197"/>
                    <a:pt x="98" y="1331"/>
                  </a:cubicBezTo>
                  <a:lnTo>
                    <a:pt x="98" y="2450"/>
                  </a:lnTo>
                  <a:cubicBezTo>
                    <a:pt x="116" y="2967"/>
                    <a:pt x="98" y="3466"/>
                    <a:pt x="98" y="3970"/>
                  </a:cubicBezTo>
                  <a:cubicBezTo>
                    <a:pt x="80" y="4644"/>
                    <a:pt x="61" y="5296"/>
                    <a:pt x="43" y="5915"/>
                  </a:cubicBezTo>
                  <a:cubicBezTo>
                    <a:pt x="43" y="6067"/>
                    <a:pt x="24" y="6220"/>
                    <a:pt x="24" y="6354"/>
                  </a:cubicBezTo>
                  <a:lnTo>
                    <a:pt x="24" y="6451"/>
                  </a:lnTo>
                  <a:cubicBezTo>
                    <a:pt x="1" y="6529"/>
                    <a:pt x="1" y="6585"/>
                    <a:pt x="1" y="6663"/>
                  </a:cubicBezTo>
                  <a:lnTo>
                    <a:pt x="870" y="6663"/>
                  </a:lnTo>
                  <a:cubicBezTo>
                    <a:pt x="870" y="6608"/>
                    <a:pt x="888" y="6529"/>
                    <a:pt x="888" y="6469"/>
                  </a:cubicBezTo>
                  <a:lnTo>
                    <a:pt x="888" y="6451"/>
                  </a:lnTo>
                  <a:cubicBezTo>
                    <a:pt x="888" y="6451"/>
                    <a:pt x="888" y="6432"/>
                    <a:pt x="907" y="6432"/>
                  </a:cubicBezTo>
                  <a:lnTo>
                    <a:pt x="907" y="6377"/>
                  </a:lnTo>
                  <a:lnTo>
                    <a:pt x="907" y="6354"/>
                  </a:lnTo>
                  <a:cubicBezTo>
                    <a:pt x="907" y="6317"/>
                    <a:pt x="925" y="6280"/>
                    <a:pt x="925" y="6220"/>
                  </a:cubicBezTo>
                  <a:lnTo>
                    <a:pt x="925" y="6201"/>
                  </a:lnTo>
                  <a:cubicBezTo>
                    <a:pt x="948" y="6123"/>
                    <a:pt x="948" y="6049"/>
                    <a:pt x="967" y="5989"/>
                  </a:cubicBezTo>
                  <a:lnTo>
                    <a:pt x="967" y="5915"/>
                  </a:lnTo>
                  <a:cubicBezTo>
                    <a:pt x="967" y="5915"/>
                    <a:pt x="967" y="5892"/>
                    <a:pt x="985" y="5892"/>
                  </a:cubicBezTo>
                  <a:cubicBezTo>
                    <a:pt x="1004" y="5721"/>
                    <a:pt x="1022" y="5527"/>
                    <a:pt x="1041" y="5356"/>
                  </a:cubicBezTo>
                  <a:lnTo>
                    <a:pt x="1041" y="5314"/>
                  </a:lnTo>
                  <a:cubicBezTo>
                    <a:pt x="1041" y="5259"/>
                    <a:pt x="1064" y="5222"/>
                    <a:pt x="1064" y="5162"/>
                  </a:cubicBezTo>
                  <a:lnTo>
                    <a:pt x="1064" y="5106"/>
                  </a:lnTo>
                  <a:cubicBezTo>
                    <a:pt x="1064" y="5065"/>
                    <a:pt x="1082" y="5009"/>
                    <a:pt x="1082" y="4968"/>
                  </a:cubicBezTo>
                  <a:lnTo>
                    <a:pt x="1082" y="4894"/>
                  </a:lnTo>
                  <a:cubicBezTo>
                    <a:pt x="1082" y="4852"/>
                    <a:pt x="1101" y="4797"/>
                    <a:pt x="1101" y="4760"/>
                  </a:cubicBezTo>
                  <a:lnTo>
                    <a:pt x="1101" y="4566"/>
                  </a:lnTo>
                  <a:cubicBezTo>
                    <a:pt x="1119" y="4506"/>
                    <a:pt x="1119" y="4450"/>
                    <a:pt x="1119" y="4390"/>
                  </a:cubicBezTo>
                  <a:lnTo>
                    <a:pt x="1119" y="4353"/>
                  </a:lnTo>
                  <a:cubicBezTo>
                    <a:pt x="1119" y="4298"/>
                    <a:pt x="1138" y="4256"/>
                    <a:pt x="1138" y="4219"/>
                  </a:cubicBezTo>
                  <a:lnTo>
                    <a:pt x="1138" y="4201"/>
                  </a:lnTo>
                  <a:lnTo>
                    <a:pt x="1138" y="4122"/>
                  </a:lnTo>
                  <a:lnTo>
                    <a:pt x="1138" y="4104"/>
                  </a:lnTo>
                  <a:lnTo>
                    <a:pt x="1138" y="3988"/>
                  </a:lnTo>
                  <a:lnTo>
                    <a:pt x="1138" y="3970"/>
                  </a:lnTo>
                  <a:cubicBezTo>
                    <a:pt x="1156" y="3854"/>
                    <a:pt x="1156" y="3720"/>
                    <a:pt x="1156" y="3582"/>
                  </a:cubicBezTo>
                  <a:lnTo>
                    <a:pt x="1156" y="3563"/>
                  </a:lnTo>
                  <a:lnTo>
                    <a:pt x="1156" y="3392"/>
                  </a:lnTo>
                  <a:lnTo>
                    <a:pt x="1156" y="3351"/>
                  </a:lnTo>
                  <a:cubicBezTo>
                    <a:pt x="1156" y="3295"/>
                    <a:pt x="1179" y="3235"/>
                    <a:pt x="1179" y="3180"/>
                  </a:cubicBezTo>
                  <a:lnTo>
                    <a:pt x="1179" y="3161"/>
                  </a:lnTo>
                  <a:lnTo>
                    <a:pt x="1179" y="2967"/>
                  </a:lnTo>
                  <a:lnTo>
                    <a:pt x="1179" y="2930"/>
                  </a:lnTo>
                  <a:cubicBezTo>
                    <a:pt x="1179" y="2426"/>
                    <a:pt x="1156" y="1927"/>
                    <a:pt x="1138" y="1410"/>
                  </a:cubicBezTo>
                  <a:lnTo>
                    <a:pt x="1138" y="1294"/>
                  </a:lnTo>
                  <a:cubicBezTo>
                    <a:pt x="1138" y="1253"/>
                    <a:pt x="1119" y="1216"/>
                    <a:pt x="1119" y="1179"/>
                  </a:cubicBezTo>
                  <a:lnTo>
                    <a:pt x="1119" y="1082"/>
                  </a:lnTo>
                  <a:lnTo>
                    <a:pt x="1119" y="925"/>
                  </a:lnTo>
                  <a:cubicBezTo>
                    <a:pt x="1101" y="906"/>
                    <a:pt x="1101" y="888"/>
                    <a:pt x="1101" y="888"/>
                  </a:cubicBezTo>
                  <a:lnTo>
                    <a:pt x="1101" y="754"/>
                  </a:lnTo>
                  <a:cubicBezTo>
                    <a:pt x="1101" y="657"/>
                    <a:pt x="1082" y="560"/>
                    <a:pt x="1082" y="463"/>
                  </a:cubicBezTo>
                  <a:cubicBezTo>
                    <a:pt x="1082" y="444"/>
                    <a:pt x="1064" y="407"/>
                    <a:pt x="1064" y="389"/>
                  </a:cubicBezTo>
                  <a:lnTo>
                    <a:pt x="1064" y="347"/>
                  </a:lnTo>
                  <a:lnTo>
                    <a:pt x="1064" y="255"/>
                  </a:lnTo>
                  <a:lnTo>
                    <a:pt x="1064" y="213"/>
                  </a:lnTo>
                  <a:cubicBezTo>
                    <a:pt x="1041" y="158"/>
                    <a:pt x="1041" y="79"/>
                    <a:pt x="1041" y="1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9" name="Google Shape;929;p39"/>
            <p:cNvSpPr/>
            <p:nvPr/>
          </p:nvSpPr>
          <p:spPr>
            <a:xfrm>
              <a:off x="-927775" y="3711051"/>
              <a:ext cx="164485" cy="747701"/>
            </a:xfrm>
            <a:custGeom>
              <a:avLst/>
              <a:gdLst/>
              <a:ahLst/>
              <a:cxnLst/>
              <a:rect l="l" t="t" r="r" b="b"/>
              <a:pathLst>
                <a:path w="1466" h="6664" extrusionOk="0">
                  <a:moveTo>
                    <a:pt x="426" y="1"/>
                  </a:moveTo>
                  <a:cubicBezTo>
                    <a:pt x="366" y="1"/>
                    <a:pt x="310" y="42"/>
                    <a:pt x="310" y="116"/>
                  </a:cubicBezTo>
                  <a:cubicBezTo>
                    <a:pt x="269" y="389"/>
                    <a:pt x="232" y="657"/>
                    <a:pt x="195" y="925"/>
                  </a:cubicBezTo>
                  <a:cubicBezTo>
                    <a:pt x="195" y="1003"/>
                    <a:pt x="172" y="1082"/>
                    <a:pt x="172" y="1156"/>
                  </a:cubicBezTo>
                  <a:cubicBezTo>
                    <a:pt x="1" y="2815"/>
                    <a:pt x="98" y="4413"/>
                    <a:pt x="426" y="5892"/>
                  </a:cubicBezTo>
                  <a:cubicBezTo>
                    <a:pt x="444" y="6049"/>
                    <a:pt x="481" y="6183"/>
                    <a:pt x="518" y="6335"/>
                  </a:cubicBezTo>
                  <a:cubicBezTo>
                    <a:pt x="518" y="6335"/>
                    <a:pt x="518" y="6354"/>
                    <a:pt x="541" y="6354"/>
                  </a:cubicBezTo>
                  <a:lnTo>
                    <a:pt x="541" y="6432"/>
                  </a:lnTo>
                  <a:cubicBezTo>
                    <a:pt x="560" y="6469"/>
                    <a:pt x="578" y="6529"/>
                    <a:pt x="578" y="6566"/>
                  </a:cubicBezTo>
                  <a:cubicBezTo>
                    <a:pt x="597" y="6626"/>
                    <a:pt x="657" y="6663"/>
                    <a:pt x="712" y="6663"/>
                  </a:cubicBezTo>
                  <a:lnTo>
                    <a:pt x="1465" y="6663"/>
                  </a:lnTo>
                  <a:cubicBezTo>
                    <a:pt x="1465" y="6585"/>
                    <a:pt x="1442" y="6529"/>
                    <a:pt x="1424" y="6451"/>
                  </a:cubicBezTo>
                  <a:lnTo>
                    <a:pt x="1424" y="6354"/>
                  </a:lnTo>
                  <a:lnTo>
                    <a:pt x="1405" y="6335"/>
                  </a:lnTo>
                  <a:cubicBezTo>
                    <a:pt x="1387" y="6183"/>
                    <a:pt x="1368" y="6049"/>
                    <a:pt x="1350" y="5892"/>
                  </a:cubicBezTo>
                  <a:cubicBezTo>
                    <a:pt x="1156" y="4432"/>
                    <a:pt x="1096" y="2851"/>
                    <a:pt x="1193" y="1216"/>
                  </a:cubicBezTo>
                  <a:cubicBezTo>
                    <a:pt x="1211" y="1119"/>
                    <a:pt x="1211" y="1022"/>
                    <a:pt x="1211" y="925"/>
                  </a:cubicBezTo>
                  <a:cubicBezTo>
                    <a:pt x="1234" y="620"/>
                    <a:pt x="1271" y="310"/>
                    <a:pt x="1290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0" name="Google Shape;930;p39"/>
            <p:cNvSpPr/>
            <p:nvPr/>
          </p:nvSpPr>
          <p:spPr>
            <a:xfrm>
              <a:off x="-809068" y="3711051"/>
              <a:ext cx="142718" cy="747701"/>
            </a:xfrm>
            <a:custGeom>
              <a:avLst/>
              <a:gdLst/>
              <a:ahLst/>
              <a:cxnLst/>
              <a:rect l="l" t="t" r="r" b="b"/>
              <a:pathLst>
                <a:path w="1272" h="6664" extrusionOk="0">
                  <a:moveTo>
                    <a:pt x="232" y="1"/>
                  </a:moveTo>
                  <a:cubicBezTo>
                    <a:pt x="1" y="2389"/>
                    <a:pt x="79" y="4663"/>
                    <a:pt x="407" y="6663"/>
                  </a:cubicBezTo>
                  <a:lnTo>
                    <a:pt x="1271" y="6663"/>
                  </a:lnTo>
                  <a:cubicBezTo>
                    <a:pt x="1156" y="4663"/>
                    <a:pt x="1137" y="2389"/>
                    <a:pt x="1216" y="1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1" name="Google Shape;931;p39"/>
            <p:cNvSpPr/>
            <p:nvPr/>
          </p:nvSpPr>
          <p:spPr>
            <a:xfrm>
              <a:off x="-679477" y="3711051"/>
              <a:ext cx="120952" cy="747701"/>
            </a:xfrm>
            <a:custGeom>
              <a:avLst/>
              <a:gdLst/>
              <a:ahLst/>
              <a:cxnLst/>
              <a:rect l="l" t="t" r="r" b="b"/>
              <a:pathLst>
                <a:path w="1078" h="6664" extrusionOk="0">
                  <a:moveTo>
                    <a:pt x="61" y="1"/>
                  </a:moveTo>
                  <a:cubicBezTo>
                    <a:pt x="38" y="139"/>
                    <a:pt x="38" y="255"/>
                    <a:pt x="38" y="389"/>
                  </a:cubicBezTo>
                  <a:lnTo>
                    <a:pt x="38" y="717"/>
                  </a:lnTo>
                  <a:cubicBezTo>
                    <a:pt x="19" y="791"/>
                    <a:pt x="19" y="851"/>
                    <a:pt x="19" y="925"/>
                  </a:cubicBezTo>
                  <a:lnTo>
                    <a:pt x="19" y="1271"/>
                  </a:lnTo>
                  <a:cubicBezTo>
                    <a:pt x="1" y="1715"/>
                    <a:pt x="1" y="2158"/>
                    <a:pt x="1" y="2602"/>
                  </a:cubicBezTo>
                  <a:cubicBezTo>
                    <a:pt x="1" y="3119"/>
                    <a:pt x="1" y="3623"/>
                    <a:pt x="19" y="4104"/>
                  </a:cubicBezTo>
                  <a:cubicBezTo>
                    <a:pt x="19" y="4737"/>
                    <a:pt x="38" y="5337"/>
                    <a:pt x="79" y="5915"/>
                  </a:cubicBezTo>
                  <a:cubicBezTo>
                    <a:pt x="79" y="6067"/>
                    <a:pt x="79" y="6220"/>
                    <a:pt x="98" y="6354"/>
                  </a:cubicBezTo>
                  <a:cubicBezTo>
                    <a:pt x="98" y="6469"/>
                    <a:pt x="98" y="6566"/>
                    <a:pt x="116" y="6663"/>
                  </a:cubicBezTo>
                  <a:lnTo>
                    <a:pt x="962" y="6663"/>
                  </a:lnTo>
                  <a:cubicBezTo>
                    <a:pt x="962" y="6585"/>
                    <a:pt x="962" y="6529"/>
                    <a:pt x="985" y="6451"/>
                  </a:cubicBezTo>
                  <a:lnTo>
                    <a:pt x="985" y="6354"/>
                  </a:lnTo>
                  <a:cubicBezTo>
                    <a:pt x="985" y="6220"/>
                    <a:pt x="1004" y="6067"/>
                    <a:pt x="1004" y="5915"/>
                  </a:cubicBezTo>
                  <a:cubicBezTo>
                    <a:pt x="1022" y="5296"/>
                    <a:pt x="1041" y="4644"/>
                    <a:pt x="1059" y="3970"/>
                  </a:cubicBezTo>
                  <a:cubicBezTo>
                    <a:pt x="1059" y="3466"/>
                    <a:pt x="1077" y="2967"/>
                    <a:pt x="1059" y="2450"/>
                  </a:cubicBezTo>
                  <a:lnTo>
                    <a:pt x="1059" y="1331"/>
                  </a:lnTo>
                  <a:cubicBezTo>
                    <a:pt x="1059" y="1197"/>
                    <a:pt x="1059" y="1063"/>
                    <a:pt x="1041" y="925"/>
                  </a:cubicBezTo>
                  <a:lnTo>
                    <a:pt x="1041" y="735"/>
                  </a:lnTo>
                  <a:lnTo>
                    <a:pt x="1041" y="389"/>
                  </a:lnTo>
                  <a:cubicBezTo>
                    <a:pt x="1022" y="255"/>
                    <a:pt x="1022" y="139"/>
                    <a:pt x="1022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2" name="Google Shape;932;p39"/>
            <p:cNvSpPr/>
            <p:nvPr/>
          </p:nvSpPr>
          <p:spPr>
            <a:xfrm>
              <a:off x="-571653" y="3711051"/>
              <a:ext cx="19859" cy="747701"/>
            </a:xfrm>
            <a:custGeom>
              <a:avLst/>
              <a:gdLst/>
              <a:ahLst/>
              <a:cxnLst/>
              <a:rect l="l" t="t" r="r" b="b"/>
              <a:pathLst>
                <a:path w="177" h="6664" extrusionOk="0">
                  <a:moveTo>
                    <a:pt x="61" y="1"/>
                  </a:moveTo>
                  <a:cubicBezTo>
                    <a:pt x="61" y="139"/>
                    <a:pt x="61" y="255"/>
                    <a:pt x="80" y="389"/>
                  </a:cubicBezTo>
                  <a:lnTo>
                    <a:pt x="80" y="735"/>
                  </a:lnTo>
                  <a:lnTo>
                    <a:pt x="80" y="925"/>
                  </a:lnTo>
                  <a:cubicBezTo>
                    <a:pt x="98" y="1063"/>
                    <a:pt x="98" y="1197"/>
                    <a:pt x="98" y="1331"/>
                  </a:cubicBezTo>
                  <a:lnTo>
                    <a:pt x="98" y="2450"/>
                  </a:lnTo>
                  <a:cubicBezTo>
                    <a:pt x="116" y="2967"/>
                    <a:pt x="98" y="3466"/>
                    <a:pt x="98" y="3970"/>
                  </a:cubicBezTo>
                  <a:cubicBezTo>
                    <a:pt x="80" y="4644"/>
                    <a:pt x="61" y="5296"/>
                    <a:pt x="43" y="5915"/>
                  </a:cubicBezTo>
                  <a:cubicBezTo>
                    <a:pt x="43" y="6067"/>
                    <a:pt x="24" y="6220"/>
                    <a:pt x="24" y="6354"/>
                  </a:cubicBezTo>
                  <a:lnTo>
                    <a:pt x="24" y="6451"/>
                  </a:lnTo>
                  <a:cubicBezTo>
                    <a:pt x="1" y="6529"/>
                    <a:pt x="1" y="6585"/>
                    <a:pt x="1" y="6663"/>
                  </a:cubicBezTo>
                  <a:lnTo>
                    <a:pt x="80" y="6663"/>
                  </a:lnTo>
                  <a:cubicBezTo>
                    <a:pt x="80" y="6566"/>
                    <a:pt x="80" y="6469"/>
                    <a:pt x="98" y="6354"/>
                  </a:cubicBezTo>
                  <a:cubicBezTo>
                    <a:pt x="98" y="6220"/>
                    <a:pt x="98" y="6067"/>
                    <a:pt x="116" y="5915"/>
                  </a:cubicBezTo>
                  <a:cubicBezTo>
                    <a:pt x="116" y="5776"/>
                    <a:pt x="116" y="5642"/>
                    <a:pt x="140" y="5490"/>
                  </a:cubicBezTo>
                  <a:cubicBezTo>
                    <a:pt x="158" y="4991"/>
                    <a:pt x="158" y="4487"/>
                    <a:pt x="177" y="3970"/>
                  </a:cubicBezTo>
                  <a:lnTo>
                    <a:pt x="177" y="2450"/>
                  </a:lnTo>
                  <a:lnTo>
                    <a:pt x="177" y="1350"/>
                  </a:lnTo>
                  <a:cubicBezTo>
                    <a:pt x="177" y="1197"/>
                    <a:pt x="158" y="1063"/>
                    <a:pt x="158" y="925"/>
                  </a:cubicBezTo>
                  <a:lnTo>
                    <a:pt x="158" y="735"/>
                  </a:lnTo>
                  <a:cubicBezTo>
                    <a:pt x="158" y="620"/>
                    <a:pt x="158" y="504"/>
                    <a:pt x="140" y="389"/>
                  </a:cubicBezTo>
                  <a:lnTo>
                    <a:pt x="140" y="1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3" name="Google Shape;933;p39"/>
            <p:cNvSpPr/>
            <p:nvPr/>
          </p:nvSpPr>
          <p:spPr>
            <a:xfrm>
              <a:off x="-474151" y="3711051"/>
              <a:ext cx="161905" cy="747701"/>
            </a:xfrm>
            <a:custGeom>
              <a:avLst/>
              <a:gdLst/>
              <a:ahLst/>
              <a:cxnLst/>
              <a:rect l="l" t="t" r="r" b="b"/>
              <a:pathLst>
                <a:path w="1443" h="6664" extrusionOk="0">
                  <a:moveTo>
                    <a:pt x="172" y="1"/>
                  </a:moveTo>
                  <a:cubicBezTo>
                    <a:pt x="172" y="79"/>
                    <a:pt x="172" y="158"/>
                    <a:pt x="195" y="213"/>
                  </a:cubicBezTo>
                  <a:lnTo>
                    <a:pt x="195" y="255"/>
                  </a:lnTo>
                  <a:lnTo>
                    <a:pt x="195" y="389"/>
                  </a:lnTo>
                  <a:cubicBezTo>
                    <a:pt x="195" y="407"/>
                    <a:pt x="213" y="444"/>
                    <a:pt x="213" y="463"/>
                  </a:cubicBezTo>
                  <a:lnTo>
                    <a:pt x="213" y="638"/>
                  </a:lnTo>
                  <a:cubicBezTo>
                    <a:pt x="232" y="675"/>
                    <a:pt x="232" y="717"/>
                    <a:pt x="232" y="754"/>
                  </a:cubicBezTo>
                  <a:cubicBezTo>
                    <a:pt x="232" y="809"/>
                    <a:pt x="232" y="869"/>
                    <a:pt x="250" y="925"/>
                  </a:cubicBezTo>
                  <a:lnTo>
                    <a:pt x="250" y="1082"/>
                  </a:lnTo>
                  <a:lnTo>
                    <a:pt x="250" y="1179"/>
                  </a:lnTo>
                  <a:lnTo>
                    <a:pt x="250" y="1234"/>
                  </a:lnTo>
                  <a:cubicBezTo>
                    <a:pt x="269" y="1253"/>
                    <a:pt x="269" y="1271"/>
                    <a:pt x="269" y="1294"/>
                  </a:cubicBezTo>
                  <a:lnTo>
                    <a:pt x="269" y="1387"/>
                  </a:lnTo>
                  <a:lnTo>
                    <a:pt x="269" y="1410"/>
                  </a:lnTo>
                  <a:cubicBezTo>
                    <a:pt x="287" y="1927"/>
                    <a:pt x="310" y="2426"/>
                    <a:pt x="310" y="2930"/>
                  </a:cubicBezTo>
                  <a:lnTo>
                    <a:pt x="310" y="2967"/>
                  </a:lnTo>
                  <a:lnTo>
                    <a:pt x="310" y="3161"/>
                  </a:lnTo>
                  <a:lnTo>
                    <a:pt x="310" y="3180"/>
                  </a:lnTo>
                  <a:cubicBezTo>
                    <a:pt x="310" y="3235"/>
                    <a:pt x="287" y="3295"/>
                    <a:pt x="287" y="3351"/>
                  </a:cubicBezTo>
                  <a:lnTo>
                    <a:pt x="287" y="3392"/>
                  </a:lnTo>
                  <a:lnTo>
                    <a:pt x="287" y="3563"/>
                  </a:lnTo>
                  <a:lnTo>
                    <a:pt x="287" y="3582"/>
                  </a:lnTo>
                  <a:cubicBezTo>
                    <a:pt x="287" y="3720"/>
                    <a:pt x="287" y="3854"/>
                    <a:pt x="269" y="3970"/>
                  </a:cubicBezTo>
                  <a:lnTo>
                    <a:pt x="269" y="3988"/>
                  </a:lnTo>
                  <a:lnTo>
                    <a:pt x="269" y="4122"/>
                  </a:lnTo>
                  <a:lnTo>
                    <a:pt x="269" y="4201"/>
                  </a:lnTo>
                  <a:lnTo>
                    <a:pt x="269" y="4219"/>
                  </a:lnTo>
                  <a:cubicBezTo>
                    <a:pt x="269" y="4256"/>
                    <a:pt x="250" y="4298"/>
                    <a:pt x="250" y="4353"/>
                  </a:cubicBezTo>
                  <a:lnTo>
                    <a:pt x="250" y="4390"/>
                  </a:lnTo>
                  <a:cubicBezTo>
                    <a:pt x="250" y="4450"/>
                    <a:pt x="250" y="4506"/>
                    <a:pt x="232" y="4566"/>
                  </a:cubicBezTo>
                  <a:cubicBezTo>
                    <a:pt x="232" y="4681"/>
                    <a:pt x="232" y="4797"/>
                    <a:pt x="213" y="4894"/>
                  </a:cubicBezTo>
                  <a:lnTo>
                    <a:pt x="213" y="4968"/>
                  </a:lnTo>
                  <a:cubicBezTo>
                    <a:pt x="213" y="5009"/>
                    <a:pt x="195" y="5065"/>
                    <a:pt x="195" y="5106"/>
                  </a:cubicBezTo>
                  <a:lnTo>
                    <a:pt x="195" y="5162"/>
                  </a:lnTo>
                  <a:cubicBezTo>
                    <a:pt x="195" y="5222"/>
                    <a:pt x="172" y="5259"/>
                    <a:pt x="172" y="5314"/>
                  </a:cubicBezTo>
                  <a:lnTo>
                    <a:pt x="172" y="5356"/>
                  </a:lnTo>
                  <a:cubicBezTo>
                    <a:pt x="153" y="5527"/>
                    <a:pt x="135" y="5721"/>
                    <a:pt x="116" y="5892"/>
                  </a:cubicBezTo>
                  <a:cubicBezTo>
                    <a:pt x="98" y="5892"/>
                    <a:pt x="98" y="5915"/>
                    <a:pt x="98" y="5915"/>
                  </a:cubicBezTo>
                  <a:lnTo>
                    <a:pt x="98" y="5989"/>
                  </a:lnTo>
                  <a:cubicBezTo>
                    <a:pt x="79" y="6049"/>
                    <a:pt x="79" y="6123"/>
                    <a:pt x="56" y="6201"/>
                  </a:cubicBezTo>
                  <a:lnTo>
                    <a:pt x="56" y="6220"/>
                  </a:lnTo>
                  <a:cubicBezTo>
                    <a:pt x="56" y="6261"/>
                    <a:pt x="56" y="6298"/>
                    <a:pt x="38" y="6335"/>
                  </a:cubicBezTo>
                  <a:lnTo>
                    <a:pt x="38" y="6354"/>
                  </a:lnTo>
                  <a:lnTo>
                    <a:pt x="38" y="6377"/>
                  </a:lnTo>
                  <a:lnTo>
                    <a:pt x="38" y="6432"/>
                  </a:lnTo>
                  <a:cubicBezTo>
                    <a:pt x="19" y="6432"/>
                    <a:pt x="19" y="6451"/>
                    <a:pt x="19" y="6451"/>
                  </a:cubicBezTo>
                  <a:lnTo>
                    <a:pt x="19" y="6469"/>
                  </a:lnTo>
                  <a:cubicBezTo>
                    <a:pt x="19" y="6529"/>
                    <a:pt x="1" y="6608"/>
                    <a:pt x="1" y="6663"/>
                  </a:cubicBezTo>
                  <a:lnTo>
                    <a:pt x="749" y="6663"/>
                  </a:lnTo>
                  <a:cubicBezTo>
                    <a:pt x="809" y="6663"/>
                    <a:pt x="865" y="6626"/>
                    <a:pt x="865" y="6566"/>
                  </a:cubicBezTo>
                  <a:cubicBezTo>
                    <a:pt x="888" y="6548"/>
                    <a:pt x="888" y="6548"/>
                    <a:pt x="888" y="6529"/>
                  </a:cubicBezTo>
                  <a:cubicBezTo>
                    <a:pt x="906" y="6469"/>
                    <a:pt x="906" y="6414"/>
                    <a:pt x="925" y="6354"/>
                  </a:cubicBezTo>
                  <a:cubicBezTo>
                    <a:pt x="925" y="6354"/>
                    <a:pt x="925" y="6335"/>
                    <a:pt x="943" y="6335"/>
                  </a:cubicBezTo>
                  <a:cubicBezTo>
                    <a:pt x="962" y="6201"/>
                    <a:pt x="1003" y="6067"/>
                    <a:pt x="1040" y="5915"/>
                  </a:cubicBezTo>
                  <a:lnTo>
                    <a:pt x="1040" y="5892"/>
                  </a:lnTo>
                  <a:cubicBezTo>
                    <a:pt x="1350" y="4506"/>
                    <a:pt x="1442" y="3027"/>
                    <a:pt x="1308" y="1465"/>
                  </a:cubicBezTo>
                  <a:cubicBezTo>
                    <a:pt x="1308" y="1294"/>
                    <a:pt x="1290" y="1100"/>
                    <a:pt x="1271" y="925"/>
                  </a:cubicBezTo>
                  <a:cubicBezTo>
                    <a:pt x="1253" y="754"/>
                    <a:pt x="1211" y="560"/>
                    <a:pt x="1193" y="389"/>
                  </a:cubicBezTo>
                  <a:cubicBezTo>
                    <a:pt x="1174" y="292"/>
                    <a:pt x="1174" y="195"/>
                    <a:pt x="1156" y="116"/>
                  </a:cubicBezTo>
                  <a:cubicBezTo>
                    <a:pt x="1137" y="42"/>
                    <a:pt x="1096" y="1"/>
                    <a:pt x="1040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4" name="Google Shape;934;p39"/>
            <p:cNvSpPr/>
            <p:nvPr/>
          </p:nvSpPr>
          <p:spPr>
            <a:xfrm>
              <a:off x="-809068" y="3711051"/>
              <a:ext cx="54080" cy="747701"/>
            </a:xfrm>
            <a:custGeom>
              <a:avLst/>
              <a:gdLst/>
              <a:ahLst/>
              <a:cxnLst/>
              <a:rect l="l" t="t" r="r" b="b"/>
              <a:pathLst>
                <a:path w="482" h="6664" extrusionOk="0">
                  <a:moveTo>
                    <a:pt x="232" y="1"/>
                  </a:moveTo>
                  <a:cubicBezTo>
                    <a:pt x="1" y="2389"/>
                    <a:pt x="79" y="4663"/>
                    <a:pt x="407" y="6663"/>
                  </a:cubicBezTo>
                  <a:lnTo>
                    <a:pt x="481" y="6663"/>
                  </a:lnTo>
                  <a:cubicBezTo>
                    <a:pt x="463" y="6548"/>
                    <a:pt x="444" y="6451"/>
                    <a:pt x="426" y="6335"/>
                  </a:cubicBezTo>
                  <a:cubicBezTo>
                    <a:pt x="407" y="6183"/>
                    <a:pt x="384" y="6049"/>
                    <a:pt x="366" y="5892"/>
                  </a:cubicBezTo>
                  <a:cubicBezTo>
                    <a:pt x="135" y="4085"/>
                    <a:pt x="98" y="2080"/>
                    <a:pt x="310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5" name="Google Shape;935;p39"/>
            <p:cNvSpPr/>
            <p:nvPr/>
          </p:nvSpPr>
          <p:spPr>
            <a:xfrm>
              <a:off x="-681496" y="3711051"/>
              <a:ext cx="19298" cy="747701"/>
            </a:xfrm>
            <a:custGeom>
              <a:avLst/>
              <a:gdLst/>
              <a:ahLst/>
              <a:cxnLst/>
              <a:rect l="l" t="t" r="r" b="b"/>
              <a:pathLst>
                <a:path w="172" h="6664" extrusionOk="0">
                  <a:moveTo>
                    <a:pt x="79" y="1"/>
                  </a:moveTo>
                  <a:cubicBezTo>
                    <a:pt x="0" y="2389"/>
                    <a:pt x="19" y="4663"/>
                    <a:pt x="134" y="6663"/>
                  </a:cubicBezTo>
                  <a:lnTo>
                    <a:pt x="171" y="6663"/>
                  </a:lnTo>
                  <a:cubicBezTo>
                    <a:pt x="56" y="4663"/>
                    <a:pt x="37" y="2389"/>
                    <a:pt x="116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6" name="Google Shape;936;p39"/>
            <p:cNvSpPr/>
            <p:nvPr/>
          </p:nvSpPr>
          <p:spPr>
            <a:xfrm>
              <a:off x="-875939" y="3696016"/>
              <a:ext cx="514437" cy="15147"/>
            </a:xfrm>
            <a:custGeom>
              <a:avLst/>
              <a:gdLst/>
              <a:ahLst/>
              <a:cxnLst/>
              <a:rect l="l" t="t" r="r" b="b"/>
              <a:pathLst>
                <a:path w="4585" h="135" extrusionOk="0">
                  <a:moveTo>
                    <a:pt x="56" y="1"/>
                  </a:moveTo>
                  <a:cubicBezTo>
                    <a:pt x="19" y="1"/>
                    <a:pt x="1" y="42"/>
                    <a:pt x="1" y="79"/>
                  </a:cubicBezTo>
                  <a:lnTo>
                    <a:pt x="1" y="135"/>
                  </a:lnTo>
                  <a:lnTo>
                    <a:pt x="4561" y="135"/>
                  </a:lnTo>
                  <a:lnTo>
                    <a:pt x="4584" y="79"/>
                  </a:lnTo>
                  <a:cubicBezTo>
                    <a:pt x="4584" y="42"/>
                    <a:pt x="4543" y="1"/>
                    <a:pt x="4524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7" name="Google Shape;937;p39"/>
            <p:cNvSpPr/>
            <p:nvPr/>
          </p:nvSpPr>
          <p:spPr>
            <a:xfrm>
              <a:off x="-783149" y="3998843"/>
              <a:ext cx="315394" cy="183559"/>
            </a:xfrm>
            <a:custGeom>
              <a:avLst/>
              <a:gdLst/>
              <a:ahLst/>
              <a:cxnLst/>
              <a:rect l="l" t="t" r="r" b="b"/>
              <a:pathLst>
                <a:path w="2811" h="1636" extrusionOk="0">
                  <a:moveTo>
                    <a:pt x="2524" y="0"/>
                  </a:moveTo>
                  <a:lnTo>
                    <a:pt x="1" y="231"/>
                  </a:lnTo>
                  <a:lnTo>
                    <a:pt x="213" y="1636"/>
                  </a:lnTo>
                  <a:lnTo>
                    <a:pt x="2810" y="1289"/>
                  </a:lnTo>
                  <a:lnTo>
                    <a:pt x="2524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8" name="Google Shape;938;p39"/>
            <p:cNvSpPr/>
            <p:nvPr/>
          </p:nvSpPr>
          <p:spPr>
            <a:xfrm>
              <a:off x="-474151" y="3711051"/>
              <a:ext cx="49929" cy="747701"/>
            </a:xfrm>
            <a:custGeom>
              <a:avLst/>
              <a:gdLst/>
              <a:ahLst/>
              <a:cxnLst/>
              <a:rect l="l" t="t" r="r" b="b"/>
              <a:pathLst>
                <a:path w="445" h="6664" extrusionOk="0">
                  <a:moveTo>
                    <a:pt x="172" y="1"/>
                  </a:moveTo>
                  <a:cubicBezTo>
                    <a:pt x="172" y="79"/>
                    <a:pt x="172" y="158"/>
                    <a:pt x="195" y="213"/>
                  </a:cubicBezTo>
                  <a:lnTo>
                    <a:pt x="195" y="255"/>
                  </a:lnTo>
                  <a:lnTo>
                    <a:pt x="195" y="347"/>
                  </a:lnTo>
                  <a:lnTo>
                    <a:pt x="195" y="389"/>
                  </a:lnTo>
                  <a:cubicBezTo>
                    <a:pt x="195" y="407"/>
                    <a:pt x="213" y="444"/>
                    <a:pt x="213" y="463"/>
                  </a:cubicBezTo>
                  <a:lnTo>
                    <a:pt x="213" y="638"/>
                  </a:lnTo>
                  <a:cubicBezTo>
                    <a:pt x="232" y="675"/>
                    <a:pt x="232" y="717"/>
                    <a:pt x="232" y="754"/>
                  </a:cubicBezTo>
                  <a:lnTo>
                    <a:pt x="232" y="888"/>
                  </a:lnTo>
                  <a:cubicBezTo>
                    <a:pt x="232" y="888"/>
                    <a:pt x="232" y="906"/>
                    <a:pt x="250" y="925"/>
                  </a:cubicBezTo>
                  <a:lnTo>
                    <a:pt x="250" y="1082"/>
                  </a:lnTo>
                  <a:lnTo>
                    <a:pt x="250" y="1234"/>
                  </a:lnTo>
                  <a:cubicBezTo>
                    <a:pt x="269" y="1271"/>
                    <a:pt x="269" y="1331"/>
                    <a:pt x="269" y="1387"/>
                  </a:cubicBezTo>
                  <a:lnTo>
                    <a:pt x="269" y="1410"/>
                  </a:lnTo>
                  <a:cubicBezTo>
                    <a:pt x="287" y="1927"/>
                    <a:pt x="310" y="2426"/>
                    <a:pt x="310" y="2930"/>
                  </a:cubicBezTo>
                  <a:lnTo>
                    <a:pt x="310" y="2967"/>
                  </a:lnTo>
                  <a:lnTo>
                    <a:pt x="310" y="3161"/>
                  </a:lnTo>
                  <a:lnTo>
                    <a:pt x="310" y="3180"/>
                  </a:lnTo>
                  <a:cubicBezTo>
                    <a:pt x="310" y="3235"/>
                    <a:pt x="287" y="3295"/>
                    <a:pt x="287" y="3351"/>
                  </a:cubicBezTo>
                  <a:lnTo>
                    <a:pt x="287" y="3392"/>
                  </a:lnTo>
                  <a:lnTo>
                    <a:pt x="287" y="3563"/>
                  </a:lnTo>
                  <a:lnTo>
                    <a:pt x="287" y="3582"/>
                  </a:lnTo>
                  <a:cubicBezTo>
                    <a:pt x="287" y="3720"/>
                    <a:pt x="287" y="3854"/>
                    <a:pt x="269" y="3970"/>
                  </a:cubicBezTo>
                  <a:lnTo>
                    <a:pt x="269" y="3988"/>
                  </a:lnTo>
                  <a:lnTo>
                    <a:pt x="269" y="4104"/>
                  </a:lnTo>
                  <a:lnTo>
                    <a:pt x="269" y="4122"/>
                  </a:lnTo>
                  <a:lnTo>
                    <a:pt x="269" y="4201"/>
                  </a:lnTo>
                  <a:lnTo>
                    <a:pt x="269" y="4219"/>
                  </a:lnTo>
                  <a:cubicBezTo>
                    <a:pt x="269" y="4256"/>
                    <a:pt x="250" y="4298"/>
                    <a:pt x="250" y="4353"/>
                  </a:cubicBezTo>
                  <a:lnTo>
                    <a:pt x="250" y="4390"/>
                  </a:lnTo>
                  <a:cubicBezTo>
                    <a:pt x="250" y="4450"/>
                    <a:pt x="250" y="4506"/>
                    <a:pt x="232" y="4566"/>
                  </a:cubicBezTo>
                  <a:lnTo>
                    <a:pt x="232" y="4760"/>
                  </a:lnTo>
                  <a:cubicBezTo>
                    <a:pt x="232" y="4797"/>
                    <a:pt x="213" y="4852"/>
                    <a:pt x="213" y="4894"/>
                  </a:cubicBezTo>
                  <a:lnTo>
                    <a:pt x="213" y="4968"/>
                  </a:lnTo>
                  <a:cubicBezTo>
                    <a:pt x="213" y="5009"/>
                    <a:pt x="195" y="5065"/>
                    <a:pt x="195" y="5106"/>
                  </a:cubicBezTo>
                  <a:lnTo>
                    <a:pt x="195" y="5162"/>
                  </a:lnTo>
                  <a:cubicBezTo>
                    <a:pt x="195" y="5222"/>
                    <a:pt x="172" y="5259"/>
                    <a:pt x="172" y="5314"/>
                  </a:cubicBezTo>
                  <a:lnTo>
                    <a:pt x="172" y="5356"/>
                  </a:lnTo>
                  <a:cubicBezTo>
                    <a:pt x="153" y="5527"/>
                    <a:pt x="135" y="5721"/>
                    <a:pt x="116" y="5892"/>
                  </a:cubicBezTo>
                  <a:cubicBezTo>
                    <a:pt x="98" y="5892"/>
                    <a:pt x="98" y="5915"/>
                    <a:pt x="98" y="5915"/>
                  </a:cubicBezTo>
                  <a:lnTo>
                    <a:pt x="98" y="5989"/>
                  </a:lnTo>
                  <a:cubicBezTo>
                    <a:pt x="79" y="6049"/>
                    <a:pt x="79" y="6123"/>
                    <a:pt x="56" y="6201"/>
                  </a:cubicBezTo>
                  <a:lnTo>
                    <a:pt x="56" y="6220"/>
                  </a:lnTo>
                  <a:cubicBezTo>
                    <a:pt x="56" y="6261"/>
                    <a:pt x="56" y="6298"/>
                    <a:pt x="38" y="6335"/>
                  </a:cubicBezTo>
                  <a:lnTo>
                    <a:pt x="38" y="6354"/>
                  </a:lnTo>
                  <a:lnTo>
                    <a:pt x="38" y="6377"/>
                  </a:lnTo>
                  <a:lnTo>
                    <a:pt x="38" y="6432"/>
                  </a:lnTo>
                  <a:cubicBezTo>
                    <a:pt x="19" y="6432"/>
                    <a:pt x="19" y="6451"/>
                    <a:pt x="19" y="6451"/>
                  </a:cubicBezTo>
                  <a:lnTo>
                    <a:pt x="19" y="6469"/>
                  </a:lnTo>
                  <a:cubicBezTo>
                    <a:pt x="19" y="6529"/>
                    <a:pt x="1" y="6608"/>
                    <a:pt x="1" y="6663"/>
                  </a:cubicBezTo>
                  <a:lnTo>
                    <a:pt x="79" y="6663"/>
                  </a:lnTo>
                  <a:cubicBezTo>
                    <a:pt x="98" y="6566"/>
                    <a:pt x="116" y="6469"/>
                    <a:pt x="135" y="6354"/>
                  </a:cubicBezTo>
                  <a:cubicBezTo>
                    <a:pt x="153" y="6220"/>
                    <a:pt x="172" y="6067"/>
                    <a:pt x="195" y="5915"/>
                  </a:cubicBezTo>
                  <a:cubicBezTo>
                    <a:pt x="384" y="4506"/>
                    <a:pt x="444" y="2985"/>
                    <a:pt x="366" y="1410"/>
                  </a:cubicBezTo>
                  <a:cubicBezTo>
                    <a:pt x="347" y="1253"/>
                    <a:pt x="347" y="1082"/>
                    <a:pt x="329" y="925"/>
                  </a:cubicBezTo>
                  <a:lnTo>
                    <a:pt x="329" y="754"/>
                  </a:lnTo>
                  <a:cubicBezTo>
                    <a:pt x="310" y="638"/>
                    <a:pt x="310" y="504"/>
                    <a:pt x="287" y="389"/>
                  </a:cubicBezTo>
                  <a:cubicBezTo>
                    <a:pt x="269" y="255"/>
                    <a:pt x="269" y="139"/>
                    <a:pt x="250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9" name="Google Shape;939;p39"/>
            <p:cNvSpPr/>
            <p:nvPr/>
          </p:nvSpPr>
          <p:spPr>
            <a:xfrm>
              <a:off x="-914760" y="3754584"/>
              <a:ext cx="592079" cy="60251"/>
            </a:xfrm>
            <a:custGeom>
              <a:avLst/>
              <a:gdLst/>
              <a:ahLst/>
              <a:cxnLst/>
              <a:rect l="l" t="t" r="r" b="b"/>
              <a:pathLst>
                <a:path w="5277" h="537" extrusionOk="0">
                  <a:moveTo>
                    <a:pt x="79" y="1"/>
                  </a:moveTo>
                  <a:cubicBezTo>
                    <a:pt x="56" y="56"/>
                    <a:pt x="37" y="116"/>
                    <a:pt x="19" y="190"/>
                  </a:cubicBezTo>
                  <a:cubicBezTo>
                    <a:pt x="19" y="213"/>
                    <a:pt x="0" y="250"/>
                    <a:pt x="0" y="269"/>
                  </a:cubicBezTo>
                  <a:lnTo>
                    <a:pt x="0" y="537"/>
                  </a:lnTo>
                  <a:lnTo>
                    <a:pt x="5277" y="537"/>
                  </a:lnTo>
                  <a:lnTo>
                    <a:pt x="5277" y="421"/>
                  </a:lnTo>
                  <a:lnTo>
                    <a:pt x="5277" y="384"/>
                  </a:lnTo>
                  <a:lnTo>
                    <a:pt x="5277" y="366"/>
                  </a:lnTo>
                  <a:lnTo>
                    <a:pt x="5277" y="329"/>
                  </a:lnTo>
                  <a:lnTo>
                    <a:pt x="5277" y="306"/>
                  </a:lnTo>
                  <a:cubicBezTo>
                    <a:pt x="5277" y="306"/>
                    <a:pt x="5277" y="287"/>
                    <a:pt x="5254" y="269"/>
                  </a:cubicBezTo>
                  <a:lnTo>
                    <a:pt x="5254" y="250"/>
                  </a:lnTo>
                  <a:lnTo>
                    <a:pt x="5254" y="213"/>
                  </a:lnTo>
                  <a:cubicBezTo>
                    <a:pt x="5254" y="190"/>
                    <a:pt x="5254" y="172"/>
                    <a:pt x="5235" y="153"/>
                  </a:cubicBezTo>
                  <a:lnTo>
                    <a:pt x="5235" y="116"/>
                  </a:lnTo>
                  <a:lnTo>
                    <a:pt x="5235" y="98"/>
                  </a:lnTo>
                  <a:cubicBezTo>
                    <a:pt x="5217" y="75"/>
                    <a:pt x="5217" y="56"/>
                    <a:pt x="5217" y="56"/>
                  </a:cubicBezTo>
                  <a:lnTo>
                    <a:pt x="5217" y="38"/>
                  </a:lnTo>
                  <a:cubicBezTo>
                    <a:pt x="5217" y="19"/>
                    <a:pt x="5198" y="19"/>
                    <a:pt x="5198" y="1"/>
                  </a:cubicBez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0" name="Google Shape;940;p39"/>
            <p:cNvSpPr/>
            <p:nvPr/>
          </p:nvSpPr>
          <p:spPr>
            <a:xfrm>
              <a:off x="-888842" y="4374600"/>
              <a:ext cx="537662" cy="49368"/>
            </a:xfrm>
            <a:custGeom>
              <a:avLst/>
              <a:gdLst/>
              <a:ahLst/>
              <a:cxnLst/>
              <a:rect l="l" t="t" r="r" b="b"/>
              <a:pathLst>
                <a:path w="4792" h="440" extrusionOk="0">
                  <a:moveTo>
                    <a:pt x="0" y="1"/>
                  </a:moveTo>
                  <a:cubicBezTo>
                    <a:pt x="0" y="38"/>
                    <a:pt x="0" y="75"/>
                    <a:pt x="19" y="116"/>
                  </a:cubicBezTo>
                  <a:cubicBezTo>
                    <a:pt x="19" y="153"/>
                    <a:pt x="19" y="190"/>
                    <a:pt x="37" y="232"/>
                  </a:cubicBezTo>
                  <a:cubicBezTo>
                    <a:pt x="56" y="306"/>
                    <a:pt x="79" y="384"/>
                    <a:pt x="116" y="440"/>
                  </a:cubicBezTo>
                  <a:lnTo>
                    <a:pt x="4699" y="440"/>
                  </a:lnTo>
                  <a:cubicBezTo>
                    <a:pt x="4755" y="324"/>
                    <a:pt x="4792" y="190"/>
                    <a:pt x="4792" y="75"/>
                  </a:cubicBezTo>
                  <a:lnTo>
                    <a:pt x="4792" y="1"/>
                  </a:ln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1" name="Google Shape;941;p39"/>
            <p:cNvSpPr/>
            <p:nvPr/>
          </p:nvSpPr>
          <p:spPr>
            <a:xfrm>
              <a:off x="-914760" y="3754584"/>
              <a:ext cx="592079" cy="60251"/>
            </a:xfrm>
            <a:custGeom>
              <a:avLst/>
              <a:gdLst/>
              <a:ahLst/>
              <a:cxnLst/>
              <a:rect l="l" t="t" r="r" b="b"/>
              <a:pathLst>
                <a:path w="5277" h="537" extrusionOk="0">
                  <a:moveTo>
                    <a:pt x="4949" y="1"/>
                  </a:moveTo>
                  <a:lnTo>
                    <a:pt x="5023" y="384"/>
                  </a:lnTo>
                  <a:lnTo>
                    <a:pt x="4256" y="366"/>
                  </a:lnTo>
                  <a:lnTo>
                    <a:pt x="3775" y="366"/>
                  </a:lnTo>
                  <a:lnTo>
                    <a:pt x="3216" y="347"/>
                  </a:lnTo>
                  <a:lnTo>
                    <a:pt x="3138" y="347"/>
                  </a:lnTo>
                  <a:lnTo>
                    <a:pt x="2135" y="329"/>
                  </a:lnTo>
                  <a:lnTo>
                    <a:pt x="0" y="269"/>
                  </a:lnTo>
                  <a:lnTo>
                    <a:pt x="0" y="537"/>
                  </a:lnTo>
                  <a:lnTo>
                    <a:pt x="5277" y="537"/>
                  </a:lnTo>
                  <a:lnTo>
                    <a:pt x="5277" y="421"/>
                  </a:lnTo>
                  <a:lnTo>
                    <a:pt x="5277" y="384"/>
                  </a:lnTo>
                  <a:lnTo>
                    <a:pt x="5277" y="366"/>
                  </a:lnTo>
                  <a:lnTo>
                    <a:pt x="5277" y="329"/>
                  </a:lnTo>
                  <a:lnTo>
                    <a:pt x="5277" y="306"/>
                  </a:lnTo>
                  <a:cubicBezTo>
                    <a:pt x="5277" y="306"/>
                    <a:pt x="5277" y="287"/>
                    <a:pt x="5254" y="269"/>
                  </a:cubicBezTo>
                  <a:lnTo>
                    <a:pt x="5254" y="250"/>
                  </a:lnTo>
                  <a:lnTo>
                    <a:pt x="5254" y="213"/>
                  </a:lnTo>
                  <a:cubicBezTo>
                    <a:pt x="5254" y="190"/>
                    <a:pt x="5254" y="172"/>
                    <a:pt x="5235" y="153"/>
                  </a:cubicBezTo>
                  <a:lnTo>
                    <a:pt x="5235" y="98"/>
                  </a:lnTo>
                  <a:cubicBezTo>
                    <a:pt x="5217" y="75"/>
                    <a:pt x="5217" y="56"/>
                    <a:pt x="5217" y="56"/>
                  </a:cubicBezTo>
                  <a:lnTo>
                    <a:pt x="5217" y="38"/>
                  </a:lnTo>
                  <a:cubicBezTo>
                    <a:pt x="5217" y="19"/>
                    <a:pt x="5198" y="19"/>
                    <a:pt x="5198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2" name="Google Shape;942;p39"/>
            <p:cNvSpPr/>
            <p:nvPr/>
          </p:nvSpPr>
          <p:spPr>
            <a:xfrm>
              <a:off x="-884690" y="4374600"/>
              <a:ext cx="533511" cy="49368"/>
            </a:xfrm>
            <a:custGeom>
              <a:avLst/>
              <a:gdLst/>
              <a:ahLst/>
              <a:cxnLst/>
              <a:rect l="l" t="t" r="r" b="b"/>
              <a:pathLst>
                <a:path w="4755" h="440" extrusionOk="0">
                  <a:moveTo>
                    <a:pt x="4487" y="1"/>
                  </a:moveTo>
                  <a:lnTo>
                    <a:pt x="4390" y="306"/>
                  </a:lnTo>
                  <a:lnTo>
                    <a:pt x="0" y="232"/>
                  </a:lnTo>
                  <a:lnTo>
                    <a:pt x="0" y="232"/>
                  </a:lnTo>
                  <a:cubicBezTo>
                    <a:pt x="19" y="306"/>
                    <a:pt x="42" y="384"/>
                    <a:pt x="79" y="440"/>
                  </a:cubicBezTo>
                  <a:lnTo>
                    <a:pt x="4662" y="440"/>
                  </a:lnTo>
                  <a:cubicBezTo>
                    <a:pt x="4718" y="306"/>
                    <a:pt x="4755" y="153"/>
                    <a:pt x="475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3" name="Google Shape;943;p39"/>
            <p:cNvSpPr/>
            <p:nvPr/>
          </p:nvSpPr>
          <p:spPr>
            <a:xfrm>
              <a:off x="-908589" y="3814723"/>
              <a:ext cx="581308" cy="60812"/>
            </a:xfrm>
            <a:custGeom>
              <a:avLst/>
              <a:gdLst/>
              <a:ahLst/>
              <a:cxnLst/>
              <a:rect l="l" t="t" r="r" b="b"/>
              <a:pathLst>
                <a:path w="5181" h="542" extrusionOk="0">
                  <a:moveTo>
                    <a:pt x="24" y="1"/>
                  </a:moveTo>
                  <a:cubicBezTo>
                    <a:pt x="24" y="79"/>
                    <a:pt x="1" y="158"/>
                    <a:pt x="1" y="232"/>
                  </a:cubicBezTo>
                  <a:lnTo>
                    <a:pt x="1022" y="292"/>
                  </a:lnTo>
                  <a:lnTo>
                    <a:pt x="2061" y="347"/>
                  </a:lnTo>
                  <a:lnTo>
                    <a:pt x="3101" y="407"/>
                  </a:lnTo>
                  <a:lnTo>
                    <a:pt x="3180" y="426"/>
                  </a:lnTo>
                  <a:lnTo>
                    <a:pt x="3642" y="444"/>
                  </a:lnTo>
                  <a:lnTo>
                    <a:pt x="4141" y="486"/>
                  </a:lnTo>
                  <a:lnTo>
                    <a:pt x="4238" y="486"/>
                  </a:lnTo>
                  <a:lnTo>
                    <a:pt x="5180" y="541"/>
                  </a:lnTo>
                  <a:cubicBezTo>
                    <a:pt x="5180" y="370"/>
                    <a:pt x="5162" y="176"/>
                    <a:pt x="5143" y="1"/>
                  </a:cubicBezTo>
                  <a:close/>
                </a:path>
              </a:pathLst>
            </a:custGeom>
            <a:solidFill>
              <a:srgbClr val="2B1A18">
                <a:alpha val="638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4" name="Google Shape;944;p39"/>
            <p:cNvSpPr/>
            <p:nvPr/>
          </p:nvSpPr>
          <p:spPr>
            <a:xfrm>
              <a:off x="-867075" y="4423856"/>
              <a:ext cx="496709" cy="19859"/>
            </a:xfrm>
            <a:custGeom>
              <a:avLst/>
              <a:gdLst/>
              <a:ahLst/>
              <a:cxnLst/>
              <a:rect l="l" t="t" r="r" b="b"/>
              <a:pathLst>
                <a:path w="4427" h="177" extrusionOk="0">
                  <a:moveTo>
                    <a:pt x="0" y="1"/>
                  </a:moveTo>
                  <a:lnTo>
                    <a:pt x="0" y="79"/>
                  </a:lnTo>
                  <a:lnTo>
                    <a:pt x="883" y="98"/>
                  </a:lnTo>
                  <a:lnTo>
                    <a:pt x="3521" y="158"/>
                  </a:lnTo>
                  <a:lnTo>
                    <a:pt x="4390" y="176"/>
                  </a:lnTo>
                  <a:cubicBezTo>
                    <a:pt x="4408" y="116"/>
                    <a:pt x="4408" y="61"/>
                    <a:pt x="4427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945" name="Google Shape;945;p39"/>
          <p:cNvGrpSpPr/>
          <p:nvPr/>
        </p:nvGrpSpPr>
        <p:grpSpPr>
          <a:xfrm>
            <a:off x="3800253" y="3884216"/>
            <a:ext cx="598435" cy="744584"/>
            <a:chOff x="-880090" y="3169350"/>
            <a:chExt cx="354215" cy="440722"/>
          </a:xfrm>
        </p:grpSpPr>
        <p:sp>
          <p:nvSpPr>
            <p:cNvPr id="946" name="Google Shape;946;p39"/>
            <p:cNvSpPr/>
            <p:nvPr/>
          </p:nvSpPr>
          <p:spPr>
            <a:xfrm>
              <a:off x="-675325" y="3177653"/>
              <a:ext cx="75847" cy="432419"/>
            </a:xfrm>
            <a:custGeom>
              <a:avLst/>
              <a:gdLst/>
              <a:ahLst/>
              <a:cxnLst/>
              <a:rect l="l" t="t" r="r" b="b"/>
              <a:pathLst>
                <a:path w="676" h="3854" extrusionOk="0">
                  <a:moveTo>
                    <a:pt x="42" y="0"/>
                  </a:moveTo>
                  <a:lnTo>
                    <a:pt x="42" y="213"/>
                  </a:lnTo>
                  <a:lnTo>
                    <a:pt x="42" y="425"/>
                  </a:lnTo>
                  <a:lnTo>
                    <a:pt x="42" y="541"/>
                  </a:lnTo>
                  <a:cubicBezTo>
                    <a:pt x="42" y="619"/>
                    <a:pt x="42" y="693"/>
                    <a:pt x="61" y="772"/>
                  </a:cubicBezTo>
                  <a:lnTo>
                    <a:pt x="61" y="1405"/>
                  </a:lnTo>
                  <a:lnTo>
                    <a:pt x="61" y="2292"/>
                  </a:lnTo>
                  <a:cubicBezTo>
                    <a:pt x="42" y="2675"/>
                    <a:pt x="42" y="3063"/>
                    <a:pt x="24" y="3410"/>
                  </a:cubicBezTo>
                  <a:cubicBezTo>
                    <a:pt x="24" y="3507"/>
                    <a:pt x="1" y="3581"/>
                    <a:pt x="1" y="3678"/>
                  </a:cubicBezTo>
                  <a:lnTo>
                    <a:pt x="1" y="3715"/>
                  </a:lnTo>
                  <a:lnTo>
                    <a:pt x="1" y="3854"/>
                  </a:lnTo>
                  <a:lnTo>
                    <a:pt x="486" y="3854"/>
                  </a:lnTo>
                  <a:cubicBezTo>
                    <a:pt x="504" y="3812"/>
                    <a:pt x="504" y="3775"/>
                    <a:pt x="504" y="3738"/>
                  </a:cubicBezTo>
                  <a:lnTo>
                    <a:pt x="523" y="3715"/>
                  </a:lnTo>
                  <a:lnTo>
                    <a:pt x="523" y="3678"/>
                  </a:lnTo>
                  <a:cubicBezTo>
                    <a:pt x="523" y="3641"/>
                    <a:pt x="523" y="3623"/>
                    <a:pt x="541" y="3599"/>
                  </a:cubicBezTo>
                  <a:lnTo>
                    <a:pt x="541" y="3581"/>
                  </a:lnTo>
                  <a:cubicBezTo>
                    <a:pt x="541" y="3544"/>
                    <a:pt x="541" y="3484"/>
                    <a:pt x="560" y="3447"/>
                  </a:cubicBezTo>
                  <a:lnTo>
                    <a:pt x="560" y="3410"/>
                  </a:lnTo>
                  <a:cubicBezTo>
                    <a:pt x="578" y="3295"/>
                    <a:pt x="578" y="3197"/>
                    <a:pt x="602" y="3082"/>
                  </a:cubicBezTo>
                  <a:lnTo>
                    <a:pt x="602" y="3063"/>
                  </a:lnTo>
                  <a:lnTo>
                    <a:pt x="602" y="2985"/>
                  </a:lnTo>
                  <a:cubicBezTo>
                    <a:pt x="602" y="2966"/>
                    <a:pt x="620" y="2966"/>
                    <a:pt x="620" y="2948"/>
                  </a:cubicBezTo>
                  <a:lnTo>
                    <a:pt x="620" y="2869"/>
                  </a:lnTo>
                  <a:lnTo>
                    <a:pt x="620" y="2832"/>
                  </a:lnTo>
                  <a:cubicBezTo>
                    <a:pt x="620" y="2791"/>
                    <a:pt x="620" y="2772"/>
                    <a:pt x="638" y="2735"/>
                  </a:cubicBezTo>
                  <a:lnTo>
                    <a:pt x="638" y="2638"/>
                  </a:lnTo>
                  <a:lnTo>
                    <a:pt x="638" y="2541"/>
                  </a:lnTo>
                  <a:lnTo>
                    <a:pt x="638" y="2504"/>
                  </a:lnTo>
                  <a:cubicBezTo>
                    <a:pt x="638" y="2486"/>
                    <a:pt x="657" y="2467"/>
                    <a:pt x="657" y="2426"/>
                  </a:cubicBezTo>
                  <a:lnTo>
                    <a:pt x="657" y="2389"/>
                  </a:lnTo>
                  <a:lnTo>
                    <a:pt x="657" y="2370"/>
                  </a:lnTo>
                  <a:lnTo>
                    <a:pt x="657" y="2310"/>
                  </a:lnTo>
                  <a:lnTo>
                    <a:pt x="657" y="2292"/>
                  </a:lnTo>
                  <a:lnTo>
                    <a:pt x="657" y="2079"/>
                  </a:lnTo>
                  <a:lnTo>
                    <a:pt x="657" y="2061"/>
                  </a:lnTo>
                  <a:cubicBezTo>
                    <a:pt x="675" y="2024"/>
                    <a:pt x="675" y="2005"/>
                    <a:pt x="675" y="1964"/>
                  </a:cubicBezTo>
                  <a:lnTo>
                    <a:pt x="675" y="1927"/>
                  </a:lnTo>
                  <a:lnTo>
                    <a:pt x="675" y="1830"/>
                  </a:lnTo>
                  <a:lnTo>
                    <a:pt x="675" y="1714"/>
                  </a:lnTo>
                  <a:lnTo>
                    <a:pt x="675" y="1696"/>
                  </a:lnTo>
                  <a:cubicBezTo>
                    <a:pt x="675" y="1405"/>
                    <a:pt x="675" y="1100"/>
                    <a:pt x="657" y="809"/>
                  </a:cubicBezTo>
                  <a:lnTo>
                    <a:pt x="657" y="735"/>
                  </a:lnTo>
                  <a:cubicBezTo>
                    <a:pt x="657" y="712"/>
                    <a:pt x="657" y="693"/>
                    <a:pt x="638" y="675"/>
                  </a:cubicBezTo>
                  <a:lnTo>
                    <a:pt x="638" y="619"/>
                  </a:lnTo>
                  <a:lnTo>
                    <a:pt x="638" y="541"/>
                  </a:lnTo>
                  <a:lnTo>
                    <a:pt x="638" y="504"/>
                  </a:lnTo>
                  <a:lnTo>
                    <a:pt x="638" y="444"/>
                  </a:lnTo>
                  <a:cubicBezTo>
                    <a:pt x="620" y="388"/>
                    <a:pt x="620" y="328"/>
                    <a:pt x="620" y="273"/>
                  </a:cubicBezTo>
                  <a:lnTo>
                    <a:pt x="620" y="213"/>
                  </a:lnTo>
                  <a:lnTo>
                    <a:pt x="620" y="194"/>
                  </a:lnTo>
                  <a:cubicBezTo>
                    <a:pt x="620" y="194"/>
                    <a:pt x="602" y="176"/>
                    <a:pt x="602" y="157"/>
                  </a:cubicBezTo>
                  <a:lnTo>
                    <a:pt x="602" y="116"/>
                  </a:lnTo>
                  <a:lnTo>
                    <a:pt x="602" y="0"/>
                  </a:ln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7" name="Google Shape;947;p39"/>
            <p:cNvSpPr/>
            <p:nvPr/>
          </p:nvSpPr>
          <p:spPr>
            <a:xfrm>
              <a:off x="-880090" y="3177653"/>
              <a:ext cx="92902" cy="432419"/>
            </a:xfrm>
            <a:custGeom>
              <a:avLst/>
              <a:gdLst/>
              <a:ahLst/>
              <a:cxnLst/>
              <a:rect l="l" t="t" r="r" b="b"/>
              <a:pathLst>
                <a:path w="828" h="3854" extrusionOk="0">
                  <a:moveTo>
                    <a:pt x="232" y="0"/>
                  </a:moveTo>
                  <a:cubicBezTo>
                    <a:pt x="190" y="0"/>
                    <a:pt x="172" y="19"/>
                    <a:pt x="172" y="60"/>
                  </a:cubicBezTo>
                  <a:cubicBezTo>
                    <a:pt x="135" y="213"/>
                    <a:pt x="116" y="365"/>
                    <a:pt x="93" y="541"/>
                  </a:cubicBezTo>
                  <a:lnTo>
                    <a:pt x="93" y="656"/>
                  </a:lnTo>
                  <a:cubicBezTo>
                    <a:pt x="1" y="1617"/>
                    <a:pt x="38" y="2541"/>
                    <a:pt x="232" y="3410"/>
                  </a:cubicBezTo>
                  <a:cubicBezTo>
                    <a:pt x="250" y="3484"/>
                    <a:pt x="269" y="3563"/>
                    <a:pt x="287" y="3660"/>
                  </a:cubicBezTo>
                  <a:lnTo>
                    <a:pt x="287" y="3678"/>
                  </a:lnTo>
                  <a:cubicBezTo>
                    <a:pt x="287" y="3678"/>
                    <a:pt x="306" y="3697"/>
                    <a:pt x="306" y="3715"/>
                  </a:cubicBezTo>
                  <a:cubicBezTo>
                    <a:pt x="306" y="3738"/>
                    <a:pt x="324" y="3757"/>
                    <a:pt x="324" y="3794"/>
                  </a:cubicBezTo>
                  <a:cubicBezTo>
                    <a:pt x="324" y="3812"/>
                    <a:pt x="366" y="3854"/>
                    <a:pt x="403" y="3854"/>
                  </a:cubicBezTo>
                  <a:lnTo>
                    <a:pt x="828" y="3854"/>
                  </a:lnTo>
                  <a:cubicBezTo>
                    <a:pt x="828" y="3812"/>
                    <a:pt x="828" y="3757"/>
                    <a:pt x="809" y="3715"/>
                  </a:cubicBezTo>
                  <a:lnTo>
                    <a:pt x="809" y="3678"/>
                  </a:lnTo>
                  <a:lnTo>
                    <a:pt x="809" y="3660"/>
                  </a:lnTo>
                  <a:cubicBezTo>
                    <a:pt x="786" y="3563"/>
                    <a:pt x="786" y="3484"/>
                    <a:pt x="768" y="3410"/>
                  </a:cubicBezTo>
                  <a:cubicBezTo>
                    <a:pt x="652" y="2560"/>
                    <a:pt x="634" y="1636"/>
                    <a:pt x="671" y="693"/>
                  </a:cubicBezTo>
                  <a:cubicBezTo>
                    <a:pt x="694" y="638"/>
                    <a:pt x="694" y="578"/>
                    <a:pt x="694" y="541"/>
                  </a:cubicBezTo>
                  <a:cubicBezTo>
                    <a:pt x="712" y="347"/>
                    <a:pt x="712" y="176"/>
                    <a:pt x="731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8" name="Google Shape;948;p39"/>
            <p:cNvSpPr/>
            <p:nvPr/>
          </p:nvSpPr>
          <p:spPr>
            <a:xfrm>
              <a:off x="-813219" y="3177653"/>
              <a:ext cx="82018" cy="432419"/>
            </a:xfrm>
            <a:custGeom>
              <a:avLst/>
              <a:gdLst/>
              <a:ahLst/>
              <a:cxnLst/>
              <a:rect l="l" t="t" r="r" b="b"/>
              <a:pathLst>
                <a:path w="731" h="3854" extrusionOk="0">
                  <a:moveTo>
                    <a:pt x="135" y="0"/>
                  </a:moveTo>
                  <a:cubicBezTo>
                    <a:pt x="1" y="1368"/>
                    <a:pt x="38" y="2675"/>
                    <a:pt x="232" y="3854"/>
                  </a:cubicBezTo>
                  <a:lnTo>
                    <a:pt x="731" y="3854"/>
                  </a:lnTo>
                  <a:cubicBezTo>
                    <a:pt x="675" y="2675"/>
                    <a:pt x="652" y="1368"/>
                    <a:pt x="694" y="0"/>
                  </a:cubicBezTo>
                  <a:close/>
                </a:path>
              </a:pathLst>
            </a:custGeom>
            <a:solidFill>
              <a:srgbClr val="6B452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9" name="Google Shape;949;p39"/>
            <p:cNvSpPr/>
            <p:nvPr/>
          </p:nvSpPr>
          <p:spPr>
            <a:xfrm>
              <a:off x="-737484" y="3177653"/>
              <a:ext cx="69003" cy="432419"/>
            </a:xfrm>
            <a:custGeom>
              <a:avLst/>
              <a:gdLst/>
              <a:ahLst/>
              <a:cxnLst/>
              <a:rect l="l" t="t" r="r" b="b"/>
              <a:pathLst>
                <a:path w="615" h="3854" extrusionOk="0">
                  <a:moveTo>
                    <a:pt x="19" y="0"/>
                  </a:moveTo>
                  <a:lnTo>
                    <a:pt x="19" y="213"/>
                  </a:lnTo>
                  <a:lnTo>
                    <a:pt x="19" y="407"/>
                  </a:lnTo>
                  <a:lnTo>
                    <a:pt x="19" y="541"/>
                  </a:lnTo>
                  <a:cubicBezTo>
                    <a:pt x="19" y="596"/>
                    <a:pt x="0" y="675"/>
                    <a:pt x="0" y="735"/>
                  </a:cubicBezTo>
                  <a:lnTo>
                    <a:pt x="0" y="1502"/>
                  </a:lnTo>
                  <a:lnTo>
                    <a:pt x="0" y="2370"/>
                  </a:lnTo>
                  <a:cubicBezTo>
                    <a:pt x="19" y="2735"/>
                    <a:pt x="19" y="3082"/>
                    <a:pt x="37" y="3410"/>
                  </a:cubicBezTo>
                  <a:cubicBezTo>
                    <a:pt x="37" y="3507"/>
                    <a:pt x="37" y="3581"/>
                    <a:pt x="56" y="3678"/>
                  </a:cubicBezTo>
                  <a:lnTo>
                    <a:pt x="56" y="3854"/>
                  </a:lnTo>
                  <a:lnTo>
                    <a:pt x="555" y="3854"/>
                  </a:lnTo>
                  <a:lnTo>
                    <a:pt x="555" y="3715"/>
                  </a:lnTo>
                  <a:lnTo>
                    <a:pt x="555" y="3678"/>
                  </a:lnTo>
                  <a:cubicBezTo>
                    <a:pt x="555" y="3581"/>
                    <a:pt x="578" y="3507"/>
                    <a:pt x="578" y="3410"/>
                  </a:cubicBezTo>
                  <a:cubicBezTo>
                    <a:pt x="596" y="3063"/>
                    <a:pt x="596" y="2675"/>
                    <a:pt x="615" y="2292"/>
                  </a:cubicBezTo>
                  <a:lnTo>
                    <a:pt x="615" y="1405"/>
                  </a:lnTo>
                  <a:lnTo>
                    <a:pt x="615" y="772"/>
                  </a:lnTo>
                  <a:cubicBezTo>
                    <a:pt x="596" y="693"/>
                    <a:pt x="596" y="619"/>
                    <a:pt x="596" y="541"/>
                  </a:cubicBezTo>
                  <a:lnTo>
                    <a:pt x="596" y="425"/>
                  </a:lnTo>
                  <a:lnTo>
                    <a:pt x="596" y="213"/>
                  </a:lnTo>
                  <a:lnTo>
                    <a:pt x="596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0" name="Google Shape;950;p39"/>
            <p:cNvSpPr/>
            <p:nvPr/>
          </p:nvSpPr>
          <p:spPr>
            <a:xfrm>
              <a:off x="-675325" y="3177653"/>
              <a:ext cx="10996" cy="432419"/>
            </a:xfrm>
            <a:custGeom>
              <a:avLst/>
              <a:gdLst/>
              <a:ahLst/>
              <a:cxnLst/>
              <a:rect l="l" t="t" r="r" b="b"/>
              <a:pathLst>
                <a:path w="98" h="3854" extrusionOk="0">
                  <a:moveTo>
                    <a:pt x="42" y="0"/>
                  </a:moveTo>
                  <a:lnTo>
                    <a:pt x="42" y="213"/>
                  </a:lnTo>
                  <a:lnTo>
                    <a:pt x="42" y="425"/>
                  </a:lnTo>
                  <a:lnTo>
                    <a:pt x="42" y="541"/>
                  </a:lnTo>
                  <a:cubicBezTo>
                    <a:pt x="42" y="619"/>
                    <a:pt x="42" y="693"/>
                    <a:pt x="61" y="772"/>
                  </a:cubicBezTo>
                  <a:lnTo>
                    <a:pt x="61" y="1405"/>
                  </a:lnTo>
                  <a:lnTo>
                    <a:pt x="61" y="2292"/>
                  </a:lnTo>
                  <a:cubicBezTo>
                    <a:pt x="42" y="2675"/>
                    <a:pt x="42" y="3063"/>
                    <a:pt x="24" y="3410"/>
                  </a:cubicBezTo>
                  <a:cubicBezTo>
                    <a:pt x="24" y="3507"/>
                    <a:pt x="1" y="3581"/>
                    <a:pt x="1" y="3678"/>
                  </a:cubicBezTo>
                  <a:lnTo>
                    <a:pt x="1" y="3715"/>
                  </a:lnTo>
                  <a:lnTo>
                    <a:pt x="1" y="3854"/>
                  </a:lnTo>
                  <a:lnTo>
                    <a:pt x="42" y="3854"/>
                  </a:lnTo>
                  <a:lnTo>
                    <a:pt x="42" y="3678"/>
                  </a:lnTo>
                  <a:cubicBezTo>
                    <a:pt x="61" y="3581"/>
                    <a:pt x="61" y="3507"/>
                    <a:pt x="61" y="3410"/>
                  </a:cubicBezTo>
                  <a:cubicBezTo>
                    <a:pt x="61" y="3331"/>
                    <a:pt x="61" y="3253"/>
                    <a:pt x="79" y="3179"/>
                  </a:cubicBezTo>
                  <a:cubicBezTo>
                    <a:pt x="79" y="2888"/>
                    <a:pt x="98" y="2583"/>
                    <a:pt x="98" y="2292"/>
                  </a:cubicBezTo>
                  <a:lnTo>
                    <a:pt x="98" y="1405"/>
                  </a:lnTo>
                  <a:lnTo>
                    <a:pt x="98" y="772"/>
                  </a:lnTo>
                  <a:cubicBezTo>
                    <a:pt x="98" y="693"/>
                    <a:pt x="98" y="619"/>
                    <a:pt x="79" y="541"/>
                  </a:cubicBezTo>
                  <a:lnTo>
                    <a:pt x="79" y="425"/>
                  </a:lnTo>
                  <a:lnTo>
                    <a:pt x="79" y="213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1" name="Google Shape;951;p39"/>
            <p:cNvSpPr/>
            <p:nvPr/>
          </p:nvSpPr>
          <p:spPr>
            <a:xfrm>
              <a:off x="-620796" y="3177653"/>
              <a:ext cx="94921" cy="432419"/>
            </a:xfrm>
            <a:custGeom>
              <a:avLst/>
              <a:gdLst/>
              <a:ahLst/>
              <a:cxnLst/>
              <a:rect l="l" t="t" r="r" b="b"/>
              <a:pathLst>
                <a:path w="846" h="3854" extrusionOk="0">
                  <a:moveTo>
                    <a:pt x="116" y="0"/>
                  </a:moveTo>
                  <a:lnTo>
                    <a:pt x="116" y="116"/>
                  </a:lnTo>
                  <a:lnTo>
                    <a:pt x="116" y="157"/>
                  </a:lnTo>
                  <a:cubicBezTo>
                    <a:pt x="134" y="176"/>
                    <a:pt x="134" y="194"/>
                    <a:pt x="134" y="213"/>
                  </a:cubicBezTo>
                  <a:lnTo>
                    <a:pt x="134" y="273"/>
                  </a:lnTo>
                  <a:lnTo>
                    <a:pt x="134" y="365"/>
                  </a:lnTo>
                  <a:cubicBezTo>
                    <a:pt x="134" y="388"/>
                    <a:pt x="152" y="407"/>
                    <a:pt x="152" y="444"/>
                  </a:cubicBezTo>
                  <a:lnTo>
                    <a:pt x="152" y="541"/>
                  </a:lnTo>
                  <a:lnTo>
                    <a:pt x="152" y="619"/>
                  </a:lnTo>
                  <a:lnTo>
                    <a:pt x="152" y="675"/>
                  </a:lnTo>
                  <a:cubicBezTo>
                    <a:pt x="152" y="675"/>
                    <a:pt x="171" y="693"/>
                    <a:pt x="171" y="712"/>
                  </a:cubicBezTo>
                  <a:lnTo>
                    <a:pt x="171" y="735"/>
                  </a:lnTo>
                  <a:lnTo>
                    <a:pt x="171" y="790"/>
                  </a:lnTo>
                  <a:lnTo>
                    <a:pt x="171" y="809"/>
                  </a:lnTo>
                  <a:cubicBezTo>
                    <a:pt x="189" y="1100"/>
                    <a:pt x="189" y="1405"/>
                    <a:pt x="189" y="1696"/>
                  </a:cubicBezTo>
                  <a:lnTo>
                    <a:pt x="189" y="1714"/>
                  </a:lnTo>
                  <a:lnTo>
                    <a:pt x="189" y="1830"/>
                  </a:lnTo>
                  <a:lnTo>
                    <a:pt x="189" y="1927"/>
                  </a:lnTo>
                  <a:lnTo>
                    <a:pt x="189" y="1964"/>
                  </a:lnTo>
                  <a:cubicBezTo>
                    <a:pt x="189" y="2005"/>
                    <a:pt x="189" y="2024"/>
                    <a:pt x="171" y="2061"/>
                  </a:cubicBezTo>
                  <a:lnTo>
                    <a:pt x="171" y="2079"/>
                  </a:lnTo>
                  <a:lnTo>
                    <a:pt x="171" y="2292"/>
                  </a:lnTo>
                  <a:lnTo>
                    <a:pt x="171" y="2310"/>
                  </a:lnTo>
                  <a:lnTo>
                    <a:pt x="171" y="2389"/>
                  </a:lnTo>
                  <a:lnTo>
                    <a:pt x="171" y="2426"/>
                  </a:lnTo>
                  <a:cubicBezTo>
                    <a:pt x="171" y="2467"/>
                    <a:pt x="152" y="2486"/>
                    <a:pt x="152" y="2504"/>
                  </a:cubicBezTo>
                  <a:lnTo>
                    <a:pt x="152" y="2541"/>
                  </a:lnTo>
                  <a:lnTo>
                    <a:pt x="152" y="2638"/>
                  </a:lnTo>
                  <a:cubicBezTo>
                    <a:pt x="152" y="2698"/>
                    <a:pt x="134" y="2772"/>
                    <a:pt x="134" y="2832"/>
                  </a:cubicBezTo>
                  <a:lnTo>
                    <a:pt x="134" y="2869"/>
                  </a:lnTo>
                  <a:lnTo>
                    <a:pt x="134" y="2948"/>
                  </a:lnTo>
                  <a:cubicBezTo>
                    <a:pt x="134" y="2966"/>
                    <a:pt x="116" y="2966"/>
                    <a:pt x="116" y="2985"/>
                  </a:cubicBezTo>
                  <a:lnTo>
                    <a:pt x="116" y="3063"/>
                  </a:lnTo>
                  <a:lnTo>
                    <a:pt x="116" y="3082"/>
                  </a:lnTo>
                  <a:cubicBezTo>
                    <a:pt x="92" y="3197"/>
                    <a:pt x="92" y="3295"/>
                    <a:pt x="74" y="3410"/>
                  </a:cubicBezTo>
                  <a:lnTo>
                    <a:pt x="74" y="3447"/>
                  </a:lnTo>
                  <a:cubicBezTo>
                    <a:pt x="55" y="3484"/>
                    <a:pt x="55" y="3544"/>
                    <a:pt x="55" y="3581"/>
                  </a:cubicBezTo>
                  <a:lnTo>
                    <a:pt x="55" y="3599"/>
                  </a:lnTo>
                  <a:cubicBezTo>
                    <a:pt x="37" y="3623"/>
                    <a:pt x="37" y="3641"/>
                    <a:pt x="37" y="3660"/>
                  </a:cubicBezTo>
                  <a:lnTo>
                    <a:pt x="37" y="3678"/>
                  </a:lnTo>
                  <a:lnTo>
                    <a:pt x="37" y="3715"/>
                  </a:lnTo>
                  <a:lnTo>
                    <a:pt x="18" y="3738"/>
                  </a:lnTo>
                  <a:cubicBezTo>
                    <a:pt x="18" y="3775"/>
                    <a:pt x="18" y="3812"/>
                    <a:pt x="0" y="3854"/>
                  </a:cubicBezTo>
                  <a:lnTo>
                    <a:pt x="439" y="3854"/>
                  </a:lnTo>
                  <a:cubicBezTo>
                    <a:pt x="481" y="3854"/>
                    <a:pt x="518" y="3812"/>
                    <a:pt x="518" y="3794"/>
                  </a:cubicBezTo>
                  <a:lnTo>
                    <a:pt x="518" y="3775"/>
                  </a:lnTo>
                  <a:cubicBezTo>
                    <a:pt x="536" y="3738"/>
                    <a:pt x="536" y="3697"/>
                    <a:pt x="554" y="3678"/>
                  </a:cubicBezTo>
                  <a:lnTo>
                    <a:pt x="554" y="3660"/>
                  </a:lnTo>
                  <a:cubicBezTo>
                    <a:pt x="578" y="3581"/>
                    <a:pt x="596" y="3507"/>
                    <a:pt x="615" y="3410"/>
                  </a:cubicBezTo>
                  <a:cubicBezTo>
                    <a:pt x="786" y="2601"/>
                    <a:pt x="846" y="1733"/>
                    <a:pt x="767" y="850"/>
                  </a:cubicBezTo>
                  <a:cubicBezTo>
                    <a:pt x="767" y="735"/>
                    <a:pt x="749" y="638"/>
                    <a:pt x="749" y="541"/>
                  </a:cubicBezTo>
                  <a:cubicBezTo>
                    <a:pt x="730" y="425"/>
                    <a:pt x="712" y="328"/>
                    <a:pt x="712" y="213"/>
                  </a:cubicBezTo>
                  <a:cubicBezTo>
                    <a:pt x="693" y="176"/>
                    <a:pt x="693" y="116"/>
                    <a:pt x="670" y="60"/>
                  </a:cubicBezTo>
                  <a:cubicBezTo>
                    <a:pt x="670" y="19"/>
                    <a:pt x="652" y="0"/>
                    <a:pt x="615" y="0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2" name="Google Shape;952;p39"/>
            <p:cNvSpPr/>
            <p:nvPr/>
          </p:nvSpPr>
          <p:spPr>
            <a:xfrm>
              <a:off x="-813219" y="3177653"/>
              <a:ext cx="32314" cy="432419"/>
            </a:xfrm>
            <a:custGeom>
              <a:avLst/>
              <a:gdLst/>
              <a:ahLst/>
              <a:cxnLst/>
              <a:rect l="l" t="t" r="r" b="b"/>
              <a:pathLst>
                <a:path w="288" h="3854" extrusionOk="0">
                  <a:moveTo>
                    <a:pt x="135" y="0"/>
                  </a:moveTo>
                  <a:cubicBezTo>
                    <a:pt x="1" y="1368"/>
                    <a:pt x="38" y="2675"/>
                    <a:pt x="232" y="3854"/>
                  </a:cubicBezTo>
                  <a:lnTo>
                    <a:pt x="287" y="3854"/>
                  </a:lnTo>
                  <a:cubicBezTo>
                    <a:pt x="269" y="3775"/>
                    <a:pt x="250" y="3715"/>
                    <a:pt x="250" y="3660"/>
                  </a:cubicBezTo>
                  <a:cubicBezTo>
                    <a:pt x="232" y="3563"/>
                    <a:pt x="232" y="3484"/>
                    <a:pt x="213" y="3410"/>
                  </a:cubicBezTo>
                  <a:cubicBezTo>
                    <a:pt x="75" y="2352"/>
                    <a:pt x="56" y="1197"/>
                    <a:pt x="172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3" name="Google Shape;953;p39"/>
            <p:cNvSpPr/>
            <p:nvPr/>
          </p:nvSpPr>
          <p:spPr>
            <a:xfrm>
              <a:off x="-740065" y="3177653"/>
              <a:ext cx="10996" cy="432419"/>
            </a:xfrm>
            <a:custGeom>
              <a:avLst/>
              <a:gdLst/>
              <a:ahLst/>
              <a:cxnLst/>
              <a:rect l="l" t="t" r="r" b="b"/>
              <a:pathLst>
                <a:path w="98" h="3854" extrusionOk="0">
                  <a:moveTo>
                    <a:pt x="42" y="0"/>
                  </a:moveTo>
                  <a:cubicBezTo>
                    <a:pt x="0" y="1368"/>
                    <a:pt x="23" y="2675"/>
                    <a:pt x="79" y="3854"/>
                  </a:cubicBezTo>
                  <a:lnTo>
                    <a:pt x="97" y="3854"/>
                  </a:lnTo>
                  <a:cubicBezTo>
                    <a:pt x="42" y="2675"/>
                    <a:pt x="23" y="1368"/>
                    <a:pt x="79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4" name="Google Shape;954;p39"/>
            <p:cNvSpPr/>
            <p:nvPr/>
          </p:nvSpPr>
          <p:spPr>
            <a:xfrm>
              <a:off x="-852040" y="3169350"/>
              <a:ext cx="298228" cy="8415"/>
            </a:xfrm>
            <a:custGeom>
              <a:avLst/>
              <a:gdLst/>
              <a:ahLst/>
              <a:cxnLst/>
              <a:rect l="l" t="t" r="r" b="b"/>
              <a:pathLst>
                <a:path w="2658" h="75" extrusionOk="0">
                  <a:moveTo>
                    <a:pt x="37" y="0"/>
                  </a:moveTo>
                  <a:cubicBezTo>
                    <a:pt x="19" y="0"/>
                    <a:pt x="0" y="19"/>
                    <a:pt x="0" y="37"/>
                  </a:cubicBezTo>
                  <a:lnTo>
                    <a:pt x="0" y="74"/>
                  </a:lnTo>
                  <a:lnTo>
                    <a:pt x="2639" y="74"/>
                  </a:lnTo>
                  <a:lnTo>
                    <a:pt x="2657" y="37"/>
                  </a:lnTo>
                  <a:cubicBezTo>
                    <a:pt x="2657" y="19"/>
                    <a:pt x="2639" y="0"/>
                    <a:pt x="2615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5" name="Google Shape;955;p39"/>
            <p:cNvSpPr/>
            <p:nvPr/>
          </p:nvSpPr>
          <p:spPr>
            <a:xfrm>
              <a:off x="-875939" y="3371983"/>
              <a:ext cx="138567" cy="105917"/>
            </a:xfrm>
            <a:custGeom>
              <a:avLst/>
              <a:gdLst/>
              <a:ahLst/>
              <a:cxnLst/>
              <a:rect l="l" t="t" r="r" b="b"/>
              <a:pathLst>
                <a:path w="1235" h="944" extrusionOk="0">
                  <a:moveTo>
                    <a:pt x="1" y="1"/>
                  </a:moveTo>
                  <a:cubicBezTo>
                    <a:pt x="1" y="292"/>
                    <a:pt x="19" y="560"/>
                    <a:pt x="56" y="828"/>
                  </a:cubicBezTo>
                  <a:lnTo>
                    <a:pt x="500" y="888"/>
                  </a:lnTo>
                  <a:lnTo>
                    <a:pt x="1211" y="943"/>
                  </a:lnTo>
                  <a:lnTo>
                    <a:pt x="1234" y="176"/>
                  </a:lnTo>
                  <a:lnTo>
                    <a:pt x="426" y="6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6" name="Google Shape;956;p39"/>
            <p:cNvSpPr/>
            <p:nvPr/>
          </p:nvSpPr>
          <p:spPr>
            <a:xfrm>
              <a:off x="-620796" y="3177653"/>
              <a:ext cx="30182" cy="432419"/>
            </a:xfrm>
            <a:custGeom>
              <a:avLst/>
              <a:gdLst/>
              <a:ahLst/>
              <a:cxnLst/>
              <a:rect l="l" t="t" r="r" b="b"/>
              <a:pathLst>
                <a:path w="269" h="3854" extrusionOk="0">
                  <a:moveTo>
                    <a:pt x="116" y="0"/>
                  </a:moveTo>
                  <a:lnTo>
                    <a:pt x="116" y="116"/>
                  </a:lnTo>
                  <a:lnTo>
                    <a:pt x="116" y="157"/>
                  </a:lnTo>
                  <a:cubicBezTo>
                    <a:pt x="116" y="176"/>
                    <a:pt x="134" y="194"/>
                    <a:pt x="134" y="194"/>
                  </a:cubicBezTo>
                  <a:lnTo>
                    <a:pt x="134" y="213"/>
                  </a:lnTo>
                  <a:lnTo>
                    <a:pt x="134" y="273"/>
                  </a:lnTo>
                  <a:lnTo>
                    <a:pt x="134" y="365"/>
                  </a:lnTo>
                  <a:cubicBezTo>
                    <a:pt x="134" y="388"/>
                    <a:pt x="152" y="407"/>
                    <a:pt x="152" y="444"/>
                  </a:cubicBezTo>
                  <a:lnTo>
                    <a:pt x="152" y="504"/>
                  </a:lnTo>
                  <a:lnTo>
                    <a:pt x="152" y="541"/>
                  </a:lnTo>
                  <a:lnTo>
                    <a:pt x="152" y="619"/>
                  </a:lnTo>
                  <a:cubicBezTo>
                    <a:pt x="152" y="656"/>
                    <a:pt x="152" y="675"/>
                    <a:pt x="171" y="712"/>
                  </a:cubicBezTo>
                  <a:lnTo>
                    <a:pt x="171" y="790"/>
                  </a:lnTo>
                  <a:lnTo>
                    <a:pt x="171" y="809"/>
                  </a:lnTo>
                  <a:cubicBezTo>
                    <a:pt x="189" y="1100"/>
                    <a:pt x="189" y="1405"/>
                    <a:pt x="189" y="1696"/>
                  </a:cubicBezTo>
                  <a:lnTo>
                    <a:pt x="189" y="1714"/>
                  </a:lnTo>
                  <a:lnTo>
                    <a:pt x="189" y="1830"/>
                  </a:lnTo>
                  <a:lnTo>
                    <a:pt x="189" y="1927"/>
                  </a:lnTo>
                  <a:lnTo>
                    <a:pt x="189" y="1964"/>
                  </a:lnTo>
                  <a:cubicBezTo>
                    <a:pt x="189" y="2005"/>
                    <a:pt x="189" y="2024"/>
                    <a:pt x="171" y="2061"/>
                  </a:cubicBezTo>
                  <a:lnTo>
                    <a:pt x="171" y="2079"/>
                  </a:lnTo>
                  <a:lnTo>
                    <a:pt x="171" y="2292"/>
                  </a:lnTo>
                  <a:lnTo>
                    <a:pt x="171" y="2310"/>
                  </a:lnTo>
                  <a:lnTo>
                    <a:pt x="171" y="2370"/>
                  </a:lnTo>
                  <a:lnTo>
                    <a:pt x="171" y="2389"/>
                  </a:lnTo>
                  <a:lnTo>
                    <a:pt x="171" y="2426"/>
                  </a:lnTo>
                  <a:cubicBezTo>
                    <a:pt x="171" y="2467"/>
                    <a:pt x="152" y="2486"/>
                    <a:pt x="152" y="2504"/>
                  </a:cubicBezTo>
                  <a:lnTo>
                    <a:pt x="152" y="2541"/>
                  </a:lnTo>
                  <a:lnTo>
                    <a:pt x="152" y="2638"/>
                  </a:lnTo>
                  <a:lnTo>
                    <a:pt x="152" y="2735"/>
                  </a:lnTo>
                  <a:cubicBezTo>
                    <a:pt x="134" y="2772"/>
                    <a:pt x="134" y="2791"/>
                    <a:pt x="134" y="2832"/>
                  </a:cubicBezTo>
                  <a:lnTo>
                    <a:pt x="134" y="2869"/>
                  </a:lnTo>
                  <a:lnTo>
                    <a:pt x="134" y="2948"/>
                  </a:lnTo>
                  <a:cubicBezTo>
                    <a:pt x="134" y="2966"/>
                    <a:pt x="116" y="2966"/>
                    <a:pt x="116" y="2985"/>
                  </a:cubicBezTo>
                  <a:lnTo>
                    <a:pt x="116" y="3063"/>
                  </a:lnTo>
                  <a:lnTo>
                    <a:pt x="116" y="3082"/>
                  </a:lnTo>
                  <a:cubicBezTo>
                    <a:pt x="92" y="3197"/>
                    <a:pt x="92" y="3295"/>
                    <a:pt x="74" y="3410"/>
                  </a:cubicBezTo>
                  <a:lnTo>
                    <a:pt x="74" y="3447"/>
                  </a:lnTo>
                  <a:cubicBezTo>
                    <a:pt x="55" y="3484"/>
                    <a:pt x="55" y="3544"/>
                    <a:pt x="55" y="3581"/>
                  </a:cubicBezTo>
                  <a:lnTo>
                    <a:pt x="55" y="3599"/>
                  </a:lnTo>
                  <a:cubicBezTo>
                    <a:pt x="37" y="3623"/>
                    <a:pt x="37" y="3641"/>
                    <a:pt x="37" y="3660"/>
                  </a:cubicBezTo>
                  <a:lnTo>
                    <a:pt x="37" y="3678"/>
                  </a:lnTo>
                  <a:lnTo>
                    <a:pt x="37" y="3715"/>
                  </a:lnTo>
                  <a:lnTo>
                    <a:pt x="18" y="3738"/>
                  </a:lnTo>
                  <a:cubicBezTo>
                    <a:pt x="18" y="3775"/>
                    <a:pt x="18" y="3812"/>
                    <a:pt x="0" y="3854"/>
                  </a:cubicBezTo>
                  <a:lnTo>
                    <a:pt x="55" y="3854"/>
                  </a:lnTo>
                  <a:cubicBezTo>
                    <a:pt x="74" y="3794"/>
                    <a:pt x="74" y="3738"/>
                    <a:pt x="92" y="3678"/>
                  </a:cubicBezTo>
                  <a:cubicBezTo>
                    <a:pt x="92" y="3581"/>
                    <a:pt x="116" y="3507"/>
                    <a:pt x="116" y="3410"/>
                  </a:cubicBezTo>
                  <a:cubicBezTo>
                    <a:pt x="231" y="2601"/>
                    <a:pt x="268" y="1733"/>
                    <a:pt x="208" y="809"/>
                  </a:cubicBezTo>
                  <a:lnTo>
                    <a:pt x="208" y="541"/>
                  </a:lnTo>
                  <a:cubicBezTo>
                    <a:pt x="208" y="504"/>
                    <a:pt x="189" y="462"/>
                    <a:pt x="189" y="444"/>
                  </a:cubicBezTo>
                  <a:cubicBezTo>
                    <a:pt x="189" y="365"/>
                    <a:pt x="189" y="291"/>
                    <a:pt x="171" y="213"/>
                  </a:cubicBezTo>
                  <a:cubicBezTo>
                    <a:pt x="171" y="134"/>
                    <a:pt x="171" y="79"/>
                    <a:pt x="152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7" name="Google Shape;957;p39"/>
            <p:cNvSpPr/>
            <p:nvPr/>
          </p:nvSpPr>
          <p:spPr>
            <a:xfrm>
              <a:off x="-873807" y="3201439"/>
              <a:ext cx="341200" cy="36914"/>
            </a:xfrm>
            <a:custGeom>
              <a:avLst/>
              <a:gdLst/>
              <a:ahLst/>
              <a:cxnLst/>
              <a:rect l="l" t="t" r="r" b="b"/>
              <a:pathLst>
                <a:path w="3041" h="329" extrusionOk="0">
                  <a:moveTo>
                    <a:pt x="37" y="1"/>
                  </a:moveTo>
                  <a:cubicBezTo>
                    <a:pt x="19" y="38"/>
                    <a:pt x="19" y="79"/>
                    <a:pt x="0" y="116"/>
                  </a:cubicBezTo>
                  <a:lnTo>
                    <a:pt x="0" y="176"/>
                  </a:lnTo>
                  <a:lnTo>
                    <a:pt x="0" y="329"/>
                  </a:lnTo>
                  <a:lnTo>
                    <a:pt x="3041" y="329"/>
                  </a:lnTo>
                  <a:lnTo>
                    <a:pt x="3041" y="250"/>
                  </a:lnTo>
                  <a:lnTo>
                    <a:pt x="3041" y="232"/>
                  </a:lnTo>
                  <a:lnTo>
                    <a:pt x="3041" y="213"/>
                  </a:lnTo>
                  <a:lnTo>
                    <a:pt x="3041" y="195"/>
                  </a:lnTo>
                  <a:lnTo>
                    <a:pt x="3041" y="176"/>
                  </a:lnTo>
                  <a:lnTo>
                    <a:pt x="3041" y="153"/>
                  </a:lnTo>
                  <a:lnTo>
                    <a:pt x="3041" y="135"/>
                  </a:lnTo>
                  <a:cubicBezTo>
                    <a:pt x="3022" y="116"/>
                    <a:pt x="3022" y="116"/>
                    <a:pt x="3022" y="98"/>
                  </a:cubicBezTo>
                  <a:lnTo>
                    <a:pt x="3022" y="79"/>
                  </a:lnTo>
                  <a:lnTo>
                    <a:pt x="3022" y="61"/>
                  </a:lnTo>
                  <a:cubicBezTo>
                    <a:pt x="3022" y="61"/>
                    <a:pt x="3022" y="38"/>
                    <a:pt x="3004" y="38"/>
                  </a:cubicBezTo>
                  <a:lnTo>
                    <a:pt x="3004" y="1"/>
                  </a:ln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8" name="Google Shape;958;p39"/>
            <p:cNvSpPr/>
            <p:nvPr/>
          </p:nvSpPr>
          <p:spPr>
            <a:xfrm>
              <a:off x="-858772" y="3560254"/>
              <a:ext cx="311131" cy="30182"/>
            </a:xfrm>
            <a:custGeom>
              <a:avLst/>
              <a:gdLst/>
              <a:ahLst/>
              <a:cxnLst/>
              <a:rect l="l" t="t" r="r" b="b"/>
              <a:pathLst>
                <a:path w="2773" h="269" extrusionOk="0">
                  <a:moveTo>
                    <a:pt x="0" y="0"/>
                  </a:moveTo>
                  <a:lnTo>
                    <a:pt x="0" y="74"/>
                  </a:lnTo>
                  <a:cubicBezTo>
                    <a:pt x="0" y="97"/>
                    <a:pt x="19" y="116"/>
                    <a:pt x="19" y="134"/>
                  </a:cubicBezTo>
                  <a:cubicBezTo>
                    <a:pt x="19" y="171"/>
                    <a:pt x="42" y="231"/>
                    <a:pt x="60" y="268"/>
                  </a:cubicBezTo>
                  <a:lnTo>
                    <a:pt x="2717" y="268"/>
                  </a:lnTo>
                  <a:cubicBezTo>
                    <a:pt x="2736" y="189"/>
                    <a:pt x="2773" y="116"/>
                    <a:pt x="2773" y="37"/>
                  </a:cubicBezTo>
                  <a:lnTo>
                    <a:pt x="2773" y="0"/>
                  </a:lnTo>
                  <a:close/>
                </a:path>
              </a:pathLst>
            </a:custGeom>
            <a:solidFill>
              <a:srgbClr val="FC518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9" name="Google Shape;959;p39"/>
            <p:cNvSpPr/>
            <p:nvPr/>
          </p:nvSpPr>
          <p:spPr>
            <a:xfrm>
              <a:off x="-873807" y="3201439"/>
              <a:ext cx="341200" cy="36914"/>
            </a:xfrm>
            <a:custGeom>
              <a:avLst/>
              <a:gdLst/>
              <a:ahLst/>
              <a:cxnLst/>
              <a:rect l="l" t="t" r="r" b="b"/>
              <a:pathLst>
                <a:path w="3041" h="329" extrusionOk="0">
                  <a:moveTo>
                    <a:pt x="2851" y="1"/>
                  </a:moveTo>
                  <a:lnTo>
                    <a:pt x="2907" y="232"/>
                  </a:lnTo>
                  <a:lnTo>
                    <a:pt x="2407" y="232"/>
                  </a:lnTo>
                  <a:lnTo>
                    <a:pt x="2176" y="213"/>
                  </a:lnTo>
                  <a:lnTo>
                    <a:pt x="1811" y="213"/>
                  </a:lnTo>
                  <a:lnTo>
                    <a:pt x="1234" y="195"/>
                  </a:lnTo>
                  <a:lnTo>
                    <a:pt x="0" y="176"/>
                  </a:lnTo>
                  <a:lnTo>
                    <a:pt x="0" y="329"/>
                  </a:lnTo>
                  <a:lnTo>
                    <a:pt x="3041" y="329"/>
                  </a:lnTo>
                  <a:lnTo>
                    <a:pt x="3041" y="250"/>
                  </a:lnTo>
                  <a:lnTo>
                    <a:pt x="3041" y="232"/>
                  </a:lnTo>
                  <a:lnTo>
                    <a:pt x="3041" y="213"/>
                  </a:lnTo>
                  <a:lnTo>
                    <a:pt x="3041" y="195"/>
                  </a:lnTo>
                  <a:lnTo>
                    <a:pt x="3041" y="176"/>
                  </a:lnTo>
                  <a:lnTo>
                    <a:pt x="3041" y="153"/>
                  </a:lnTo>
                  <a:lnTo>
                    <a:pt x="3041" y="135"/>
                  </a:lnTo>
                  <a:cubicBezTo>
                    <a:pt x="3022" y="116"/>
                    <a:pt x="3022" y="116"/>
                    <a:pt x="3022" y="98"/>
                  </a:cubicBezTo>
                  <a:lnTo>
                    <a:pt x="3022" y="61"/>
                  </a:lnTo>
                  <a:cubicBezTo>
                    <a:pt x="3022" y="61"/>
                    <a:pt x="3022" y="38"/>
                    <a:pt x="3004" y="38"/>
                  </a:cubicBezTo>
                  <a:lnTo>
                    <a:pt x="300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60" name="Google Shape;960;p39"/>
            <p:cNvSpPr/>
            <p:nvPr/>
          </p:nvSpPr>
          <p:spPr>
            <a:xfrm>
              <a:off x="-856753" y="3560254"/>
              <a:ext cx="309111" cy="30182"/>
            </a:xfrm>
            <a:custGeom>
              <a:avLst/>
              <a:gdLst/>
              <a:ahLst/>
              <a:cxnLst/>
              <a:rect l="l" t="t" r="r" b="b"/>
              <a:pathLst>
                <a:path w="2755" h="269" extrusionOk="0">
                  <a:moveTo>
                    <a:pt x="2602" y="0"/>
                  </a:moveTo>
                  <a:lnTo>
                    <a:pt x="2542" y="171"/>
                  </a:lnTo>
                  <a:lnTo>
                    <a:pt x="1" y="134"/>
                  </a:lnTo>
                  <a:lnTo>
                    <a:pt x="1" y="134"/>
                  </a:lnTo>
                  <a:cubicBezTo>
                    <a:pt x="1" y="171"/>
                    <a:pt x="24" y="231"/>
                    <a:pt x="42" y="268"/>
                  </a:cubicBezTo>
                  <a:lnTo>
                    <a:pt x="2699" y="268"/>
                  </a:lnTo>
                  <a:cubicBezTo>
                    <a:pt x="2736" y="171"/>
                    <a:pt x="2755" y="97"/>
                    <a:pt x="275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61" name="Google Shape;961;p39"/>
            <p:cNvSpPr/>
            <p:nvPr/>
          </p:nvSpPr>
          <p:spPr>
            <a:xfrm>
              <a:off x="-869656" y="3238241"/>
              <a:ext cx="335029" cy="34894"/>
            </a:xfrm>
            <a:custGeom>
              <a:avLst/>
              <a:gdLst/>
              <a:ahLst/>
              <a:cxnLst/>
              <a:rect l="l" t="t" r="r" b="b"/>
              <a:pathLst>
                <a:path w="2986" h="311" extrusionOk="0">
                  <a:moveTo>
                    <a:pt x="0" y="1"/>
                  </a:moveTo>
                  <a:lnTo>
                    <a:pt x="0" y="116"/>
                  </a:lnTo>
                  <a:lnTo>
                    <a:pt x="578" y="153"/>
                  </a:lnTo>
                  <a:lnTo>
                    <a:pt x="1178" y="195"/>
                  </a:lnTo>
                  <a:lnTo>
                    <a:pt x="1793" y="232"/>
                  </a:lnTo>
                  <a:lnTo>
                    <a:pt x="1830" y="232"/>
                  </a:lnTo>
                  <a:lnTo>
                    <a:pt x="2102" y="250"/>
                  </a:lnTo>
                  <a:lnTo>
                    <a:pt x="2389" y="269"/>
                  </a:lnTo>
                  <a:lnTo>
                    <a:pt x="2426" y="269"/>
                  </a:lnTo>
                  <a:lnTo>
                    <a:pt x="2985" y="310"/>
                  </a:lnTo>
                  <a:cubicBezTo>
                    <a:pt x="2985" y="195"/>
                    <a:pt x="2967" y="98"/>
                    <a:pt x="2967" y="1"/>
                  </a:cubicBezTo>
                  <a:close/>
                </a:path>
              </a:pathLst>
            </a:custGeom>
            <a:solidFill>
              <a:srgbClr val="2B1A18">
                <a:alpha val="638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62" name="Google Shape;962;p39"/>
            <p:cNvSpPr/>
            <p:nvPr/>
          </p:nvSpPr>
          <p:spPr>
            <a:xfrm>
              <a:off x="-847889" y="3590324"/>
              <a:ext cx="289364" cy="10996"/>
            </a:xfrm>
            <a:custGeom>
              <a:avLst/>
              <a:gdLst/>
              <a:ahLst/>
              <a:cxnLst/>
              <a:rect l="l" t="t" r="r" b="b"/>
              <a:pathLst>
                <a:path w="2579" h="98" extrusionOk="0">
                  <a:moveTo>
                    <a:pt x="0" y="0"/>
                  </a:moveTo>
                  <a:cubicBezTo>
                    <a:pt x="0" y="0"/>
                    <a:pt x="19" y="19"/>
                    <a:pt x="19" y="37"/>
                  </a:cubicBezTo>
                  <a:lnTo>
                    <a:pt x="522" y="37"/>
                  </a:lnTo>
                  <a:lnTo>
                    <a:pt x="2042" y="79"/>
                  </a:lnTo>
                  <a:lnTo>
                    <a:pt x="2542" y="97"/>
                  </a:lnTo>
                  <a:cubicBezTo>
                    <a:pt x="2560" y="60"/>
                    <a:pt x="2560" y="19"/>
                    <a:pt x="2578" y="0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450703098"/>
      </p:ext>
    </p:extLst>
  </p:cSld>
  <p:clrMapOvr>
    <a:masterClrMapping/>
  </p:clrMapOvr>
  <p:transition spd="slow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bg>
      <p:bgPr>
        <a:gradFill>
          <a:gsLst>
            <a:gs pos="0">
              <a:srgbClr val="B2EBFF"/>
            </a:gs>
            <a:gs pos="100000">
              <a:schemeClr val="lt1"/>
            </a:gs>
          </a:gsLst>
          <a:lin ang="5400700" scaled="0"/>
        </a:gradFill>
        <a:effectLst/>
      </p:bgPr>
    </p:bg>
    <p:spTree>
      <p:nvGrpSpPr>
        <p:cNvPr id="1" name="Shape 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" name="Google Shape;964;p40"/>
          <p:cNvGrpSpPr/>
          <p:nvPr/>
        </p:nvGrpSpPr>
        <p:grpSpPr>
          <a:xfrm>
            <a:off x="-9605" y="883428"/>
            <a:ext cx="12215508" cy="5974568"/>
            <a:chOff x="-7204" y="662571"/>
            <a:chExt cx="9161631" cy="4480926"/>
          </a:xfrm>
        </p:grpSpPr>
        <p:sp>
          <p:nvSpPr>
            <p:cNvPr id="965" name="Google Shape;965;p40"/>
            <p:cNvSpPr/>
            <p:nvPr/>
          </p:nvSpPr>
          <p:spPr>
            <a:xfrm>
              <a:off x="-7204" y="669775"/>
              <a:ext cx="6270279" cy="2582064"/>
            </a:xfrm>
            <a:custGeom>
              <a:avLst/>
              <a:gdLst/>
              <a:ahLst/>
              <a:cxnLst/>
              <a:rect l="l" t="t" r="r" b="b"/>
              <a:pathLst>
                <a:path w="38079" h="15711" extrusionOk="0">
                  <a:moveTo>
                    <a:pt x="9279" y="1"/>
                  </a:moveTo>
                  <a:cubicBezTo>
                    <a:pt x="8336" y="287"/>
                    <a:pt x="5430" y="1789"/>
                    <a:pt x="3120" y="3023"/>
                  </a:cubicBezTo>
                  <a:cubicBezTo>
                    <a:pt x="2020" y="3619"/>
                    <a:pt x="1040" y="4159"/>
                    <a:pt x="481" y="4446"/>
                  </a:cubicBezTo>
                  <a:cubicBezTo>
                    <a:pt x="172" y="4621"/>
                    <a:pt x="1" y="4718"/>
                    <a:pt x="1" y="4718"/>
                  </a:cubicBezTo>
                  <a:lnTo>
                    <a:pt x="1" y="15711"/>
                  </a:lnTo>
                  <a:cubicBezTo>
                    <a:pt x="1" y="15711"/>
                    <a:pt x="5753" y="14690"/>
                    <a:pt x="6276" y="14574"/>
                  </a:cubicBezTo>
                  <a:cubicBezTo>
                    <a:pt x="6775" y="14477"/>
                    <a:pt x="14532" y="13668"/>
                    <a:pt x="14532" y="13668"/>
                  </a:cubicBezTo>
                  <a:lnTo>
                    <a:pt x="17037" y="13571"/>
                  </a:lnTo>
                  <a:lnTo>
                    <a:pt x="21426" y="13359"/>
                  </a:lnTo>
                  <a:lnTo>
                    <a:pt x="22831" y="13303"/>
                  </a:lnTo>
                  <a:lnTo>
                    <a:pt x="24545" y="13225"/>
                  </a:lnTo>
                  <a:lnTo>
                    <a:pt x="33458" y="12379"/>
                  </a:lnTo>
                  <a:cubicBezTo>
                    <a:pt x="33458" y="12379"/>
                    <a:pt x="38079" y="10896"/>
                    <a:pt x="37039" y="9893"/>
                  </a:cubicBezTo>
                  <a:cubicBezTo>
                    <a:pt x="36850" y="9704"/>
                    <a:pt x="36577" y="9413"/>
                    <a:pt x="36272" y="9085"/>
                  </a:cubicBezTo>
                  <a:cubicBezTo>
                    <a:pt x="35616" y="8373"/>
                    <a:pt x="34808" y="7468"/>
                    <a:pt x="34151" y="6738"/>
                  </a:cubicBezTo>
                  <a:cubicBezTo>
                    <a:pt x="33537" y="6026"/>
                    <a:pt x="33075" y="5504"/>
                    <a:pt x="33075" y="5504"/>
                  </a:cubicBezTo>
                  <a:cubicBezTo>
                    <a:pt x="33075" y="5504"/>
                    <a:pt x="31998" y="5643"/>
                    <a:pt x="26837" y="5911"/>
                  </a:cubicBezTo>
                  <a:cubicBezTo>
                    <a:pt x="26393" y="5430"/>
                    <a:pt x="25834" y="4968"/>
                    <a:pt x="25257" y="4524"/>
                  </a:cubicBezTo>
                  <a:cubicBezTo>
                    <a:pt x="23815" y="3466"/>
                    <a:pt x="22253" y="2639"/>
                    <a:pt x="22198" y="2616"/>
                  </a:cubicBezTo>
                  <a:lnTo>
                    <a:pt x="14574" y="4621"/>
                  </a:lnTo>
                  <a:cubicBezTo>
                    <a:pt x="14574" y="4621"/>
                    <a:pt x="14094" y="4141"/>
                    <a:pt x="13359" y="3466"/>
                  </a:cubicBezTo>
                  <a:cubicBezTo>
                    <a:pt x="12282" y="2464"/>
                    <a:pt x="10684" y="1022"/>
                    <a:pt x="9279" y="1"/>
                  </a:cubicBez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66" name="Google Shape;966;p40"/>
            <p:cNvSpPr/>
            <p:nvPr/>
          </p:nvSpPr>
          <p:spPr>
            <a:xfrm>
              <a:off x="2392619" y="1092507"/>
              <a:ext cx="2019452" cy="541525"/>
            </a:xfrm>
            <a:custGeom>
              <a:avLst/>
              <a:gdLst/>
              <a:ahLst/>
              <a:cxnLst/>
              <a:rect l="l" t="t" r="r" b="b"/>
              <a:pathLst>
                <a:path w="12264" h="3295" extrusionOk="0">
                  <a:moveTo>
                    <a:pt x="7624" y="0"/>
                  </a:moveTo>
                  <a:lnTo>
                    <a:pt x="0" y="2005"/>
                  </a:lnTo>
                  <a:lnTo>
                    <a:pt x="6062" y="1294"/>
                  </a:lnTo>
                  <a:lnTo>
                    <a:pt x="5716" y="2310"/>
                  </a:lnTo>
                  <a:lnTo>
                    <a:pt x="7393" y="1294"/>
                  </a:lnTo>
                  <a:lnTo>
                    <a:pt x="7929" y="2620"/>
                  </a:lnTo>
                  <a:lnTo>
                    <a:pt x="8336" y="1294"/>
                  </a:lnTo>
                  <a:lnTo>
                    <a:pt x="12263" y="3295"/>
                  </a:lnTo>
                  <a:cubicBezTo>
                    <a:pt x="11819" y="2814"/>
                    <a:pt x="11260" y="2352"/>
                    <a:pt x="10683" y="1908"/>
                  </a:cubicBezTo>
                  <a:cubicBezTo>
                    <a:pt x="9241" y="850"/>
                    <a:pt x="7679" y="23"/>
                    <a:pt x="762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67" name="Google Shape;967;p40"/>
            <p:cNvSpPr/>
            <p:nvPr/>
          </p:nvSpPr>
          <p:spPr>
            <a:xfrm>
              <a:off x="506385" y="662571"/>
              <a:ext cx="1686170" cy="569793"/>
            </a:xfrm>
            <a:custGeom>
              <a:avLst/>
              <a:gdLst/>
              <a:ahLst/>
              <a:cxnLst/>
              <a:rect l="l" t="t" r="r" b="b"/>
              <a:pathLst>
                <a:path w="10240" h="3467" extrusionOk="0">
                  <a:moveTo>
                    <a:pt x="6160" y="1"/>
                  </a:moveTo>
                  <a:cubicBezTo>
                    <a:pt x="5217" y="287"/>
                    <a:pt x="2311" y="1789"/>
                    <a:pt x="1" y="3023"/>
                  </a:cubicBezTo>
                  <a:lnTo>
                    <a:pt x="5254" y="1673"/>
                  </a:lnTo>
                  <a:lnTo>
                    <a:pt x="5545" y="3023"/>
                  </a:lnTo>
                  <a:lnTo>
                    <a:pt x="6793" y="1673"/>
                  </a:lnTo>
                  <a:lnTo>
                    <a:pt x="10240" y="3466"/>
                  </a:lnTo>
                  <a:cubicBezTo>
                    <a:pt x="9163" y="2464"/>
                    <a:pt x="7565" y="1022"/>
                    <a:pt x="616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68" name="Google Shape;968;p40"/>
            <p:cNvSpPr/>
            <p:nvPr/>
          </p:nvSpPr>
          <p:spPr>
            <a:xfrm>
              <a:off x="2392619" y="1429229"/>
              <a:ext cx="1128449" cy="1471074"/>
            </a:xfrm>
            <a:custGeom>
              <a:avLst/>
              <a:gdLst/>
              <a:ahLst/>
              <a:cxnLst/>
              <a:rect l="l" t="t" r="r" b="b"/>
              <a:pathLst>
                <a:path w="6853" h="8951" extrusionOk="0">
                  <a:moveTo>
                    <a:pt x="0" y="0"/>
                  </a:moveTo>
                  <a:lnTo>
                    <a:pt x="2463" y="8950"/>
                  </a:lnTo>
                  <a:lnTo>
                    <a:pt x="6852" y="87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69" name="Google Shape;969;p40"/>
            <p:cNvSpPr/>
            <p:nvPr/>
          </p:nvSpPr>
          <p:spPr>
            <a:xfrm>
              <a:off x="5616259" y="1308433"/>
              <a:ext cx="3538157" cy="1048208"/>
            </a:xfrm>
            <a:custGeom>
              <a:avLst/>
              <a:gdLst/>
              <a:ahLst/>
              <a:cxnLst/>
              <a:rect l="l" t="t" r="r" b="b"/>
              <a:pathLst>
                <a:path w="21487" h="6378" extrusionOk="0">
                  <a:moveTo>
                    <a:pt x="15285" y="0"/>
                  </a:moveTo>
                  <a:cubicBezTo>
                    <a:pt x="14267" y="0"/>
                    <a:pt x="12238" y="647"/>
                    <a:pt x="10397" y="1295"/>
                  </a:cubicBezTo>
                  <a:cubicBezTo>
                    <a:pt x="9283" y="1678"/>
                    <a:pt x="8244" y="2080"/>
                    <a:pt x="7550" y="2353"/>
                  </a:cubicBezTo>
                  <a:cubicBezTo>
                    <a:pt x="7065" y="2542"/>
                    <a:pt x="6760" y="2681"/>
                    <a:pt x="6760" y="2681"/>
                  </a:cubicBezTo>
                  <a:cubicBezTo>
                    <a:pt x="6742" y="2658"/>
                    <a:pt x="6603" y="2542"/>
                    <a:pt x="5490" y="1696"/>
                  </a:cubicBezTo>
                  <a:cubicBezTo>
                    <a:pt x="5102" y="1410"/>
                    <a:pt x="4566" y="1003"/>
                    <a:pt x="3872" y="463"/>
                  </a:cubicBezTo>
                  <a:cubicBezTo>
                    <a:pt x="3295" y="772"/>
                    <a:pt x="2676" y="1119"/>
                    <a:pt x="2024" y="1544"/>
                  </a:cubicBezTo>
                  <a:cubicBezTo>
                    <a:pt x="1387" y="1928"/>
                    <a:pt x="735" y="2353"/>
                    <a:pt x="0" y="2852"/>
                  </a:cubicBezTo>
                  <a:cubicBezTo>
                    <a:pt x="657" y="3582"/>
                    <a:pt x="1465" y="4487"/>
                    <a:pt x="2121" y="5199"/>
                  </a:cubicBezTo>
                  <a:cubicBezTo>
                    <a:pt x="2329" y="5180"/>
                    <a:pt x="2542" y="5180"/>
                    <a:pt x="2736" y="5162"/>
                  </a:cubicBezTo>
                  <a:cubicBezTo>
                    <a:pt x="2985" y="5143"/>
                    <a:pt x="3235" y="5125"/>
                    <a:pt x="3484" y="5125"/>
                  </a:cubicBezTo>
                  <a:cubicBezTo>
                    <a:pt x="3623" y="5106"/>
                    <a:pt x="3775" y="5106"/>
                    <a:pt x="3909" y="5106"/>
                  </a:cubicBezTo>
                  <a:cubicBezTo>
                    <a:pt x="4025" y="5083"/>
                    <a:pt x="4140" y="5083"/>
                    <a:pt x="4256" y="5083"/>
                  </a:cubicBezTo>
                  <a:cubicBezTo>
                    <a:pt x="4408" y="5083"/>
                    <a:pt x="4566" y="5065"/>
                    <a:pt x="4718" y="5065"/>
                  </a:cubicBezTo>
                  <a:lnTo>
                    <a:pt x="4778" y="5065"/>
                  </a:lnTo>
                  <a:cubicBezTo>
                    <a:pt x="5009" y="5046"/>
                    <a:pt x="5217" y="5046"/>
                    <a:pt x="5430" y="5028"/>
                  </a:cubicBezTo>
                  <a:lnTo>
                    <a:pt x="5776" y="5028"/>
                  </a:lnTo>
                  <a:cubicBezTo>
                    <a:pt x="6395" y="5009"/>
                    <a:pt x="6991" y="4991"/>
                    <a:pt x="7550" y="4991"/>
                  </a:cubicBezTo>
                  <a:lnTo>
                    <a:pt x="7684" y="4991"/>
                  </a:lnTo>
                  <a:cubicBezTo>
                    <a:pt x="7837" y="4991"/>
                    <a:pt x="7989" y="4968"/>
                    <a:pt x="8147" y="4968"/>
                  </a:cubicBezTo>
                  <a:lnTo>
                    <a:pt x="9454" y="4968"/>
                  </a:lnTo>
                  <a:cubicBezTo>
                    <a:pt x="10166" y="4968"/>
                    <a:pt x="10840" y="4991"/>
                    <a:pt x="11478" y="5009"/>
                  </a:cubicBezTo>
                  <a:lnTo>
                    <a:pt x="11515" y="5009"/>
                  </a:lnTo>
                  <a:cubicBezTo>
                    <a:pt x="11686" y="5009"/>
                    <a:pt x="11861" y="5028"/>
                    <a:pt x="12032" y="5028"/>
                  </a:cubicBezTo>
                  <a:lnTo>
                    <a:pt x="12226" y="5028"/>
                  </a:lnTo>
                  <a:cubicBezTo>
                    <a:pt x="12342" y="5046"/>
                    <a:pt x="12457" y="5046"/>
                    <a:pt x="12591" y="5046"/>
                  </a:cubicBezTo>
                  <a:lnTo>
                    <a:pt x="12767" y="5046"/>
                  </a:lnTo>
                  <a:cubicBezTo>
                    <a:pt x="12767" y="5046"/>
                    <a:pt x="12786" y="5065"/>
                    <a:pt x="12804" y="5065"/>
                  </a:cubicBezTo>
                  <a:cubicBezTo>
                    <a:pt x="13017" y="5065"/>
                    <a:pt x="13248" y="5083"/>
                    <a:pt x="13460" y="5083"/>
                  </a:cubicBezTo>
                  <a:cubicBezTo>
                    <a:pt x="13516" y="5083"/>
                    <a:pt x="13557" y="5106"/>
                    <a:pt x="13613" y="5106"/>
                  </a:cubicBezTo>
                  <a:cubicBezTo>
                    <a:pt x="13728" y="5106"/>
                    <a:pt x="13844" y="5125"/>
                    <a:pt x="13941" y="5125"/>
                  </a:cubicBezTo>
                  <a:cubicBezTo>
                    <a:pt x="14019" y="5125"/>
                    <a:pt x="14075" y="5125"/>
                    <a:pt x="14135" y="5143"/>
                  </a:cubicBezTo>
                  <a:cubicBezTo>
                    <a:pt x="14287" y="5143"/>
                    <a:pt x="14440" y="5162"/>
                    <a:pt x="14574" y="5162"/>
                  </a:cubicBezTo>
                  <a:cubicBezTo>
                    <a:pt x="14634" y="5162"/>
                    <a:pt x="14689" y="5180"/>
                    <a:pt x="14731" y="5180"/>
                  </a:cubicBezTo>
                  <a:lnTo>
                    <a:pt x="14883" y="5180"/>
                  </a:lnTo>
                  <a:cubicBezTo>
                    <a:pt x="14980" y="5199"/>
                    <a:pt x="15077" y="5199"/>
                    <a:pt x="15151" y="5222"/>
                  </a:cubicBezTo>
                  <a:cubicBezTo>
                    <a:pt x="15364" y="5240"/>
                    <a:pt x="15558" y="5259"/>
                    <a:pt x="15752" y="5277"/>
                  </a:cubicBezTo>
                  <a:lnTo>
                    <a:pt x="15886" y="5277"/>
                  </a:lnTo>
                  <a:cubicBezTo>
                    <a:pt x="15941" y="5277"/>
                    <a:pt x="15983" y="5296"/>
                    <a:pt x="16020" y="5296"/>
                  </a:cubicBezTo>
                  <a:cubicBezTo>
                    <a:pt x="16075" y="5296"/>
                    <a:pt x="16117" y="5296"/>
                    <a:pt x="16154" y="5314"/>
                  </a:cubicBezTo>
                  <a:lnTo>
                    <a:pt x="16172" y="5314"/>
                  </a:lnTo>
                  <a:cubicBezTo>
                    <a:pt x="16348" y="5338"/>
                    <a:pt x="16519" y="5356"/>
                    <a:pt x="16676" y="5374"/>
                  </a:cubicBezTo>
                  <a:cubicBezTo>
                    <a:pt x="17097" y="5411"/>
                    <a:pt x="17485" y="5471"/>
                    <a:pt x="17850" y="5527"/>
                  </a:cubicBezTo>
                  <a:cubicBezTo>
                    <a:pt x="18367" y="5605"/>
                    <a:pt x="18848" y="5684"/>
                    <a:pt x="19254" y="5758"/>
                  </a:cubicBezTo>
                  <a:lnTo>
                    <a:pt x="19254" y="5776"/>
                  </a:lnTo>
                  <a:lnTo>
                    <a:pt x="19333" y="5776"/>
                  </a:lnTo>
                  <a:cubicBezTo>
                    <a:pt x="19425" y="5800"/>
                    <a:pt x="19504" y="5818"/>
                    <a:pt x="19564" y="5837"/>
                  </a:cubicBezTo>
                  <a:cubicBezTo>
                    <a:pt x="19601" y="5837"/>
                    <a:pt x="19619" y="5837"/>
                    <a:pt x="19656" y="5855"/>
                  </a:cubicBezTo>
                  <a:cubicBezTo>
                    <a:pt x="19698" y="5855"/>
                    <a:pt x="19735" y="5873"/>
                    <a:pt x="19772" y="5873"/>
                  </a:cubicBezTo>
                  <a:lnTo>
                    <a:pt x="19795" y="5873"/>
                  </a:lnTo>
                  <a:cubicBezTo>
                    <a:pt x="19850" y="5892"/>
                    <a:pt x="19929" y="5915"/>
                    <a:pt x="19984" y="5934"/>
                  </a:cubicBezTo>
                  <a:cubicBezTo>
                    <a:pt x="20044" y="5934"/>
                    <a:pt x="20081" y="5952"/>
                    <a:pt x="20118" y="5952"/>
                  </a:cubicBezTo>
                  <a:cubicBezTo>
                    <a:pt x="20160" y="5971"/>
                    <a:pt x="20197" y="5971"/>
                    <a:pt x="20234" y="5989"/>
                  </a:cubicBezTo>
                  <a:cubicBezTo>
                    <a:pt x="20276" y="5989"/>
                    <a:pt x="20312" y="6007"/>
                    <a:pt x="20349" y="6007"/>
                  </a:cubicBezTo>
                  <a:cubicBezTo>
                    <a:pt x="20391" y="6031"/>
                    <a:pt x="20428" y="6031"/>
                    <a:pt x="20465" y="6049"/>
                  </a:cubicBezTo>
                  <a:cubicBezTo>
                    <a:pt x="20488" y="6049"/>
                    <a:pt x="20507" y="6049"/>
                    <a:pt x="20525" y="6068"/>
                  </a:cubicBezTo>
                  <a:cubicBezTo>
                    <a:pt x="20604" y="6086"/>
                    <a:pt x="20677" y="6105"/>
                    <a:pt x="20738" y="6123"/>
                  </a:cubicBezTo>
                  <a:cubicBezTo>
                    <a:pt x="20775" y="6123"/>
                    <a:pt x="20811" y="6146"/>
                    <a:pt x="20853" y="6146"/>
                  </a:cubicBezTo>
                  <a:cubicBezTo>
                    <a:pt x="20872" y="6165"/>
                    <a:pt x="20872" y="6165"/>
                    <a:pt x="20890" y="6165"/>
                  </a:cubicBezTo>
                  <a:cubicBezTo>
                    <a:pt x="20909" y="6165"/>
                    <a:pt x="20950" y="6183"/>
                    <a:pt x="20969" y="6183"/>
                  </a:cubicBezTo>
                  <a:cubicBezTo>
                    <a:pt x="20987" y="6202"/>
                    <a:pt x="21006" y="6202"/>
                    <a:pt x="21024" y="6202"/>
                  </a:cubicBezTo>
                  <a:cubicBezTo>
                    <a:pt x="21103" y="6220"/>
                    <a:pt x="21158" y="6262"/>
                    <a:pt x="21218" y="6280"/>
                  </a:cubicBezTo>
                  <a:lnTo>
                    <a:pt x="21255" y="6280"/>
                  </a:lnTo>
                  <a:cubicBezTo>
                    <a:pt x="21274" y="6299"/>
                    <a:pt x="21297" y="6299"/>
                    <a:pt x="21315" y="6299"/>
                  </a:cubicBezTo>
                  <a:lnTo>
                    <a:pt x="21334" y="6317"/>
                  </a:lnTo>
                  <a:cubicBezTo>
                    <a:pt x="21449" y="6354"/>
                    <a:pt x="21486" y="6377"/>
                    <a:pt x="21486" y="6377"/>
                  </a:cubicBezTo>
                  <a:lnTo>
                    <a:pt x="21486" y="4547"/>
                  </a:lnTo>
                  <a:cubicBezTo>
                    <a:pt x="20641" y="3951"/>
                    <a:pt x="19467" y="3120"/>
                    <a:pt x="18312" y="2274"/>
                  </a:cubicBezTo>
                  <a:cubicBezTo>
                    <a:pt x="17231" y="1484"/>
                    <a:pt x="16154" y="657"/>
                    <a:pt x="15327" y="1"/>
                  </a:cubicBezTo>
                  <a:cubicBezTo>
                    <a:pt x="15313" y="0"/>
                    <a:pt x="15299" y="0"/>
                    <a:pt x="15285" y="0"/>
                  </a:cubicBezTo>
                  <a:close/>
                </a:path>
              </a:pathLst>
            </a:custGeom>
            <a:solidFill>
              <a:srgbClr val="9B5C31"/>
            </a:solidFill>
            <a:ln w="9525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0" name="Google Shape;970;p40"/>
            <p:cNvSpPr/>
            <p:nvPr/>
          </p:nvSpPr>
          <p:spPr>
            <a:xfrm>
              <a:off x="5616259" y="1384362"/>
              <a:ext cx="1113300" cy="778514"/>
            </a:xfrm>
            <a:custGeom>
              <a:avLst/>
              <a:gdLst/>
              <a:ahLst/>
              <a:cxnLst/>
              <a:rect l="l" t="t" r="r" b="b"/>
              <a:pathLst>
                <a:path w="6761" h="4737" extrusionOk="0">
                  <a:moveTo>
                    <a:pt x="3872" y="1"/>
                  </a:moveTo>
                  <a:cubicBezTo>
                    <a:pt x="3295" y="310"/>
                    <a:pt x="2676" y="657"/>
                    <a:pt x="2024" y="1082"/>
                  </a:cubicBezTo>
                  <a:cubicBezTo>
                    <a:pt x="1387" y="1466"/>
                    <a:pt x="735" y="1891"/>
                    <a:pt x="0" y="2390"/>
                  </a:cubicBezTo>
                  <a:cubicBezTo>
                    <a:pt x="657" y="3120"/>
                    <a:pt x="1465" y="4025"/>
                    <a:pt x="2121" y="4737"/>
                  </a:cubicBezTo>
                  <a:cubicBezTo>
                    <a:pt x="2329" y="4718"/>
                    <a:pt x="2542" y="4718"/>
                    <a:pt x="2736" y="4700"/>
                  </a:cubicBezTo>
                  <a:cubicBezTo>
                    <a:pt x="2985" y="4681"/>
                    <a:pt x="3235" y="4663"/>
                    <a:pt x="3484" y="4663"/>
                  </a:cubicBezTo>
                  <a:cubicBezTo>
                    <a:pt x="3623" y="4644"/>
                    <a:pt x="3775" y="4644"/>
                    <a:pt x="3909" y="4644"/>
                  </a:cubicBezTo>
                  <a:lnTo>
                    <a:pt x="4718" y="3951"/>
                  </a:lnTo>
                  <a:lnTo>
                    <a:pt x="6760" y="2219"/>
                  </a:lnTo>
                  <a:cubicBezTo>
                    <a:pt x="6760" y="2196"/>
                    <a:pt x="6742" y="2177"/>
                    <a:pt x="6663" y="2140"/>
                  </a:cubicBezTo>
                  <a:cubicBezTo>
                    <a:pt x="6663" y="2140"/>
                    <a:pt x="6663" y="2122"/>
                    <a:pt x="6645" y="2122"/>
                  </a:cubicBezTo>
                  <a:cubicBezTo>
                    <a:pt x="6645" y="2103"/>
                    <a:pt x="6626" y="2103"/>
                    <a:pt x="6603" y="2080"/>
                  </a:cubicBezTo>
                  <a:lnTo>
                    <a:pt x="6585" y="2080"/>
                  </a:lnTo>
                  <a:cubicBezTo>
                    <a:pt x="6566" y="2062"/>
                    <a:pt x="6548" y="2043"/>
                    <a:pt x="6548" y="2043"/>
                  </a:cubicBezTo>
                  <a:cubicBezTo>
                    <a:pt x="6529" y="2025"/>
                    <a:pt x="6511" y="2006"/>
                    <a:pt x="6488" y="2006"/>
                  </a:cubicBezTo>
                  <a:lnTo>
                    <a:pt x="6469" y="1988"/>
                  </a:lnTo>
                  <a:cubicBezTo>
                    <a:pt x="6451" y="1965"/>
                    <a:pt x="6432" y="1965"/>
                    <a:pt x="6432" y="1946"/>
                  </a:cubicBezTo>
                  <a:cubicBezTo>
                    <a:pt x="6414" y="1946"/>
                    <a:pt x="6414" y="1928"/>
                    <a:pt x="6395" y="1928"/>
                  </a:cubicBezTo>
                  <a:cubicBezTo>
                    <a:pt x="6354" y="1891"/>
                    <a:pt x="6298" y="1849"/>
                    <a:pt x="6257" y="1812"/>
                  </a:cubicBezTo>
                  <a:cubicBezTo>
                    <a:pt x="6220" y="1794"/>
                    <a:pt x="6201" y="1775"/>
                    <a:pt x="6183" y="1757"/>
                  </a:cubicBezTo>
                  <a:cubicBezTo>
                    <a:pt x="6164" y="1757"/>
                    <a:pt x="6141" y="1734"/>
                    <a:pt x="6123" y="1715"/>
                  </a:cubicBezTo>
                  <a:cubicBezTo>
                    <a:pt x="6067" y="1678"/>
                    <a:pt x="6007" y="1641"/>
                    <a:pt x="5952" y="1581"/>
                  </a:cubicBezTo>
                  <a:cubicBezTo>
                    <a:pt x="5933" y="1581"/>
                    <a:pt x="5933" y="1563"/>
                    <a:pt x="5910" y="1563"/>
                  </a:cubicBezTo>
                  <a:cubicBezTo>
                    <a:pt x="5873" y="1526"/>
                    <a:pt x="5836" y="1484"/>
                    <a:pt x="5776" y="1466"/>
                  </a:cubicBezTo>
                  <a:cubicBezTo>
                    <a:pt x="5776" y="1447"/>
                    <a:pt x="5758" y="1447"/>
                    <a:pt x="5739" y="1429"/>
                  </a:cubicBezTo>
                  <a:cubicBezTo>
                    <a:pt x="5721" y="1410"/>
                    <a:pt x="5702" y="1387"/>
                    <a:pt x="5661" y="1368"/>
                  </a:cubicBezTo>
                  <a:cubicBezTo>
                    <a:pt x="5642" y="1350"/>
                    <a:pt x="5624" y="1332"/>
                    <a:pt x="5605" y="1332"/>
                  </a:cubicBezTo>
                  <a:cubicBezTo>
                    <a:pt x="5564" y="1295"/>
                    <a:pt x="5527" y="1271"/>
                    <a:pt x="5490" y="1234"/>
                  </a:cubicBezTo>
                  <a:cubicBezTo>
                    <a:pt x="5102" y="948"/>
                    <a:pt x="4566" y="541"/>
                    <a:pt x="3872" y="1"/>
                  </a:cubicBezTo>
                  <a:close/>
                </a:path>
              </a:pathLst>
            </a:custGeom>
            <a:solidFill>
              <a:srgbClr val="2B1A1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1" name="Google Shape;971;p40"/>
            <p:cNvSpPr/>
            <p:nvPr/>
          </p:nvSpPr>
          <p:spPr>
            <a:xfrm>
              <a:off x="5949541" y="1369955"/>
              <a:ext cx="780018" cy="364687"/>
            </a:xfrm>
            <a:custGeom>
              <a:avLst/>
              <a:gdLst/>
              <a:ahLst/>
              <a:cxnLst/>
              <a:rect l="l" t="t" r="r" b="b"/>
              <a:pathLst>
                <a:path w="4737" h="2219" extrusionOk="0">
                  <a:moveTo>
                    <a:pt x="1848" y="1"/>
                  </a:moveTo>
                  <a:cubicBezTo>
                    <a:pt x="1271" y="310"/>
                    <a:pt x="652" y="657"/>
                    <a:pt x="0" y="1082"/>
                  </a:cubicBezTo>
                  <a:lnTo>
                    <a:pt x="1904" y="347"/>
                  </a:lnTo>
                  <a:lnTo>
                    <a:pt x="4736" y="2219"/>
                  </a:lnTo>
                  <a:cubicBezTo>
                    <a:pt x="4718" y="2196"/>
                    <a:pt x="4464" y="2006"/>
                    <a:pt x="184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2" name="Google Shape;972;p40"/>
            <p:cNvSpPr/>
            <p:nvPr/>
          </p:nvSpPr>
          <p:spPr>
            <a:xfrm>
              <a:off x="7328113" y="1294026"/>
              <a:ext cx="1303488" cy="373891"/>
            </a:xfrm>
            <a:custGeom>
              <a:avLst/>
              <a:gdLst/>
              <a:ahLst/>
              <a:cxnLst/>
              <a:rect l="l" t="t" r="r" b="b"/>
              <a:pathLst>
                <a:path w="7916" h="2275" extrusionOk="0">
                  <a:moveTo>
                    <a:pt x="4889" y="0"/>
                  </a:moveTo>
                  <a:cubicBezTo>
                    <a:pt x="3871" y="0"/>
                    <a:pt x="1842" y="647"/>
                    <a:pt x="1" y="1295"/>
                  </a:cubicBezTo>
                  <a:lnTo>
                    <a:pt x="3508" y="809"/>
                  </a:lnTo>
                  <a:lnTo>
                    <a:pt x="3642" y="1562"/>
                  </a:lnTo>
                  <a:lnTo>
                    <a:pt x="4524" y="657"/>
                  </a:lnTo>
                  <a:lnTo>
                    <a:pt x="7916" y="2274"/>
                  </a:lnTo>
                  <a:cubicBezTo>
                    <a:pt x="6835" y="1484"/>
                    <a:pt x="5758" y="657"/>
                    <a:pt x="4931" y="1"/>
                  </a:cubicBezTo>
                  <a:cubicBezTo>
                    <a:pt x="4917" y="0"/>
                    <a:pt x="4903" y="0"/>
                    <a:pt x="4889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3" name="Google Shape;973;p40"/>
            <p:cNvSpPr/>
            <p:nvPr/>
          </p:nvSpPr>
          <p:spPr>
            <a:xfrm>
              <a:off x="-7204" y="2126724"/>
              <a:ext cx="9161631" cy="1396954"/>
            </a:xfrm>
            <a:custGeom>
              <a:avLst/>
              <a:gdLst/>
              <a:ahLst/>
              <a:cxnLst/>
              <a:rect l="l" t="t" r="r" b="b"/>
              <a:pathLst>
                <a:path w="55638" h="8500" extrusionOk="0">
                  <a:moveTo>
                    <a:pt x="43178" y="1"/>
                  </a:moveTo>
                  <a:cubicBezTo>
                    <a:pt x="40955" y="1"/>
                    <a:pt x="38383" y="81"/>
                    <a:pt x="35422" y="280"/>
                  </a:cubicBezTo>
                  <a:cubicBezTo>
                    <a:pt x="34577" y="335"/>
                    <a:pt x="33731" y="395"/>
                    <a:pt x="32862" y="474"/>
                  </a:cubicBezTo>
                  <a:cubicBezTo>
                    <a:pt x="28339" y="876"/>
                    <a:pt x="23658" y="1491"/>
                    <a:pt x="19310" y="2207"/>
                  </a:cubicBezTo>
                  <a:cubicBezTo>
                    <a:pt x="8701" y="3898"/>
                    <a:pt x="1" y="5996"/>
                    <a:pt x="1" y="5996"/>
                  </a:cubicBezTo>
                  <a:lnTo>
                    <a:pt x="1" y="8500"/>
                  </a:lnTo>
                  <a:lnTo>
                    <a:pt x="55637" y="8500"/>
                  </a:lnTo>
                  <a:lnTo>
                    <a:pt x="55637" y="1514"/>
                  </a:lnTo>
                  <a:lnTo>
                    <a:pt x="55637" y="1398"/>
                  </a:lnTo>
                  <a:cubicBezTo>
                    <a:pt x="55637" y="1398"/>
                    <a:pt x="55600" y="1375"/>
                    <a:pt x="55485" y="1338"/>
                  </a:cubicBezTo>
                  <a:cubicBezTo>
                    <a:pt x="54745" y="1066"/>
                    <a:pt x="51278" y="1"/>
                    <a:pt x="43178" y="1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7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4" name="Google Shape;974;p40"/>
            <p:cNvSpPr/>
            <p:nvPr/>
          </p:nvSpPr>
          <p:spPr>
            <a:xfrm>
              <a:off x="6212675" y="2147596"/>
              <a:ext cx="47424" cy="164"/>
            </a:xfrm>
            <a:custGeom>
              <a:avLst/>
              <a:gdLst/>
              <a:ahLst/>
              <a:cxnLst/>
              <a:rect l="l" t="t" r="r" b="b"/>
              <a:pathLst>
                <a:path w="288" h="1" extrusionOk="0">
                  <a:moveTo>
                    <a:pt x="287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5" name="Google Shape;975;p40"/>
            <p:cNvSpPr/>
            <p:nvPr/>
          </p:nvSpPr>
          <p:spPr>
            <a:xfrm>
              <a:off x="-7204" y="2565206"/>
              <a:ext cx="7712909" cy="711789"/>
            </a:xfrm>
            <a:custGeom>
              <a:avLst/>
              <a:gdLst/>
              <a:ahLst/>
              <a:cxnLst/>
              <a:rect l="l" t="t" r="r" b="b"/>
              <a:pathLst>
                <a:path w="46840" h="4331" extrusionOk="0">
                  <a:moveTo>
                    <a:pt x="46493" y="306"/>
                  </a:moveTo>
                  <a:cubicBezTo>
                    <a:pt x="46608" y="306"/>
                    <a:pt x="46724" y="324"/>
                    <a:pt x="46840" y="324"/>
                  </a:cubicBezTo>
                  <a:cubicBezTo>
                    <a:pt x="46724" y="324"/>
                    <a:pt x="46608" y="306"/>
                    <a:pt x="46493" y="306"/>
                  </a:cubicBezTo>
                  <a:close/>
                  <a:moveTo>
                    <a:pt x="38042" y="1"/>
                  </a:moveTo>
                  <a:cubicBezTo>
                    <a:pt x="18575" y="1"/>
                    <a:pt x="1" y="4330"/>
                    <a:pt x="1" y="4330"/>
                  </a:cubicBezTo>
                  <a:lnTo>
                    <a:pt x="1" y="3328"/>
                  </a:lnTo>
                  <a:lnTo>
                    <a:pt x="1" y="3328"/>
                  </a:lnTo>
                  <a:lnTo>
                    <a:pt x="1" y="4330"/>
                  </a:lnTo>
                  <a:cubicBezTo>
                    <a:pt x="1" y="4330"/>
                    <a:pt x="18575" y="1"/>
                    <a:pt x="38042" y="1"/>
                  </a:cubicBezTo>
                  <a:cubicBezTo>
                    <a:pt x="40851" y="1"/>
                    <a:pt x="43684" y="93"/>
                    <a:pt x="46493" y="306"/>
                  </a:cubicBezTo>
                  <a:cubicBezTo>
                    <a:pt x="43684" y="93"/>
                    <a:pt x="40851" y="1"/>
                    <a:pt x="38042" y="1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6" name="Google Shape;976;p40"/>
            <p:cNvSpPr/>
            <p:nvPr/>
          </p:nvSpPr>
          <p:spPr>
            <a:xfrm>
              <a:off x="7096924" y="2124752"/>
              <a:ext cx="2032295" cy="222033"/>
            </a:xfrm>
            <a:custGeom>
              <a:avLst/>
              <a:gdLst/>
              <a:ahLst/>
              <a:cxnLst/>
              <a:rect l="l" t="t" r="r" b="b"/>
              <a:pathLst>
                <a:path w="12342" h="1351" extrusionOk="0">
                  <a:moveTo>
                    <a:pt x="12323" y="1332"/>
                  </a:moveTo>
                  <a:cubicBezTo>
                    <a:pt x="12323" y="1332"/>
                    <a:pt x="12342" y="1332"/>
                    <a:pt x="12342" y="1350"/>
                  </a:cubicBezTo>
                  <a:cubicBezTo>
                    <a:pt x="12342" y="1332"/>
                    <a:pt x="12323" y="1332"/>
                    <a:pt x="12323" y="1332"/>
                  </a:cubicBezTo>
                  <a:close/>
                  <a:moveTo>
                    <a:pt x="12323" y="1332"/>
                  </a:moveTo>
                  <a:lnTo>
                    <a:pt x="12323" y="1332"/>
                  </a:lnTo>
                  <a:lnTo>
                    <a:pt x="12323" y="1332"/>
                  </a:lnTo>
                  <a:close/>
                  <a:moveTo>
                    <a:pt x="37" y="1"/>
                  </a:moveTo>
                  <a:lnTo>
                    <a:pt x="0" y="1"/>
                  </a:lnTo>
                  <a:lnTo>
                    <a:pt x="60" y="1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7" name="Google Shape;977;p40"/>
            <p:cNvSpPr/>
            <p:nvPr/>
          </p:nvSpPr>
          <p:spPr>
            <a:xfrm>
              <a:off x="-7204" y="2996785"/>
              <a:ext cx="9161631" cy="2146707"/>
            </a:xfrm>
            <a:custGeom>
              <a:avLst/>
              <a:gdLst/>
              <a:ahLst/>
              <a:cxnLst/>
              <a:rect l="l" t="t" r="r" b="b"/>
              <a:pathLst>
                <a:path w="55638" h="13062" extrusionOk="0">
                  <a:moveTo>
                    <a:pt x="18328" y="0"/>
                  </a:moveTo>
                  <a:cubicBezTo>
                    <a:pt x="9728" y="0"/>
                    <a:pt x="1" y="1838"/>
                    <a:pt x="1" y="1838"/>
                  </a:cubicBezTo>
                  <a:lnTo>
                    <a:pt x="1" y="13062"/>
                  </a:lnTo>
                  <a:lnTo>
                    <a:pt x="55637" y="13062"/>
                  </a:lnTo>
                  <a:lnTo>
                    <a:pt x="55637" y="1838"/>
                  </a:lnTo>
                  <a:cubicBezTo>
                    <a:pt x="55637" y="1838"/>
                    <a:pt x="54001" y="1880"/>
                    <a:pt x="51326" y="1880"/>
                  </a:cubicBezTo>
                  <a:lnTo>
                    <a:pt x="51308" y="1880"/>
                  </a:lnTo>
                  <a:cubicBezTo>
                    <a:pt x="45241" y="1880"/>
                    <a:pt x="33846" y="1667"/>
                    <a:pt x="23815" y="318"/>
                  </a:cubicBezTo>
                  <a:cubicBezTo>
                    <a:pt x="22124" y="92"/>
                    <a:pt x="20254" y="0"/>
                    <a:pt x="18328" y="0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7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8" name="Google Shape;978;p40"/>
            <p:cNvSpPr/>
            <p:nvPr/>
          </p:nvSpPr>
          <p:spPr>
            <a:xfrm>
              <a:off x="-7204" y="3548667"/>
              <a:ext cx="9161631" cy="1594828"/>
            </a:xfrm>
            <a:custGeom>
              <a:avLst/>
              <a:gdLst/>
              <a:ahLst/>
              <a:cxnLst/>
              <a:rect l="l" t="t" r="r" b="b"/>
              <a:pathLst>
                <a:path w="55638" h="9704" extrusionOk="0">
                  <a:moveTo>
                    <a:pt x="47791" y="0"/>
                  </a:moveTo>
                  <a:cubicBezTo>
                    <a:pt x="42137" y="0"/>
                    <a:pt x="36555" y="1243"/>
                    <a:pt x="31014" y="2426"/>
                  </a:cubicBezTo>
                  <a:cubicBezTo>
                    <a:pt x="25825" y="3542"/>
                    <a:pt x="20552" y="4639"/>
                    <a:pt x="15243" y="4639"/>
                  </a:cubicBezTo>
                  <a:cubicBezTo>
                    <a:pt x="14860" y="4639"/>
                    <a:pt x="14477" y="4633"/>
                    <a:pt x="14094" y="4621"/>
                  </a:cubicBezTo>
                  <a:cubicBezTo>
                    <a:pt x="9126" y="4487"/>
                    <a:pt x="4062" y="3235"/>
                    <a:pt x="1" y="407"/>
                  </a:cubicBezTo>
                  <a:lnTo>
                    <a:pt x="1" y="9704"/>
                  </a:lnTo>
                  <a:lnTo>
                    <a:pt x="55637" y="9704"/>
                  </a:lnTo>
                  <a:lnTo>
                    <a:pt x="55637" y="1678"/>
                  </a:lnTo>
                  <a:cubicBezTo>
                    <a:pt x="53368" y="310"/>
                    <a:pt x="50596" y="0"/>
                    <a:pt x="47916" y="0"/>
                  </a:cubicBezTo>
                  <a:cubicBezTo>
                    <a:pt x="47875" y="0"/>
                    <a:pt x="47833" y="0"/>
                    <a:pt x="47791" y="0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9" name="Google Shape;979;p40"/>
            <p:cNvSpPr/>
            <p:nvPr/>
          </p:nvSpPr>
          <p:spPr>
            <a:xfrm>
              <a:off x="-7204" y="3906782"/>
              <a:ext cx="9161631" cy="1236715"/>
            </a:xfrm>
            <a:custGeom>
              <a:avLst/>
              <a:gdLst/>
              <a:ahLst/>
              <a:cxnLst/>
              <a:rect l="l" t="t" r="r" b="b"/>
              <a:pathLst>
                <a:path w="55638" h="7525" extrusionOk="0">
                  <a:moveTo>
                    <a:pt x="14202" y="1"/>
                  </a:moveTo>
                  <a:cubicBezTo>
                    <a:pt x="5843" y="1"/>
                    <a:pt x="1" y="478"/>
                    <a:pt x="1" y="478"/>
                  </a:cubicBezTo>
                  <a:lnTo>
                    <a:pt x="1" y="7525"/>
                  </a:lnTo>
                  <a:lnTo>
                    <a:pt x="55637" y="7525"/>
                  </a:lnTo>
                  <a:lnTo>
                    <a:pt x="55637" y="5676"/>
                  </a:lnTo>
                  <a:cubicBezTo>
                    <a:pt x="43136" y="971"/>
                    <a:pt x="26114" y="1"/>
                    <a:pt x="14202" y="1"/>
                  </a:cubicBez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0" name="Google Shape;980;p40"/>
            <p:cNvSpPr/>
            <p:nvPr/>
          </p:nvSpPr>
          <p:spPr>
            <a:xfrm>
              <a:off x="7211212" y="3868495"/>
              <a:ext cx="1464860" cy="199189"/>
            </a:xfrm>
            <a:custGeom>
              <a:avLst/>
              <a:gdLst/>
              <a:ahLst/>
              <a:cxnLst/>
              <a:rect l="l" t="t" r="r" b="b"/>
              <a:pathLst>
                <a:path w="8896" h="1212" extrusionOk="0">
                  <a:moveTo>
                    <a:pt x="4450" y="1"/>
                  </a:moveTo>
                  <a:cubicBezTo>
                    <a:pt x="1983" y="1"/>
                    <a:pt x="1" y="287"/>
                    <a:pt x="1" y="615"/>
                  </a:cubicBezTo>
                  <a:cubicBezTo>
                    <a:pt x="1" y="943"/>
                    <a:pt x="1983" y="1211"/>
                    <a:pt x="4450" y="1211"/>
                  </a:cubicBezTo>
                  <a:cubicBezTo>
                    <a:pt x="6913" y="1211"/>
                    <a:pt x="8895" y="943"/>
                    <a:pt x="8895" y="615"/>
                  </a:cubicBezTo>
                  <a:cubicBezTo>
                    <a:pt x="8895" y="287"/>
                    <a:pt x="6913" y="1"/>
                    <a:pt x="4450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1" name="Google Shape;981;p40"/>
            <p:cNvSpPr/>
            <p:nvPr/>
          </p:nvSpPr>
          <p:spPr>
            <a:xfrm>
              <a:off x="1200282" y="4548727"/>
              <a:ext cx="7954143" cy="385888"/>
            </a:xfrm>
            <a:custGeom>
              <a:avLst/>
              <a:gdLst/>
              <a:ahLst/>
              <a:cxnLst/>
              <a:rect l="l" t="t" r="r" b="b"/>
              <a:pathLst>
                <a:path w="48305" h="2348" extrusionOk="0">
                  <a:moveTo>
                    <a:pt x="24162" y="1"/>
                  </a:moveTo>
                  <a:cubicBezTo>
                    <a:pt x="10822" y="1"/>
                    <a:pt x="1" y="523"/>
                    <a:pt x="1" y="1174"/>
                  </a:cubicBezTo>
                  <a:cubicBezTo>
                    <a:pt x="1" y="1830"/>
                    <a:pt x="10822" y="2348"/>
                    <a:pt x="24162" y="2348"/>
                  </a:cubicBezTo>
                  <a:cubicBezTo>
                    <a:pt x="37506" y="2348"/>
                    <a:pt x="48304" y="1830"/>
                    <a:pt x="48304" y="1174"/>
                  </a:cubicBezTo>
                  <a:cubicBezTo>
                    <a:pt x="48304" y="523"/>
                    <a:pt x="37506" y="1"/>
                    <a:pt x="24162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2" name="Google Shape;982;p40"/>
            <p:cNvSpPr/>
            <p:nvPr/>
          </p:nvSpPr>
          <p:spPr>
            <a:xfrm>
              <a:off x="-7204" y="1876586"/>
              <a:ext cx="3179846" cy="1235565"/>
            </a:xfrm>
            <a:custGeom>
              <a:avLst/>
              <a:gdLst/>
              <a:ahLst/>
              <a:cxnLst/>
              <a:rect l="l" t="t" r="r" b="b"/>
              <a:pathLst>
                <a:path w="19311" h="7518" extrusionOk="0">
                  <a:moveTo>
                    <a:pt x="2368" y="1"/>
                  </a:moveTo>
                  <a:cubicBezTo>
                    <a:pt x="1773" y="1"/>
                    <a:pt x="1171" y="149"/>
                    <a:pt x="634" y="416"/>
                  </a:cubicBezTo>
                  <a:cubicBezTo>
                    <a:pt x="421" y="531"/>
                    <a:pt x="209" y="665"/>
                    <a:pt x="1" y="799"/>
                  </a:cubicBezTo>
                  <a:lnTo>
                    <a:pt x="1" y="7518"/>
                  </a:lnTo>
                  <a:cubicBezTo>
                    <a:pt x="1" y="7518"/>
                    <a:pt x="8701" y="5420"/>
                    <a:pt x="19310" y="3729"/>
                  </a:cubicBezTo>
                  <a:cubicBezTo>
                    <a:pt x="19116" y="3170"/>
                    <a:pt x="18575" y="2726"/>
                    <a:pt x="18021" y="2477"/>
                  </a:cubicBezTo>
                  <a:cubicBezTo>
                    <a:pt x="17539" y="2269"/>
                    <a:pt x="17017" y="2170"/>
                    <a:pt x="16494" y="2170"/>
                  </a:cubicBezTo>
                  <a:cubicBezTo>
                    <a:pt x="15363" y="2170"/>
                    <a:pt x="14226" y="2634"/>
                    <a:pt x="13474" y="3475"/>
                  </a:cubicBezTo>
                  <a:cubicBezTo>
                    <a:pt x="13105" y="2052"/>
                    <a:pt x="11578" y="1160"/>
                    <a:pt x="10088" y="1160"/>
                  </a:cubicBezTo>
                  <a:cubicBezTo>
                    <a:pt x="10029" y="1160"/>
                    <a:pt x="9971" y="1162"/>
                    <a:pt x="9912" y="1164"/>
                  </a:cubicBezTo>
                  <a:cubicBezTo>
                    <a:pt x="8392" y="1243"/>
                    <a:pt x="7006" y="2112"/>
                    <a:pt x="5892" y="3151"/>
                  </a:cubicBezTo>
                  <a:cubicBezTo>
                    <a:pt x="5698" y="1705"/>
                    <a:pt x="4561" y="434"/>
                    <a:pt x="3138" y="88"/>
                  </a:cubicBezTo>
                  <a:cubicBezTo>
                    <a:pt x="2887" y="29"/>
                    <a:pt x="2628" y="1"/>
                    <a:pt x="2368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3" name="Google Shape;983;p40"/>
            <p:cNvSpPr/>
            <p:nvPr/>
          </p:nvSpPr>
          <p:spPr>
            <a:xfrm>
              <a:off x="-7204" y="2750427"/>
              <a:ext cx="9161631" cy="555330"/>
            </a:xfrm>
            <a:custGeom>
              <a:avLst/>
              <a:gdLst/>
              <a:ahLst/>
              <a:cxnLst/>
              <a:rect l="l" t="t" r="r" b="b"/>
              <a:pathLst>
                <a:path w="55638" h="3379" extrusionOk="0">
                  <a:moveTo>
                    <a:pt x="15264" y="1"/>
                  </a:moveTo>
                  <a:cubicBezTo>
                    <a:pt x="13174" y="1"/>
                    <a:pt x="11723" y="759"/>
                    <a:pt x="11723" y="759"/>
                  </a:cubicBezTo>
                  <a:cubicBezTo>
                    <a:pt x="11309" y="618"/>
                    <a:pt x="10916" y="561"/>
                    <a:pt x="10551" y="561"/>
                  </a:cubicBezTo>
                  <a:cubicBezTo>
                    <a:pt x="8908" y="561"/>
                    <a:pt x="7814" y="1720"/>
                    <a:pt x="7814" y="1720"/>
                  </a:cubicBezTo>
                  <a:cubicBezTo>
                    <a:pt x="7814" y="1720"/>
                    <a:pt x="7278" y="181"/>
                    <a:pt x="5735" y="84"/>
                  </a:cubicBezTo>
                  <a:cubicBezTo>
                    <a:pt x="5668" y="79"/>
                    <a:pt x="5601" y="77"/>
                    <a:pt x="5533" y="77"/>
                  </a:cubicBezTo>
                  <a:cubicBezTo>
                    <a:pt x="4050" y="77"/>
                    <a:pt x="2482" y="1240"/>
                    <a:pt x="2482" y="1240"/>
                  </a:cubicBezTo>
                  <a:lnTo>
                    <a:pt x="1692" y="814"/>
                  </a:lnTo>
                  <a:cubicBezTo>
                    <a:pt x="1544" y="738"/>
                    <a:pt x="1395" y="706"/>
                    <a:pt x="1248" y="706"/>
                  </a:cubicBezTo>
                  <a:cubicBezTo>
                    <a:pt x="591" y="706"/>
                    <a:pt x="1" y="1337"/>
                    <a:pt x="1" y="1337"/>
                  </a:cubicBezTo>
                  <a:lnTo>
                    <a:pt x="1" y="3337"/>
                  </a:lnTo>
                  <a:cubicBezTo>
                    <a:pt x="1" y="3337"/>
                    <a:pt x="9728" y="1499"/>
                    <a:pt x="18328" y="1499"/>
                  </a:cubicBezTo>
                  <a:cubicBezTo>
                    <a:pt x="20254" y="1499"/>
                    <a:pt x="22124" y="1591"/>
                    <a:pt x="23815" y="1817"/>
                  </a:cubicBezTo>
                  <a:cubicBezTo>
                    <a:pt x="33846" y="3166"/>
                    <a:pt x="45241" y="3379"/>
                    <a:pt x="51308" y="3379"/>
                  </a:cubicBezTo>
                  <a:lnTo>
                    <a:pt x="51326" y="3379"/>
                  </a:lnTo>
                  <a:lnTo>
                    <a:pt x="55637" y="3337"/>
                  </a:lnTo>
                  <a:lnTo>
                    <a:pt x="55637" y="1489"/>
                  </a:lnTo>
                  <a:cubicBezTo>
                    <a:pt x="55050" y="1456"/>
                    <a:pt x="54471" y="1441"/>
                    <a:pt x="53905" y="1441"/>
                  </a:cubicBezTo>
                  <a:cubicBezTo>
                    <a:pt x="48848" y="1441"/>
                    <a:pt x="44797" y="2626"/>
                    <a:pt x="44797" y="2626"/>
                  </a:cubicBezTo>
                  <a:cubicBezTo>
                    <a:pt x="44797" y="2626"/>
                    <a:pt x="44201" y="1720"/>
                    <a:pt x="42450" y="1489"/>
                  </a:cubicBezTo>
                  <a:cubicBezTo>
                    <a:pt x="42301" y="1471"/>
                    <a:pt x="42124" y="1463"/>
                    <a:pt x="41924" y="1463"/>
                  </a:cubicBezTo>
                  <a:cubicBezTo>
                    <a:pt x="39754" y="1463"/>
                    <a:pt x="34942" y="2432"/>
                    <a:pt x="34942" y="2432"/>
                  </a:cubicBezTo>
                  <a:cubicBezTo>
                    <a:pt x="34942" y="2432"/>
                    <a:pt x="34577" y="1914"/>
                    <a:pt x="33823" y="1877"/>
                  </a:cubicBezTo>
                  <a:cubicBezTo>
                    <a:pt x="33790" y="1875"/>
                    <a:pt x="33754" y="1874"/>
                    <a:pt x="33716" y="1874"/>
                  </a:cubicBezTo>
                  <a:cubicBezTo>
                    <a:pt x="32908" y="1874"/>
                    <a:pt x="31167" y="2279"/>
                    <a:pt x="31167" y="2279"/>
                  </a:cubicBezTo>
                  <a:cubicBezTo>
                    <a:pt x="31167" y="2279"/>
                    <a:pt x="27609" y="1434"/>
                    <a:pt x="25335" y="759"/>
                  </a:cubicBezTo>
                  <a:cubicBezTo>
                    <a:pt x="24815" y="605"/>
                    <a:pt x="24217" y="545"/>
                    <a:pt x="23605" y="545"/>
                  </a:cubicBezTo>
                  <a:cubicBezTo>
                    <a:pt x="21541" y="545"/>
                    <a:pt x="19310" y="1221"/>
                    <a:pt x="19310" y="1221"/>
                  </a:cubicBezTo>
                  <a:cubicBezTo>
                    <a:pt x="19310" y="1221"/>
                    <a:pt x="19195" y="468"/>
                    <a:pt x="16459" y="84"/>
                  </a:cubicBezTo>
                  <a:cubicBezTo>
                    <a:pt x="16043" y="26"/>
                    <a:pt x="15643" y="1"/>
                    <a:pt x="15264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4" name="Google Shape;984;p40"/>
            <p:cNvSpPr/>
            <p:nvPr/>
          </p:nvSpPr>
          <p:spPr>
            <a:xfrm>
              <a:off x="3533745" y="4564669"/>
              <a:ext cx="5383228" cy="300920"/>
            </a:xfrm>
            <a:custGeom>
              <a:avLst/>
              <a:gdLst/>
              <a:ahLst/>
              <a:cxnLst/>
              <a:rect l="l" t="t" r="r" b="b"/>
              <a:pathLst>
                <a:path w="32692" h="1831" extrusionOk="0">
                  <a:moveTo>
                    <a:pt x="16344" y="1"/>
                  </a:moveTo>
                  <a:cubicBezTo>
                    <a:pt x="7315" y="1"/>
                    <a:pt x="1" y="426"/>
                    <a:pt x="1" y="925"/>
                  </a:cubicBezTo>
                  <a:cubicBezTo>
                    <a:pt x="1" y="1424"/>
                    <a:pt x="7315" y="1830"/>
                    <a:pt x="16344" y="1830"/>
                  </a:cubicBezTo>
                  <a:cubicBezTo>
                    <a:pt x="25372" y="1830"/>
                    <a:pt x="32691" y="1424"/>
                    <a:pt x="32691" y="925"/>
                  </a:cubicBezTo>
                  <a:cubicBezTo>
                    <a:pt x="32691" y="426"/>
                    <a:pt x="25372" y="1"/>
                    <a:pt x="16344" y="1"/>
                  </a:cubicBezTo>
                  <a:close/>
                </a:path>
              </a:pathLst>
            </a:custGeom>
            <a:solidFill>
              <a:srgbClr val="F1B4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5" name="Google Shape;985;p40"/>
            <p:cNvSpPr/>
            <p:nvPr/>
          </p:nvSpPr>
          <p:spPr>
            <a:xfrm>
              <a:off x="5569001" y="4336882"/>
              <a:ext cx="3071826" cy="199189"/>
            </a:xfrm>
            <a:custGeom>
              <a:avLst/>
              <a:gdLst/>
              <a:ahLst/>
              <a:cxnLst/>
              <a:rect l="l" t="t" r="r" b="b"/>
              <a:pathLst>
                <a:path w="18655" h="1212" extrusionOk="0">
                  <a:moveTo>
                    <a:pt x="9339" y="1"/>
                  </a:moveTo>
                  <a:cubicBezTo>
                    <a:pt x="4178" y="1"/>
                    <a:pt x="1" y="269"/>
                    <a:pt x="1" y="615"/>
                  </a:cubicBezTo>
                  <a:cubicBezTo>
                    <a:pt x="1" y="943"/>
                    <a:pt x="4178" y="1211"/>
                    <a:pt x="9339" y="1211"/>
                  </a:cubicBezTo>
                  <a:cubicBezTo>
                    <a:pt x="14477" y="1211"/>
                    <a:pt x="18654" y="943"/>
                    <a:pt x="18654" y="615"/>
                  </a:cubicBezTo>
                  <a:cubicBezTo>
                    <a:pt x="18654" y="269"/>
                    <a:pt x="14477" y="1"/>
                    <a:pt x="9339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6" name="Google Shape;986;p40"/>
            <p:cNvSpPr/>
            <p:nvPr/>
          </p:nvSpPr>
          <p:spPr>
            <a:xfrm>
              <a:off x="3469855" y="3837263"/>
              <a:ext cx="146223" cy="31226"/>
            </a:xfrm>
            <a:custGeom>
              <a:avLst/>
              <a:gdLst/>
              <a:ahLst/>
              <a:cxnLst/>
              <a:rect l="l" t="t" r="r" b="b"/>
              <a:pathLst>
                <a:path w="888" h="190" extrusionOk="0">
                  <a:moveTo>
                    <a:pt x="444" y="0"/>
                  </a:moveTo>
                  <a:cubicBezTo>
                    <a:pt x="195" y="0"/>
                    <a:pt x="1" y="37"/>
                    <a:pt x="1" y="93"/>
                  </a:cubicBezTo>
                  <a:cubicBezTo>
                    <a:pt x="1" y="153"/>
                    <a:pt x="195" y="190"/>
                    <a:pt x="444" y="190"/>
                  </a:cubicBezTo>
                  <a:cubicBezTo>
                    <a:pt x="694" y="190"/>
                    <a:pt x="888" y="153"/>
                    <a:pt x="888" y="93"/>
                  </a:cubicBezTo>
                  <a:cubicBezTo>
                    <a:pt x="888" y="37"/>
                    <a:pt x="694" y="0"/>
                    <a:pt x="444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7" name="Google Shape;987;p40"/>
            <p:cNvSpPr/>
            <p:nvPr/>
          </p:nvSpPr>
          <p:spPr>
            <a:xfrm>
              <a:off x="4313762" y="4362028"/>
              <a:ext cx="133214" cy="35006"/>
            </a:xfrm>
            <a:custGeom>
              <a:avLst/>
              <a:gdLst/>
              <a:ahLst/>
              <a:cxnLst/>
              <a:rect l="l" t="t" r="r" b="b"/>
              <a:pathLst>
                <a:path w="809" h="213" extrusionOk="0">
                  <a:moveTo>
                    <a:pt x="402" y="0"/>
                  </a:moveTo>
                  <a:cubicBezTo>
                    <a:pt x="171" y="0"/>
                    <a:pt x="0" y="60"/>
                    <a:pt x="0" y="116"/>
                  </a:cubicBezTo>
                  <a:cubicBezTo>
                    <a:pt x="0" y="176"/>
                    <a:pt x="171" y="213"/>
                    <a:pt x="402" y="213"/>
                  </a:cubicBezTo>
                  <a:cubicBezTo>
                    <a:pt x="615" y="213"/>
                    <a:pt x="809" y="176"/>
                    <a:pt x="809" y="116"/>
                  </a:cubicBezTo>
                  <a:cubicBezTo>
                    <a:pt x="809" y="60"/>
                    <a:pt x="615" y="0"/>
                    <a:pt x="402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8" name="Google Shape;988;p40"/>
            <p:cNvSpPr/>
            <p:nvPr/>
          </p:nvSpPr>
          <p:spPr>
            <a:xfrm>
              <a:off x="5200810" y="3491638"/>
              <a:ext cx="140130" cy="32048"/>
            </a:xfrm>
            <a:custGeom>
              <a:avLst/>
              <a:gdLst/>
              <a:ahLst/>
              <a:cxnLst/>
              <a:rect l="l" t="t" r="r" b="b"/>
              <a:pathLst>
                <a:path w="851" h="195" extrusionOk="0">
                  <a:moveTo>
                    <a:pt x="426" y="1"/>
                  </a:moveTo>
                  <a:cubicBezTo>
                    <a:pt x="195" y="1"/>
                    <a:pt x="1" y="42"/>
                    <a:pt x="1" y="98"/>
                  </a:cubicBezTo>
                  <a:cubicBezTo>
                    <a:pt x="1" y="158"/>
                    <a:pt x="195" y="195"/>
                    <a:pt x="426" y="195"/>
                  </a:cubicBezTo>
                  <a:cubicBezTo>
                    <a:pt x="657" y="195"/>
                    <a:pt x="851" y="158"/>
                    <a:pt x="851" y="98"/>
                  </a:cubicBezTo>
                  <a:cubicBezTo>
                    <a:pt x="851" y="42"/>
                    <a:pt x="657" y="1"/>
                    <a:pt x="426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9" name="Google Shape;989;p40"/>
            <p:cNvSpPr/>
            <p:nvPr/>
          </p:nvSpPr>
          <p:spPr>
            <a:xfrm>
              <a:off x="1520555" y="3422612"/>
              <a:ext cx="101434" cy="28268"/>
            </a:xfrm>
            <a:custGeom>
              <a:avLst/>
              <a:gdLst/>
              <a:ahLst/>
              <a:cxnLst/>
              <a:rect l="l" t="t" r="r" b="b"/>
              <a:pathLst>
                <a:path w="616" h="172" extrusionOk="0">
                  <a:moveTo>
                    <a:pt x="310" y="0"/>
                  </a:moveTo>
                  <a:cubicBezTo>
                    <a:pt x="135" y="0"/>
                    <a:pt x="1" y="37"/>
                    <a:pt x="1" y="74"/>
                  </a:cubicBezTo>
                  <a:cubicBezTo>
                    <a:pt x="1" y="134"/>
                    <a:pt x="135" y="171"/>
                    <a:pt x="310" y="171"/>
                  </a:cubicBezTo>
                  <a:cubicBezTo>
                    <a:pt x="481" y="171"/>
                    <a:pt x="615" y="134"/>
                    <a:pt x="615" y="74"/>
                  </a:cubicBezTo>
                  <a:cubicBezTo>
                    <a:pt x="615" y="37"/>
                    <a:pt x="481" y="0"/>
                    <a:pt x="310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90" name="Google Shape;990;p40"/>
            <p:cNvSpPr/>
            <p:nvPr/>
          </p:nvSpPr>
          <p:spPr>
            <a:xfrm>
              <a:off x="3583968" y="3232789"/>
              <a:ext cx="76240" cy="25145"/>
            </a:xfrm>
            <a:custGeom>
              <a:avLst/>
              <a:gdLst/>
              <a:ahLst/>
              <a:cxnLst/>
              <a:rect l="l" t="t" r="r" b="b"/>
              <a:pathLst>
                <a:path w="463" h="153" extrusionOk="0">
                  <a:moveTo>
                    <a:pt x="232" y="0"/>
                  </a:moveTo>
                  <a:cubicBezTo>
                    <a:pt x="98" y="0"/>
                    <a:pt x="1" y="37"/>
                    <a:pt x="1" y="74"/>
                  </a:cubicBezTo>
                  <a:cubicBezTo>
                    <a:pt x="1" y="116"/>
                    <a:pt x="98" y="153"/>
                    <a:pt x="232" y="153"/>
                  </a:cubicBezTo>
                  <a:cubicBezTo>
                    <a:pt x="347" y="153"/>
                    <a:pt x="463" y="116"/>
                    <a:pt x="463" y="74"/>
                  </a:cubicBezTo>
                  <a:cubicBezTo>
                    <a:pt x="463" y="37"/>
                    <a:pt x="347" y="0"/>
                    <a:pt x="232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91" name="Google Shape;991;p40"/>
            <p:cNvSpPr/>
            <p:nvPr/>
          </p:nvSpPr>
          <p:spPr>
            <a:xfrm>
              <a:off x="7068767" y="4336882"/>
              <a:ext cx="79204" cy="13148"/>
            </a:xfrm>
            <a:custGeom>
              <a:avLst/>
              <a:gdLst/>
              <a:ahLst/>
              <a:cxnLst/>
              <a:rect l="l" t="t" r="r" b="b"/>
              <a:pathLst>
                <a:path w="481" h="80" extrusionOk="0">
                  <a:moveTo>
                    <a:pt x="250" y="1"/>
                  </a:moveTo>
                  <a:cubicBezTo>
                    <a:pt x="116" y="1"/>
                    <a:pt x="0" y="19"/>
                    <a:pt x="0" y="38"/>
                  </a:cubicBezTo>
                  <a:cubicBezTo>
                    <a:pt x="0" y="56"/>
                    <a:pt x="116" y="79"/>
                    <a:pt x="250" y="79"/>
                  </a:cubicBezTo>
                  <a:cubicBezTo>
                    <a:pt x="384" y="79"/>
                    <a:pt x="481" y="56"/>
                    <a:pt x="481" y="38"/>
                  </a:cubicBezTo>
                  <a:cubicBezTo>
                    <a:pt x="481" y="19"/>
                    <a:pt x="384" y="1"/>
                    <a:pt x="250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92" name="Google Shape;992;p40"/>
            <p:cNvSpPr/>
            <p:nvPr/>
          </p:nvSpPr>
          <p:spPr>
            <a:xfrm>
              <a:off x="7109768" y="5004466"/>
              <a:ext cx="101434" cy="28925"/>
            </a:xfrm>
            <a:custGeom>
              <a:avLst/>
              <a:gdLst/>
              <a:ahLst/>
              <a:cxnLst/>
              <a:rect l="l" t="t" r="r" b="b"/>
              <a:pathLst>
                <a:path w="616" h="176" extrusionOk="0">
                  <a:moveTo>
                    <a:pt x="306" y="0"/>
                  </a:moveTo>
                  <a:cubicBezTo>
                    <a:pt x="135" y="0"/>
                    <a:pt x="1" y="37"/>
                    <a:pt x="1" y="79"/>
                  </a:cubicBezTo>
                  <a:cubicBezTo>
                    <a:pt x="1" y="134"/>
                    <a:pt x="135" y="176"/>
                    <a:pt x="306" y="176"/>
                  </a:cubicBezTo>
                  <a:cubicBezTo>
                    <a:pt x="481" y="176"/>
                    <a:pt x="615" y="134"/>
                    <a:pt x="615" y="79"/>
                  </a:cubicBezTo>
                  <a:cubicBezTo>
                    <a:pt x="615" y="37"/>
                    <a:pt x="481" y="0"/>
                    <a:pt x="306" y="0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93" name="Google Shape;993;p40"/>
            <p:cNvSpPr/>
            <p:nvPr/>
          </p:nvSpPr>
          <p:spPr>
            <a:xfrm>
              <a:off x="5261736" y="5055249"/>
              <a:ext cx="120370" cy="44209"/>
            </a:xfrm>
            <a:custGeom>
              <a:avLst/>
              <a:gdLst/>
              <a:ahLst/>
              <a:cxnLst/>
              <a:rect l="l" t="t" r="r" b="b"/>
              <a:pathLst>
                <a:path w="731" h="269" extrusionOk="0">
                  <a:moveTo>
                    <a:pt x="365" y="1"/>
                  </a:moveTo>
                  <a:cubicBezTo>
                    <a:pt x="171" y="1"/>
                    <a:pt x="0" y="56"/>
                    <a:pt x="0" y="135"/>
                  </a:cubicBezTo>
                  <a:cubicBezTo>
                    <a:pt x="0" y="213"/>
                    <a:pt x="171" y="269"/>
                    <a:pt x="365" y="269"/>
                  </a:cubicBezTo>
                  <a:cubicBezTo>
                    <a:pt x="578" y="269"/>
                    <a:pt x="730" y="213"/>
                    <a:pt x="730" y="135"/>
                  </a:cubicBezTo>
                  <a:cubicBezTo>
                    <a:pt x="730" y="56"/>
                    <a:pt x="578" y="1"/>
                    <a:pt x="365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94" name="Google Shape;994;p40"/>
            <p:cNvSpPr/>
            <p:nvPr/>
          </p:nvSpPr>
          <p:spPr>
            <a:xfrm>
              <a:off x="5200810" y="4090031"/>
              <a:ext cx="99128" cy="32048"/>
            </a:xfrm>
            <a:custGeom>
              <a:avLst/>
              <a:gdLst/>
              <a:ahLst/>
              <a:cxnLst/>
              <a:rect l="l" t="t" r="r" b="b"/>
              <a:pathLst>
                <a:path w="602" h="195" extrusionOk="0">
                  <a:moveTo>
                    <a:pt x="292" y="1"/>
                  </a:moveTo>
                  <a:cubicBezTo>
                    <a:pt x="139" y="1"/>
                    <a:pt x="1" y="38"/>
                    <a:pt x="1" y="98"/>
                  </a:cubicBezTo>
                  <a:cubicBezTo>
                    <a:pt x="1" y="135"/>
                    <a:pt x="139" y="195"/>
                    <a:pt x="292" y="195"/>
                  </a:cubicBezTo>
                  <a:cubicBezTo>
                    <a:pt x="463" y="195"/>
                    <a:pt x="601" y="135"/>
                    <a:pt x="601" y="98"/>
                  </a:cubicBezTo>
                  <a:cubicBezTo>
                    <a:pt x="601" y="38"/>
                    <a:pt x="463" y="1"/>
                    <a:pt x="292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95" name="Google Shape;995;p40"/>
            <p:cNvSpPr/>
            <p:nvPr/>
          </p:nvSpPr>
          <p:spPr>
            <a:xfrm>
              <a:off x="4449940" y="3441512"/>
              <a:ext cx="89084" cy="28268"/>
            </a:xfrm>
            <a:custGeom>
              <a:avLst/>
              <a:gdLst/>
              <a:ahLst/>
              <a:cxnLst/>
              <a:rect l="l" t="t" r="r" b="b"/>
              <a:pathLst>
                <a:path w="541" h="172" extrusionOk="0">
                  <a:moveTo>
                    <a:pt x="268" y="1"/>
                  </a:moveTo>
                  <a:cubicBezTo>
                    <a:pt x="116" y="1"/>
                    <a:pt x="0" y="38"/>
                    <a:pt x="0" y="98"/>
                  </a:cubicBezTo>
                  <a:cubicBezTo>
                    <a:pt x="0" y="135"/>
                    <a:pt x="116" y="172"/>
                    <a:pt x="268" y="172"/>
                  </a:cubicBezTo>
                  <a:cubicBezTo>
                    <a:pt x="425" y="172"/>
                    <a:pt x="541" y="135"/>
                    <a:pt x="541" y="98"/>
                  </a:cubicBezTo>
                  <a:cubicBezTo>
                    <a:pt x="541" y="38"/>
                    <a:pt x="425" y="1"/>
                    <a:pt x="268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96" name="Google Shape;996;p40"/>
            <p:cNvSpPr/>
            <p:nvPr/>
          </p:nvSpPr>
          <p:spPr>
            <a:xfrm>
              <a:off x="1609639" y="3143877"/>
              <a:ext cx="50387" cy="22187"/>
            </a:xfrm>
            <a:custGeom>
              <a:avLst/>
              <a:gdLst/>
              <a:ahLst/>
              <a:cxnLst/>
              <a:rect l="l" t="t" r="r" b="b"/>
              <a:pathLst>
                <a:path w="306" h="135" extrusionOk="0">
                  <a:moveTo>
                    <a:pt x="153" y="1"/>
                  </a:moveTo>
                  <a:cubicBezTo>
                    <a:pt x="56" y="1"/>
                    <a:pt x="1" y="38"/>
                    <a:pt x="1" y="61"/>
                  </a:cubicBezTo>
                  <a:cubicBezTo>
                    <a:pt x="1" y="98"/>
                    <a:pt x="56" y="135"/>
                    <a:pt x="153" y="135"/>
                  </a:cubicBezTo>
                  <a:cubicBezTo>
                    <a:pt x="232" y="135"/>
                    <a:pt x="305" y="98"/>
                    <a:pt x="305" y="61"/>
                  </a:cubicBezTo>
                  <a:cubicBezTo>
                    <a:pt x="305" y="38"/>
                    <a:pt x="232" y="1"/>
                    <a:pt x="153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97" name="Google Shape;997;p40"/>
            <p:cNvSpPr/>
            <p:nvPr/>
          </p:nvSpPr>
          <p:spPr>
            <a:xfrm>
              <a:off x="7087703" y="3830360"/>
              <a:ext cx="101434" cy="29090"/>
            </a:xfrm>
            <a:custGeom>
              <a:avLst/>
              <a:gdLst/>
              <a:ahLst/>
              <a:cxnLst/>
              <a:rect l="l" t="t" r="r" b="b"/>
              <a:pathLst>
                <a:path w="616" h="177" extrusionOk="0">
                  <a:moveTo>
                    <a:pt x="306" y="1"/>
                  </a:moveTo>
                  <a:cubicBezTo>
                    <a:pt x="135" y="1"/>
                    <a:pt x="1" y="42"/>
                    <a:pt x="1" y="79"/>
                  </a:cubicBezTo>
                  <a:cubicBezTo>
                    <a:pt x="1" y="135"/>
                    <a:pt x="135" y="176"/>
                    <a:pt x="306" y="176"/>
                  </a:cubicBezTo>
                  <a:cubicBezTo>
                    <a:pt x="481" y="176"/>
                    <a:pt x="615" y="135"/>
                    <a:pt x="615" y="79"/>
                  </a:cubicBezTo>
                  <a:cubicBezTo>
                    <a:pt x="615" y="42"/>
                    <a:pt x="481" y="1"/>
                    <a:pt x="306" y="1"/>
                  </a:cubicBez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51701034"/>
      </p:ext>
    </p:extLst>
  </p:cSld>
  <p:clrMapOvr>
    <a:masterClrMapping/>
  </p:clrMapOvr>
  <p:transition spd="slow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3910660"/>
      </p:ext>
    </p:extLst>
  </p:cSld>
  <p:clrMapOvr>
    <a:masterClrMapping/>
  </p:clrMapOvr>
  <p:transition spd="slow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89067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41259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11206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195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14CAFC4-799C-4CDE-B92B-8C262F06CF3E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93870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67476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55913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81803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67818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17250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8734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07725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/>
          <p:nvPr/>
        </p:nvSpPr>
        <p:spPr>
          <a:xfrm>
            <a:off x="361400" y="294400"/>
            <a:ext cx="11469200" cy="6269200"/>
          </a:xfrm>
          <a:prstGeom prst="rect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10" name="Google Shape;10;p2"/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950800" y="2102951"/>
            <a:ext cx="6951600" cy="210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None/>
              <a:defRPr sz="61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1"/>
          </p:nvPr>
        </p:nvSpPr>
        <p:spPr>
          <a:xfrm>
            <a:off x="1123367" y="4324715"/>
            <a:ext cx="4989200" cy="550800"/>
          </a:xfrm>
          <a:prstGeom prst="rect">
            <a:avLst/>
          </a:prstGeom>
          <a:solidFill>
            <a:schemeClr val="lt2"/>
          </a:solidFill>
          <a:ln w="3810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133">
                <a:solidFill>
                  <a:schemeClr val="accent6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8420778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/>
          <p:nvPr/>
        </p:nvSpPr>
        <p:spPr>
          <a:xfrm>
            <a:off x="361400" y="294400"/>
            <a:ext cx="11469200" cy="6269200"/>
          </a:xfrm>
          <a:prstGeom prst="rect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15" name="Google Shape;15;p3"/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4074584" y="2906900"/>
            <a:ext cx="4042800" cy="123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64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 idx="2" hasCustomPrompt="1"/>
          </p:nvPr>
        </p:nvSpPr>
        <p:spPr>
          <a:xfrm>
            <a:off x="5494984" y="1535467"/>
            <a:ext cx="1202000" cy="959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>
                <a:solidFill>
                  <a:schemeClr val="dk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t>xx%</a:t>
            </a:r>
          </a:p>
        </p:txBody>
      </p:sp>
      <p:sp>
        <p:nvSpPr>
          <p:cNvPr id="18" name="Google Shape;18;p3"/>
          <p:cNvSpPr txBox="1">
            <a:spLocks noGrp="1"/>
          </p:cNvSpPr>
          <p:nvPr>
            <p:ph type="subTitle" idx="1"/>
          </p:nvPr>
        </p:nvSpPr>
        <p:spPr>
          <a:xfrm>
            <a:off x="3509400" y="4235000"/>
            <a:ext cx="5173200" cy="550800"/>
          </a:xfrm>
          <a:prstGeom prst="rect">
            <a:avLst/>
          </a:prstGeom>
          <a:solidFill>
            <a:schemeClr val="lt2"/>
          </a:solidFill>
          <a:ln w="3810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21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436391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5"/>
          <p:cNvSpPr/>
          <p:nvPr/>
        </p:nvSpPr>
        <p:spPr>
          <a:xfrm>
            <a:off x="361400" y="294400"/>
            <a:ext cx="11469200" cy="6269200"/>
          </a:xfrm>
          <a:prstGeom prst="rect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26" name="Google Shape;26;p5"/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Google Shape;27;p5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5"/>
          <p:cNvSpPr txBox="1">
            <a:spLocks noGrp="1"/>
          </p:cNvSpPr>
          <p:nvPr>
            <p:ph type="subTitle" idx="1"/>
          </p:nvPr>
        </p:nvSpPr>
        <p:spPr>
          <a:xfrm>
            <a:off x="1944569" y="2638856"/>
            <a:ext cx="34692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subTitle" idx="2"/>
          </p:nvPr>
        </p:nvSpPr>
        <p:spPr>
          <a:xfrm>
            <a:off x="1944569" y="4665099"/>
            <a:ext cx="34692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subTitle" idx="3"/>
          </p:nvPr>
        </p:nvSpPr>
        <p:spPr>
          <a:xfrm>
            <a:off x="1944567" y="2158115"/>
            <a:ext cx="3469200" cy="6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Font typeface="Anton"/>
              <a:buNone/>
              <a:defRPr sz="3200" b="1"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subTitle" idx="4"/>
          </p:nvPr>
        </p:nvSpPr>
        <p:spPr>
          <a:xfrm>
            <a:off x="1944567" y="4184359"/>
            <a:ext cx="3469200" cy="6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Anton"/>
              <a:buNone/>
              <a:defRPr sz="3200" b="1"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92148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圆角矩形 4"/>
          <p:cNvSpPr/>
          <p:nvPr userDrawn="1"/>
        </p:nvSpPr>
        <p:spPr>
          <a:xfrm>
            <a:off x="1139634" y="1031258"/>
            <a:ext cx="9912734" cy="4289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圆角矩形 5"/>
          <p:cNvSpPr/>
          <p:nvPr userDrawn="1"/>
        </p:nvSpPr>
        <p:spPr>
          <a:xfrm>
            <a:off x="5900057" y="6451899"/>
            <a:ext cx="391889" cy="2201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E729073-8FFE-4F18-B513-07581FC6638E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4673601" y="6396227"/>
            <a:ext cx="2844800" cy="365125"/>
          </a:xfrm>
        </p:spPr>
        <p:txBody>
          <a:bodyPr/>
          <a:lstStyle>
            <a:lvl1pPr algn="ctr">
              <a:defRPr>
                <a:latin typeface="ITC Avant Garde Std Bk" panose="020B0502020202020204" pitchFamily="34" charset="0"/>
              </a:defRPr>
            </a:lvl1pPr>
          </a:lstStyle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29896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7"/>
          <p:cNvSpPr/>
          <p:nvPr/>
        </p:nvSpPr>
        <p:spPr>
          <a:xfrm>
            <a:off x="361400" y="294400"/>
            <a:ext cx="11469200" cy="6269200"/>
          </a:xfrm>
          <a:prstGeom prst="rect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87" name="Google Shape;87;p7"/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7"/>
          <p:cNvSpPr txBox="1">
            <a:spLocks noGrp="1"/>
          </p:cNvSpPr>
          <p:nvPr>
            <p:ph type="title"/>
          </p:nvPr>
        </p:nvSpPr>
        <p:spPr>
          <a:xfrm>
            <a:off x="960013" y="720957"/>
            <a:ext cx="10272000" cy="69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9pPr>
          </a:lstStyle>
          <a:p>
            <a:endParaRPr/>
          </a:p>
        </p:txBody>
      </p:sp>
      <p:sp>
        <p:nvSpPr>
          <p:cNvPr id="89" name="Google Shape;89;p7"/>
          <p:cNvSpPr txBox="1">
            <a:spLocks noGrp="1"/>
          </p:cNvSpPr>
          <p:nvPr>
            <p:ph type="subTitle" idx="1"/>
          </p:nvPr>
        </p:nvSpPr>
        <p:spPr>
          <a:xfrm>
            <a:off x="3198800" y="2031600"/>
            <a:ext cx="5794400" cy="279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27652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●"/>
              <a:defRPr/>
            </a:lvl1pPr>
            <a:lvl2pPr lvl="1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 sz="28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28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28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28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28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28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28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681022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9"/>
          <p:cNvSpPr/>
          <p:nvPr/>
        </p:nvSpPr>
        <p:spPr>
          <a:xfrm>
            <a:off x="361400" y="294400"/>
            <a:ext cx="11469200" cy="6269200"/>
          </a:xfrm>
          <a:prstGeom prst="rect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96" name="Google Shape;96;p9"/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97" name="Google Shape;97;p9"/>
          <p:cNvSpPr txBox="1">
            <a:spLocks noGrp="1"/>
          </p:cNvSpPr>
          <p:nvPr>
            <p:ph type="title"/>
          </p:nvPr>
        </p:nvSpPr>
        <p:spPr>
          <a:xfrm>
            <a:off x="960133" y="2273284"/>
            <a:ext cx="5136000" cy="151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96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defRPr>
            </a:lvl9pPr>
          </a:lstStyle>
          <a:p>
            <a:endParaRPr/>
          </a:p>
        </p:txBody>
      </p:sp>
      <p:sp>
        <p:nvSpPr>
          <p:cNvPr id="98" name="Google Shape;98;p9"/>
          <p:cNvSpPr txBox="1">
            <a:spLocks noGrp="1"/>
          </p:cNvSpPr>
          <p:nvPr>
            <p:ph type="subTitle" idx="1"/>
          </p:nvPr>
        </p:nvSpPr>
        <p:spPr>
          <a:xfrm>
            <a:off x="960000" y="3589517"/>
            <a:ext cx="5136000" cy="99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 panose="020F0502020204030203"/>
              <a:buChar char="●"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 panose="020F0502020204030203"/>
              <a:buChar char="○"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 panose="020F0502020204030203"/>
              <a:buChar char="■"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 panose="020F0502020204030203"/>
              <a:buChar char="●"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 panose="020F0502020204030203"/>
              <a:buChar char="○"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 panose="020F0502020204030203"/>
              <a:buChar char="■"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 panose="020F0502020204030203"/>
              <a:buChar char="●"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 panose="020F0502020204030203"/>
              <a:buChar char="○"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400"/>
              <a:buFont typeface="Lato" panose="020F0502020204030203"/>
              <a:buChar char="■"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7473342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solidFill>
          <a:srgbClr val="FFFFFF"/>
        </a:solidFill>
        <a:effectLst/>
      </p:bgPr>
    </p:bg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107924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15"/>
          <p:cNvSpPr/>
          <p:nvPr/>
        </p:nvSpPr>
        <p:spPr>
          <a:xfrm>
            <a:off x="361400" y="294400"/>
            <a:ext cx="11469200" cy="6269200"/>
          </a:xfrm>
          <a:prstGeom prst="rect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138" name="Google Shape;138;p15"/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39" name="Google Shape;139;p15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2988380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9"/>
          <p:cNvSpPr/>
          <p:nvPr/>
        </p:nvSpPr>
        <p:spPr>
          <a:xfrm>
            <a:off x="361400" y="294400"/>
            <a:ext cx="11469200" cy="6269200"/>
          </a:xfrm>
          <a:prstGeom prst="rect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158" name="Google Shape;158;p19"/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19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19"/>
          <p:cNvSpPr txBox="1">
            <a:spLocks noGrp="1"/>
          </p:cNvSpPr>
          <p:nvPr>
            <p:ph type="subTitle" idx="1"/>
          </p:nvPr>
        </p:nvSpPr>
        <p:spPr>
          <a:xfrm>
            <a:off x="1721335" y="3267833"/>
            <a:ext cx="2479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61" name="Google Shape;161;p19"/>
          <p:cNvSpPr txBox="1">
            <a:spLocks noGrp="1"/>
          </p:cNvSpPr>
          <p:nvPr>
            <p:ph type="subTitle" idx="2"/>
          </p:nvPr>
        </p:nvSpPr>
        <p:spPr>
          <a:xfrm>
            <a:off x="7991075" y="3267833"/>
            <a:ext cx="2479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62" name="Google Shape;162;p19"/>
          <p:cNvSpPr txBox="1">
            <a:spLocks noGrp="1"/>
          </p:cNvSpPr>
          <p:nvPr>
            <p:ph type="subTitle" idx="3"/>
          </p:nvPr>
        </p:nvSpPr>
        <p:spPr>
          <a:xfrm>
            <a:off x="4856199" y="3267833"/>
            <a:ext cx="2479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63" name="Google Shape;163;p19"/>
          <p:cNvSpPr txBox="1">
            <a:spLocks noGrp="1"/>
          </p:cNvSpPr>
          <p:nvPr>
            <p:ph type="subTitle" idx="4"/>
          </p:nvPr>
        </p:nvSpPr>
        <p:spPr>
          <a:xfrm>
            <a:off x="1721333" y="2801000"/>
            <a:ext cx="2479600" cy="6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Font typeface="Anton"/>
              <a:buNone/>
              <a:defRPr sz="3200" b="1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9"/>
          <p:cNvSpPr txBox="1">
            <a:spLocks noGrp="1"/>
          </p:cNvSpPr>
          <p:nvPr>
            <p:ph type="subTitle" idx="5"/>
          </p:nvPr>
        </p:nvSpPr>
        <p:spPr>
          <a:xfrm>
            <a:off x="4856200" y="2801000"/>
            <a:ext cx="2479600" cy="6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Font typeface="Anton"/>
              <a:buNone/>
              <a:defRPr sz="3200" b="1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19"/>
          <p:cNvSpPr txBox="1">
            <a:spLocks noGrp="1"/>
          </p:cNvSpPr>
          <p:nvPr>
            <p:ph type="subTitle" idx="6"/>
          </p:nvPr>
        </p:nvSpPr>
        <p:spPr>
          <a:xfrm>
            <a:off x="7991083" y="2801000"/>
            <a:ext cx="2479600" cy="6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Font typeface="Anton"/>
              <a:buNone/>
              <a:defRPr sz="3200" b="1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1449423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">
  <p:cSld name="Background ">
    <p:bg>
      <p:bgPr>
        <a:solidFill>
          <a:schemeClr val="lt1"/>
        </a:solidFill>
        <a:effectLst/>
      </p:bgPr>
    </p:bg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" name="Google Shape;250;p24"/>
          <p:cNvSpPr/>
          <p:nvPr/>
        </p:nvSpPr>
        <p:spPr>
          <a:xfrm>
            <a:off x="361400" y="294400"/>
            <a:ext cx="11469200" cy="6269200"/>
          </a:xfrm>
          <a:prstGeom prst="rect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251" name="Google Shape;251;p24"/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52" name="Google Shape;252;p24"/>
          <p:cNvGrpSpPr/>
          <p:nvPr/>
        </p:nvGrpSpPr>
        <p:grpSpPr>
          <a:xfrm>
            <a:off x="2404831" y="4971521"/>
            <a:ext cx="483451" cy="359428"/>
            <a:chOff x="2645986" y="3519715"/>
            <a:chExt cx="362588" cy="269571"/>
          </a:xfrm>
        </p:grpSpPr>
        <p:sp>
          <p:nvSpPr>
            <p:cNvPr id="253" name="Google Shape;253;p24"/>
            <p:cNvSpPr/>
            <p:nvPr/>
          </p:nvSpPr>
          <p:spPr>
            <a:xfrm>
              <a:off x="2645986" y="3519715"/>
              <a:ext cx="362588" cy="269571"/>
            </a:xfrm>
            <a:custGeom>
              <a:avLst/>
              <a:gdLst/>
              <a:ahLst/>
              <a:cxnLst/>
              <a:rect l="l" t="t" r="r" b="b"/>
              <a:pathLst>
                <a:path w="5929" h="4408" extrusionOk="0">
                  <a:moveTo>
                    <a:pt x="2490" y="598"/>
                  </a:moveTo>
                  <a:cubicBezTo>
                    <a:pt x="2573" y="598"/>
                    <a:pt x="2656" y="627"/>
                    <a:pt x="2722" y="694"/>
                  </a:cubicBezTo>
                  <a:cubicBezTo>
                    <a:pt x="2846" y="797"/>
                    <a:pt x="2862" y="965"/>
                    <a:pt x="2792" y="1105"/>
                  </a:cubicBezTo>
                  <a:cubicBezTo>
                    <a:pt x="2733" y="1231"/>
                    <a:pt x="2587" y="1304"/>
                    <a:pt x="2445" y="1304"/>
                  </a:cubicBezTo>
                  <a:cubicBezTo>
                    <a:pt x="2381" y="1304"/>
                    <a:pt x="2317" y="1289"/>
                    <a:pt x="2262" y="1257"/>
                  </a:cubicBezTo>
                  <a:cubicBezTo>
                    <a:pt x="2143" y="1170"/>
                    <a:pt x="2057" y="1035"/>
                    <a:pt x="2090" y="899"/>
                  </a:cubicBezTo>
                  <a:cubicBezTo>
                    <a:pt x="2137" y="725"/>
                    <a:pt x="2316" y="598"/>
                    <a:pt x="2490" y="598"/>
                  </a:cubicBezTo>
                  <a:close/>
                  <a:moveTo>
                    <a:pt x="1629" y="1227"/>
                  </a:moveTo>
                  <a:cubicBezTo>
                    <a:pt x="1651" y="1227"/>
                    <a:pt x="1674" y="1231"/>
                    <a:pt x="1696" y="1240"/>
                  </a:cubicBezTo>
                  <a:cubicBezTo>
                    <a:pt x="1716" y="1240"/>
                    <a:pt x="1749" y="1257"/>
                    <a:pt x="1782" y="1273"/>
                  </a:cubicBezTo>
                  <a:cubicBezTo>
                    <a:pt x="1852" y="1326"/>
                    <a:pt x="1868" y="1445"/>
                    <a:pt x="1819" y="1532"/>
                  </a:cubicBezTo>
                  <a:cubicBezTo>
                    <a:pt x="1819" y="1565"/>
                    <a:pt x="1799" y="1581"/>
                    <a:pt x="1766" y="1597"/>
                  </a:cubicBezTo>
                  <a:cubicBezTo>
                    <a:pt x="1733" y="1644"/>
                    <a:pt x="1683" y="1667"/>
                    <a:pt x="1628" y="1667"/>
                  </a:cubicBezTo>
                  <a:cubicBezTo>
                    <a:pt x="1601" y="1667"/>
                    <a:pt x="1572" y="1662"/>
                    <a:pt x="1544" y="1651"/>
                  </a:cubicBezTo>
                  <a:cubicBezTo>
                    <a:pt x="1474" y="1618"/>
                    <a:pt x="1425" y="1548"/>
                    <a:pt x="1408" y="1462"/>
                  </a:cubicBezTo>
                  <a:cubicBezTo>
                    <a:pt x="1408" y="1335"/>
                    <a:pt x="1515" y="1227"/>
                    <a:pt x="1629" y="1227"/>
                  </a:cubicBezTo>
                  <a:close/>
                  <a:moveTo>
                    <a:pt x="2469" y="1590"/>
                  </a:moveTo>
                  <a:cubicBezTo>
                    <a:pt x="2492" y="1590"/>
                    <a:pt x="2515" y="1592"/>
                    <a:pt x="2538" y="1597"/>
                  </a:cubicBezTo>
                  <a:cubicBezTo>
                    <a:pt x="2620" y="1618"/>
                    <a:pt x="2690" y="1651"/>
                    <a:pt x="2759" y="1721"/>
                  </a:cubicBezTo>
                  <a:cubicBezTo>
                    <a:pt x="2825" y="1786"/>
                    <a:pt x="2878" y="1872"/>
                    <a:pt x="2895" y="1959"/>
                  </a:cubicBezTo>
                  <a:cubicBezTo>
                    <a:pt x="2948" y="2180"/>
                    <a:pt x="2809" y="2419"/>
                    <a:pt x="2587" y="2488"/>
                  </a:cubicBezTo>
                  <a:cubicBezTo>
                    <a:pt x="2554" y="2497"/>
                    <a:pt x="2521" y="2501"/>
                    <a:pt x="2487" y="2501"/>
                  </a:cubicBezTo>
                  <a:cubicBezTo>
                    <a:pt x="2306" y="2501"/>
                    <a:pt x="2116" y="2386"/>
                    <a:pt x="2057" y="2213"/>
                  </a:cubicBezTo>
                  <a:cubicBezTo>
                    <a:pt x="1962" y="1947"/>
                    <a:pt x="2191" y="1590"/>
                    <a:pt x="2469" y="1590"/>
                  </a:cubicBezTo>
                  <a:close/>
                  <a:moveTo>
                    <a:pt x="2729" y="0"/>
                  </a:moveTo>
                  <a:cubicBezTo>
                    <a:pt x="2123" y="0"/>
                    <a:pt x="1528" y="269"/>
                    <a:pt x="1117" y="916"/>
                  </a:cubicBezTo>
                  <a:cubicBezTo>
                    <a:pt x="1" y="2656"/>
                    <a:pt x="1470" y="4407"/>
                    <a:pt x="3009" y="4407"/>
                  </a:cubicBezTo>
                  <a:cubicBezTo>
                    <a:pt x="3617" y="4407"/>
                    <a:pt x="4235" y="4135"/>
                    <a:pt x="4710" y="3482"/>
                  </a:cubicBezTo>
                  <a:cubicBezTo>
                    <a:pt x="5928" y="1782"/>
                    <a:pt x="4290" y="0"/>
                    <a:pt x="2729" y="0"/>
                  </a:cubicBezTo>
                  <a:close/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grpSp>
          <p:nvGrpSpPr>
            <p:cNvPr id="254" name="Google Shape;254;p24"/>
            <p:cNvGrpSpPr/>
            <p:nvPr/>
          </p:nvGrpSpPr>
          <p:grpSpPr>
            <a:xfrm>
              <a:off x="2646072" y="3519734"/>
              <a:ext cx="362405" cy="268837"/>
              <a:chOff x="2646072" y="2873084"/>
              <a:chExt cx="362405" cy="268837"/>
            </a:xfrm>
          </p:grpSpPr>
          <p:sp>
            <p:nvSpPr>
              <p:cNvPr id="255" name="Google Shape;255;p24"/>
              <p:cNvSpPr/>
              <p:nvPr/>
            </p:nvSpPr>
            <p:spPr>
              <a:xfrm>
                <a:off x="2704450" y="2898150"/>
                <a:ext cx="186600" cy="186600"/>
              </a:xfrm>
              <a:prstGeom prst="ellipse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56" name="Google Shape;256;p24"/>
              <p:cNvSpPr/>
              <p:nvPr/>
            </p:nvSpPr>
            <p:spPr>
              <a:xfrm>
                <a:off x="2646072" y="2873084"/>
                <a:ext cx="362405" cy="268837"/>
              </a:xfrm>
              <a:custGeom>
                <a:avLst/>
                <a:gdLst/>
                <a:ahLst/>
                <a:cxnLst/>
                <a:rect l="l" t="t" r="r" b="b"/>
                <a:pathLst>
                  <a:path w="5926" h="4396" extrusionOk="0">
                    <a:moveTo>
                      <a:pt x="2493" y="586"/>
                    </a:moveTo>
                    <a:cubicBezTo>
                      <a:pt x="2575" y="586"/>
                      <a:pt x="2656" y="614"/>
                      <a:pt x="2721" y="680"/>
                    </a:cubicBezTo>
                    <a:cubicBezTo>
                      <a:pt x="2845" y="782"/>
                      <a:pt x="2861" y="971"/>
                      <a:pt x="2791" y="1107"/>
                    </a:cubicBezTo>
                    <a:cubicBezTo>
                      <a:pt x="2734" y="1232"/>
                      <a:pt x="2595" y="1298"/>
                      <a:pt x="2458" y="1298"/>
                    </a:cubicBezTo>
                    <a:cubicBezTo>
                      <a:pt x="2389" y="1298"/>
                      <a:pt x="2320" y="1281"/>
                      <a:pt x="2261" y="1246"/>
                    </a:cubicBezTo>
                    <a:cubicBezTo>
                      <a:pt x="2142" y="1177"/>
                      <a:pt x="2056" y="1021"/>
                      <a:pt x="2089" y="901"/>
                    </a:cubicBezTo>
                    <a:cubicBezTo>
                      <a:pt x="2137" y="717"/>
                      <a:pt x="2318" y="586"/>
                      <a:pt x="2493" y="586"/>
                    </a:cubicBezTo>
                    <a:close/>
                    <a:moveTo>
                      <a:pt x="1636" y="1215"/>
                    </a:moveTo>
                    <a:cubicBezTo>
                      <a:pt x="1656" y="1215"/>
                      <a:pt x="1675" y="1219"/>
                      <a:pt x="1695" y="1226"/>
                    </a:cubicBezTo>
                    <a:cubicBezTo>
                      <a:pt x="1715" y="1226"/>
                      <a:pt x="1748" y="1246"/>
                      <a:pt x="1781" y="1263"/>
                    </a:cubicBezTo>
                    <a:cubicBezTo>
                      <a:pt x="1851" y="1328"/>
                      <a:pt x="1867" y="1431"/>
                      <a:pt x="1818" y="1517"/>
                    </a:cubicBezTo>
                    <a:cubicBezTo>
                      <a:pt x="1818" y="1554"/>
                      <a:pt x="1798" y="1571"/>
                      <a:pt x="1765" y="1604"/>
                    </a:cubicBezTo>
                    <a:cubicBezTo>
                      <a:pt x="1733" y="1637"/>
                      <a:pt x="1687" y="1656"/>
                      <a:pt x="1636" y="1656"/>
                    </a:cubicBezTo>
                    <a:cubicBezTo>
                      <a:pt x="1606" y="1656"/>
                      <a:pt x="1575" y="1650"/>
                      <a:pt x="1543" y="1636"/>
                    </a:cubicBezTo>
                    <a:cubicBezTo>
                      <a:pt x="1473" y="1604"/>
                      <a:pt x="1424" y="1534"/>
                      <a:pt x="1407" y="1452"/>
                    </a:cubicBezTo>
                    <a:cubicBezTo>
                      <a:pt x="1407" y="1332"/>
                      <a:pt x="1519" y="1215"/>
                      <a:pt x="1636" y="1215"/>
                    </a:cubicBezTo>
                    <a:close/>
                    <a:moveTo>
                      <a:pt x="2467" y="1579"/>
                    </a:moveTo>
                    <a:cubicBezTo>
                      <a:pt x="2490" y="1579"/>
                      <a:pt x="2513" y="1582"/>
                      <a:pt x="2537" y="1587"/>
                    </a:cubicBezTo>
                    <a:cubicBezTo>
                      <a:pt x="2619" y="1604"/>
                      <a:pt x="2689" y="1657"/>
                      <a:pt x="2758" y="1706"/>
                    </a:cubicBezTo>
                    <a:cubicBezTo>
                      <a:pt x="2824" y="1776"/>
                      <a:pt x="2877" y="1862"/>
                      <a:pt x="2894" y="1944"/>
                    </a:cubicBezTo>
                    <a:cubicBezTo>
                      <a:pt x="2947" y="2170"/>
                      <a:pt x="2808" y="2408"/>
                      <a:pt x="2586" y="2478"/>
                    </a:cubicBezTo>
                    <a:cubicBezTo>
                      <a:pt x="2555" y="2486"/>
                      <a:pt x="2522" y="2489"/>
                      <a:pt x="2490" y="2489"/>
                    </a:cubicBezTo>
                    <a:cubicBezTo>
                      <a:pt x="2307" y="2489"/>
                      <a:pt x="2115" y="2377"/>
                      <a:pt x="2056" y="2203"/>
                    </a:cubicBezTo>
                    <a:cubicBezTo>
                      <a:pt x="1961" y="1949"/>
                      <a:pt x="2189" y="1579"/>
                      <a:pt x="2467" y="1579"/>
                    </a:cubicBezTo>
                    <a:close/>
                    <a:moveTo>
                      <a:pt x="2734" y="1"/>
                    </a:moveTo>
                    <a:cubicBezTo>
                      <a:pt x="2126" y="1"/>
                      <a:pt x="1528" y="270"/>
                      <a:pt x="1116" y="918"/>
                    </a:cubicBezTo>
                    <a:cubicBezTo>
                      <a:pt x="1" y="2648"/>
                      <a:pt x="1467" y="4396"/>
                      <a:pt x="3005" y="4396"/>
                    </a:cubicBezTo>
                    <a:cubicBezTo>
                      <a:pt x="3614" y="4396"/>
                      <a:pt x="4233" y="4123"/>
                      <a:pt x="4709" y="3468"/>
                    </a:cubicBezTo>
                    <a:cubicBezTo>
                      <a:pt x="5926" y="1769"/>
                      <a:pt x="4293" y="1"/>
                      <a:pt x="2734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  <p:grpSp>
        <p:nvGrpSpPr>
          <p:cNvPr id="257" name="Google Shape;257;p24"/>
          <p:cNvGrpSpPr/>
          <p:nvPr/>
        </p:nvGrpSpPr>
        <p:grpSpPr>
          <a:xfrm>
            <a:off x="9671501" y="2397559"/>
            <a:ext cx="394817" cy="291995"/>
            <a:chOff x="4656100" y="3016550"/>
            <a:chExt cx="121050" cy="89525"/>
          </a:xfrm>
        </p:grpSpPr>
        <p:sp>
          <p:nvSpPr>
            <p:cNvPr id="258" name="Google Shape;258;p24"/>
            <p:cNvSpPr/>
            <p:nvPr/>
          </p:nvSpPr>
          <p:spPr>
            <a:xfrm>
              <a:off x="4656100" y="3016550"/>
              <a:ext cx="121050" cy="89450"/>
            </a:xfrm>
            <a:custGeom>
              <a:avLst/>
              <a:gdLst/>
              <a:ahLst/>
              <a:cxnLst/>
              <a:rect l="l" t="t" r="r" b="b"/>
              <a:pathLst>
                <a:path w="4842" h="3578" extrusionOk="0">
                  <a:moveTo>
                    <a:pt x="1470" y="1"/>
                  </a:moveTo>
                  <a:cubicBezTo>
                    <a:pt x="820" y="1"/>
                    <a:pt x="330" y="147"/>
                    <a:pt x="223" y="329"/>
                  </a:cubicBezTo>
                  <a:cubicBezTo>
                    <a:pt x="1" y="703"/>
                    <a:pt x="682" y="2448"/>
                    <a:pt x="2222" y="3355"/>
                  </a:cubicBezTo>
                  <a:cubicBezTo>
                    <a:pt x="2465" y="3511"/>
                    <a:pt x="2752" y="3577"/>
                    <a:pt x="3027" y="3577"/>
                  </a:cubicBezTo>
                  <a:cubicBezTo>
                    <a:pt x="3557" y="3577"/>
                    <a:pt x="4086" y="3306"/>
                    <a:pt x="4394" y="2809"/>
                  </a:cubicBezTo>
                  <a:cubicBezTo>
                    <a:pt x="4842" y="2058"/>
                    <a:pt x="4583" y="1081"/>
                    <a:pt x="3832" y="637"/>
                  </a:cubicBezTo>
                  <a:cubicBezTo>
                    <a:pt x="3044" y="168"/>
                    <a:pt x="2166" y="1"/>
                    <a:pt x="1470" y="1"/>
                  </a:cubicBezTo>
                  <a:close/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grpSp>
          <p:nvGrpSpPr>
            <p:cNvPr id="259" name="Google Shape;259;p24"/>
            <p:cNvGrpSpPr/>
            <p:nvPr/>
          </p:nvGrpSpPr>
          <p:grpSpPr>
            <a:xfrm>
              <a:off x="4656100" y="3016750"/>
              <a:ext cx="121050" cy="89325"/>
              <a:chOff x="4656100" y="3016750"/>
              <a:chExt cx="121050" cy="89325"/>
            </a:xfrm>
          </p:grpSpPr>
          <p:sp>
            <p:nvSpPr>
              <p:cNvPr id="260" name="Google Shape;260;p24"/>
              <p:cNvSpPr/>
              <p:nvPr/>
            </p:nvSpPr>
            <p:spPr>
              <a:xfrm>
                <a:off x="4730025" y="3062650"/>
                <a:ext cx="19325" cy="16275"/>
              </a:xfrm>
              <a:custGeom>
                <a:avLst/>
                <a:gdLst/>
                <a:ahLst/>
                <a:cxnLst/>
                <a:rect l="l" t="t" r="r" b="b"/>
                <a:pathLst>
                  <a:path w="773" h="651" extrusionOk="0">
                    <a:moveTo>
                      <a:pt x="541" y="1"/>
                    </a:moveTo>
                    <a:cubicBezTo>
                      <a:pt x="523" y="1"/>
                      <a:pt x="503" y="8"/>
                      <a:pt x="481" y="25"/>
                    </a:cubicBezTo>
                    <a:cubicBezTo>
                      <a:pt x="345" y="144"/>
                      <a:pt x="0" y="505"/>
                      <a:pt x="103" y="624"/>
                    </a:cubicBezTo>
                    <a:cubicBezTo>
                      <a:pt x="119" y="642"/>
                      <a:pt x="145" y="650"/>
                      <a:pt x="179" y="650"/>
                    </a:cubicBezTo>
                    <a:cubicBezTo>
                      <a:pt x="366" y="650"/>
                      <a:pt x="772" y="411"/>
                      <a:pt x="772" y="370"/>
                    </a:cubicBezTo>
                    <a:cubicBezTo>
                      <a:pt x="765" y="323"/>
                      <a:pt x="736" y="306"/>
                      <a:pt x="696" y="306"/>
                    </a:cubicBezTo>
                    <a:cubicBezTo>
                      <a:pt x="566" y="306"/>
                      <a:pt x="312" y="491"/>
                      <a:pt x="251" y="491"/>
                    </a:cubicBezTo>
                    <a:cubicBezTo>
                      <a:pt x="248" y="491"/>
                      <a:pt x="245" y="490"/>
                      <a:pt x="242" y="489"/>
                    </a:cubicBezTo>
                    <a:cubicBezTo>
                      <a:pt x="206" y="435"/>
                      <a:pt x="534" y="164"/>
                      <a:pt x="567" y="127"/>
                    </a:cubicBezTo>
                    <a:cubicBezTo>
                      <a:pt x="619" y="63"/>
                      <a:pt x="593" y="1"/>
                      <a:pt x="541" y="1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1" name="Google Shape;261;p24"/>
              <p:cNvSpPr/>
              <p:nvPr/>
            </p:nvSpPr>
            <p:spPr>
              <a:xfrm>
                <a:off x="4718100" y="3055250"/>
                <a:ext cx="5175" cy="2475"/>
              </a:xfrm>
              <a:custGeom>
                <a:avLst/>
                <a:gdLst/>
                <a:ahLst/>
                <a:cxnLst/>
                <a:rect l="l" t="t" r="r" b="b"/>
                <a:pathLst>
                  <a:path w="207" h="99" extrusionOk="0">
                    <a:moveTo>
                      <a:pt x="93" y="0"/>
                    </a:moveTo>
                    <a:cubicBezTo>
                      <a:pt x="72" y="0"/>
                      <a:pt x="50" y="5"/>
                      <a:pt x="34" y="13"/>
                    </a:cubicBezTo>
                    <a:cubicBezTo>
                      <a:pt x="17" y="13"/>
                      <a:pt x="1" y="13"/>
                      <a:pt x="1" y="50"/>
                    </a:cubicBezTo>
                    <a:cubicBezTo>
                      <a:pt x="1" y="66"/>
                      <a:pt x="17" y="83"/>
                      <a:pt x="34" y="83"/>
                    </a:cubicBezTo>
                    <a:cubicBezTo>
                      <a:pt x="67" y="83"/>
                      <a:pt x="104" y="99"/>
                      <a:pt x="136" y="99"/>
                    </a:cubicBezTo>
                    <a:cubicBezTo>
                      <a:pt x="169" y="99"/>
                      <a:pt x="190" y="99"/>
                      <a:pt x="206" y="66"/>
                    </a:cubicBezTo>
                    <a:cubicBezTo>
                      <a:pt x="206" y="50"/>
                      <a:pt x="190" y="29"/>
                      <a:pt x="153" y="13"/>
                    </a:cubicBezTo>
                    <a:cubicBezTo>
                      <a:pt x="136" y="5"/>
                      <a:pt x="115" y="0"/>
                      <a:pt x="93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2" name="Google Shape;262;p24"/>
              <p:cNvSpPr/>
              <p:nvPr/>
            </p:nvSpPr>
            <p:spPr>
              <a:xfrm>
                <a:off x="4658675" y="3018350"/>
                <a:ext cx="116325" cy="86175"/>
              </a:xfrm>
              <a:custGeom>
                <a:avLst/>
                <a:gdLst/>
                <a:ahLst/>
                <a:cxnLst/>
                <a:rect l="l" t="t" r="r" b="b"/>
                <a:pathLst>
                  <a:path w="4653" h="3447" extrusionOk="0">
                    <a:moveTo>
                      <a:pt x="1407" y="0"/>
                    </a:moveTo>
                    <a:cubicBezTo>
                      <a:pt x="752" y="0"/>
                      <a:pt x="271" y="149"/>
                      <a:pt x="185" y="294"/>
                    </a:cubicBezTo>
                    <a:cubicBezTo>
                      <a:pt x="0" y="602"/>
                      <a:pt x="579" y="2310"/>
                      <a:pt x="2156" y="3234"/>
                    </a:cubicBezTo>
                    <a:cubicBezTo>
                      <a:pt x="2398" y="3378"/>
                      <a:pt x="2663" y="3446"/>
                      <a:pt x="2925" y="3446"/>
                    </a:cubicBezTo>
                    <a:cubicBezTo>
                      <a:pt x="3441" y="3446"/>
                      <a:pt x="3942" y="3181"/>
                      <a:pt x="4226" y="2704"/>
                    </a:cubicBezTo>
                    <a:cubicBezTo>
                      <a:pt x="4653" y="1986"/>
                      <a:pt x="4415" y="1045"/>
                      <a:pt x="3696" y="618"/>
                    </a:cubicBezTo>
                    <a:cubicBezTo>
                      <a:pt x="2911" y="153"/>
                      <a:pt x="2070" y="0"/>
                      <a:pt x="140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3" name="Google Shape;263;p24"/>
              <p:cNvSpPr/>
              <p:nvPr/>
            </p:nvSpPr>
            <p:spPr>
              <a:xfrm>
                <a:off x="4678700" y="3024750"/>
                <a:ext cx="77000" cy="41775"/>
              </a:xfrm>
              <a:custGeom>
                <a:avLst/>
                <a:gdLst/>
                <a:ahLst/>
                <a:cxnLst/>
                <a:rect l="l" t="t" r="r" b="b"/>
                <a:pathLst>
                  <a:path w="3080" h="1671" extrusionOk="0">
                    <a:moveTo>
                      <a:pt x="789" y="1"/>
                    </a:moveTo>
                    <a:cubicBezTo>
                      <a:pt x="616" y="1"/>
                      <a:pt x="448" y="1"/>
                      <a:pt x="275" y="17"/>
                    </a:cubicBezTo>
                    <a:cubicBezTo>
                      <a:pt x="226" y="38"/>
                      <a:pt x="103" y="38"/>
                      <a:pt x="54" y="71"/>
                    </a:cubicBezTo>
                    <a:cubicBezTo>
                      <a:pt x="0" y="120"/>
                      <a:pt x="54" y="206"/>
                      <a:pt x="86" y="260"/>
                    </a:cubicBezTo>
                    <a:cubicBezTo>
                      <a:pt x="481" y="892"/>
                      <a:pt x="1113" y="1372"/>
                      <a:pt x="1832" y="1578"/>
                    </a:cubicBezTo>
                    <a:cubicBezTo>
                      <a:pt x="2007" y="1630"/>
                      <a:pt x="2197" y="1671"/>
                      <a:pt x="2383" y="1671"/>
                    </a:cubicBezTo>
                    <a:cubicBezTo>
                      <a:pt x="2487" y="1671"/>
                      <a:pt x="2591" y="1658"/>
                      <a:pt x="2690" y="1627"/>
                    </a:cubicBezTo>
                    <a:cubicBezTo>
                      <a:pt x="2772" y="1594"/>
                      <a:pt x="2858" y="1557"/>
                      <a:pt x="2928" y="1491"/>
                    </a:cubicBezTo>
                    <a:cubicBezTo>
                      <a:pt x="3047" y="1389"/>
                      <a:pt x="3080" y="1200"/>
                      <a:pt x="3030" y="1044"/>
                    </a:cubicBezTo>
                    <a:cubicBezTo>
                      <a:pt x="2998" y="892"/>
                      <a:pt x="2895" y="756"/>
                      <a:pt x="2772" y="654"/>
                    </a:cubicBezTo>
                    <a:cubicBezTo>
                      <a:pt x="2653" y="551"/>
                      <a:pt x="2501" y="481"/>
                      <a:pt x="2361" y="412"/>
                    </a:cubicBezTo>
                    <a:cubicBezTo>
                      <a:pt x="2176" y="346"/>
                      <a:pt x="2004" y="260"/>
                      <a:pt x="1815" y="206"/>
                    </a:cubicBezTo>
                    <a:cubicBezTo>
                      <a:pt x="1491" y="104"/>
                      <a:pt x="1129" y="17"/>
                      <a:pt x="789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4" name="Google Shape;264;p24"/>
              <p:cNvSpPr/>
              <p:nvPr/>
            </p:nvSpPr>
            <p:spPr>
              <a:xfrm>
                <a:off x="4699725" y="3038625"/>
                <a:ext cx="63675" cy="55875"/>
              </a:xfrm>
              <a:custGeom>
                <a:avLst/>
                <a:gdLst/>
                <a:ahLst/>
                <a:cxnLst/>
                <a:rect l="l" t="t" r="r" b="b"/>
                <a:pathLst>
                  <a:path w="2547" h="2235" extrusionOk="0">
                    <a:moveTo>
                      <a:pt x="1268" y="0"/>
                    </a:moveTo>
                    <a:cubicBezTo>
                      <a:pt x="891" y="0"/>
                      <a:pt x="528" y="194"/>
                      <a:pt x="325" y="542"/>
                    </a:cubicBezTo>
                    <a:cubicBezTo>
                      <a:pt x="1" y="1072"/>
                      <a:pt x="186" y="1758"/>
                      <a:pt x="720" y="2082"/>
                    </a:cubicBezTo>
                    <a:cubicBezTo>
                      <a:pt x="897" y="2185"/>
                      <a:pt x="1091" y="2234"/>
                      <a:pt x="1283" y="2234"/>
                    </a:cubicBezTo>
                    <a:cubicBezTo>
                      <a:pt x="1664" y="2234"/>
                      <a:pt x="2034" y="2040"/>
                      <a:pt x="2239" y="1688"/>
                    </a:cubicBezTo>
                    <a:cubicBezTo>
                      <a:pt x="2547" y="1158"/>
                      <a:pt x="2378" y="472"/>
                      <a:pt x="1849" y="164"/>
                    </a:cubicBezTo>
                    <a:cubicBezTo>
                      <a:pt x="1666" y="53"/>
                      <a:pt x="1465" y="0"/>
                      <a:pt x="1268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5" name="Google Shape;265;p24"/>
              <p:cNvSpPr/>
              <p:nvPr/>
            </p:nvSpPr>
            <p:spPr>
              <a:xfrm>
                <a:off x="4712575" y="3042950"/>
                <a:ext cx="33375" cy="28200"/>
              </a:xfrm>
              <a:custGeom>
                <a:avLst/>
                <a:gdLst/>
                <a:ahLst/>
                <a:cxnLst/>
                <a:rect l="l" t="t" r="r" b="b"/>
                <a:pathLst>
                  <a:path w="1335" h="1128" extrusionOk="0">
                    <a:moveTo>
                      <a:pt x="777" y="1"/>
                    </a:moveTo>
                    <a:cubicBezTo>
                      <a:pt x="493" y="1"/>
                      <a:pt x="193" y="192"/>
                      <a:pt x="82" y="439"/>
                    </a:cubicBezTo>
                    <a:cubicBezTo>
                      <a:pt x="17" y="591"/>
                      <a:pt x="0" y="763"/>
                      <a:pt x="82" y="899"/>
                    </a:cubicBezTo>
                    <a:cubicBezTo>
                      <a:pt x="152" y="1018"/>
                      <a:pt x="288" y="1088"/>
                      <a:pt x="427" y="1121"/>
                    </a:cubicBezTo>
                    <a:cubicBezTo>
                      <a:pt x="464" y="1125"/>
                      <a:pt x="500" y="1127"/>
                      <a:pt x="536" y="1127"/>
                    </a:cubicBezTo>
                    <a:cubicBezTo>
                      <a:pt x="634" y="1127"/>
                      <a:pt x="731" y="1112"/>
                      <a:pt x="821" y="1088"/>
                    </a:cubicBezTo>
                    <a:cubicBezTo>
                      <a:pt x="904" y="1055"/>
                      <a:pt x="990" y="1018"/>
                      <a:pt x="1076" y="969"/>
                    </a:cubicBezTo>
                    <a:cubicBezTo>
                      <a:pt x="1248" y="866"/>
                      <a:pt x="1335" y="624"/>
                      <a:pt x="1298" y="419"/>
                    </a:cubicBezTo>
                    <a:cubicBezTo>
                      <a:pt x="1248" y="213"/>
                      <a:pt x="1076" y="61"/>
                      <a:pt x="871" y="8"/>
                    </a:cubicBezTo>
                    <a:cubicBezTo>
                      <a:pt x="840" y="3"/>
                      <a:pt x="808" y="1"/>
                      <a:pt x="777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6" name="Google Shape;266;p24"/>
              <p:cNvSpPr/>
              <p:nvPr/>
            </p:nvSpPr>
            <p:spPr>
              <a:xfrm>
                <a:off x="4656100" y="3016750"/>
                <a:ext cx="121050" cy="89325"/>
              </a:xfrm>
              <a:custGeom>
                <a:avLst/>
                <a:gdLst/>
                <a:ahLst/>
                <a:cxnLst/>
                <a:rect l="l" t="t" r="r" b="b"/>
                <a:pathLst>
                  <a:path w="4842" h="3573" extrusionOk="0">
                    <a:moveTo>
                      <a:pt x="1504" y="132"/>
                    </a:moveTo>
                    <a:cubicBezTo>
                      <a:pt x="2157" y="132"/>
                      <a:pt x="2978" y="288"/>
                      <a:pt x="3762" y="748"/>
                    </a:cubicBezTo>
                    <a:cubicBezTo>
                      <a:pt x="4448" y="1159"/>
                      <a:pt x="4686" y="2050"/>
                      <a:pt x="4275" y="2735"/>
                    </a:cubicBezTo>
                    <a:cubicBezTo>
                      <a:pt x="4001" y="3190"/>
                      <a:pt x="3515" y="3442"/>
                      <a:pt x="3018" y="3442"/>
                    </a:cubicBezTo>
                    <a:cubicBezTo>
                      <a:pt x="2770" y="3442"/>
                      <a:pt x="2520" y="3380"/>
                      <a:pt x="2292" y="3249"/>
                    </a:cubicBezTo>
                    <a:cubicBezTo>
                      <a:pt x="752" y="2325"/>
                      <a:pt x="186" y="666"/>
                      <a:pt x="342" y="391"/>
                    </a:cubicBezTo>
                    <a:cubicBezTo>
                      <a:pt x="411" y="272"/>
                      <a:pt x="871" y="132"/>
                      <a:pt x="1504" y="132"/>
                    </a:cubicBezTo>
                    <a:close/>
                    <a:moveTo>
                      <a:pt x="1486" y="0"/>
                    </a:moveTo>
                    <a:cubicBezTo>
                      <a:pt x="828" y="0"/>
                      <a:pt x="331" y="147"/>
                      <a:pt x="223" y="321"/>
                    </a:cubicBezTo>
                    <a:cubicBezTo>
                      <a:pt x="1" y="699"/>
                      <a:pt x="682" y="2444"/>
                      <a:pt x="2222" y="3351"/>
                    </a:cubicBezTo>
                    <a:cubicBezTo>
                      <a:pt x="2465" y="3503"/>
                      <a:pt x="2752" y="3573"/>
                      <a:pt x="3027" y="3573"/>
                    </a:cubicBezTo>
                    <a:cubicBezTo>
                      <a:pt x="3557" y="3573"/>
                      <a:pt x="4086" y="3298"/>
                      <a:pt x="4394" y="2801"/>
                    </a:cubicBezTo>
                    <a:cubicBezTo>
                      <a:pt x="4842" y="2050"/>
                      <a:pt x="4583" y="1076"/>
                      <a:pt x="3832" y="629"/>
                    </a:cubicBezTo>
                    <a:cubicBezTo>
                      <a:pt x="3050" y="163"/>
                      <a:pt x="2179" y="0"/>
                      <a:pt x="148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7" name="Google Shape;267;p24"/>
              <p:cNvSpPr/>
              <p:nvPr/>
            </p:nvSpPr>
            <p:spPr>
              <a:xfrm>
                <a:off x="4700975" y="3036950"/>
                <a:ext cx="64575" cy="59275"/>
              </a:xfrm>
              <a:custGeom>
                <a:avLst/>
                <a:gdLst/>
                <a:ahLst/>
                <a:cxnLst/>
                <a:rect l="l" t="t" r="r" b="b"/>
                <a:pathLst>
                  <a:path w="2583" h="2371" extrusionOk="0">
                    <a:moveTo>
                      <a:pt x="1232" y="129"/>
                    </a:moveTo>
                    <a:cubicBezTo>
                      <a:pt x="1421" y="129"/>
                      <a:pt x="1610" y="182"/>
                      <a:pt x="1762" y="285"/>
                    </a:cubicBezTo>
                    <a:cubicBezTo>
                      <a:pt x="2004" y="420"/>
                      <a:pt x="2172" y="659"/>
                      <a:pt x="2242" y="934"/>
                    </a:cubicBezTo>
                    <a:cubicBezTo>
                      <a:pt x="2312" y="1192"/>
                      <a:pt x="2275" y="1480"/>
                      <a:pt x="2139" y="1722"/>
                    </a:cubicBezTo>
                    <a:cubicBezTo>
                      <a:pt x="1937" y="2049"/>
                      <a:pt x="1593" y="2234"/>
                      <a:pt x="1240" y="2234"/>
                    </a:cubicBezTo>
                    <a:cubicBezTo>
                      <a:pt x="1057" y="2234"/>
                      <a:pt x="872" y="2184"/>
                      <a:pt x="702" y="2079"/>
                    </a:cubicBezTo>
                    <a:cubicBezTo>
                      <a:pt x="464" y="1944"/>
                      <a:pt x="292" y="1722"/>
                      <a:pt x="222" y="1447"/>
                    </a:cubicBezTo>
                    <a:cubicBezTo>
                      <a:pt x="156" y="1172"/>
                      <a:pt x="189" y="884"/>
                      <a:pt x="325" y="642"/>
                    </a:cubicBezTo>
                    <a:cubicBezTo>
                      <a:pt x="481" y="404"/>
                      <a:pt x="702" y="231"/>
                      <a:pt x="977" y="166"/>
                    </a:cubicBezTo>
                    <a:cubicBezTo>
                      <a:pt x="1060" y="145"/>
                      <a:pt x="1146" y="129"/>
                      <a:pt x="1232" y="129"/>
                    </a:cubicBezTo>
                    <a:close/>
                    <a:moveTo>
                      <a:pt x="1221" y="0"/>
                    </a:moveTo>
                    <a:cubicBezTo>
                      <a:pt x="820" y="0"/>
                      <a:pt x="430" y="203"/>
                      <a:pt x="206" y="576"/>
                    </a:cubicBezTo>
                    <a:cubicBezTo>
                      <a:pt x="54" y="847"/>
                      <a:pt x="0" y="1172"/>
                      <a:pt x="86" y="1480"/>
                    </a:cubicBezTo>
                    <a:cubicBezTo>
                      <a:pt x="156" y="1788"/>
                      <a:pt x="362" y="2046"/>
                      <a:pt x="633" y="2198"/>
                    </a:cubicBezTo>
                    <a:cubicBezTo>
                      <a:pt x="805" y="2321"/>
                      <a:pt x="1027" y="2371"/>
                      <a:pt x="1232" y="2371"/>
                    </a:cubicBezTo>
                    <a:cubicBezTo>
                      <a:pt x="1335" y="2371"/>
                      <a:pt x="1421" y="2354"/>
                      <a:pt x="1524" y="2338"/>
                    </a:cubicBezTo>
                    <a:cubicBezTo>
                      <a:pt x="1832" y="2252"/>
                      <a:pt x="2086" y="2063"/>
                      <a:pt x="2242" y="1788"/>
                    </a:cubicBezTo>
                    <a:cubicBezTo>
                      <a:pt x="2583" y="1225"/>
                      <a:pt x="2394" y="507"/>
                      <a:pt x="1832" y="166"/>
                    </a:cubicBezTo>
                    <a:cubicBezTo>
                      <a:pt x="1639" y="54"/>
                      <a:pt x="1428" y="0"/>
                      <a:pt x="122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  <p:grpSp>
        <p:nvGrpSpPr>
          <p:cNvPr id="268" name="Google Shape;268;p24"/>
          <p:cNvGrpSpPr/>
          <p:nvPr/>
        </p:nvGrpSpPr>
        <p:grpSpPr>
          <a:xfrm>
            <a:off x="1227137" y="2397449"/>
            <a:ext cx="302759" cy="292240"/>
            <a:chOff x="5049175" y="2811525"/>
            <a:chExt cx="92825" cy="89600"/>
          </a:xfrm>
        </p:grpSpPr>
        <p:sp>
          <p:nvSpPr>
            <p:cNvPr id="269" name="Google Shape;269;p24"/>
            <p:cNvSpPr/>
            <p:nvPr/>
          </p:nvSpPr>
          <p:spPr>
            <a:xfrm>
              <a:off x="5049175" y="2811525"/>
              <a:ext cx="92825" cy="89375"/>
            </a:xfrm>
            <a:custGeom>
              <a:avLst/>
              <a:gdLst/>
              <a:ahLst/>
              <a:cxnLst/>
              <a:rect l="l" t="t" r="r" b="b"/>
              <a:pathLst>
                <a:path w="3713" h="3575" extrusionOk="0">
                  <a:moveTo>
                    <a:pt x="1450" y="1"/>
                  </a:moveTo>
                  <a:cubicBezTo>
                    <a:pt x="1414" y="1"/>
                    <a:pt x="1380" y="9"/>
                    <a:pt x="1351" y="26"/>
                  </a:cubicBezTo>
                  <a:cubicBezTo>
                    <a:pt x="1232" y="96"/>
                    <a:pt x="1179" y="232"/>
                    <a:pt x="1146" y="367"/>
                  </a:cubicBezTo>
                  <a:cubicBezTo>
                    <a:pt x="1092" y="642"/>
                    <a:pt x="1060" y="934"/>
                    <a:pt x="1043" y="1225"/>
                  </a:cubicBezTo>
                  <a:cubicBezTo>
                    <a:pt x="821" y="1258"/>
                    <a:pt x="616" y="1275"/>
                    <a:pt x="394" y="1308"/>
                  </a:cubicBezTo>
                  <a:cubicBezTo>
                    <a:pt x="308" y="1308"/>
                    <a:pt x="222" y="1328"/>
                    <a:pt x="136" y="1377"/>
                  </a:cubicBezTo>
                  <a:cubicBezTo>
                    <a:pt x="49" y="1410"/>
                    <a:pt x="0" y="1496"/>
                    <a:pt x="0" y="1583"/>
                  </a:cubicBezTo>
                  <a:cubicBezTo>
                    <a:pt x="0" y="1702"/>
                    <a:pt x="103" y="1772"/>
                    <a:pt x="206" y="1841"/>
                  </a:cubicBezTo>
                  <a:cubicBezTo>
                    <a:pt x="477" y="1993"/>
                    <a:pt x="752" y="2166"/>
                    <a:pt x="1043" y="2301"/>
                  </a:cubicBezTo>
                  <a:cubicBezTo>
                    <a:pt x="1043" y="2437"/>
                    <a:pt x="1060" y="2576"/>
                    <a:pt x="1060" y="2712"/>
                  </a:cubicBezTo>
                  <a:cubicBezTo>
                    <a:pt x="1076" y="2971"/>
                    <a:pt x="1092" y="3242"/>
                    <a:pt x="1179" y="3484"/>
                  </a:cubicBezTo>
                  <a:cubicBezTo>
                    <a:pt x="1179" y="3517"/>
                    <a:pt x="1195" y="3550"/>
                    <a:pt x="1232" y="3566"/>
                  </a:cubicBezTo>
                  <a:cubicBezTo>
                    <a:pt x="1246" y="3572"/>
                    <a:pt x="1260" y="3574"/>
                    <a:pt x="1273" y="3574"/>
                  </a:cubicBezTo>
                  <a:cubicBezTo>
                    <a:pt x="1309" y="3574"/>
                    <a:pt x="1344" y="3557"/>
                    <a:pt x="1368" y="3533"/>
                  </a:cubicBezTo>
                  <a:cubicBezTo>
                    <a:pt x="1659" y="3328"/>
                    <a:pt x="1864" y="3053"/>
                    <a:pt x="2070" y="2765"/>
                  </a:cubicBezTo>
                  <a:cubicBezTo>
                    <a:pt x="2205" y="2815"/>
                    <a:pt x="2361" y="2868"/>
                    <a:pt x="2497" y="2917"/>
                  </a:cubicBezTo>
                  <a:cubicBezTo>
                    <a:pt x="2642" y="2960"/>
                    <a:pt x="2935" y="3097"/>
                    <a:pt x="3153" y="3097"/>
                  </a:cubicBezTo>
                  <a:cubicBezTo>
                    <a:pt x="3293" y="3097"/>
                    <a:pt x="3401" y="3041"/>
                    <a:pt x="3421" y="2868"/>
                  </a:cubicBezTo>
                  <a:cubicBezTo>
                    <a:pt x="3437" y="2679"/>
                    <a:pt x="3248" y="2457"/>
                    <a:pt x="3146" y="2301"/>
                  </a:cubicBezTo>
                  <a:cubicBezTo>
                    <a:pt x="3043" y="2129"/>
                    <a:pt x="2940" y="1960"/>
                    <a:pt x="2838" y="1772"/>
                  </a:cubicBezTo>
                  <a:cubicBezTo>
                    <a:pt x="3453" y="1328"/>
                    <a:pt x="3626" y="1102"/>
                    <a:pt x="3659" y="1037"/>
                  </a:cubicBezTo>
                  <a:cubicBezTo>
                    <a:pt x="3712" y="967"/>
                    <a:pt x="3712" y="881"/>
                    <a:pt x="3642" y="815"/>
                  </a:cubicBezTo>
                  <a:cubicBezTo>
                    <a:pt x="3610" y="778"/>
                    <a:pt x="3556" y="778"/>
                    <a:pt x="3507" y="778"/>
                  </a:cubicBezTo>
                  <a:cubicBezTo>
                    <a:pt x="3463" y="773"/>
                    <a:pt x="3419" y="771"/>
                    <a:pt x="3376" y="771"/>
                  </a:cubicBezTo>
                  <a:cubicBezTo>
                    <a:pt x="3132" y="771"/>
                    <a:pt x="2899" y="841"/>
                    <a:pt x="2669" y="897"/>
                  </a:cubicBezTo>
                  <a:cubicBezTo>
                    <a:pt x="2550" y="918"/>
                    <a:pt x="2447" y="950"/>
                    <a:pt x="2324" y="967"/>
                  </a:cubicBezTo>
                  <a:cubicBezTo>
                    <a:pt x="2189" y="761"/>
                    <a:pt x="2037" y="540"/>
                    <a:pt x="1881" y="318"/>
                  </a:cubicBezTo>
                  <a:cubicBezTo>
                    <a:pt x="1811" y="232"/>
                    <a:pt x="1762" y="129"/>
                    <a:pt x="1659" y="76"/>
                  </a:cubicBezTo>
                  <a:cubicBezTo>
                    <a:pt x="1602" y="32"/>
                    <a:pt x="1522" y="1"/>
                    <a:pt x="1450" y="1"/>
                  </a:cubicBezTo>
                  <a:close/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0" name="Google Shape;270;p24"/>
            <p:cNvSpPr/>
            <p:nvPr/>
          </p:nvSpPr>
          <p:spPr>
            <a:xfrm>
              <a:off x="5049175" y="2811750"/>
              <a:ext cx="92825" cy="89375"/>
            </a:xfrm>
            <a:custGeom>
              <a:avLst/>
              <a:gdLst/>
              <a:ahLst/>
              <a:cxnLst/>
              <a:rect l="l" t="t" r="r" b="b"/>
              <a:pathLst>
                <a:path w="3713" h="3575" extrusionOk="0">
                  <a:moveTo>
                    <a:pt x="1449" y="1"/>
                  </a:moveTo>
                  <a:cubicBezTo>
                    <a:pt x="1413" y="1"/>
                    <a:pt x="1379" y="6"/>
                    <a:pt x="1351" y="17"/>
                  </a:cubicBezTo>
                  <a:cubicBezTo>
                    <a:pt x="1232" y="87"/>
                    <a:pt x="1179" y="222"/>
                    <a:pt x="1146" y="362"/>
                  </a:cubicBezTo>
                  <a:cubicBezTo>
                    <a:pt x="1092" y="633"/>
                    <a:pt x="1060" y="925"/>
                    <a:pt x="1043" y="1216"/>
                  </a:cubicBezTo>
                  <a:cubicBezTo>
                    <a:pt x="821" y="1249"/>
                    <a:pt x="616" y="1286"/>
                    <a:pt x="394" y="1302"/>
                  </a:cubicBezTo>
                  <a:cubicBezTo>
                    <a:pt x="308" y="1319"/>
                    <a:pt x="222" y="1319"/>
                    <a:pt x="136" y="1372"/>
                  </a:cubicBezTo>
                  <a:cubicBezTo>
                    <a:pt x="49" y="1405"/>
                    <a:pt x="0" y="1491"/>
                    <a:pt x="0" y="1577"/>
                  </a:cubicBezTo>
                  <a:cubicBezTo>
                    <a:pt x="0" y="1697"/>
                    <a:pt x="103" y="1762"/>
                    <a:pt x="206" y="1832"/>
                  </a:cubicBezTo>
                  <a:cubicBezTo>
                    <a:pt x="477" y="2005"/>
                    <a:pt x="752" y="2156"/>
                    <a:pt x="1043" y="2296"/>
                  </a:cubicBezTo>
                  <a:cubicBezTo>
                    <a:pt x="1043" y="2432"/>
                    <a:pt x="1060" y="2567"/>
                    <a:pt x="1060" y="2707"/>
                  </a:cubicBezTo>
                  <a:cubicBezTo>
                    <a:pt x="1076" y="2978"/>
                    <a:pt x="1092" y="3236"/>
                    <a:pt x="1179" y="3475"/>
                  </a:cubicBezTo>
                  <a:cubicBezTo>
                    <a:pt x="1179" y="3507"/>
                    <a:pt x="1195" y="3561"/>
                    <a:pt x="1232" y="3561"/>
                  </a:cubicBezTo>
                  <a:cubicBezTo>
                    <a:pt x="1246" y="3570"/>
                    <a:pt x="1261" y="3574"/>
                    <a:pt x="1276" y="3574"/>
                  </a:cubicBezTo>
                  <a:cubicBezTo>
                    <a:pt x="1311" y="3574"/>
                    <a:pt x="1344" y="3551"/>
                    <a:pt x="1368" y="3528"/>
                  </a:cubicBezTo>
                  <a:cubicBezTo>
                    <a:pt x="1659" y="3323"/>
                    <a:pt x="1864" y="3047"/>
                    <a:pt x="2070" y="2756"/>
                  </a:cubicBezTo>
                  <a:cubicBezTo>
                    <a:pt x="2205" y="2809"/>
                    <a:pt x="2361" y="2859"/>
                    <a:pt x="2497" y="2912"/>
                  </a:cubicBezTo>
                  <a:cubicBezTo>
                    <a:pt x="2643" y="2962"/>
                    <a:pt x="2938" y="3105"/>
                    <a:pt x="3157" y="3105"/>
                  </a:cubicBezTo>
                  <a:cubicBezTo>
                    <a:pt x="3295" y="3105"/>
                    <a:pt x="3402" y="3048"/>
                    <a:pt x="3421" y="2875"/>
                  </a:cubicBezTo>
                  <a:cubicBezTo>
                    <a:pt x="3437" y="2670"/>
                    <a:pt x="3248" y="2448"/>
                    <a:pt x="3146" y="2296"/>
                  </a:cubicBezTo>
                  <a:cubicBezTo>
                    <a:pt x="3043" y="2124"/>
                    <a:pt x="2940" y="1951"/>
                    <a:pt x="2838" y="1783"/>
                  </a:cubicBezTo>
                  <a:cubicBezTo>
                    <a:pt x="3453" y="1319"/>
                    <a:pt x="3626" y="1097"/>
                    <a:pt x="3659" y="1027"/>
                  </a:cubicBezTo>
                  <a:cubicBezTo>
                    <a:pt x="3712" y="962"/>
                    <a:pt x="3712" y="875"/>
                    <a:pt x="3642" y="822"/>
                  </a:cubicBezTo>
                  <a:cubicBezTo>
                    <a:pt x="3610" y="773"/>
                    <a:pt x="3556" y="773"/>
                    <a:pt x="3507" y="773"/>
                  </a:cubicBezTo>
                  <a:cubicBezTo>
                    <a:pt x="3476" y="771"/>
                    <a:pt x="3446" y="770"/>
                    <a:pt x="3415" y="770"/>
                  </a:cubicBezTo>
                  <a:cubicBezTo>
                    <a:pt x="3157" y="770"/>
                    <a:pt x="2912" y="829"/>
                    <a:pt x="2669" y="892"/>
                  </a:cubicBezTo>
                  <a:cubicBezTo>
                    <a:pt x="2550" y="925"/>
                    <a:pt x="2447" y="941"/>
                    <a:pt x="2324" y="978"/>
                  </a:cubicBezTo>
                  <a:cubicBezTo>
                    <a:pt x="2189" y="756"/>
                    <a:pt x="2037" y="530"/>
                    <a:pt x="1881" y="325"/>
                  </a:cubicBezTo>
                  <a:cubicBezTo>
                    <a:pt x="1811" y="222"/>
                    <a:pt x="1762" y="140"/>
                    <a:pt x="1659" y="71"/>
                  </a:cubicBezTo>
                  <a:cubicBezTo>
                    <a:pt x="1601" y="24"/>
                    <a:pt x="1521" y="1"/>
                    <a:pt x="144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71" name="Google Shape;271;p24"/>
          <p:cNvGrpSpPr/>
          <p:nvPr/>
        </p:nvGrpSpPr>
        <p:grpSpPr>
          <a:xfrm>
            <a:off x="10750819" y="3084031"/>
            <a:ext cx="439419" cy="443415"/>
            <a:chOff x="4166750" y="2901000"/>
            <a:chExt cx="134725" cy="135950"/>
          </a:xfrm>
        </p:grpSpPr>
        <p:sp>
          <p:nvSpPr>
            <p:cNvPr id="272" name="Google Shape;272;p24"/>
            <p:cNvSpPr/>
            <p:nvPr/>
          </p:nvSpPr>
          <p:spPr>
            <a:xfrm>
              <a:off x="4166750" y="2901025"/>
              <a:ext cx="134725" cy="135850"/>
            </a:xfrm>
            <a:custGeom>
              <a:avLst/>
              <a:gdLst/>
              <a:ahLst/>
              <a:cxnLst/>
              <a:rect l="l" t="t" r="r" b="b"/>
              <a:pathLst>
                <a:path w="5389" h="5434" extrusionOk="0">
                  <a:moveTo>
                    <a:pt x="3355" y="0"/>
                  </a:moveTo>
                  <a:cubicBezTo>
                    <a:pt x="3076" y="0"/>
                    <a:pt x="2453" y="1121"/>
                    <a:pt x="2173" y="1649"/>
                  </a:cubicBezTo>
                  <a:cubicBezTo>
                    <a:pt x="2013" y="1424"/>
                    <a:pt x="1414" y="657"/>
                    <a:pt x="1178" y="657"/>
                  </a:cubicBezTo>
                  <a:cubicBezTo>
                    <a:pt x="1160" y="657"/>
                    <a:pt x="1144" y="662"/>
                    <a:pt x="1130" y="672"/>
                  </a:cubicBezTo>
                  <a:cubicBezTo>
                    <a:pt x="925" y="791"/>
                    <a:pt x="1303" y="1731"/>
                    <a:pt x="1557" y="2195"/>
                  </a:cubicBezTo>
                  <a:cubicBezTo>
                    <a:pt x="1156" y="1979"/>
                    <a:pt x="724" y="1761"/>
                    <a:pt x="265" y="1761"/>
                  </a:cubicBezTo>
                  <a:cubicBezTo>
                    <a:pt x="217" y="1761"/>
                    <a:pt x="169" y="1763"/>
                    <a:pt x="120" y="1768"/>
                  </a:cubicBezTo>
                  <a:cubicBezTo>
                    <a:pt x="87" y="1768"/>
                    <a:pt x="34" y="1784"/>
                    <a:pt x="17" y="1817"/>
                  </a:cubicBezTo>
                  <a:cubicBezTo>
                    <a:pt x="1" y="1854"/>
                    <a:pt x="1" y="1887"/>
                    <a:pt x="17" y="1920"/>
                  </a:cubicBezTo>
                  <a:cubicBezTo>
                    <a:pt x="71" y="2076"/>
                    <a:pt x="206" y="2211"/>
                    <a:pt x="325" y="2331"/>
                  </a:cubicBezTo>
                  <a:cubicBezTo>
                    <a:pt x="650" y="2639"/>
                    <a:pt x="995" y="2930"/>
                    <a:pt x="1352" y="3205"/>
                  </a:cubicBezTo>
                  <a:cubicBezTo>
                    <a:pt x="1011" y="3271"/>
                    <a:pt x="687" y="3394"/>
                    <a:pt x="395" y="3579"/>
                  </a:cubicBezTo>
                  <a:cubicBezTo>
                    <a:pt x="325" y="3616"/>
                    <a:pt x="239" y="3681"/>
                    <a:pt x="239" y="3768"/>
                  </a:cubicBezTo>
                  <a:cubicBezTo>
                    <a:pt x="239" y="3870"/>
                    <a:pt x="395" y="3924"/>
                    <a:pt x="498" y="3940"/>
                  </a:cubicBezTo>
                  <a:cubicBezTo>
                    <a:pt x="838" y="3977"/>
                    <a:pt x="1171" y="3997"/>
                    <a:pt x="1508" y="3997"/>
                  </a:cubicBezTo>
                  <a:cubicBezTo>
                    <a:pt x="1627" y="3997"/>
                    <a:pt x="1745" y="3995"/>
                    <a:pt x="1865" y="3989"/>
                  </a:cubicBezTo>
                  <a:lnTo>
                    <a:pt x="1865" y="3989"/>
                  </a:lnTo>
                  <a:cubicBezTo>
                    <a:pt x="1730" y="4367"/>
                    <a:pt x="1627" y="4761"/>
                    <a:pt x="1524" y="5139"/>
                  </a:cubicBezTo>
                  <a:cubicBezTo>
                    <a:pt x="1508" y="5205"/>
                    <a:pt x="1487" y="5291"/>
                    <a:pt x="1524" y="5344"/>
                  </a:cubicBezTo>
                  <a:cubicBezTo>
                    <a:pt x="1562" y="5407"/>
                    <a:pt x="1631" y="5434"/>
                    <a:pt x="1692" y="5434"/>
                  </a:cubicBezTo>
                  <a:cubicBezTo>
                    <a:pt x="1711" y="5434"/>
                    <a:pt x="1730" y="5431"/>
                    <a:pt x="1746" y="5427"/>
                  </a:cubicBezTo>
                  <a:cubicBezTo>
                    <a:pt x="1832" y="5394"/>
                    <a:pt x="1898" y="5344"/>
                    <a:pt x="1951" y="5275"/>
                  </a:cubicBezTo>
                  <a:cubicBezTo>
                    <a:pt x="2292" y="4967"/>
                    <a:pt x="2600" y="4589"/>
                    <a:pt x="2842" y="4195"/>
                  </a:cubicBezTo>
                  <a:cubicBezTo>
                    <a:pt x="3064" y="4556"/>
                    <a:pt x="3356" y="4880"/>
                    <a:pt x="3680" y="5156"/>
                  </a:cubicBezTo>
                  <a:cubicBezTo>
                    <a:pt x="3772" y="5235"/>
                    <a:pt x="3875" y="5335"/>
                    <a:pt x="3982" y="5335"/>
                  </a:cubicBezTo>
                  <a:cubicBezTo>
                    <a:pt x="4012" y="5335"/>
                    <a:pt x="4043" y="5327"/>
                    <a:pt x="4074" y="5307"/>
                  </a:cubicBezTo>
                  <a:cubicBezTo>
                    <a:pt x="4210" y="5221"/>
                    <a:pt x="3832" y="4215"/>
                    <a:pt x="3627" y="3681"/>
                  </a:cubicBezTo>
                  <a:lnTo>
                    <a:pt x="3627" y="3681"/>
                  </a:lnTo>
                  <a:cubicBezTo>
                    <a:pt x="3972" y="3784"/>
                    <a:pt x="4329" y="3854"/>
                    <a:pt x="4707" y="3924"/>
                  </a:cubicBezTo>
                  <a:cubicBezTo>
                    <a:pt x="4785" y="3931"/>
                    <a:pt x="4911" y="3954"/>
                    <a:pt x="5031" y="3954"/>
                  </a:cubicBezTo>
                  <a:cubicBezTo>
                    <a:pt x="5171" y="3954"/>
                    <a:pt x="5301" y="3924"/>
                    <a:pt x="5339" y="3805"/>
                  </a:cubicBezTo>
                  <a:cubicBezTo>
                    <a:pt x="5388" y="3599"/>
                    <a:pt x="4415" y="2930"/>
                    <a:pt x="4021" y="2606"/>
                  </a:cubicBezTo>
                  <a:cubicBezTo>
                    <a:pt x="4382" y="2298"/>
                    <a:pt x="4690" y="1936"/>
                    <a:pt x="4928" y="1526"/>
                  </a:cubicBezTo>
                  <a:cubicBezTo>
                    <a:pt x="4945" y="1476"/>
                    <a:pt x="4978" y="1423"/>
                    <a:pt x="4961" y="1374"/>
                  </a:cubicBezTo>
                  <a:cubicBezTo>
                    <a:pt x="4951" y="1303"/>
                    <a:pt x="4881" y="1280"/>
                    <a:pt x="4800" y="1280"/>
                  </a:cubicBezTo>
                  <a:cubicBezTo>
                    <a:pt x="4745" y="1280"/>
                    <a:pt x="4685" y="1291"/>
                    <a:pt x="4637" y="1304"/>
                  </a:cubicBezTo>
                  <a:cubicBezTo>
                    <a:pt x="4210" y="1476"/>
                    <a:pt x="3799" y="1628"/>
                    <a:pt x="3372" y="1784"/>
                  </a:cubicBezTo>
                  <a:cubicBezTo>
                    <a:pt x="3475" y="1115"/>
                    <a:pt x="3627" y="109"/>
                    <a:pt x="3388" y="6"/>
                  </a:cubicBezTo>
                  <a:cubicBezTo>
                    <a:pt x="3378" y="2"/>
                    <a:pt x="3367" y="0"/>
                    <a:pt x="3355" y="0"/>
                  </a:cubicBezTo>
                  <a:close/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3" name="Google Shape;273;p24"/>
            <p:cNvSpPr/>
            <p:nvPr/>
          </p:nvSpPr>
          <p:spPr>
            <a:xfrm>
              <a:off x="4166750" y="2901000"/>
              <a:ext cx="134725" cy="135950"/>
            </a:xfrm>
            <a:custGeom>
              <a:avLst/>
              <a:gdLst/>
              <a:ahLst/>
              <a:cxnLst/>
              <a:rect l="l" t="t" r="r" b="b"/>
              <a:pathLst>
                <a:path w="5389" h="5438" extrusionOk="0">
                  <a:moveTo>
                    <a:pt x="3355" y="1"/>
                  </a:moveTo>
                  <a:cubicBezTo>
                    <a:pt x="3076" y="1"/>
                    <a:pt x="2453" y="1126"/>
                    <a:pt x="2173" y="1650"/>
                  </a:cubicBezTo>
                  <a:cubicBezTo>
                    <a:pt x="2013" y="1429"/>
                    <a:pt x="1416" y="661"/>
                    <a:pt x="1179" y="661"/>
                  </a:cubicBezTo>
                  <a:cubicBezTo>
                    <a:pt x="1160" y="661"/>
                    <a:pt x="1144" y="666"/>
                    <a:pt x="1130" y="676"/>
                  </a:cubicBezTo>
                  <a:cubicBezTo>
                    <a:pt x="925" y="796"/>
                    <a:pt x="1303" y="1736"/>
                    <a:pt x="1557" y="2196"/>
                  </a:cubicBezTo>
                  <a:cubicBezTo>
                    <a:pt x="1153" y="1979"/>
                    <a:pt x="719" y="1762"/>
                    <a:pt x="257" y="1762"/>
                  </a:cubicBezTo>
                  <a:cubicBezTo>
                    <a:pt x="212" y="1762"/>
                    <a:pt x="166" y="1764"/>
                    <a:pt x="120" y="1769"/>
                  </a:cubicBezTo>
                  <a:cubicBezTo>
                    <a:pt x="87" y="1769"/>
                    <a:pt x="34" y="1785"/>
                    <a:pt x="17" y="1822"/>
                  </a:cubicBezTo>
                  <a:cubicBezTo>
                    <a:pt x="1" y="1855"/>
                    <a:pt x="1" y="1888"/>
                    <a:pt x="17" y="1925"/>
                  </a:cubicBezTo>
                  <a:cubicBezTo>
                    <a:pt x="71" y="2077"/>
                    <a:pt x="206" y="2216"/>
                    <a:pt x="325" y="2335"/>
                  </a:cubicBezTo>
                  <a:cubicBezTo>
                    <a:pt x="650" y="2643"/>
                    <a:pt x="995" y="2935"/>
                    <a:pt x="1352" y="3206"/>
                  </a:cubicBezTo>
                  <a:cubicBezTo>
                    <a:pt x="1011" y="3276"/>
                    <a:pt x="687" y="3411"/>
                    <a:pt x="395" y="3584"/>
                  </a:cubicBezTo>
                  <a:cubicBezTo>
                    <a:pt x="325" y="3616"/>
                    <a:pt x="239" y="3686"/>
                    <a:pt x="239" y="3772"/>
                  </a:cubicBezTo>
                  <a:cubicBezTo>
                    <a:pt x="239" y="3892"/>
                    <a:pt x="395" y="3924"/>
                    <a:pt x="498" y="3941"/>
                  </a:cubicBezTo>
                  <a:cubicBezTo>
                    <a:pt x="844" y="3981"/>
                    <a:pt x="1184" y="4000"/>
                    <a:pt x="1527" y="4000"/>
                  </a:cubicBezTo>
                  <a:cubicBezTo>
                    <a:pt x="1639" y="4000"/>
                    <a:pt x="1752" y="3998"/>
                    <a:pt x="1865" y="3994"/>
                  </a:cubicBezTo>
                  <a:lnTo>
                    <a:pt x="1865" y="3994"/>
                  </a:lnTo>
                  <a:cubicBezTo>
                    <a:pt x="1730" y="4388"/>
                    <a:pt x="1627" y="4762"/>
                    <a:pt x="1524" y="5140"/>
                  </a:cubicBezTo>
                  <a:cubicBezTo>
                    <a:pt x="1508" y="5226"/>
                    <a:pt x="1487" y="5296"/>
                    <a:pt x="1524" y="5362"/>
                  </a:cubicBezTo>
                  <a:cubicBezTo>
                    <a:pt x="1562" y="5415"/>
                    <a:pt x="1631" y="5437"/>
                    <a:pt x="1693" y="5437"/>
                  </a:cubicBezTo>
                  <a:cubicBezTo>
                    <a:pt x="1712" y="5437"/>
                    <a:pt x="1730" y="5435"/>
                    <a:pt x="1746" y="5431"/>
                  </a:cubicBezTo>
                  <a:cubicBezTo>
                    <a:pt x="1832" y="5415"/>
                    <a:pt x="1898" y="5345"/>
                    <a:pt x="1951" y="5296"/>
                  </a:cubicBezTo>
                  <a:cubicBezTo>
                    <a:pt x="2292" y="4967"/>
                    <a:pt x="2600" y="4610"/>
                    <a:pt x="2842" y="4199"/>
                  </a:cubicBezTo>
                  <a:cubicBezTo>
                    <a:pt x="3064" y="4577"/>
                    <a:pt x="3356" y="4902"/>
                    <a:pt x="3680" y="5173"/>
                  </a:cubicBezTo>
                  <a:cubicBezTo>
                    <a:pt x="3773" y="5240"/>
                    <a:pt x="3875" y="5339"/>
                    <a:pt x="3982" y="5339"/>
                  </a:cubicBezTo>
                  <a:cubicBezTo>
                    <a:pt x="4013" y="5339"/>
                    <a:pt x="4043" y="5331"/>
                    <a:pt x="4074" y="5312"/>
                  </a:cubicBezTo>
                  <a:cubicBezTo>
                    <a:pt x="4210" y="5226"/>
                    <a:pt x="3832" y="4216"/>
                    <a:pt x="3627" y="3686"/>
                  </a:cubicBezTo>
                  <a:lnTo>
                    <a:pt x="3627" y="3686"/>
                  </a:lnTo>
                  <a:cubicBezTo>
                    <a:pt x="3972" y="3789"/>
                    <a:pt x="4329" y="3859"/>
                    <a:pt x="4707" y="3924"/>
                  </a:cubicBezTo>
                  <a:cubicBezTo>
                    <a:pt x="4785" y="3932"/>
                    <a:pt x="4911" y="3955"/>
                    <a:pt x="5031" y="3955"/>
                  </a:cubicBezTo>
                  <a:cubicBezTo>
                    <a:pt x="5171" y="3955"/>
                    <a:pt x="5301" y="3924"/>
                    <a:pt x="5339" y="3805"/>
                  </a:cubicBezTo>
                  <a:cubicBezTo>
                    <a:pt x="5388" y="3600"/>
                    <a:pt x="4415" y="2935"/>
                    <a:pt x="4021" y="2606"/>
                  </a:cubicBezTo>
                  <a:cubicBezTo>
                    <a:pt x="4382" y="2298"/>
                    <a:pt x="4690" y="1941"/>
                    <a:pt x="4928" y="1531"/>
                  </a:cubicBezTo>
                  <a:cubicBezTo>
                    <a:pt x="4945" y="1477"/>
                    <a:pt x="4978" y="1428"/>
                    <a:pt x="4961" y="1374"/>
                  </a:cubicBezTo>
                  <a:cubicBezTo>
                    <a:pt x="4951" y="1305"/>
                    <a:pt x="4883" y="1282"/>
                    <a:pt x="4804" y="1282"/>
                  </a:cubicBezTo>
                  <a:cubicBezTo>
                    <a:pt x="4748" y="1282"/>
                    <a:pt x="4686" y="1293"/>
                    <a:pt x="4637" y="1309"/>
                  </a:cubicBezTo>
                  <a:cubicBezTo>
                    <a:pt x="4210" y="1477"/>
                    <a:pt x="3799" y="1633"/>
                    <a:pt x="3372" y="1785"/>
                  </a:cubicBezTo>
                  <a:cubicBezTo>
                    <a:pt x="3475" y="1120"/>
                    <a:pt x="3627" y="126"/>
                    <a:pt x="3388" y="7"/>
                  </a:cubicBezTo>
                  <a:cubicBezTo>
                    <a:pt x="3378" y="3"/>
                    <a:pt x="3367" y="1"/>
                    <a:pt x="33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74" name="Google Shape;274;p24"/>
          <p:cNvGrpSpPr/>
          <p:nvPr/>
        </p:nvGrpSpPr>
        <p:grpSpPr>
          <a:xfrm>
            <a:off x="720880" y="3775891"/>
            <a:ext cx="690481" cy="378183"/>
            <a:chOff x="5136825" y="3314325"/>
            <a:chExt cx="211700" cy="115950"/>
          </a:xfrm>
        </p:grpSpPr>
        <p:sp>
          <p:nvSpPr>
            <p:cNvPr id="275" name="Google Shape;275;p24"/>
            <p:cNvSpPr/>
            <p:nvPr/>
          </p:nvSpPr>
          <p:spPr>
            <a:xfrm>
              <a:off x="5138075" y="3314325"/>
              <a:ext cx="210450" cy="115950"/>
            </a:xfrm>
            <a:custGeom>
              <a:avLst/>
              <a:gdLst/>
              <a:ahLst/>
              <a:cxnLst/>
              <a:rect l="l" t="t" r="r" b="b"/>
              <a:pathLst>
                <a:path w="8418" h="4638" extrusionOk="0">
                  <a:moveTo>
                    <a:pt x="4046" y="1"/>
                  </a:moveTo>
                  <a:cubicBezTo>
                    <a:pt x="3342" y="1"/>
                    <a:pt x="2703" y="246"/>
                    <a:pt x="2328" y="683"/>
                  </a:cubicBezTo>
                  <a:cubicBezTo>
                    <a:pt x="2261" y="681"/>
                    <a:pt x="2194" y="680"/>
                    <a:pt x="2129" y="680"/>
                  </a:cubicBezTo>
                  <a:cubicBezTo>
                    <a:pt x="1054" y="680"/>
                    <a:pt x="284" y="934"/>
                    <a:pt x="156" y="1418"/>
                  </a:cubicBezTo>
                  <a:cubicBezTo>
                    <a:pt x="0" y="2034"/>
                    <a:pt x="875" y="2790"/>
                    <a:pt x="2279" y="3389"/>
                  </a:cubicBezTo>
                  <a:lnTo>
                    <a:pt x="2279" y="3730"/>
                  </a:lnTo>
                  <a:cubicBezTo>
                    <a:pt x="2295" y="3833"/>
                    <a:pt x="2361" y="3935"/>
                    <a:pt x="2484" y="3968"/>
                  </a:cubicBezTo>
                  <a:lnTo>
                    <a:pt x="5051" y="4637"/>
                  </a:lnTo>
                  <a:lnTo>
                    <a:pt x="5116" y="4637"/>
                  </a:lnTo>
                  <a:cubicBezTo>
                    <a:pt x="5203" y="4637"/>
                    <a:pt x="5289" y="4584"/>
                    <a:pt x="5338" y="4498"/>
                  </a:cubicBezTo>
                  <a:lnTo>
                    <a:pt x="5511" y="4210"/>
                  </a:lnTo>
                  <a:cubicBezTo>
                    <a:pt x="5802" y="4243"/>
                    <a:pt x="6077" y="4260"/>
                    <a:pt x="6332" y="4260"/>
                  </a:cubicBezTo>
                  <a:cubicBezTo>
                    <a:pt x="6504" y="4260"/>
                    <a:pt x="6673" y="4243"/>
                    <a:pt x="6829" y="4243"/>
                  </a:cubicBezTo>
                  <a:cubicBezTo>
                    <a:pt x="7666" y="4173"/>
                    <a:pt x="8180" y="3919"/>
                    <a:pt x="8299" y="3541"/>
                  </a:cubicBezTo>
                  <a:cubicBezTo>
                    <a:pt x="8299" y="3525"/>
                    <a:pt x="8315" y="3525"/>
                    <a:pt x="8315" y="3508"/>
                  </a:cubicBezTo>
                  <a:cubicBezTo>
                    <a:pt x="8418" y="3114"/>
                    <a:pt x="8077" y="2634"/>
                    <a:pt x="7358" y="2157"/>
                  </a:cubicBezTo>
                  <a:cubicBezTo>
                    <a:pt x="7169" y="2034"/>
                    <a:pt x="6981" y="1931"/>
                    <a:pt x="6759" y="1812"/>
                  </a:cubicBezTo>
                  <a:cubicBezTo>
                    <a:pt x="6590" y="1045"/>
                    <a:pt x="5835" y="359"/>
                    <a:pt x="4845" y="104"/>
                  </a:cubicBezTo>
                  <a:cubicBezTo>
                    <a:pt x="4577" y="34"/>
                    <a:pt x="4307" y="1"/>
                    <a:pt x="4046" y="1"/>
                  </a:cubicBezTo>
                  <a:close/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grpSp>
          <p:nvGrpSpPr>
            <p:cNvPr id="276" name="Google Shape;276;p24"/>
            <p:cNvGrpSpPr/>
            <p:nvPr/>
          </p:nvGrpSpPr>
          <p:grpSpPr>
            <a:xfrm>
              <a:off x="5136825" y="3314400"/>
              <a:ext cx="211700" cy="115875"/>
              <a:chOff x="5136825" y="3314400"/>
              <a:chExt cx="211700" cy="115875"/>
            </a:xfrm>
          </p:grpSpPr>
          <p:sp>
            <p:nvSpPr>
              <p:cNvPr id="277" name="Google Shape;277;p24"/>
              <p:cNvSpPr/>
              <p:nvPr/>
            </p:nvSpPr>
            <p:spPr>
              <a:xfrm>
                <a:off x="5196275" y="3383625"/>
                <a:ext cx="860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3442" h="1810" extrusionOk="0">
                    <a:moveTo>
                      <a:pt x="0" y="1"/>
                    </a:moveTo>
                    <a:lnTo>
                      <a:pt x="17" y="958"/>
                    </a:lnTo>
                    <a:cubicBezTo>
                      <a:pt x="17" y="1044"/>
                      <a:pt x="87" y="1130"/>
                      <a:pt x="173" y="1147"/>
                    </a:cubicBezTo>
                    <a:lnTo>
                      <a:pt x="2739" y="1799"/>
                    </a:lnTo>
                    <a:cubicBezTo>
                      <a:pt x="2757" y="1806"/>
                      <a:pt x="2775" y="1809"/>
                      <a:pt x="2792" y="1809"/>
                    </a:cubicBezTo>
                    <a:cubicBezTo>
                      <a:pt x="2858" y="1809"/>
                      <a:pt x="2919" y="1765"/>
                      <a:pt x="2961" y="1713"/>
                    </a:cubicBezTo>
                    <a:lnTo>
                      <a:pt x="3441" y="892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78" name="Google Shape;278;p24"/>
              <p:cNvSpPr/>
              <p:nvPr/>
            </p:nvSpPr>
            <p:spPr>
              <a:xfrm>
                <a:off x="5216400" y="3389600"/>
                <a:ext cx="42300" cy="34700"/>
              </a:xfrm>
              <a:custGeom>
                <a:avLst/>
                <a:gdLst/>
                <a:ahLst/>
                <a:cxnLst/>
                <a:rect l="l" t="t" r="r" b="b"/>
                <a:pathLst>
                  <a:path w="1692" h="1388" extrusionOk="0">
                    <a:moveTo>
                      <a:pt x="136" y="0"/>
                    </a:moveTo>
                    <a:lnTo>
                      <a:pt x="17" y="924"/>
                    </a:lnTo>
                    <a:cubicBezTo>
                      <a:pt x="0" y="1010"/>
                      <a:pt x="17" y="1080"/>
                      <a:pt x="70" y="1080"/>
                    </a:cubicBezTo>
                    <a:lnTo>
                      <a:pt x="1232" y="1388"/>
                    </a:lnTo>
                    <a:cubicBezTo>
                      <a:pt x="1265" y="1388"/>
                      <a:pt x="1318" y="1355"/>
                      <a:pt x="1351" y="1269"/>
                    </a:cubicBezTo>
                    <a:lnTo>
                      <a:pt x="1692" y="394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79" name="Google Shape;279;p24"/>
              <p:cNvSpPr/>
              <p:nvPr/>
            </p:nvSpPr>
            <p:spPr>
              <a:xfrm>
                <a:off x="5194525" y="3382175"/>
                <a:ext cx="89025" cy="48100"/>
              </a:xfrm>
              <a:custGeom>
                <a:avLst/>
                <a:gdLst/>
                <a:ahLst/>
                <a:cxnLst/>
                <a:rect l="l" t="t" r="r" b="b"/>
                <a:pathLst>
                  <a:path w="3561" h="1924" extrusionOk="0">
                    <a:moveTo>
                      <a:pt x="124" y="145"/>
                    </a:moveTo>
                    <a:lnTo>
                      <a:pt x="3409" y="983"/>
                    </a:lnTo>
                    <a:lnTo>
                      <a:pt x="2977" y="1734"/>
                    </a:lnTo>
                    <a:cubicBezTo>
                      <a:pt x="2950" y="1778"/>
                      <a:pt x="2898" y="1808"/>
                      <a:pt x="2853" y="1808"/>
                    </a:cubicBezTo>
                    <a:cubicBezTo>
                      <a:pt x="2843" y="1808"/>
                      <a:pt x="2834" y="1807"/>
                      <a:pt x="2826" y="1804"/>
                    </a:cubicBezTo>
                    <a:lnTo>
                      <a:pt x="243" y="1139"/>
                    </a:lnTo>
                    <a:cubicBezTo>
                      <a:pt x="189" y="1139"/>
                      <a:pt x="140" y="1069"/>
                      <a:pt x="140" y="1016"/>
                    </a:cubicBezTo>
                    <a:lnTo>
                      <a:pt x="124" y="145"/>
                    </a:lnTo>
                    <a:close/>
                    <a:moveTo>
                      <a:pt x="67" y="0"/>
                    </a:moveTo>
                    <a:cubicBezTo>
                      <a:pt x="52" y="0"/>
                      <a:pt x="37" y="10"/>
                      <a:pt x="37" y="10"/>
                    </a:cubicBezTo>
                    <a:cubicBezTo>
                      <a:pt x="21" y="26"/>
                      <a:pt x="0" y="42"/>
                      <a:pt x="0" y="59"/>
                    </a:cubicBezTo>
                    <a:lnTo>
                      <a:pt x="21" y="1016"/>
                    </a:lnTo>
                    <a:cubicBezTo>
                      <a:pt x="37" y="1139"/>
                      <a:pt x="103" y="1241"/>
                      <a:pt x="226" y="1258"/>
                    </a:cubicBezTo>
                    <a:lnTo>
                      <a:pt x="2793" y="1923"/>
                    </a:lnTo>
                    <a:lnTo>
                      <a:pt x="2858" y="1923"/>
                    </a:lnTo>
                    <a:cubicBezTo>
                      <a:pt x="2945" y="1923"/>
                      <a:pt x="3031" y="1874"/>
                      <a:pt x="3080" y="1804"/>
                    </a:cubicBezTo>
                    <a:lnTo>
                      <a:pt x="3561" y="966"/>
                    </a:lnTo>
                    <a:lnTo>
                      <a:pt x="3561" y="913"/>
                    </a:lnTo>
                    <a:cubicBezTo>
                      <a:pt x="3544" y="897"/>
                      <a:pt x="3544" y="880"/>
                      <a:pt x="3528" y="880"/>
                    </a:cubicBezTo>
                    <a:lnTo>
                      <a:pt x="87" y="10"/>
                    </a:lnTo>
                    <a:cubicBezTo>
                      <a:pt x="81" y="3"/>
                      <a:pt x="74" y="0"/>
                      <a:pt x="6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80" name="Google Shape;280;p24"/>
              <p:cNvSpPr/>
              <p:nvPr/>
            </p:nvSpPr>
            <p:spPr>
              <a:xfrm>
                <a:off x="5138575" y="3332725"/>
                <a:ext cx="208725" cy="86675"/>
              </a:xfrm>
              <a:custGeom>
                <a:avLst/>
                <a:gdLst/>
                <a:ahLst/>
                <a:cxnLst/>
                <a:rect l="l" t="t" r="r" b="b"/>
                <a:pathLst>
                  <a:path w="8349" h="3467" extrusionOk="0">
                    <a:moveTo>
                      <a:pt x="2000" y="0"/>
                    </a:moveTo>
                    <a:cubicBezTo>
                      <a:pt x="1007" y="17"/>
                      <a:pt x="309" y="259"/>
                      <a:pt x="185" y="702"/>
                    </a:cubicBezTo>
                    <a:cubicBezTo>
                      <a:pt x="1" y="1474"/>
                      <a:pt x="1643" y="2550"/>
                      <a:pt x="3865" y="3133"/>
                    </a:cubicBezTo>
                    <a:cubicBezTo>
                      <a:pt x="4750" y="3359"/>
                      <a:pt x="5596" y="3467"/>
                      <a:pt x="6304" y="3467"/>
                    </a:cubicBezTo>
                    <a:cubicBezTo>
                      <a:pt x="7364" y="3467"/>
                      <a:pt x="8116" y="3225"/>
                      <a:pt x="8229" y="2772"/>
                    </a:cubicBezTo>
                    <a:cubicBezTo>
                      <a:pt x="8348" y="2328"/>
                      <a:pt x="7852" y="1782"/>
                      <a:pt x="6981" y="1285"/>
                    </a:cubicBezTo>
                    <a:cubicBezTo>
                      <a:pt x="6345" y="924"/>
                      <a:pt x="5507" y="583"/>
                      <a:pt x="4567" y="345"/>
                    </a:cubicBezTo>
                    <a:cubicBezTo>
                      <a:pt x="3626" y="103"/>
                      <a:pt x="2735" y="0"/>
                      <a:pt x="200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81" name="Google Shape;281;p24"/>
              <p:cNvSpPr/>
              <p:nvPr/>
            </p:nvSpPr>
            <p:spPr>
              <a:xfrm>
                <a:off x="5183025" y="3332725"/>
                <a:ext cx="130500" cy="55250"/>
              </a:xfrm>
              <a:custGeom>
                <a:avLst/>
                <a:gdLst/>
                <a:ahLst/>
                <a:cxnLst/>
                <a:rect l="l" t="t" r="r" b="b"/>
                <a:pathLst>
                  <a:path w="5220" h="2210" extrusionOk="0">
                    <a:moveTo>
                      <a:pt x="222" y="0"/>
                    </a:moveTo>
                    <a:cubicBezTo>
                      <a:pt x="206" y="37"/>
                      <a:pt x="189" y="70"/>
                      <a:pt x="173" y="103"/>
                    </a:cubicBezTo>
                    <a:cubicBezTo>
                      <a:pt x="1" y="394"/>
                      <a:pt x="70" y="756"/>
                      <a:pt x="309" y="994"/>
                    </a:cubicBezTo>
                    <a:cubicBezTo>
                      <a:pt x="617" y="1302"/>
                      <a:pt x="1232" y="1713"/>
                      <a:pt x="2362" y="2004"/>
                    </a:cubicBezTo>
                    <a:cubicBezTo>
                      <a:pt x="2958" y="2156"/>
                      <a:pt x="3443" y="2210"/>
                      <a:pt x="3829" y="2210"/>
                    </a:cubicBezTo>
                    <a:cubicBezTo>
                      <a:pt x="4184" y="2210"/>
                      <a:pt x="4456" y="2164"/>
                      <a:pt x="4653" y="2107"/>
                    </a:cubicBezTo>
                    <a:cubicBezTo>
                      <a:pt x="4977" y="2020"/>
                      <a:pt x="5220" y="1729"/>
                      <a:pt x="5220" y="1388"/>
                    </a:cubicBezTo>
                    <a:cubicBezTo>
                      <a:pt x="5220" y="1351"/>
                      <a:pt x="5220" y="1318"/>
                      <a:pt x="5203" y="1285"/>
                    </a:cubicBezTo>
                    <a:cubicBezTo>
                      <a:pt x="4567" y="924"/>
                      <a:pt x="3729" y="583"/>
                      <a:pt x="2789" y="345"/>
                    </a:cubicBezTo>
                    <a:cubicBezTo>
                      <a:pt x="1848" y="103"/>
                      <a:pt x="957" y="0"/>
                      <a:pt x="22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82" name="Google Shape;282;p24"/>
              <p:cNvSpPr/>
              <p:nvPr/>
            </p:nvSpPr>
            <p:spPr>
              <a:xfrm>
                <a:off x="5136825" y="3331375"/>
                <a:ext cx="211700" cy="89550"/>
              </a:xfrm>
              <a:custGeom>
                <a:avLst/>
                <a:gdLst/>
                <a:ahLst/>
                <a:cxnLst/>
                <a:rect l="l" t="t" r="r" b="b"/>
                <a:pathLst>
                  <a:path w="8468" h="3582" extrusionOk="0">
                    <a:moveTo>
                      <a:pt x="2189" y="124"/>
                    </a:moveTo>
                    <a:cubicBezTo>
                      <a:pt x="2892" y="124"/>
                      <a:pt x="3746" y="227"/>
                      <a:pt x="4620" y="465"/>
                    </a:cubicBezTo>
                    <a:cubicBezTo>
                      <a:pt x="5696" y="740"/>
                      <a:pt x="6657" y="1134"/>
                      <a:pt x="7339" y="1578"/>
                    </a:cubicBezTo>
                    <a:cubicBezTo>
                      <a:pt x="8008" y="2021"/>
                      <a:pt x="8332" y="2469"/>
                      <a:pt x="8246" y="2809"/>
                    </a:cubicBezTo>
                    <a:lnTo>
                      <a:pt x="8246" y="2826"/>
                    </a:lnTo>
                    <a:cubicBezTo>
                      <a:pt x="8165" y="3024"/>
                      <a:pt x="7683" y="3135"/>
                      <a:pt x="6964" y="3135"/>
                    </a:cubicBezTo>
                    <a:cubicBezTo>
                      <a:pt x="6194" y="3135"/>
                      <a:pt x="5152" y="3008"/>
                      <a:pt x="4037" y="2723"/>
                    </a:cubicBezTo>
                    <a:cubicBezTo>
                      <a:pt x="1849" y="2161"/>
                      <a:pt x="206" y="1200"/>
                      <a:pt x="325" y="773"/>
                    </a:cubicBezTo>
                    <a:cubicBezTo>
                      <a:pt x="428" y="346"/>
                      <a:pt x="1163" y="124"/>
                      <a:pt x="2189" y="124"/>
                    </a:cubicBezTo>
                    <a:close/>
                    <a:moveTo>
                      <a:pt x="379" y="1167"/>
                    </a:moveTo>
                    <a:lnTo>
                      <a:pt x="379" y="1167"/>
                    </a:lnTo>
                    <a:cubicBezTo>
                      <a:pt x="871" y="1713"/>
                      <a:pt x="2329" y="2399"/>
                      <a:pt x="4021" y="2842"/>
                    </a:cubicBezTo>
                    <a:cubicBezTo>
                      <a:pt x="5101" y="3117"/>
                      <a:pt x="6144" y="3253"/>
                      <a:pt x="6928" y="3253"/>
                    </a:cubicBezTo>
                    <a:cubicBezTo>
                      <a:pt x="7375" y="3253"/>
                      <a:pt x="7749" y="3220"/>
                      <a:pt x="7991" y="3134"/>
                    </a:cubicBezTo>
                    <a:lnTo>
                      <a:pt x="7991" y="3134"/>
                    </a:lnTo>
                    <a:cubicBezTo>
                      <a:pt x="7749" y="3290"/>
                      <a:pt x="7375" y="3409"/>
                      <a:pt x="6879" y="3442"/>
                    </a:cubicBezTo>
                    <a:cubicBezTo>
                      <a:pt x="6724" y="3455"/>
                      <a:pt x="6562" y="3461"/>
                      <a:pt x="6394" y="3461"/>
                    </a:cubicBezTo>
                    <a:cubicBezTo>
                      <a:pt x="5664" y="3461"/>
                      <a:pt x="4812" y="3341"/>
                      <a:pt x="3935" y="3117"/>
                    </a:cubicBezTo>
                    <a:cubicBezTo>
                      <a:pt x="2157" y="2674"/>
                      <a:pt x="719" y="1853"/>
                      <a:pt x="379" y="1167"/>
                    </a:cubicBezTo>
                    <a:close/>
                    <a:moveTo>
                      <a:pt x="2163" y="1"/>
                    </a:moveTo>
                    <a:cubicBezTo>
                      <a:pt x="1084" y="1"/>
                      <a:pt x="330" y="256"/>
                      <a:pt x="206" y="740"/>
                    </a:cubicBezTo>
                    <a:cubicBezTo>
                      <a:pt x="1" y="1561"/>
                      <a:pt x="1627" y="2658"/>
                      <a:pt x="3918" y="3237"/>
                    </a:cubicBezTo>
                    <a:cubicBezTo>
                      <a:pt x="4793" y="3458"/>
                      <a:pt x="5647" y="3581"/>
                      <a:pt x="6382" y="3581"/>
                    </a:cubicBezTo>
                    <a:cubicBezTo>
                      <a:pt x="6554" y="3581"/>
                      <a:pt x="6723" y="3581"/>
                      <a:pt x="6879" y="3561"/>
                    </a:cubicBezTo>
                    <a:cubicBezTo>
                      <a:pt x="7716" y="3495"/>
                      <a:pt x="8230" y="3237"/>
                      <a:pt x="8349" y="2863"/>
                    </a:cubicBezTo>
                    <a:cubicBezTo>
                      <a:pt x="8349" y="2863"/>
                      <a:pt x="8365" y="2842"/>
                      <a:pt x="8365" y="2826"/>
                    </a:cubicBezTo>
                    <a:cubicBezTo>
                      <a:pt x="8468" y="2432"/>
                      <a:pt x="8127" y="1955"/>
                      <a:pt x="7408" y="1491"/>
                    </a:cubicBezTo>
                    <a:cubicBezTo>
                      <a:pt x="6706" y="1032"/>
                      <a:pt x="5733" y="621"/>
                      <a:pt x="4653" y="346"/>
                    </a:cubicBezTo>
                    <a:cubicBezTo>
                      <a:pt x="3739" y="113"/>
                      <a:pt x="2880" y="1"/>
                      <a:pt x="2163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83" name="Google Shape;283;p24"/>
              <p:cNvSpPr/>
              <p:nvPr/>
            </p:nvSpPr>
            <p:spPr>
              <a:xfrm>
                <a:off x="5190725" y="3315975"/>
                <a:ext cx="115500" cy="65025"/>
              </a:xfrm>
              <a:custGeom>
                <a:avLst/>
                <a:gdLst/>
                <a:ahLst/>
                <a:cxnLst/>
                <a:rect l="l" t="t" r="r" b="b"/>
                <a:pathLst>
                  <a:path w="4620" h="2601" extrusionOk="0">
                    <a:moveTo>
                      <a:pt x="2050" y="1"/>
                    </a:moveTo>
                    <a:cubicBezTo>
                      <a:pt x="2005" y="1"/>
                      <a:pt x="1961" y="2"/>
                      <a:pt x="1918" y="5"/>
                    </a:cubicBezTo>
                    <a:cubicBezTo>
                      <a:pt x="1573" y="5"/>
                      <a:pt x="1249" y="54"/>
                      <a:pt x="957" y="173"/>
                    </a:cubicBezTo>
                    <a:cubicBezTo>
                      <a:pt x="584" y="329"/>
                      <a:pt x="276" y="584"/>
                      <a:pt x="103" y="913"/>
                    </a:cubicBezTo>
                    <a:cubicBezTo>
                      <a:pt x="1" y="1081"/>
                      <a:pt x="33" y="1323"/>
                      <a:pt x="189" y="1459"/>
                    </a:cubicBezTo>
                    <a:cubicBezTo>
                      <a:pt x="460" y="1713"/>
                      <a:pt x="1027" y="2124"/>
                      <a:pt x="2123" y="2399"/>
                    </a:cubicBezTo>
                    <a:cubicBezTo>
                      <a:pt x="2702" y="2551"/>
                      <a:pt x="3166" y="2600"/>
                      <a:pt x="3528" y="2600"/>
                    </a:cubicBezTo>
                    <a:cubicBezTo>
                      <a:pt x="3860" y="2600"/>
                      <a:pt x="4107" y="2559"/>
                      <a:pt x="4279" y="2518"/>
                    </a:cubicBezTo>
                    <a:cubicBezTo>
                      <a:pt x="4484" y="2452"/>
                      <a:pt x="4620" y="2280"/>
                      <a:pt x="4620" y="2058"/>
                    </a:cubicBezTo>
                    <a:cubicBezTo>
                      <a:pt x="4620" y="1220"/>
                      <a:pt x="3848" y="379"/>
                      <a:pt x="2719" y="91"/>
                    </a:cubicBezTo>
                    <a:cubicBezTo>
                      <a:pt x="2494" y="33"/>
                      <a:pt x="2266" y="1"/>
                      <a:pt x="2050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84" name="Google Shape;284;p24"/>
              <p:cNvSpPr/>
              <p:nvPr/>
            </p:nvSpPr>
            <p:spPr>
              <a:xfrm>
                <a:off x="5215050" y="3326900"/>
                <a:ext cx="45825" cy="31850"/>
              </a:xfrm>
              <a:custGeom>
                <a:avLst/>
                <a:gdLst/>
                <a:ahLst/>
                <a:cxnLst/>
                <a:rect l="l" t="t" r="r" b="b"/>
                <a:pathLst>
                  <a:path w="1833" h="1274" extrusionOk="0">
                    <a:moveTo>
                      <a:pt x="1391" y="1"/>
                    </a:moveTo>
                    <a:cubicBezTo>
                      <a:pt x="1104" y="1"/>
                      <a:pt x="749" y="165"/>
                      <a:pt x="567" y="250"/>
                    </a:cubicBezTo>
                    <a:cubicBezTo>
                      <a:pt x="362" y="352"/>
                      <a:pt x="173" y="476"/>
                      <a:pt x="71" y="681"/>
                    </a:cubicBezTo>
                    <a:cubicBezTo>
                      <a:pt x="38" y="730"/>
                      <a:pt x="1" y="783"/>
                      <a:pt x="1" y="849"/>
                    </a:cubicBezTo>
                    <a:cubicBezTo>
                      <a:pt x="1" y="1022"/>
                      <a:pt x="124" y="1174"/>
                      <a:pt x="276" y="1227"/>
                    </a:cubicBezTo>
                    <a:cubicBezTo>
                      <a:pt x="360" y="1261"/>
                      <a:pt x="444" y="1274"/>
                      <a:pt x="525" y="1274"/>
                    </a:cubicBezTo>
                    <a:cubicBezTo>
                      <a:pt x="610" y="1274"/>
                      <a:pt x="693" y="1260"/>
                      <a:pt x="773" y="1243"/>
                    </a:cubicBezTo>
                    <a:cubicBezTo>
                      <a:pt x="1027" y="1174"/>
                      <a:pt x="1270" y="1071"/>
                      <a:pt x="1475" y="919"/>
                    </a:cubicBezTo>
                    <a:cubicBezTo>
                      <a:pt x="1577" y="833"/>
                      <a:pt x="1680" y="747"/>
                      <a:pt x="1746" y="627"/>
                    </a:cubicBezTo>
                    <a:cubicBezTo>
                      <a:pt x="1816" y="508"/>
                      <a:pt x="1832" y="352"/>
                      <a:pt x="1783" y="233"/>
                    </a:cubicBezTo>
                    <a:cubicBezTo>
                      <a:pt x="1712" y="60"/>
                      <a:pt x="1564" y="1"/>
                      <a:pt x="1391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85" name="Google Shape;285;p24"/>
              <p:cNvSpPr/>
              <p:nvPr/>
            </p:nvSpPr>
            <p:spPr>
              <a:xfrm>
                <a:off x="5188975" y="3314400"/>
                <a:ext cx="119000" cy="68025"/>
              </a:xfrm>
              <a:custGeom>
                <a:avLst/>
                <a:gdLst/>
                <a:ahLst/>
                <a:cxnLst/>
                <a:rect l="l" t="t" r="r" b="b"/>
                <a:pathLst>
                  <a:path w="4760" h="2721" extrusionOk="0">
                    <a:moveTo>
                      <a:pt x="2021" y="117"/>
                    </a:moveTo>
                    <a:cubicBezTo>
                      <a:pt x="2259" y="117"/>
                      <a:pt x="2518" y="154"/>
                      <a:pt x="2772" y="220"/>
                    </a:cubicBezTo>
                    <a:cubicBezTo>
                      <a:pt x="3852" y="495"/>
                      <a:pt x="4637" y="1300"/>
                      <a:pt x="4637" y="2121"/>
                    </a:cubicBezTo>
                    <a:cubicBezTo>
                      <a:pt x="4637" y="2310"/>
                      <a:pt x="4518" y="2462"/>
                      <a:pt x="4329" y="2515"/>
                    </a:cubicBezTo>
                    <a:cubicBezTo>
                      <a:pt x="4151" y="2564"/>
                      <a:pt x="3907" y="2604"/>
                      <a:pt x="3585" y="2604"/>
                    </a:cubicBezTo>
                    <a:cubicBezTo>
                      <a:pt x="3228" y="2604"/>
                      <a:pt x="2775" y="2555"/>
                      <a:pt x="2210" y="2413"/>
                    </a:cubicBezTo>
                    <a:cubicBezTo>
                      <a:pt x="1146" y="2138"/>
                      <a:pt x="584" y="1760"/>
                      <a:pt x="292" y="1489"/>
                    </a:cubicBezTo>
                    <a:cubicBezTo>
                      <a:pt x="173" y="1349"/>
                      <a:pt x="140" y="1160"/>
                      <a:pt x="222" y="992"/>
                    </a:cubicBezTo>
                    <a:cubicBezTo>
                      <a:pt x="530" y="442"/>
                      <a:pt x="1216" y="117"/>
                      <a:pt x="2021" y="117"/>
                    </a:cubicBezTo>
                    <a:close/>
                    <a:moveTo>
                      <a:pt x="2027" y="0"/>
                    </a:moveTo>
                    <a:cubicBezTo>
                      <a:pt x="1191" y="0"/>
                      <a:pt x="450" y="350"/>
                      <a:pt x="120" y="939"/>
                    </a:cubicBezTo>
                    <a:cubicBezTo>
                      <a:pt x="1" y="1144"/>
                      <a:pt x="54" y="1403"/>
                      <a:pt x="222" y="1571"/>
                    </a:cubicBezTo>
                    <a:cubicBezTo>
                      <a:pt x="514" y="1846"/>
                      <a:pt x="1097" y="2240"/>
                      <a:pt x="2173" y="2532"/>
                    </a:cubicBezTo>
                    <a:cubicBezTo>
                      <a:pt x="2756" y="2667"/>
                      <a:pt x="3220" y="2721"/>
                      <a:pt x="3594" y="2721"/>
                    </a:cubicBezTo>
                    <a:cubicBezTo>
                      <a:pt x="3918" y="2721"/>
                      <a:pt x="4177" y="2684"/>
                      <a:pt x="4366" y="2634"/>
                    </a:cubicBezTo>
                    <a:cubicBezTo>
                      <a:pt x="4604" y="2565"/>
                      <a:pt x="4760" y="2359"/>
                      <a:pt x="4760" y="2121"/>
                    </a:cubicBezTo>
                    <a:cubicBezTo>
                      <a:pt x="4760" y="1247"/>
                      <a:pt x="3939" y="392"/>
                      <a:pt x="2809" y="101"/>
                    </a:cubicBezTo>
                    <a:cubicBezTo>
                      <a:pt x="2546" y="33"/>
                      <a:pt x="2282" y="0"/>
                      <a:pt x="202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86" name="Google Shape;286;p24"/>
              <p:cNvSpPr/>
              <p:nvPr/>
            </p:nvSpPr>
            <p:spPr>
              <a:xfrm>
                <a:off x="5200575" y="3324975"/>
                <a:ext cx="57300" cy="20200"/>
              </a:xfrm>
              <a:custGeom>
                <a:avLst/>
                <a:gdLst/>
                <a:ahLst/>
                <a:cxnLst/>
                <a:rect l="l" t="t" r="r" b="b"/>
                <a:pathLst>
                  <a:path w="2292" h="808" extrusionOk="0">
                    <a:moveTo>
                      <a:pt x="1544" y="0"/>
                    </a:moveTo>
                    <a:cubicBezTo>
                      <a:pt x="866" y="0"/>
                      <a:pt x="273" y="259"/>
                      <a:pt x="17" y="721"/>
                    </a:cubicBezTo>
                    <a:cubicBezTo>
                      <a:pt x="1" y="737"/>
                      <a:pt x="17" y="774"/>
                      <a:pt x="50" y="791"/>
                    </a:cubicBezTo>
                    <a:cubicBezTo>
                      <a:pt x="50" y="807"/>
                      <a:pt x="66" y="807"/>
                      <a:pt x="66" y="807"/>
                    </a:cubicBezTo>
                    <a:cubicBezTo>
                      <a:pt x="87" y="807"/>
                      <a:pt x="120" y="791"/>
                      <a:pt x="120" y="774"/>
                    </a:cubicBezTo>
                    <a:cubicBezTo>
                      <a:pt x="351" y="349"/>
                      <a:pt x="910" y="109"/>
                      <a:pt x="1549" y="109"/>
                    </a:cubicBezTo>
                    <a:cubicBezTo>
                      <a:pt x="1762" y="109"/>
                      <a:pt x="1984" y="136"/>
                      <a:pt x="2206" y="191"/>
                    </a:cubicBezTo>
                    <a:cubicBezTo>
                      <a:pt x="2216" y="196"/>
                      <a:pt x="2225" y="198"/>
                      <a:pt x="2234" y="198"/>
                    </a:cubicBezTo>
                    <a:cubicBezTo>
                      <a:pt x="2258" y="198"/>
                      <a:pt x="2276" y="182"/>
                      <a:pt x="2276" y="158"/>
                    </a:cubicBezTo>
                    <a:cubicBezTo>
                      <a:pt x="2292" y="121"/>
                      <a:pt x="2276" y="89"/>
                      <a:pt x="2243" y="89"/>
                    </a:cubicBezTo>
                    <a:cubicBezTo>
                      <a:pt x="2007" y="29"/>
                      <a:pt x="1771" y="0"/>
                      <a:pt x="154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87" name="Google Shape;287;p24"/>
              <p:cNvSpPr/>
              <p:nvPr/>
            </p:nvSpPr>
            <p:spPr>
              <a:xfrm>
                <a:off x="5201000" y="3372350"/>
                <a:ext cx="15000" cy="11775"/>
              </a:xfrm>
              <a:custGeom>
                <a:avLst/>
                <a:gdLst/>
                <a:ahLst/>
                <a:cxnLst/>
                <a:rect l="l" t="t" r="r" b="b"/>
                <a:pathLst>
                  <a:path w="600" h="471" extrusionOk="0">
                    <a:moveTo>
                      <a:pt x="265" y="1"/>
                    </a:moveTo>
                    <a:cubicBezTo>
                      <a:pt x="170" y="1"/>
                      <a:pt x="86" y="40"/>
                      <a:pt x="49" y="111"/>
                    </a:cubicBezTo>
                    <a:cubicBezTo>
                      <a:pt x="0" y="230"/>
                      <a:pt x="70" y="366"/>
                      <a:pt x="205" y="435"/>
                    </a:cubicBezTo>
                    <a:cubicBezTo>
                      <a:pt x="252" y="459"/>
                      <a:pt x="300" y="471"/>
                      <a:pt x="346" y="471"/>
                    </a:cubicBezTo>
                    <a:cubicBezTo>
                      <a:pt x="435" y="471"/>
                      <a:pt x="514" y="428"/>
                      <a:pt x="546" y="349"/>
                    </a:cubicBezTo>
                    <a:cubicBezTo>
                      <a:pt x="600" y="247"/>
                      <a:pt x="530" y="95"/>
                      <a:pt x="394" y="25"/>
                    </a:cubicBezTo>
                    <a:cubicBezTo>
                      <a:pt x="351" y="8"/>
                      <a:pt x="307" y="1"/>
                      <a:pt x="265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88" name="Google Shape;288;p24"/>
              <p:cNvSpPr/>
              <p:nvPr/>
            </p:nvSpPr>
            <p:spPr>
              <a:xfrm>
                <a:off x="5204800" y="3374350"/>
                <a:ext cx="5150" cy="5000"/>
              </a:xfrm>
              <a:custGeom>
                <a:avLst/>
                <a:gdLst/>
                <a:ahLst/>
                <a:cxnLst/>
                <a:rect l="l" t="t" r="r" b="b"/>
                <a:pathLst>
                  <a:path w="206" h="200" extrusionOk="0">
                    <a:moveTo>
                      <a:pt x="108" y="0"/>
                    </a:moveTo>
                    <a:cubicBezTo>
                      <a:pt x="63" y="0"/>
                      <a:pt x="15" y="33"/>
                      <a:pt x="0" y="80"/>
                    </a:cubicBezTo>
                    <a:cubicBezTo>
                      <a:pt x="0" y="117"/>
                      <a:pt x="0" y="150"/>
                      <a:pt x="37" y="183"/>
                    </a:cubicBezTo>
                    <a:cubicBezTo>
                      <a:pt x="53" y="183"/>
                      <a:pt x="70" y="183"/>
                      <a:pt x="70" y="199"/>
                    </a:cubicBezTo>
                    <a:cubicBezTo>
                      <a:pt x="103" y="199"/>
                      <a:pt x="140" y="199"/>
                      <a:pt x="156" y="183"/>
                    </a:cubicBezTo>
                    <a:cubicBezTo>
                      <a:pt x="189" y="167"/>
                      <a:pt x="189" y="134"/>
                      <a:pt x="189" y="117"/>
                    </a:cubicBezTo>
                    <a:cubicBezTo>
                      <a:pt x="205" y="80"/>
                      <a:pt x="189" y="48"/>
                      <a:pt x="156" y="15"/>
                    </a:cubicBezTo>
                    <a:cubicBezTo>
                      <a:pt x="142" y="5"/>
                      <a:pt x="125" y="0"/>
                      <a:pt x="108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89" name="Google Shape;289;p24"/>
              <p:cNvSpPr/>
              <p:nvPr/>
            </p:nvSpPr>
            <p:spPr>
              <a:xfrm>
                <a:off x="5200175" y="3370775"/>
                <a:ext cx="16650" cy="14625"/>
              </a:xfrm>
              <a:custGeom>
                <a:avLst/>
                <a:gdLst/>
                <a:ahLst/>
                <a:cxnLst/>
                <a:rect l="l" t="t" r="r" b="b"/>
                <a:pathLst>
                  <a:path w="666" h="585" extrusionOk="0">
                    <a:moveTo>
                      <a:pt x="288" y="121"/>
                    </a:moveTo>
                    <a:cubicBezTo>
                      <a:pt x="341" y="121"/>
                      <a:pt x="374" y="121"/>
                      <a:pt x="411" y="137"/>
                    </a:cubicBezTo>
                    <a:cubicBezTo>
                      <a:pt x="460" y="174"/>
                      <a:pt x="514" y="207"/>
                      <a:pt x="530" y="260"/>
                    </a:cubicBezTo>
                    <a:cubicBezTo>
                      <a:pt x="546" y="310"/>
                      <a:pt x="546" y="342"/>
                      <a:pt x="530" y="396"/>
                    </a:cubicBezTo>
                    <a:cubicBezTo>
                      <a:pt x="506" y="442"/>
                      <a:pt x="446" y="472"/>
                      <a:pt x="379" y="472"/>
                    </a:cubicBezTo>
                    <a:cubicBezTo>
                      <a:pt x="344" y="472"/>
                      <a:pt x="307" y="463"/>
                      <a:pt x="271" y="445"/>
                    </a:cubicBezTo>
                    <a:cubicBezTo>
                      <a:pt x="206" y="412"/>
                      <a:pt x="169" y="379"/>
                      <a:pt x="152" y="326"/>
                    </a:cubicBezTo>
                    <a:cubicBezTo>
                      <a:pt x="119" y="277"/>
                      <a:pt x="119" y="240"/>
                      <a:pt x="136" y="207"/>
                    </a:cubicBezTo>
                    <a:cubicBezTo>
                      <a:pt x="152" y="158"/>
                      <a:pt x="206" y="137"/>
                      <a:pt x="238" y="121"/>
                    </a:cubicBezTo>
                    <a:close/>
                    <a:moveTo>
                      <a:pt x="305" y="0"/>
                    </a:moveTo>
                    <a:cubicBezTo>
                      <a:pt x="275" y="0"/>
                      <a:pt x="247" y="6"/>
                      <a:pt x="222" y="18"/>
                    </a:cubicBezTo>
                    <a:cubicBezTo>
                      <a:pt x="136" y="34"/>
                      <a:pt x="66" y="88"/>
                      <a:pt x="33" y="158"/>
                    </a:cubicBezTo>
                    <a:cubicBezTo>
                      <a:pt x="0" y="223"/>
                      <a:pt x="0" y="293"/>
                      <a:pt x="33" y="379"/>
                    </a:cubicBezTo>
                    <a:cubicBezTo>
                      <a:pt x="66" y="445"/>
                      <a:pt x="136" y="515"/>
                      <a:pt x="222" y="548"/>
                    </a:cubicBezTo>
                    <a:cubicBezTo>
                      <a:pt x="271" y="585"/>
                      <a:pt x="325" y="585"/>
                      <a:pt x="374" y="585"/>
                    </a:cubicBezTo>
                    <a:cubicBezTo>
                      <a:pt x="493" y="585"/>
                      <a:pt x="596" y="531"/>
                      <a:pt x="633" y="445"/>
                    </a:cubicBezTo>
                    <a:cubicBezTo>
                      <a:pt x="666" y="363"/>
                      <a:pt x="666" y="293"/>
                      <a:pt x="633" y="207"/>
                    </a:cubicBezTo>
                    <a:cubicBezTo>
                      <a:pt x="596" y="137"/>
                      <a:pt x="546" y="71"/>
                      <a:pt x="460" y="34"/>
                    </a:cubicBezTo>
                    <a:cubicBezTo>
                      <a:pt x="407" y="14"/>
                      <a:pt x="354" y="0"/>
                      <a:pt x="30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90" name="Google Shape;290;p24"/>
              <p:cNvSpPr/>
              <p:nvPr/>
            </p:nvSpPr>
            <p:spPr>
              <a:xfrm>
                <a:off x="5266900" y="3389175"/>
                <a:ext cx="14075" cy="11250"/>
              </a:xfrm>
              <a:custGeom>
                <a:avLst/>
                <a:gdLst/>
                <a:ahLst/>
                <a:cxnLst/>
                <a:rect l="l" t="t" r="r" b="b"/>
                <a:pathLst>
                  <a:path w="563" h="450" extrusionOk="0">
                    <a:moveTo>
                      <a:pt x="288" y="1"/>
                    </a:moveTo>
                    <a:cubicBezTo>
                      <a:pt x="136" y="1"/>
                      <a:pt x="17" y="87"/>
                      <a:pt x="0" y="206"/>
                    </a:cubicBezTo>
                    <a:cubicBezTo>
                      <a:pt x="0" y="346"/>
                      <a:pt x="119" y="448"/>
                      <a:pt x="271" y="448"/>
                    </a:cubicBezTo>
                    <a:cubicBezTo>
                      <a:pt x="282" y="449"/>
                      <a:pt x="293" y="450"/>
                      <a:pt x="304" y="450"/>
                    </a:cubicBezTo>
                    <a:cubicBezTo>
                      <a:pt x="444" y="450"/>
                      <a:pt x="546" y="353"/>
                      <a:pt x="546" y="243"/>
                    </a:cubicBezTo>
                    <a:cubicBezTo>
                      <a:pt x="563" y="120"/>
                      <a:pt x="444" y="17"/>
                      <a:pt x="288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91" name="Google Shape;291;p24"/>
              <p:cNvSpPr/>
              <p:nvPr/>
            </p:nvSpPr>
            <p:spPr>
              <a:xfrm>
                <a:off x="5269450" y="3392025"/>
                <a:ext cx="5175" cy="4875"/>
              </a:xfrm>
              <a:custGeom>
                <a:avLst/>
                <a:gdLst/>
                <a:ahLst/>
                <a:cxnLst/>
                <a:rect l="l" t="t" r="r" b="b"/>
                <a:pathLst>
                  <a:path w="207" h="195" extrusionOk="0">
                    <a:moveTo>
                      <a:pt x="109" y="0"/>
                    </a:moveTo>
                    <a:cubicBezTo>
                      <a:pt x="63" y="0"/>
                      <a:pt x="17" y="34"/>
                      <a:pt x="17" y="92"/>
                    </a:cubicBezTo>
                    <a:cubicBezTo>
                      <a:pt x="1" y="129"/>
                      <a:pt x="17" y="162"/>
                      <a:pt x="50" y="178"/>
                    </a:cubicBezTo>
                    <a:cubicBezTo>
                      <a:pt x="67" y="178"/>
                      <a:pt x="67" y="195"/>
                      <a:pt x="83" y="195"/>
                    </a:cubicBezTo>
                    <a:cubicBezTo>
                      <a:pt x="120" y="195"/>
                      <a:pt x="153" y="195"/>
                      <a:pt x="169" y="178"/>
                    </a:cubicBezTo>
                    <a:cubicBezTo>
                      <a:pt x="206" y="162"/>
                      <a:pt x="206" y="145"/>
                      <a:pt x="206" y="108"/>
                    </a:cubicBezTo>
                    <a:cubicBezTo>
                      <a:pt x="206" y="76"/>
                      <a:pt x="206" y="43"/>
                      <a:pt x="169" y="26"/>
                    </a:cubicBezTo>
                    <a:cubicBezTo>
                      <a:pt x="153" y="9"/>
                      <a:pt x="131" y="0"/>
                      <a:pt x="109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92" name="Google Shape;292;p24"/>
              <p:cNvSpPr/>
              <p:nvPr/>
            </p:nvSpPr>
            <p:spPr>
              <a:xfrm>
                <a:off x="5265150" y="3387950"/>
                <a:ext cx="17175" cy="14075"/>
              </a:xfrm>
              <a:custGeom>
                <a:avLst/>
                <a:gdLst/>
                <a:ahLst/>
                <a:cxnLst/>
                <a:rect l="l" t="t" r="r" b="b"/>
                <a:pathLst>
                  <a:path w="687" h="563" extrusionOk="0">
                    <a:moveTo>
                      <a:pt x="358" y="119"/>
                    </a:moveTo>
                    <a:cubicBezTo>
                      <a:pt x="411" y="119"/>
                      <a:pt x="481" y="136"/>
                      <a:pt x="514" y="169"/>
                    </a:cubicBezTo>
                    <a:cubicBezTo>
                      <a:pt x="547" y="206"/>
                      <a:pt x="563" y="255"/>
                      <a:pt x="563" y="292"/>
                    </a:cubicBezTo>
                    <a:cubicBezTo>
                      <a:pt x="563" y="374"/>
                      <a:pt x="460" y="444"/>
                      <a:pt x="341" y="444"/>
                    </a:cubicBezTo>
                    <a:cubicBezTo>
                      <a:pt x="222" y="427"/>
                      <a:pt x="136" y="358"/>
                      <a:pt x="136" y="271"/>
                    </a:cubicBezTo>
                    <a:cubicBezTo>
                      <a:pt x="136" y="222"/>
                      <a:pt x="152" y="189"/>
                      <a:pt x="206" y="152"/>
                    </a:cubicBezTo>
                    <a:cubicBezTo>
                      <a:pt x="239" y="136"/>
                      <a:pt x="292" y="119"/>
                      <a:pt x="341" y="119"/>
                    </a:cubicBezTo>
                    <a:close/>
                    <a:moveTo>
                      <a:pt x="358" y="0"/>
                    </a:moveTo>
                    <a:cubicBezTo>
                      <a:pt x="276" y="0"/>
                      <a:pt x="189" y="17"/>
                      <a:pt x="136" y="66"/>
                    </a:cubicBezTo>
                    <a:cubicBezTo>
                      <a:pt x="50" y="119"/>
                      <a:pt x="17" y="189"/>
                      <a:pt x="17" y="255"/>
                    </a:cubicBezTo>
                    <a:cubicBezTo>
                      <a:pt x="1" y="411"/>
                      <a:pt x="152" y="546"/>
                      <a:pt x="341" y="563"/>
                    </a:cubicBezTo>
                    <a:lnTo>
                      <a:pt x="358" y="563"/>
                    </a:lnTo>
                    <a:cubicBezTo>
                      <a:pt x="530" y="563"/>
                      <a:pt x="666" y="444"/>
                      <a:pt x="686" y="292"/>
                    </a:cubicBezTo>
                    <a:cubicBezTo>
                      <a:pt x="686" y="222"/>
                      <a:pt x="649" y="136"/>
                      <a:pt x="600" y="87"/>
                    </a:cubicBezTo>
                    <a:cubicBezTo>
                      <a:pt x="530" y="33"/>
                      <a:pt x="444" y="0"/>
                      <a:pt x="35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93" name="Google Shape;293;p24"/>
              <p:cNvSpPr/>
              <p:nvPr/>
            </p:nvSpPr>
            <p:spPr>
              <a:xfrm>
                <a:off x="5313500" y="3383075"/>
                <a:ext cx="15000" cy="11625"/>
              </a:xfrm>
              <a:custGeom>
                <a:avLst/>
                <a:gdLst/>
                <a:ahLst/>
                <a:cxnLst/>
                <a:rect l="l" t="t" r="r" b="b"/>
                <a:pathLst>
                  <a:path w="600" h="465" extrusionOk="0">
                    <a:moveTo>
                      <a:pt x="339" y="1"/>
                    </a:moveTo>
                    <a:cubicBezTo>
                      <a:pt x="297" y="1"/>
                      <a:pt x="251" y="8"/>
                      <a:pt x="206" y="23"/>
                    </a:cubicBezTo>
                    <a:cubicBezTo>
                      <a:pt x="66" y="93"/>
                      <a:pt x="1" y="228"/>
                      <a:pt x="50" y="331"/>
                    </a:cubicBezTo>
                    <a:cubicBezTo>
                      <a:pt x="75" y="414"/>
                      <a:pt x="157" y="465"/>
                      <a:pt x="249" y="465"/>
                    </a:cubicBezTo>
                    <a:cubicBezTo>
                      <a:pt x="290" y="465"/>
                      <a:pt x="333" y="455"/>
                      <a:pt x="374" y="434"/>
                    </a:cubicBezTo>
                    <a:cubicBezTo>
                      <a:pt x="530" y="384"/>
                      <a:pt x="600" y="245"/>
                      <a:pt x="547" y="126"/>
                    </a:cubicBezTo>
                    <a:cubicBezTo>
                      <a:pt x="524" y="42"/>
                      <a:pt x="440" y="1"/>
                      <a:pt x="339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94" name="Google Shape;294;p24"/>
              <p:cNvSpPr/>
              <p:nvPr/>
            </p:nvSpPr>
            <p:spPr>
              <a:xfrm>
                <a:off x="5316900" y="3387000"/>
                <a:ext cx="5150" cy="5075"/>
              </a:xfrm>
              <a:custGeom>
                <a:avLst/>
                <a:gdLst/>
                <a:ahLst/>
                <a:cxnLst/>
                <a:rect l="l" t="t" r="r" b="b"/>
                <a:pathLst>
                  <a:path w="206" h="203" extrusionOk="0">
                    <a:moveTo>
                      <a:pt x="111" y="0"/>
                    </a:moveTo>
                    <a:cubicBezTo>
                      <a:pt x="59" y="0"/>
                      <a:pt x="12" y="41"/>
                      <a:pt x="0" y="88"/>
                    </a:cubicBezTo>
                    <a:cubicBezTo>
                      <a:pt x="0" y="125"/>
                      <a:pt x="16" y="157"/>
                      <a:pt x="53" y="174"/>
                    </a:cubicBezTo>
                    <a:cubicBezTo>
                      <a:pt x="53" y="190"/>
                      <a:pt x="70" y="190"/>
                      <a:pt x="86" y="190"/>
                    </a:cubicBezTo>
                    <a:cubicBezTo>
                      <a:pt x="103" y="198"/>
                      <a:pt x="120" y="203"/>
                      <a:pt x="136" y="203"/>
                    </a:cubicBezTo>
                    <a:cubicBezTo>
                      <a:pt x="151" y="203"/>
                      <a:pt x="164" y="198"/>
                      <a:pt x="172" y="190"/>
                    </a:cubicBezTo>
                    <a:cubicBezTo>
                      <a:pt x="189" y="174"/>
                      <a:pt x="205" y="141"/>
                      <a:pt x="205" y="104"/>
                    </a:cubicBezTo>
                    <a:cubicBezTo>
                      <a:pt x="205" y="71"/>
                      <a:pt x="189" y="38"/>
                      <a:pt x="172" y="22"/>
                    </a:cubicBezTo>
                    <a:cubicBezTo>
                      <a:pt x="152" y="7"/>
                      <a:pt x="131" y="0"/>
                      <a:pt x="111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95" name="Google Shape;295;p24"/>
              <p:cNvSpPr/>
              <p:nvPr/>
            </p:nvSpPr>
            <p:spPr>
              <a:xfrm>
                <a:off x="5312575" y="3381625"/>
                <a:ext cx="17575" cy="14450"/>
              </a:xfrm>
              <a:custGeom>
                <a:avLst/>
                <a:gdLst/>
                <a:ahLst/>
                <a:cxnLst/>
                <a:rect l="l" t="t" r="r" b="b"/>
                <a:pathLst>
                  <a:path w="703" h="578" extrusionOk="0">
                    <a:moveTo>
                      <a:pt x="378" y="114"/>
                    </a:moveTo>
                    <a:cubicBezTo>
                      <a:pt x="395" y="114"/>
                      <a:pt x="411" y="114"/>
                      <a:pt x="432" y="134"/>
                    </a:cubicBezTo>
                    <a:cubicBezTo>
                      <a:pt x="481" y="151"/>
                      <a:pt x="514" y="167"/>
                      <a:pt x="534" y="200"/>
                    </a:cubicBezTo>
                    <a:cubicBezTo>
                      <a:pt x="567" y="286"/>
                      <a:pt x="514" y="389"/>
                      <a:pt x="395" y="442"/>
                    </a:cubicBezTo>
                    <a:cubicBezTo>
                      <a:pt x="360" y="454"/>
                      <a:pt x="315" y="465"/>
                      <a:pt x="274" y="465"/>
                    </a:cubicBezTo>
                    <a:cubicBezTo>
                      <a:pt x="257" y="465"/>
                      <a:pt x="241" y="463"/>
                      <a:pt x="226" y="459"/>
                    </a:cubicBezTo>
                    <a:cubicBezTo>
                      <a:pt x="189" y="442"/>
                      <a:pt x="157" y="405"/>
                      <a:pt x="140" y="372"/>
                    </a:cubicBezTo>
                    <a:cubicBezTo>
                      <a:pt x="124" y="340"/>
                      <a:pt x="124" y="286"/>
                      <a:pt x="140" y="253"/>
                    </a:cubicBezTo>
                    <a:cubicBezTo>
                      <a:pt x="173" y="200"/>
                      <a:pt x="226" y="167"/>
                      <a:pt x="276" y="134"/>
                    </a:cubicBezTo>
                    <a:cubicBezTo>
                      <a:pt x="309" y="134"/>
                      <a:pt x="345" y="114"/>
                      <a:pt x="378" y="114"/>
                    </a:cubicBezTo>
                    <a:close/>
                    <a:moveTo>
                      <a:pt x="374" y="1"/>
                    </a:moveTo>
                    <a:cubicBezTo>
                      <a:pt x="326" y="1"/>
                      <a:pt x="276" y="9"/>
                      <a:pt x="226" y="32"/>
                    </a:cubicBezTo>
                    <a:cubicBezTo>
                      <a:pt x="140" y="64"/>
                      <a:pt x="87" y="114"/>
                      <a:pt x="38" y="184"/>
                    </a:cubicBezTo>
                    <a:cubicBezTo>
                      <a:pt x="1" y="270"/>
                      <a:pt x="1" y="356"/>
                      <a:pt x="21" y="422"/>
                    </a:cubicBezTo>
                    <a:cubicBezTo>
                      <a:pt x="54" y="492"/>
                      <a:pt x="124" y="545"/>
                      <a:pt x="206" y="561"/>
                    </a:cubicBezTo>
                    <a:cubicBezTo>
                      <a:pt x="226" y="578"/>
                      <a:pt x="259" y="578"/>
                      <a:pt x="292" y="578"/>
                    </a:cubicBezTo>
                    <a:cubicBezTo>
                      <a:pt x="345" y="578"/>
                      <a:pt x="395" y="578"/>
                      <a:pt x="448" y="561"/>
                    </a:cubicBezTo>
                    <a:cubicBezTo>
                      <a:pt x="616" y="475"/>
                      <a:pt x="703" y="303"/>
                      <a:pt x="653" y="167"/>
                    </a:cubicBezTo>
                    <a:cubicBezTo>
                      <a:pt x="616" y="97"/>
                      <a:pt x="551" y="32"/>
                      <a:pt x="465" y="11"/>
                    </a:cubicBezTo>
                    <a:cubicBezTo>
                      <a:pt x="437" y="5"/>
                      <a:pt x="406" y="1"/>
                      <a:pt x="374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  <p:grpSp>
        <p:nvGrpSpPr>
          <p:cNvPr id="296" name="Google Shape;296;p24"/>
          <p:cNvGrpSpPr/>
          <p:nvPr/>
        </p:nvGrpSpPr>
        <p:grpSpPr>
          <a:xfrm>
            <a:off x="10837023" y="491815"/>
            <a:ext cx="789960" cy="774304"/>
            <a:chOff x="4167575" y="3340475"/>
            <a:chExt cx="242200" cy="237400"/>
          </a:xfrm>
        </p:grpSpPr>
        <p:sp>
          <p:nvSpPr>
            <p:cNvPr id="297" name="Google Shape;297;p24"/>
            <p:cNvSpPr/>
            <p:nvPr/>
          </p:nvSpPr>
          <p:spPr>
            <a:xfrm>
              <a:off x="4167575" y="3340475"/>
              <a:ext cx="242200" cy="237300"/>
            </a:xfrm>
            <a:custGeom>
              <a:avLst/>
              <a:gdLst/>
              <a:ahLst/>
              <a:cxnLst/>
              <a:rect l="l" t="t" r="r" b="b"/>
              <a:pathLst>
                <a:path w="9688" h="9492" extrusionOk="0">
                  <a:moveTo>
                    <a:pt x="2192" y="0"/>
                  </a:moveTo>
                  <a:cubicBezTo>
                    <a:pt x="894" y="0"/>
                    <a:pt x="50" y="680"/>
                    <a:pt x="38" y="680"/>
                  </a:cubicBezTo>
                  <a:cubicBezTo>
                    <a:pt x="17" y="701"/>
                    <a:pt x="1" y="717"/>
                    <a:pt x="1" y="750"/>
                  </a:cubicBezTo>
                  <a:cubicBezTo>
                    <a:pt x="1" y="766"/>
                    <a:pt x="120" y="2836"/>
                    <a:pt x="2296" y="3813"/>
                  </a:cubicBezTo>
                  <a:cubicBezTo>
                    <a:pt x="2518" y="3916"/>
                    <a:pt x="2723" y="4002"/>
                    <a:pt x="2928" y="4068"/>
                  </a:cubicBezTo>
                  <a:cubicBezTo>
                    <a:pt x="3405" y="5029"/>
                    <a:pt x="4246" y="5747"/>
                    <a:pt x="5252" y="6088"/>
                  </a:cubicBezTo>
                  <a:lnTo>
                    <a:pt x="6521" y="6499"/>
                  </a:lnTo>
                  <a:cubicBezTo>
                    <a:pt x="6538" y="6515"/>
                    <a:pt x="6538" y="6515"/>
                    <a:pt x="6554" y="6515"/>
                  </a:cubicBezTo>
                  <a:cubicBezTo>
                    <a:pt x="6571" y="6515"/>
                    <a:pt x="6587" y="6499"/>
                    <a:pt x="6587" y="6482"/>
                  </a:cubicBezTo>
                  <a:cubicBezTo>
                    <a:pt x="6607" y="6466"/>
                    <a:pt x="6624" y="6449"/>
                    <a:pt x="6607" y="6412"/>
                  </a:cubicBezTo>
                  <a:lnTo>
                    <a:pt x="5971" y="4737"/>
                  </a:lnTo>
                  <a:lnTo>
                    <a:pt x="6074" y="4737"/>
                  </a:lnTo>
                  <a:cubicBezTo>
                    <a:pt x="6230" y="4737"/>
                    <a:pt x="6365" y="4684"/>
                    <a:pt x="6468" y="4581"/>
                  </a:cubicBezTo>
                  <a:lnTo>
                    <a:pt x="6998" y="4721"/>
                  </a:lnTo>
                  <a:lnTo>
                    <a:pt x="7067" y="4721"/>
                  </a:lnTo>
                  <a:cubicBezTo>
                    <a:pt x="7137" y="4721"/>
                    <a:pt x="7186" y="4704"/>
                    <a:pt x="7240" y="4667"/>
                  </a:cubicBezTo>
                  <a:cubicBezTo>
                    <a:pt x="7737" y="4926"/>
                    <a:pt x="8077" y="5234"/>
                    <a:pt x="8283" y="5644"/>
                  </a:cubicBezTo>
                  <a:cubicBezTo>
                    <a:pt x="8948" y="6909"/>
                    <a:pt x="8094" y="8552"/>
                    <a:pt x="7683" y="9200"/>
                  </a:cubicBezTo>
                  <a:cubicBezTo>
                    <a:pt x="7634" y="9270"/>
                    <a:pt x="7650" y="9373"/>
                    <a:pt x="7716" y="9443"/>
                  </a:cubicBezTo>
                  <a:cubicBezTo>
                    <a:pt x="7753" y="9475"/>
                    <a:pt x="7786" y="9492"/>
                    <a:pt x="7839" y="9492"/>
                  </a:cubicBezTo>
                  <a:cubicBezTo>
                    <a:pt x="7889" y="9492"/>
                    <a:pt x="7942" y="9459"/>
                    <a:pt x="7975" y="9426"/>
                  </a:cubicBezTo>
                  <a:cubicBezTo>
                    <a:pt x="8147" y="9221"/>
                    <a:pt x="8316" y="8995"/>
                    <a:pt x="8488" y="8740"/>
                  </a:cubicBezTo>
                  <a:cubicBezTo>
                    <a:pt x="8969" y="8022"/>
                    <a:pt x="9687" y="6618"/>
                    <a:pt x="9190" y="5250"/>
                  </a:cubicBezTo>
                  <a:cubicBezTo>
                    <a:pt x="8985" y="4667"/>
                    <a:pt x="8574" y="4138"/>
                    <a:pt x="8008" y="3710"/>
                  </a:cubicBezTo>
                  <a:cubicBezTo>
                    <a:pt x="7942" y="3641"/>
                    <a:pt x="7856" y="3591"/>
                    <a:pt x="7770" y="3538"/>
                  </a:cubicBezTo>
                  <a:cubicBezTo>
                    <a:pt x="7770" y="3435"/>
                    <a:pt x="7716" y="3349"/>
                    <a:pt x="7650" y="3300"/>
                  </a:cubicBezTo>
                  <a:lnTo>
                    <a:pt x="7203" y="2992"/>
                  </a:lnTo>
                  <a:cubicBezTo>
                    <a:pt x="7203" y="2836"/>
                    <a:pt x="7137" y="2684"/>
                    <a:pt x="7035" y="2565"/>
                  </a:cubicBezTo>
                  <a:lnTo>
                    <a:pt x="6981" y="2511"/>
                  </a:lnTo>
                  <a:lnTo>
                    <a:pt x="8661" y="1879"/>
                  </a:lnTo>
                  <a:cubicBezTo>
                    <a:pt x="8677" y="1863"/>
                    <a:pt x="8693" y="1846"/>
                    <a:pt x="8693" y="1809"/>
                  </a:cubicBezTo>
                  <a:cubicBezTo>
                    <a:pt x="8693" y="1793"/>
                    <a:pt x="8693" y="1760"/>
                    <a:pt x="8661" y="1760"/>
                  </a:cubicBezTo>
                  <a:lnTo>
                    <a:pt x="7511" y="1091"/>
                  </a:lnTo>
                  <a:cubicBezTo>
                    <a:pt x="6886" y="721"/>
                    <a:pt x="6176" y="540"/>
                    <a:pt x="5470" y="540"/>
                  </a:cubicBezTo>
                  <a:cubicBezTo>
                    <a:pt x="5132" y="540"/>
                    <a:pt x="4795" y="581"/>
                    <a:pt x="4468" y="664"/>
                  </a:cubicBezTo>
                  <a:cubicBezTo>
                    <a:pt x="4263" y="561"/>
                    <a:pt x="4058" y="458"/>
                    <a:pt x="3852" y="372"/>
                  </a:cubicBezTo>
                  <a:cubicBezTo>
                    <a:pt x="3247" y="99"/>
                    <a:pt x="2686" y="0"/>
                    <a:pt x="2192" y="0"/>
                  </a:cubicBezTo>
                  <a:close/>
                </a:path>
              </a:pathLst>
            </a:custGeom>
            <a:solidFill>
              <a:srgbClr val="FFFFFF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grpSp>
          <p:nvGrpSpPr>
            <p:cNvPr id="298" name="Google Shape;298;p24"/>
            <p:cNvGrpSpPr/>
            <p:nvPr/>
          </p:nvGrpSpPr>
          <p:grpSpPr>
            <a:xfrm>
              <a:off x="4167575" y="3340700"/>
              <a:ext cx="242200" cy="237175"/>
              <a:chOff x="4167575" y="3340700"/>
              <a:chExt cx="242200" cy="237175"/>
            </a:xfrm>
          </p:grpSpPr>
          <p:sp>
            <p:nvSpPr>
              <p:cNvPr id="299" name="Google Shape;299;p24"/>
              <p:cNvSpPr/>
              <p:nvPr/>
            </p:nvSpPr>
            <p:spPr>
              <a:xfrm>
                <a:off x="4334800" y="3420900"/>
                <a:ext cx="71475" cy="155225"/>
              </a:xfrm>
              <a:custGeom>
                <a:avLst/>
                <a:gdLst/>
                <a:ahLst/>
                <a:cxnLst/>
                <a:rect l="l" t="t" r="r" b="b"/>
                <a:pathLst>
                  <a:path w="2859" h="6209" extrusionOk="0">
                    <a:moveTo>
                      <a:pt x="378" y="0"/>
                    </a:moveTo>
                    <a:lnTo>
                      <a:pt x="243" y="460"/>
                    </a:lnTo>
                    <a:lnTo>
                      <a:pt x="1" y="1162"/>
                    </a:lnTo>
                    <a:cubicBezTo>
                      <a:pt x="686" y="1401"/>
                      <a:pt x="1319" y="1762"/>
                      <a:pt x="1664" y="2394"/>
                    </a:cubicBezTo>
                    <a:cubicBezTo>
                      <a:pt x="1832" y="2735"/>
                      <a:pt x="1918" y="3096"/>
                      <a:pt x="1918" y="3470"/>
                    </a:cubicBezTo>
                    <a:cubicBezTo>
                      <a:pt x="1918" y="4361"/>
                      <a:pt x="1508" y="5301"/>
                      <a:pt x="1048" y="6020"/>
                    </a:cubicBezTo>
                    <a:cubicBezTo>
                      <a:pt x="1011" y="6073"/>
                      <a:pt x="1027" y="6139"/>
                      <a:pt x="1064" y="6176"/>
                    </a:cubicBezTo>
                    <a:cubicBezTo>
                      <a:pt x="1097" y="6192"/>
                      <a:pt x="1113" y="6209"/>
                      <a:pt x="1130" y="6209"/>
                    </a:cubicBezTo>
                    <a:cubicBezTo>
                      <a:pt x="1183" y="6209"/>
                      <a:pt x="1216" y="6192"/>
                      <a:pt x="1232" y="6176"/>
                    </a:cubicBezTo>
                    <a:cubicBezTo>
                      <a:pt x="1421" y="5954"/>
                      <a:pt x="1594" y="5728"/>
                      <a:pt x="1746" y="5490"/>
                    </a:cubicBezTo>
                    <a:cubicBezTo>
                      <a:pt x="2399" y="4497"/>
                      <a:pt x="2858" y="3232"/>
                      <a:pt x="2431" y="2070"/>
                    </a:cubicBezTo>
                    <a:cubicBezTo>
                      <a:pt x="2226" y="1454"/>
                      <a:pt x="1783" y="924"/>
                      <a:pt x="1269" y="547"/>
                    </a:cubicBezTo>
                    <a:cubicBezTo>
                      <a:pt x="1167" y="460"/>
                      <a:pt x="994" y="358"/>
                      <a:pt x="892" y="271"/>
                    </a:cubicBezTo>
                    <a:cubicBezTo>
                      <a:pt x="719" y="185"/>
                      <a:pt x="567" y="66"/>
                      <a:pt x="378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00" name="Google Shape;300;p24"/>
              <p:cNvSpPr/>
              <p:nvPr/>
            </p:nvSpPr>
            <p:spPr>
              <a:xfrm>
                <a:off x="4334800" y="3432400"/>
                <a:ext cx="57400" cy="143725"/>
              </a:xfrm>
              <a:custGeom>
                <a:avLst/>
                <a:gdLst/>
                <a:ahLst/>
                <a:cxnLst/>
                <a:rect l="l" t="t" r="r" b="b"/>
                <a:pathLst>
                  <a:path w="2296" h="5749" extrusionOk="0">
                    <a:moveTo>
                      <a:pt x="243" y="0"/>
                    </a:moveTo>
                    <a:lnTo>
                      <a:pt x="1" y="702"/>
                    </a:lnTo>
                    <a:cubicBezTo>
                      <a:pt x="686" y="941"/>
                      <a:pt x="1319" y="1302"/>
                      <a:pt x="1664" y="1934"/>
                    </a:cubicBezTo>
                    <a:cubicBezTo>
                      <a:pt x="1832" y="2275"/>
                      <a:pt x="1918" y="2636"/>
                      <a:pt x="1918" y="3010"/>
                    </a:cubicBezTo>
                    <a:cubicBezTo>
                      <a:pt x="1918" y="3901"/>
                      <a:pt x="1508" y="4841"/>
                      <a:pt x="1048" y="5560"/>
                    </a:cubicBezTo>
                    <a:cubicBezTo>
                      <a:pt x="1011" y="5613"/>
                      <a:pt x="1027" y="5679"/>
                      <a:pt x="1064" y="5716"/>
                    </a:cubicBezTo>
                    <a:cubicBezTo>
                      <a:pt x="1097" y="5732"/>
                      <a:pt x="1113" y="5749"/>
                      <a:pt x="1130" y="5749"/>
                    </a:cubicBezTo>
                    <a:lnTo>
                      <a:pt x="1438" y="5289"/>
                    </a:lnTo>
                    <a:cubicBezTo>
                      <a:pt x="1832" y="4636"/>
                      <a:pt x="2140" y="3934"/>
                      <a:pt x="2226" y="3183"/>
                    </a:cubicBezTo>
                    <a:cubicBezTo>
                      <a:pt x="2296" y="2431"/>
                      <a:pt x="2140" y="1626"/>
                      <a:pt x="1664" y="1027"/>
                    </a:cubicBezTo>
                    <a:cubicBezTo>
                      <a:pt x="1302" y="583"/>
                      <a:pt x="789" y="275"/>
                      <a:pt x="259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01" name="Google Shape;301;p24"/>
              <p:cNvSpPr/>
              <p:nvPr/>
            </p:nvSpPr>
            <p:spPr>
              <a:xfrm>
                <a:off x="4332750" y="3419150"/>
                <a:ext cx="77025" cy="158725"/>
              </a:xfrm>
              <a:custGeom>
                <a:avLst/>
                <a:gdLst/>
                <a:ahLst/>
                <a:cxnLst/>
                <a:rect l="l" t="t" r="r" b="b"/>
                <a:pathLst>
                  <a:path w="3081" h="6349" extrusionOk="0">
                    <a:moveTo>
                      <a:pt x="514" y="153"/>
                    </a:moveTo>
                    <a:cubicBezTo>
                      <a:pt x="616" y="206"/>
                      <a:pt x="699" y="276"/>
                      <a:pt x="801" y="325"/>
                    </a:cubicBezTo>
                    <a:cubicBezTo>
                      <a:pt x="838" y="358"/>
                      <a:pt x="887" y="378"/>
                      <a:pt x="941" y="411"/>
                    </a:cubicBezTo>
                    <a:cubicBezTo>
                      <a:pt x="974" y="428"/>
                      <a:pt x="990" y="444"/>
                      <a:pt x="1043" y="460"/>
                    </a:cubicBezTo>
                    <a:cubicBezTo>
                      <a:pt x="1130" y="530"/>
                      <a:pt x="1249" y="600"/>
                      <a:pt x="1314" y="666"/>
                    </a:cubicBezTo>
                    <a:cubicBezTo>
                      <a:pt x="1865" y="1076"/>
                      <a:pt x="2259" y="1590"/>
                      <a:pt x="2464" y="2156"/>
                    </a:cubicBezTo>
                    <a:cubicBezTo>
                      <a:pt x="2924" y="3474"/>
                      <a:pt x="2238" y="4825"/>
                      <a:pt x="1778" y="5527"/>
                    </a:cubicBezTo>
                    <a:cubicBezTo>
                      <a:pt x="1606" y="5782"/>
                      <a:pt x="1438" y="5987"/>
                      <a:pt x="1265" y="6193"/>
                    </a:cubicBezTo>
                    <a:cubicBezTo>
                      <a:pt x="1257" y="6201"/>
                      <a:pt x="1244" y="6205"/>
                      <a:pt x="1230" y="6205"/>
                    </a:cubicBezTo>
                    <a:cubicBezTo>
                      <a:pt x="1217" y="6205"/>
                      <a:pt x="1204" y="6201"/>
                      <a:pt x="1195" y="6193"/>
                    </a:cubicBezTo>
                    <a:cubicBezTo>
                      <a:pt x="1179" y="6176"/>
                      <a:pt x="1179" y="6160"/>
                      <a:pt x="1195" y="6127"/>
                    </a:cubicBezTo>
                    <a:cubicBezTo>
                      <a:pt x="1606" y="5458"/>
                      <a:pt x="2497" y="3766"/>
                      <a:pt x="1795" y="2431"/>
                    </a:cubicBezTo>
                    <a:cubicBezTo>
                      <a:pt x="1503" y="1881"/>
                      <a:pt x="974" y="1487"/>
                      <a:pt x="169" y="1179"/>
                    </a:cubicBezTo>
                    <a:lnTo>
                      <a:pt x="514" y="153"/>
                    </a:lnTo>
                    <a:close/>
                    <a:moveTo>
                      <a:pt x="493" y="1"/>
                    </a:moveTo>
                    <a:cubicBezTo>
                      <a:pt x="477" y="1"/>
                      <a:pt x="460" y="1"/>
                      <a:pt x="444" y="17"/>
                    </a:cubicBezTo>
                    <a:cubicBezTo>
                      <a:pt x="428" y="17"/>
                      <a:pt x="411" y="33"/>
                      <a:pt x="411" y="50"/>
                    </a:cubicBezTo>
                    <a:lnTo>
                      <a:pt x="17" y="1216"/>
                    </a:lnTo>
                    <a:cubicBezTo>
                      <a:pt x="0" y="1249"/>
                      <a:pt x="33" y="1282"/>
                      <a:pt x="66" y="1302"/>
                    </a:cubicBezTo>
                    <a:cubicBezTo>
                      <a:pt x="871" y="1573"/>
                      <a:pt x="1384" y="1967"/>
                      <a:pt x="1676" y="2497"/>
                    </a:cubicBezTo>
                    <a:cubicBezTo>
                      <a:pt x="2341" y="3766"/>
                      <a:pt x="1487" y="5408"/>
                      <a:pt x="1076" y="6057"/>
                    </a:cubicBezTo>
                    <a:cubicBezTo>
                      <a:pt x="1027" y="6127"/>
                      <a:pt x="1043" y="6230"/>
                      <a:pt x="1109" y="6295"/>
                    </a:cubicBezTo>
                    <a:cubicBezTo>
                      <a:pt x="1146" y="6332"/>
                      <a:pt x="1179" y="6349"/>
                      <a:pt x="1232" y="6349"/>
                    </a:cubicBezTo>
                    <a:cubicBezTo>
                      <a:pt x="1282" y="6349"/>
                      <a:pt x="1335" y="6332"/>
                      <a:pt x="1368" y="6279"/>
                    </a:cubicBezTo>
                    <a:cubicBezTo>
                      <a:pt x="1540" y="6074"/>
                      <a:pt x="1709" y="5868"/>
                      <a:pt x="1881" y="5593"/>
                    </a:cubicBezTo>
                    <a:cubicBezTo>
                      <a:pt x="2362" y="4875"/>
                      <a:pt x="3080" y="3491"/>
                      <a:pt x="2583" y="2103"/>
                    </a:cubicBezTo>
                    <a:cubicBezTo>
                      <a:pt x="2378" y="1524"/>
                      <a:pt x="1967" y="994"/>
                      <a:pt x="1401" y="563"/>
                    </a:cubicBezTo>
                    <a:cubicBezTo>
                      <a:pt x="1314" y="497"/>
                      <a:pt x="1212" y="428"/>
                      <a:pt x="1109" y="358"/>
                    </a:cubicBezTo>
                    <a:cubicBezTo>
                      <a:pt x="1076" y="341"/>
                      <a:pt x="1043" y="309"/>
                      <a:pt x="1007" y="292"/>
                    </a:cubicBezTo>
                    <a:cubicBezTo>
                      <a:pt x="957" y="255"/>
                      <a:pt x="904" y="239"/>
                      <a:pt x="871" y="206"/>
                    </a:cubicBezTo>
                    <a:cubicBezTo>
                      <a:pt x="752" y="136"/>
                      <a:pt x="633" y="70"/>
                      <a:pt x="493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02" name="Google Shape;302;p24"/>
              <p:cNvSpPr/>
              <p:nvPr/>
            </p:nvSpPr>
            <p:spPr>
              <a:xfrm>
                <a:off x="4321550" y="3411875"/>
                <a:ext cx="39450" cy="45050"/>
              </a:xfrm>
              <a:custGeom>
                <a:avLst/>
                <a:gdLst/>
                <a:ahLst/>
                <a:cxnLst/>
                <a:rect l="l" t="t" r="r" b="b"/>
                <a:pathLst>
                  <a:path w="1578" h="1802" extrusionOk="0">
                    <a:moveTo>
                      <a:pt x="720" y="0"/>
                    </a:moveTo>
                    <a:lnTo>
                      <a:pt x="1" y="1593"/>
                    </a:lnTo>
                    <a:lnTo>
                      <a:pt x="859" y="1799"/>
                    </a:lnTo>
                    <a:cubicBezTo>
                      <a:pt x="873" y="1801"/>
                      <a:pt x="887" y="1801"/>
                      <a:pt x="901" y="1801"/>
                    </a:cubicBezTo>
                    <a:cubicBezTo>
                      <a:pt x="1002" y="1801"/>
                      <a:pt x="1087" y="1749"/>
                      <a:pt x="1130" y="1659"/>
                    </a:cubicBezTo>
                    <a:lnTo>
                      <a:pt x="1524" y="805"/>
                    </a:lnTo>
                    <a:cubicBezTo>
                      <a:pt x="1578" y="702"/>
                      <a:pt x="1541" y="567"/>
                      <a:pt x="1438" y="513"/>
                    </a:cubicBezTo>
                    <a:lnTo>
                      <a:pt x="72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03" name="Google Shape;303;p24"/>
              <p:cNvSpPr/>
              <p:nvPr/>
            </p:nvSpPr>
            <p:spPr>
              <a:xfrm>
                <a:off x="4336125" y="3440100"/>
                <a:ext cx="12450" cy="10025"/>
              </a:xfrm>
              <a:custGeom>
                <a:avLst/>
                <a:gdLst/>
                <a:ahLst/>
                <a:cxnLst/>
                <a:rect l="l" t="t" r="r" b="b"/>
                <a:pathLst>
                  <a:path w="498" h="401" extrusionOk="0">
                    <a:moveTo>
                      <a:pt x="239" y="0"/>
                    </a:moveTo>
                    <a:cubicBezTo>
                      <a:pt x="173" y="0"/>
                      <a:pt x="87" y="70"/>
                      <a:pt x="50" y="136"/>
                    </a:cubicBezTo>
                    <a:cubicBezTo>
                      <a:pt x="1" y="275"/>
                      <a:pt x="120" y="378"/>
                      <a:pt x="239" y="394"/>
                    </a:cubicBezTo>
                    <a:cubicBezTo>
                      <a:pt x="256" y="398"/>
                      <a:pt x="274" y="401"/>
                      <a:pt x="290" y="401"/>
                    </a:cubicBezTo>
                    <a:cubicBezTo>
                      <a:pt x="342" y="401"/>
                      <a:pt x="391" y="381"/>
                      <a:pt x="428" y="341"/>
                    </a:cubicBezTo>
                    <a:cubicBezTo>
                      <a:pt x="481" y="275"/>
                      <a:pt x="498" y="173"/>
                      <a:pt x="461" y="103"/>
                    </a:cubicBezTo>
                    <a:cubicBezTo>
                      <a:pt x="412" y="33"/>
                      <a:pt x="325" y="0"/>
                      <a:pt x="239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04" name="Google Shape;304;p24"/>
              <p:cNvSpPr/>
              <p:nvPr/>
            </p:nvSpPr>
            <p:spPr>
              <a:xfrm>
                <a:off x="4319925" y="3410125"/>
                <a:ext cx="42725" cy="48375"/>
              </a:xfrm>
              <a:custGeom>
                <a:avLst/>
                <a:gdLst/>
                <a:ahLst/>
                <a:cxnLst/>
                <a:rect l="l" t="t" r="r" b="b"/>
                <a:pathLst>
                  <a:path w="1709" h="1935" extrusionOk="0">
                    <a:moveTo>
                      <a:pt x="821" y="173"/>
                    </a:moveTo>
                    <a:lnTo>
                      <a:pt x="1470" y="637"/>
                    </a:lnTo>
                    <a:cubicBezTo>
                      <a:pt x="1540" y="686"/>
                      <a:pt x="1556" y="772"/>
                      <a:pt x="1520" y="842"/>
                    </a:cubicBezTo>
                    <a:lnTo>
                      <a:pt x="1146" y="1696"/>
                    </a:lnTo>
                    <a:cubicBezTo>
                      <a:pt x="1115" y="1768"/>
                      <a:pt x="1053" y="1803"/>
                      <a:pt x="983" y="1803"/>
                    </a:cubicBezTo>
                    <a:cubicBezTo>
                      <a:pt x="969" y="1803"/>
                      <a:pt x="955" y="1801"/>
                      <a:pt x="941" y="1799"/>
                    </a:cubicBezTo>
                    <a:lnTo>
                      <a:pt x="169" y="1626"/>
                    </a:lnTo>
                    <a:lnTo>
                      <a:pt x="821" y="173"/>
                    </a:lnTo>
                    <a:close/>
                    <a:moveTo>
                      <a:pt x="768" y="0"/>
                    </a:moveTo>
                    <a:cubicBezTo>
                      <a:pt x="752" y="0"/>
                      <a:pt x="735" y="21"/>
                      <a:pt x="735" y="37"/>
                    </a:cubicBezTo>
                    <a:lnTo>
                      <a:pt x="17" y="1643"/>
                    </a:lnTo>
                    <a:cubicBezTo>
                      <a:pt x="0" y="1663"/>
                      <a:pt x="0" y="1680"/>
                      <a:pt x="17" y="1696"/>
                    </a:cubicBezTo>
                    <a:cubicBezTo>
                      <a:pt x="17" y="1713"/>
                      <a:pt x="33" y="1729"/>
                      <a:pt x="50" y="1729"/>
                    </a:cubicBezTo>
                    <a:lnTo>
                      <a:pt x="904" y="1934"/>
                    </a:lnTo>
                    <a:lnTo>
                      <a:pt x="973" y="1934"/>
                    </a:lnTo>
                    <a:cubicBezTo>
                      <a:pt x="1092" y="1934"/>
                      <a:pt x="1212" y="1869"/>
                      <a:pt x="1265" y="1766"/>
                    </a:cubicBezTo>
                    <a:lnTo>
                      <a:pt x="1643" y="891"/>
                    </a:lnTo>
                    <a:cubicBezTo>
                      <a:pt x="1708" y="772"/>
                      <a:pt x="1659" y="600"/>
                      <a:pt x="1556" y="514"/>
                    </a:cubicBezTo>
                    <a:lnTo>
                      <a:pt x="838" y="21"/>
                    </a:lnTo>
                    <a:cubicBezTo>
                      <a:pt x="821" y="0"/>
                      <a:pt x="801" y="0"/>
                      <a:pt x="76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05" name="Google Shape;305;p24"/>
              <p:cNvSpPr/>
              <p:nvPr/>
            </p:nvSpPr>
            <p:spPr>
              <a:xfrm>
                <a:off x="4235650" y="3425525"/>
                <a:ext cx="95800" cy="76175"/>
              </a:xfrm>
              <a:custGeom>
                <a:avLst/>
                <a:gdLst/>
                <a:ahLst/>
                <a:cxnLst/>
                <a:rect l="l" t="t" r="r" b="b"/>
                <a:pathLst>
                  <a:path w="3832" h="3047" extrusionOk="0">
                    <a:moveTo>
                      <a:pt x="0" y="0"/>
                    </a:moveTo>
                    <a:cubicBezTo>
                      <a:pt x="374" y="1232"/>
                      <a:pt x="1335" y="2226"/>
                      <a:pt x="2566" y="2620"/>
                    </a:cubicBezTo>
                    <a:lnTo>
                      <a:pt x="3831" y="3047"/>
                    </a:lnTo>
                    <a:lnTo>
                      <a:pt x="3010" y="9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06" name="Google Shape;306;p24"/>
              <p:cNvSpPr/>
              <p:nvPr/>
            </p:nvSpPr>
            <p:spPr>
              <a:xfrm>
                <a:off x="4255250" y="3452525"/>
                <a:ext cx="62525" cy="38500"/>
              </a:xfrm>
              <a:custGeom>
                <a:avLst/>
                <a:gdLst/>
                <a:ahLst/>
                <a:cxnLst/>
                <a:rect l="l" t="t" r="r" b="b"/>
                <a:pathLst>
                  <a:path w="2501" h="1540" extrusionOk="0">
                    <a:moveTo>
                      <a:pt x="0" y="0"/>
                    </a:moveTo>
                    <a:cubicBezTo>
                      <a:pt x="0" y="136"/>
                      <a:pt x="292" y="341"/>
                      <a:pt x="395" y="411"/>
                    </a:cubicBezTo>
                    <a:cubicBezTo>
                      <a:pt x="567" y="546"/>
                      <a:pt x="739" y="686"/>
                      <a:pt x="908" y="805"/>
                    </a:cubicBezTo>
                    <a:cubicBezTo>
                      <a:pt x="1405" y="1129"/>
                      <a:pt x="1918" y="1487"/>
                      <a:pt x="2501" y="1540"/>
                    </a:cubicBezTo>
                    <a:cubicBezTo>
                      <a:pt x="2415" y="1248"/>
                      <a:pt x="2329" y="957"/>
                      <a:pt x="2259" y="665"/>
                    </a:cubicBezTo>
                    <a:cubicBezTo>
                      <a:pt x="2242" y="616"/>
                      <a:pt x="2226" y="583"/>
                      <a:pt x="2209" y="546"/>
                    </a:cubicBezTo>
                    <a:cubicBezTo>
                      <a:pt x="2156" y="460"/>
                      <a:pt x="2037" y="444"/>
                      <a:pt x="1951" y="427"/>
                    </a:cubicBezTo>
                    <a:cubicBezTo>
                      <a:pt x="1626" y="357"/>
                      <a:pt x="1286" y="324"/>
                      <a:pt x="961" y="255"/>
                    </a:cubicBezTo>
                    <a:cubicBezTo>
                      <a:pt x="637" y="205"/>
                      <a:pt x="329" y="86"/>
                      <a:pt x="0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07" name="Google Shape;307;p24"/>
              <p:cNvSpPr/>
              <p:nvPr/>
            </p:nvSpPr>
            <p:spPr>
              <a:xfrm>
                <a:off x="4233900" y="3423875"/>
                <a:ext cx="99275" cy="79575"/>
              </a:xfrm>
              <a:custGeom>
                <a:avLst/>
                <a:gdLst/>
                <a:ahLst/>
                <a:cxnLst/>
                <a:rect l="l" t="t" r="r" b="b"/>
                <a:pathLst>
                  <a:path w="3971" h="3183" extrusionOk="0">
                    <a:moveTo>
                      <a:pt x="173" y="169"/>
                    </a:moveTo>
                    <a:lnTo>
                      <a:pt x="3031" y="1043"/>
                    </a:lnTo>
                    <a:lnTo>
                      <a:pt x="3782" y="3010"/>
                    </a:lnTo>
                    <a:lnTo>
                      <a:pt x="3782" y="3010"/>
                    </a:lnTo>
                    <a:lnTo>
                      <a:pt x="2653" y="2633"/>
                    </a:lnTo>
                    <a:cubicBezTo>
                      <a:pt x="1491" y="2242"/>
                      <a:pt x="567" y="1335"/>
                      <a:pt x="173" y="169"/>
                    </a:cubicBezTo>
                    <a:close/>
                    <a:moveTo>
                      <a:pt x="87" y="0"/>
                    </a:moveTo>
                    <a:cubicBezTo>
                      <a:pt x="70" y="0"/>
                      <a:pt x="33" y="0"/>
                      <a:pt x="17" y="17"/>
                    </a:cubicBezTo>
                    <a:cubicBezTo>
                      <a:pt x="0" y="33"/>
                      <a:pt x="0" y="50"/>
                      <a:pt x="0" y="87"/>
                    </a:cubicBezTo>
                    <a:cubicBezTo>
                      <a:pt x="394" y="1351"/>
                      <a:pt x="1351" y="2345"/>
                      <a:pt x="2599" y="2756"/>
                    </a:cubicBezTo>
                    <a:lnTo>
                      <a:pt x="3868" y="3183"/>
                    </a:lnTo>
                    <a:lnTo>
                      <a:pt x="3901" y="3183"/>
                    </a:lnTo>
                    <a:cubicBezTo>
                      <a:pt x="3918" y="3183"/>
                      <a:pt x="3934" y="3166"/>
                      <a:pt x="3934" y="3166"/>
                    </a:cubicBezTo>
                    <a:cubicBezTo>
                      <a:pt x="3954" y="3129"/>
                      <a:pt x="3971" y="3113"/>
                      <a:pt x="3954" y="3080"/>
                    </a:cubicBezTo>
                    <a:lnTo>
                      <a:pt x="3150" y="957"/>
                    </a:lnTo>
                    <a:cubicBezTo>
                      <a:pt x="3150" y="941"/>
                      <a:pt x="3133" y="924"/>
                      <a:pt x="3096" y="924"/>
                    </a:cubicBezTo>
                    <a:lnTo>
                      <a:pt x="87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08" name="Google Shape;308;p24"/>
              <p:cNvSpPr/>
              <p:nvPr/>
            </p:nvSpPr>
            <p:spPr>
              <a:xfrm>
                <a:off x="4262950" y="3355600"/>
                <a:ext cx="120225" cy="50325"/>
              </a:xfrm>
              <a:custGeom>
                <a:avLst/>
                <a:gdLst/>
                <a:ahLst/>
                <a:cxnLst/>
                <a:rect l="l" t="t" r="r" b="b"/>
                <a:pathLst>
                  <a:path w="4809" h="2013" extrusionOk="0">
                    <a:moveTo>
                      <a:pt x="1671" y="1"/>
                    </a:moveTo>
                    <a:cubicBezTo>
                      <a:pt x="1103" y="1"/>
                      <a:pt x="533" y="123"/>
                      <a:pt x="0" y="370"/>
                    </a:cubicBezTo>
                    <a:lnTo>
                      <a:pt x="2690" y="2013"/>
                    </a:lnTo>
                    <a:lnTo>
                      <a:pt x="4809" y="1208"/>
                    </a:lnTo>
                    <a:lnTo>
                      <a:pt x="3663" y="539"/>
                    </a:lnTo>
                    <a:cubicBezTo>
                      <a:pt x="3051" y="182"/>
                      <a:pt x="2363" y="1"/>
                      <a:pt x="1671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09" name="Google Shape;309;p24"/>
              <p:cNvSpPr/>
              <p:nvPr/>
            </p:nvSpPr>
            <p:spPr>
              <a:xfrm>
                <a:off x="4295900" y="3359950"/>
                <a:ext cx="50700" cy="37000"/>
              </a:xfrm>
              <a:custGeom>
                <a:avLst/>
                <a:gdLst/>
                <a:ahLst/>
                <a:cxnLst/>
                <a:rect l="l" t="t" r="r" b="b"/>
                <a:pathLst>
                  <a:path w="2028" h="1480" extrusionOk="0">
                    <a:moveTo>
                      <a:pt x="133" y="1"/>
                    </a:moveTo>
                    <a:cubicBezTo>
                      <a:pt x="118" y="1"/>
                      <a:pt x="102" y="3"/>
                      <a:pt x="87" y="8"/>
                    </a:cubicBezTo>
                    <a:cubicBezTo>
                      <a:pt x="37" y="24"/>
                      <a:pt x="0" y="77"/>
                      <a:pt x="17" y="127"/>
                    </a:cubicBezTo>
                    <a:cubicBezTo>
                      <a:pt x="17" y="143"/>
                      <a:pt x="37" y="160"/>
                      <a:pt x="54" y="180"/>
                    </a:cubicBezTo>
                    <a:cubicBezTo>
                      <a:pt x="119" y="229"/>
                      <a:pt x="189" y="262"/>
                      <a:pt x="243" y="299"/>
                    </a:cubicBezTo>
                    <a:cubicBezTo>
                      <a:pt x="411" y="385"/>
                      <a:pt x="567" y="488"/>
                      <a:pt x="735" y="591"/>
                    </a:cubicBezTo>
                    <a:cubicBezTo>
                      <a:pt x="1011" y="759"/>
                      <a:pt x="1269" y="964"/>
                      <a:pt x="1507" y="1170"/>
                    </a:cubicBezTo>
                    <a:cubicBezTo>
                      <a:pt x="1577" y="1223"/>
                      <a:pt x="1643" y="1289"/>
                      <a:pt x="1696" y="1342"/>
                    </a:cubicBezTo>
                    <a:cubicBezTo>
                      <a:pt x="1729" y="1375"/>
                      <a:pt x="1746" y="1428"/>
                      <a:pt x="1799" y="1461"/>
                    </a:cubicBezTo>
                    <a:cubicBezTo>
                      <a:pt x="1824" y="1474"/>
                      <a:pt x="1848" y="1480"/>
                      <a:pt x="1870" y="1480"/>
                    </a:cubicBezTo>
                    <a:cubicBezTo>
                      <a:pt x="1967" y="1480"/>
                      <a:pt x="2028" y="1366"/>
                      <a:pt x="1988" y="1256"/>
                    </a:cubicBezTo>
                    <a:cubicBezTo>
                      <a:pt x="1967" y="1207"/>
                      <a:pt x="1934" y="1170"/>
                      <a:pt x="1885" y="1120"/>
                    </a:cubicBezTo>
                    <a:cubicBezTo>
                      <a:pt x="1438" y="624"/>
                      <a:pt x="891" y="196"/>
                      <a:pt x="243" y="24"/>
                    </a:cubicBezTo>
                    <a:cubicBezTo>
                      <a:pt x="205" y="12"/>
                      <a:pt x="169" y="1"/>
                      <a:pt x="133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10" name="Google Shape;310;p24"/>
              <p:cNvSpPr/>
              <p:nvPr/>
            </p:nvSpPr>
            <p:spPr>
              <a:xfrm>
                <a:off x="4324550" y="3363525"/>
                <a:ext cx="24025" cy="17775"/>
              </a:xfrm>
              <a:custGeom>
                <a:avLst/>
                <a:gdLst/>
                <a:ahLst/>
                <a:cxnLst/>
                <a:rect l="l" t="t" r="r" b="b"/>
                <a:pathLst>
                  <a:path w="961" h="711" extrusionOk="0">
                    <a:moveTo>
                      <a:pt x="242" y="0"/>
                    </a:moveTo>
                    <a:cubicBezTo>
                      <a:pt x="189" y="0"/>
                      <a:pt x="123" y="17"/>
                      <a:pt x="103" y="70"/>
                    </a:cubicBezTo>
                    <a:cubicBezTo>
                      <a:pt x="0" y="205"/>
                      <a:pt x="259" y="292"/>
                      <a:pt x="328" y="345"/>
                    </a:cubicBezTo>
                    <a:cubicBezTo>
                      <a:pt x="464" y="448"/>
                      <a:pt x="583" y="583"/>
                      <a:pt x="739" y="669"/>
                    </a:cubicBezTo>
                    <a:cubicBezTo>
                      <a:pt x="770" y="690"/>
                      <a:pt x="816" y="711"/>
                      <a:pt x="858" y="711"/>
                    </a:cubicBezTo>
                    <a:cubicBezTo>
                      <a:pt x="883" y="711"/>
                      <a:pt x="906" y="704"/>
                      <a:pt x="924" y="686"/>
                    </a:cubicBezTo>
                    <a:cubicBezTo>
                      <a:pt x="961" y="653"/>
                      <a:pt x="961" y="583"/>
                      <a:pt x="944" y="530"/>
                    </a:cubicBezTo>
                    <a:cubicBezTo>
                      <a:pt x="907" y="427"/>
                      <a:pt x="821" y="324"/>
                      <a:pt x="719" y="259"/>
                    </a:cubicBezTo>
                    <a:cubicBezTo>
                      <a:pt x="636" y="173"/>
                      <a:pt x="534" y="103"/>
                      <a:pt x="411" y="53"/>
                    </a:cubicBezTo>
                    <a:cubicBezTo>
                      <a:pt x="361" y="17"/>
                      <a:pt x="308" y="0"/>
                      <a:pt x="242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11" name="Google Shape;311;p24"/>
              <p:cNvSpPr/>
              <p:nvPr/>
            </p:nvSpPr>
            <p:spPr>
              <a:xfrm>
                <a:off x="4261300" y="3353950"/>
                <a:ext cx="123625" cy="53625"/>
              </a:xfrm>
              <a:custGeom>
                <a:avLst/>
                <a:gdLst/>
                <a:ahLst/>
                <a:cxnLst/>
                <a:rect l="l" t="t" r="r" b="b"/>
                <a:pathLst>
                  <a:path w="4945" h="2145" extrusionOk="0">
                    <a:moveTo>
                      <a:pt x="1740" y="139"/>
                    </a:moveTo>
                    <a:cubicBezTo>
                      <a:pt x="2418" y="139"/>
                      <a:pt x="3095" y="317"/>
                      <a:pt x="3696" y="675"/>
                    </a:cubicBezTo>
                    <a:lnTo>
                      <a:pt x="4723" y="1274"/>
                    </a:lnTo>
                    <a:lnTo>
                      <a:pt x="2756" y="2009"/>
                    </a:lnTo>
                    <a:lnTo>
                      <a:pt x="206" y="453"/>
                    </a:lnTo>
                    <a:cubicBezTo>
                      <a:pt x="697" y="244"/>
                      <a:pt x="1219" y="139"/>
                      <a:pt x="1740" y="139"/>
                    </a:cubicBezTo>
                    <a:close/>
                    <a:moveTo>
                      <a:pt x="1722" y="0"/>
                    </a:moveTo>
                    <a:cubicBezTo>
                      <a:pt x="1147" y="0"/>
                      <a:pt x="570" y="122"/>
                      <a:pt x="33" y="367"/>
                    </a:cubicBezTo>
                    <a:cubicBezTo>
                      <a:pt x="17" y="383"/>
                      <a:pt x="1" y="400"/>
                      <a:pt x="1" y="436"/>
                    </a:cubicBezTo>
                    <a:cubicBezTo>
                      <a:pt x="1" y="453"/>
                      <a:pt x="17" y="486"/>
                      <a:pt x="33" y="486"/>
                    </a:cubicBezTo>
                    <a:lnTo>
                      <a:pt x="2719" y="2145"/>
                    </a:lnTo>
                    <a:lnTo>
                      <a:pt x="2772" y="2145"/>
                    </a:lnTo>
                    <a:lnTo>
                      <a:pt x="4912" y="1344"/>
                    </a:lnTo>
                    <a:cubicBezTo>
                      <a:pt x="4928" y="1323"/>
                      <a:pt x="4944" y="1307"/>
                      <a:pt x="4944" y="1291"/>
                    </a:cubicBezTo>
                    <a:cubicBezTo>
                      <a:pt x="4944" y="1258"/>
                      <a:pt x="4944" y="1241"/>
                      <a:pt x="4912" y="1221"/>
                    </a:cubicBezTo>
                    <a:lnTo>
                      <a:pt x="3762" y="556"/>
                    </a:lnTo>
                    <a:cubicBezTo>
                      <a:pt x="3138" y="186"/>
                      <a:pt x="2432" y="0"/>
                      <a:pt x="172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12" name="Google Shape;312;p24"/>
              <p:cNvSpPr/>
              <p:nvPr/>
            </p:nvSpPr>
            <p:spPr>
              <a:xfrm>
                <a:off x="4169325" y="3342175"/>
                <a:ext cx="177525" cy="115500"/>
              </a:xfrm>
              <a:custGeom>
                <a:avLst/>
                <a:gdLst/>
                <a:ahLst/>
                <a:cxnLst/>
                <a:rect l="l" t="t" r="r" b="b"/>
                <a:pathLst>
                  <a:path w="7101" h="4620" extrusionOk="0">
                    <a:moveTo>
                      <a:pt x="2087" y="0"/>
                    </a:moveTo>
                    <a:cubicBezTo>
                      <a:pt x="1958" y="0"/>
                      <a:pt x="1833" y="6"/>
                      <a:pt x="1713" y="16"/>
                    </a:cubicBezTo>
                    <a:cubicBezTo>
                      <a:pt x="666" y="136"/>
                      <a:pt x="1" y="686"/>
                      <a:pt x="1" y="686"/>
                    </a:cubicBezTo>
                    <a:cubicBezTo>
                      <a:pt x="1" y="686"/>
                      <a:pt x="33" y="1523"/>
                      <a:pt x="649" y="2394"/>
                    </a:cubicBezTo>
                    <a:cubicBezTo>
                      <a:pt x="974" y="2874"/>
                      <a:pt x="1487" y="3355"/>
                      <a:pt x="2259" y="3696"/>
                    </a:cubicBezTo>
                    <a:cubicBezTo>
                      <a:pt x="3848" y="4414"/>
                      <a:pt x="5322" y="4587"/>
                      <a:pt x="5971" y="4619"/>
                    </a:cubicBezTo>
                    <a:cubicBezTo>
                      <a:pt x="6193" y="4619"/>
                      <a:pt x="6398" y="4500"/>
                      <a:pt x="6484" y="4295"/>
                    </a:cubicBezTo>
                    <a:lnTo>
                      <a:pt x="7014" y="3149"/>
                    </a:lnTo>
                    <a:cubicBezTo>
                      <a:pt x="7100" y="2944"/>
                      <a:pt x="7067" y="2702"/>
                      <a:pt x="6911" y="2550"/>
                    </a:cubicBezTo>
                    <a:cubicBezTo>
                      <a:pt x="6451" y="2070"/>
                      <a:pt x="5355" y="1096"/>
                      <a:pt x="3745" y="357"/>
                    </a:cubicBezTo>
                    <a:cubicBezTo>
                      <a:pt x="3137" y="87"/>
                      <a:pt x="2580" y="0"/>
                      <a:pt x="2087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13" name="Google Shape;313;p24"/>
              <p:cNvSpPr/>
              <p:nvPr/>
            </p:nvSpPr>
            <p:spPr>
              <a:xfrm>
                <a:off x="4215525" y="3366175"/>
                <a:ext cx="65000" cy="57000"/>
              </a:xfrm>
              <a:custGeom>
                <a:avLst/>
                <a:gdLst/>
                <a:ahLst/>
                <a:cxnLst/>
                <a:rect l="l" t="t" r="r" b="b"/>
                <a:pathLst>
                  <a:path w="2600" h="2280" extrusionOk="0">
                    <a:moveTo>
                      <a:pt x="1308" y="1"/>
                    </a:moveTo>
                    <a:cubicBezTo>
                      <a:pt x="868" y="1"/>
                      <a:pt x="445" y="249"/>
                      <a:pt x="255" y="666"/>
                    </a:cubicBezTo>
                    <a:cubicBezTo>
                      <a:pt x="0" y="1245"/>
                      <a:pt x="255" y="1914"/>
                      <a:pt x="838" y="2169"/>
                    </a:cubicBezTo>
                    <a:cubicBezTo>
                      <a:pt x="993" y="2244"/>
                      <a:pt x="1157" y="2280"/>
                      <a:pt x="1318" y="2280"/>
                    </a:cubicBezTo>
                    <a:cubicBezTo>
                      <a:pt x="1746" y="2280"/>
                      <a:pt x="2157" y="2030"/>
                      <a:pt x="2345" y="1606"/>
                    </a:cubicBezTo>
                    <a:cubicBezTo>
                      <a:pt x="2599" y="1023"/>
                      <a:pt x="2345" y="358"/>
                      <a:pt x="1778" y="99"/>
                    </a:cubicBezTo>
                    <a:cubicBezTo>
                      <a:pt x="1626" y="32"/>
                      <a:pt x="1466" y="1"/>
                      <a:pt x="1308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14" name="Google Shape;314;p24"/>
              <p:cNvSpPr/>
              <p:nvPr/>
            </p:nvSpPr>
            <p:spPr>
              <a:xfrm>
                <a:off x="4169325" y="3342575"/>
                <a:ext cx="48775" cy="59450"/>
              </a:xfrm>
              <a:custGeom>
                <a:avLst/>
                <a:gdLst/>
                <a:ahLst/>
                <a:cxnLst/>
                <a:rect l="l" t="t" r="r" b="b"/>
                <a:pathLst>
                  <a:path w="1951" h="2378" extrusionOk="0">
                    <a:moveTo>
                      <a:pt x="1713" y="0"/>
                    </a:moveTo>
                    <a:lnTo>
                      <a:pt x="1713" y="0"/>
                    </a:lnTo>
                    <a:cubicBezTo>
                      <a:pt x="666" y="120"/>
                      <a:pt x="1" y="670"/>
                      <a:pt x="1" y="670"/>
                    </a:cubicBezTo>
                    <a:cubicBezTo>
                      <a:pt x="1" y="670"/>
                      <a:pt x="33" y="1507"/>
                      <a:pt x="649" y="2378"/>
                    </a:cubicBezTo>
                    <a:cubicBezTo>
                      <a:pt x="666" y="2361"/>
                      <a:pt x="1232" y="2156"/>
                      <a:pt x="1590" y="1368"/>
                    </a:cubicBezTo>
                    <a:cubicBezTo>
                      <a:pt x="1951" y="567"/>
                      <a:pt x="1713" y="0"/>
                      <a:pt x="1713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15" name="Google Shape;315;p24"/>
              <p:cNvSpPr/>
              <p:nvPr/>
            </p:nvSpPr>
            <p:spPr>
              <a:xfrm>
                <a:off x="4221475" y="3371375"/>
                <a:ext cx="53100" cy="46400"/>
              </a:xfrm>
              <a:custGeom>
                <a:avLst/>
                <a:gdLst/>
                <a:ahLst/>
                <a:cxnLst/>
                <a:rect l="l" t="t" r="r" b="b"/>
                <a:pathLst>
                  <a:path w="2124" h="1856" extrusionOk="0">
                    <a:moveTo>
                      <a:pt x="1064" y="1"/>
                    </a:moveTo>
                    <a:cubicBezTo>
                      <a:pt x="712" y="1"/>
                      <a:pt x="374" y="202"/>
                      <a:pt x="222" y="544"/>
                    </a:cubicBezTo>
                    <a:cubicBezTo>
                      <a:pt x="0" y="1021"/>
                      <a:pt x="222" y="1571"/>
                      <a:pt x="686" y="1776"/>
                    </a:cubicBezTo>
                    <a:cubicBezTo>
                      <a:pt x="807" y="1830"/>
                      <a:pt x="934" y="1856"/>
                      <a:pt x="1060" y="1856"/>
                    </a:cubicBezTo>
                    <a:cubicBezTo>
                      <a:pt x="1413" y="1856"/>
                      <a:pt x="1755" y="1654"/>
                      <a:pt x="1918" y="1312"/>
                    </a:cubicBezTo>
                    <a:cubicBezTo>
                      <a:pt x="2123" y="852"/>
                      <a:pt x="1918" y="286"/>
                      <a:pt x="1438" y="80"/>
                    </a:cubicBezTo>
                    <a:cubicBezTo>
                      <a:pt x="1317" y="26"/>
                      <a:pt x="1190" y="1"/>
                      <a:pt x="1064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16" name="Google Shape;316;p24"/>
              <p:cNvSpPr/>
              <p:nvPr/>
            </p:nvSpPr>
            <p:spPr>
              <a:xfrm>
                <a:off x="4225375" y="3386600"/>
                <a:ext cx="28250" cy="30550"/>
              </a:xfrm>
              <a:custGeom>
                <a:avLst/>
                <a:gdLst/>
                <a:ahLst/>
                <a:cxnLst/>
                <a:rect l="l" t="t" r="r" b="b"/>
                <a:pathLst>
                  <a:path w="1130" h="1222" extrusionOk="0">
                    <a:moveTo>
                      <a:pt x="152" y="1"/>
                    </a:moveTo>
                    <a:cubicBezTo>
                      <a:pt x="103" y="17"/>
                      <a:pt x="66" y="87"/>
                      <a:pt x="50" y="141"/>
                    </a:cubicBezTo>
                    <a:cubicBezTo>
                      <a:pt x="0" y="412"/>
                      <a:pt x="66" y="720"/>
                      <a:pt x="239" y="925"/>
                    </a:cubicBezTo>
                    <a:cubicBezTo>
                      <a:pt x="407" y="1107"/>
                      <a:pt x="643" y="1222"/>
                      <a:pt x="884" y="1222"/>
                    </a:cubicBezTo>
                    <a:cubicBezTo>
                      <a:pt x="914" y="1222"/>
                      <a:pt x="944" y="1220"/>
                      <a:pt x="974" y="1216"/>
                    </a:cubicBezTo>
                    <a:cubicBezTo>
                      <a:pt x="1027" y="1200"/>
                      <a:pt x="1060" y="1200"/>
                      <a:pt x="1076" y="1184"/>
                    </a:cubicBezTo>
                    <a:cubicBezTo>
                      <a:pt x="1113" y="1147"/>
                      <a:pt x="1130" y="1114"/>
                      <a:pt x="1130" y="1081"/>
                    </a:cubicBezTo>
                    <a:cubicBezTo>
                      <a:pt x="1130" y="1028"/>
                      <a:pt x="1076" y="1011"/>
                      <a:pt x="1027" y="1011"/>
                    </a:cubicBezTo>
                    <a:cubicBezTo>
                      <a:pt x="992" y="1019"/>
                      <a:pt x="957" y="1023"/>
                      <a:pt x="923" y="1023"/>
                    </a:cubicBezTo>
                    <a:cubicBezTo>
                      <a:pt x="888" y="1023"/>
                      <a:pt x="855" y="1019"/>
                      <a:pt x="822" y="1011"/>
                    </a:cubicBezTo>
                    <a:cubicBezTo>
                      <a:pt x="703" y="995"/>
                      <a:pt x="579" y="941"/>
                      <a:pt x="477" y="859"/>
                    </a:cubicBezTo>
                    <a:cubicBezTo>
                      <a:pt x="325" y="720"/>
                      <a:pt x="222" y="514"/>
                      <a:pt x="239" y="309"/>
                    </a:cubicBezTo>
                    <a:cubicBezTo>
                      <a:pt x="239" y="243"/>
                      <a:pt x="255" y="173"/>
                      <a:pt x="255" y="104"/>
                    </a:cubicBezTo>
                    <a:cubicBezTo>
                      <a:pt x="239" y="71"/>
                      <a:pt x="239" y="17"/>
                      <a:pt x="206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17" name="Google Shape;317;p24"/>
              <p:cNvSpPr/>
              <p:nvPr/>
            </p:nvSpPr>
            <p:spPr>
              <a:xfrm>
                <a:off x="4231325" y="3379925"/>
                <a:ext cx="33400" cy="29300"/>
              </a:xfrm>
              <a:custGeom>
                <a:avLst/>
                <a:gdLst/>
                <a:ahLst/>
                <a:cxnLst/>
                <a:rect l="l" t="t" r="r" b="b"/>
                <a:pathLst>
                  <a:path w="1336" h="1172" extrusionOk="0">
                    <a:moveTo>
                      <a:pt x="678" y="1"/>
                    </a:moveTo>
                    <a:cubicBezTo>
                      <a:pt x="455" y="1"/>
                      <a:pt x="240" y="125"/>
                      <a:pt x="136" y="354"/>
                    </a:cubicBezTo>
                    <a:cubicBezTo>
                      <a:pt x="1" y="646"/>
                      <a:pt x="136" y="987"/>
                      <a:pt x="428" y="1126"/>
                    </a:cubicBezTo>
                    <a:cubicBezTo>
                      <a:pt x="503" y="1157"/>
                      <a:pt x="584" y="1172"/>
                      <a:pt x="663" y="1172"/>
                    </a:cubicBezTo>
                    <a:cubicBezTo>
                      <a:pt x="890" y="1172"/>
                      <a:pt x="1111" y="1051"/>
                      <a:pt x="1200" y="835"/>
                    </a:cubicBezTo>
                    <a:cubicBezTo>
                      <a:pt x="1335" y="527"/>
                      <a:pt x="1200" y="182"/>
                      <a:pt x="908" y="46"/>
                    </a:cubicBezTo>
                    <a:cubicBezTo>
                      <a:pt x="833" y="16"/>
                      <a:pt x="755" y="1"/>
                      <a:pt x="678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18" name="Google Shape;318;p24"/>
              <p:cNvSpPr/>
              <p:nvPr/>
            </p:nvSpPr>
            <p:spPr>
              <a:xfrm>
                <a:off x="4235225" y="3386200"/>
                <a:ext cx="18000" cy="20075"/>
              </a:xfrm>
              <a:custGeom>
                <a:avLst/>
                <a:gdLst/>
                <a:ahLst/>
                <a:cxnLst/>
                <a:rect l="l" t="t" r="r" b="b"/>
                <a:pathLst>
                  <a:path w="720" h="803" extrusionOk="0">
                    <a:moveTo>
                      <a:pt x="309" y="1"/>
                    </a:moveTo>
                    <a:cubicBezTo>
                      <a:pt x="239" y="1"/>
                      <a:pt x="169" y="54"/>
                      <a:pt x="136" y="120"/>
                    </a:cubicBezTo>
                    <a:cubicBezTo>
                      <a:pt x="1" y="362"/>
                      <a:pt x="136" y="633"/>
                      <a:pt x="374" y="752"/>
                    </a:cubicBezTo>
                    <a:cubicBezTo>
                      <a:pt x="436" y="778"/>
                      <a:pt x="505" y="802"/>
                      <a:pt x="571" y="802"/>
                    </a:cubicBezTo>
                    <a:cubicBezTo>
                      <a:pt x="598" y="802"/>
                      <a:pt x="625" y="798"/>
                      <a:pt x="649" y="789"/>
                    </a:cubicBezTo>
                    <a:cubicBezTo>
                      <a:pt x="666" y="772"/>
                      <a:pt x="682" y="772"/>
                      <a:pt x="699" y="752"/>
                    </a:cubicBezTo>
                    <a:cubicBezTo>
                      <a:pt x="719" y="736"/>
                      <a:pt x="719" y="719"/>
                      <a:pt x="699" y="686"/>
                    </a:cubicBezTo>
                    <a:cubicBezTo>
                      <a:pt x="699" y="649"/>
                      <a:pt x="682" y="616"/>
                      <a:pt x="666" y="567"/>
                    </a:cubicBezTo>
                    <a:cubicBezTo>
                      <a:pt x="617" y="411"/>
                      <a:pt x="530" y="276"/>
                      <a:pt x="444" y="120"/>
                    </a:cubicBezTo>
                    <a:cubicBezTo>
                      <a:pt x="411" y="70"/>
                      <a:pt x="358" y="17"/>
                      <a:pt x="309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19" name="Google Shape;319;p24"/>
              <p:cNvSpPr/>
              <p:nvPr/>
            </p:nvSpPr>
            <p:spPr>
              <a:xfrm>
                <a:off x="4212550" y="3376275"/>
                <a:ext cx="10700" cy="9425"/>
              </a:xfrm>
              <a:custGeom>
                <a:avLst/>
                <a:gdLst/>
                <a:ahLst/>
                <a:cxnLst/>
                <a:rect l="l" t="t" r="r" b="b"/>
                <a:pathLst>
                  <a:path w="428" h="377" extrusionOk="0">
                    <a:moveTo>
                      <a:pt x="216" y="0"/>
                    </a:moveTo>
                    <a:cubicBezTo>
                      <a:pt x="147" y="0"/>
                      <a:pt x="76" y="43"/>
                      <a:pt x="49" y="106"/>
                    </a:cubicBezTo>
                    <a:cubicBezTo>
                      <a:pt x="0" y="209"/>
                      <a:pt x="49" y="311"/>
                      <a:pt x="136" y="365"/>
                    </a:cubicBezTo>
                    <a:cubicBezTo>
                      <a:pt x="161" y="373"/>
                      <a:pt x="187" y="377"/>
                      <a:pt x="211" y="377"/>
                    </a:cubicBezTo>
                    <a:cubicBezTo>
                      <a:pt x="286" y="377"/>
                      <a:pt x="354" y="339"/>
                      <a:pt x="394" y="262"/>
                    </a:cubicBezTo>
                    <a:cubicBezTo>
                      <a:pt x="427" y="176"/>
                      <a:pt x="394" y="57"/>
                      <a:pt x="292" y="20"/>
                    </a:cubicBezTo>
                    <a:cubicBezTo>
                      <a:pt x="268" y="6"/>
                      <a:pt x="242" y="0"/>
                      <a:pt x="21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0" name="Google Shape;320;p24"/>
              <p:cNvSpPr/>
              <p:nvPr/>
            </p:nvSpPr>
            <p:spPr>
              <a:xfrm>
                <a:off x="4197550" y="3398325"/>
                <a:ext cx="10700" cy="9375"/>
              </a:xfrm>
              <a:custGeom>
                <a:avLst/>
                <a:gdLst/>
                <a:ahLst/>
                <a:cxnLst/>
                <a:rect l="l" t="t" r="r" b="b"/>
                <a:pathLst>
                  <a:path w="428" h="375" extrusionOk="0">
                    <a:moveTo>
                      <a:pt x="224" y="0"/>
                    </a:moveTo>
                    <a:cubicBezTo>
                      <a:pt x="152" y="0"/>
                      <a:pt x="78" y="38"/>
                      <a:pt x="50" y="115"/>
                    </a:cubicBezTo>
                    <a:cubicBezTo>
                      <a:pt x="1" y="201"/>
                      <a:pt x="50" y="320"/>
                      <a:pt x="136" y="353"/>
                    </a:cubicBezTo>
                    <a:cubicBezTo>
                      <a:pt x="165" y="368"/>
                      <a:pt x="193" y="375"/>
                      <a:pt x="220" y="375"/>
                    </a:cubicBezTo>
                    <a:cubicBezTo>
                      <a:pt x="292" y="375"/>
                      <a:pt x="356" y="329"/>
                      <a:pt x="395" y="267"/>
                    </a:cubicBezTo>
                    <a:cubicBezTo>
                      <a:pt x="428" y="164"/>
                      <a:pt x="395" y="62"/>
                      <a:pt x="292" y="12"/>
                    </a:cubicBezTo>
                    <a:cubicBezTo>
                      <a:pt x="271" y="4"/>
                      <a:pt x="247" y="0"/>
                      <a:pt x="22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1" name="Google Shape;321;p24"/>
              <p:cNvSpPr/>
              <p:nvPr/>
            </p:nvSpPr>
            <p:spPr>
              <a:xfrm>
                <a:off x="4218900" y="3350600"/>
                <a:ext cx="10700" cy="9300"/>
              </a:xfrm>
              <a:custGeom>
                <a:avLst/>
                <a:gdLst/>
                <a:ahLst/>
                <a:cxnLst/>
                <a:rect l="l" t="t" r="r" b="b"/>
                <a:pathLst>
                  <a:path w="428" h="372" extrusionOk="0">
                    <a:moveTo>
                      <a:pt x="217" y="1"/>
                    </a:moveTo>
                    <a:cubicBezTo>
                      <a:pt x="147" y="1"/>
                      <a:pt x="78" y="44"/>
                      <a:pt x="54" y="106"/>
                    </a:cubicBezTo>
                    <a:cubicBezTo>
                      <a:pt x="1" y="209"/>
                      <a:pt x="54" y="312"/>
                      <a:pt x="140" y="349"/>
                    </a:cubicBezTo>
                    <a:cubicBezTo>
                      <a:pt x="172" y="364"/>
                      <a:pt x="203" y="371"/>
                      <a:pt x="233" y="371"/>
                    </a:cubicBezTo>
                    <a:cubicBezTo>
                      <a:pt x="301" y="371"/>
                      <a:pt x="361" y="334"/>
                      <a:pt x="395" y="263"/>
                    </a:cubicBezTo>
                    <a:cubicBezTo>
                      <a:pt x="428" y="176"/>
                      <a:pt x="395" y="57"/>
                      <a:pt x="292" y="20"/>
                    </a:cubicBezTo>
                    <a:cubicBezTo>
                      <a:pt x="269" y="7"/>
                      <a:pt x="243" y="1"/>
                      <a:pt x="217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2" name="Google Shape;322;p24"/>
              <p:cNvSpPr/>
              <p:nvPr/>
            </p:nvSpPr>
            <p:spPr>
              <a:xfrm>
                <a:off x="4167575" y="3340700"/>
                <a:ext cx="181000" cy="118725"/>
              </a:xfrm>
              <a:custGeom>
                <a:avLst/>
                <a:gdLst/>
                <a:ahLst/>
                <a:cxnLst/>
                <a:rect l="l" t="t" r="r" b="b"/>
                <a:pathLst>
                  <a:path w="7240" h="4749" extrusionOk="0">
                    <a:moveTo>
                      <a:pt x="1729" y="162"/>
                    </a:moveTo>
                    <a:lnTo>
                      <a:pt x="1729" y="162"/>
                    </a:lnTo>
                    <a:cubicBezTo>
                      <a:pt x="1783" y="314"/>
                      <a:pt x="1885" y="794"/>
                      <a:pt x="1594" y="1426"/>
                    </a:cubicBezTo>
                    <a:cubicBezTo>
                      <a:pt x="1302" y="2059"/>
                      <a:pt x="892" y="2301"/>
                      <a:pt x="736" y="2367"/>
                    </a:cubicBezTo>
                    <a:cubicBezTo>
                      <a:pt x="243" y="1632"/>
                      <a:pt x="157" y="930"/>
                      <a:pt x="140" y="778"/>
                    </a:cubicBezTo>
                    <a:cubicBezTo>
                      <a:pt x="276" y="675"/>
                      <a:pt x="859" y="281"/>
                      <a:pt x="1729" y="162"/>
                    </a:cubicBezTo>
                    <a:close/>
                    <a:moveTo>
                      <a:pt x="2201" y="129"/>
                    </a:moveTo>
                    <a:cubicBezTo>
                      <a:pt x="2678" y="129"/>
                      <a:pt x="3221" y="225"/>
                      <a:pt x="3799" y="486"/>
                    </a:cubicBezTo>
                    <a:cubicBezTo>
                      <a:pt x="5150" y="1102"/>
                      <a:pt x="6144" y="1890"/>
                      <a:pt x="6710" y="2436"/>
                    </a:cubicBezTo>
                    <a:lnTo>
                      <a:pt x="5733" y="4576"/>
                    </a:lnTo>
                    <a:cubicBezTo>
                      <a:pt x="4965" y="4506"/>
                      <a:pt x="3713" y="4301"/>
                      <a:pt x="2345" y="3685"/>
                    </a:cubicBezTo>
                    <a:cubicBezTo>
                      <a:pt x="1627" y="3360"/>
                      <a:pt x="1146" y="2917"/>
                      <a:pt x="822" y="2469"/>
                    </a:cubicBezTo>
                    <a:cubicBezTo>
                      <a:pt x="994" y="2387"/>
                      <a:pt x="1421" y="2129"/>
                      <a:pt x="1713" y="1480"/>
                    </a:cubicBezTo>
                    <a:cubicBezTo>
                      <a:pt x="2005" y="827"/>
                      <a:pt x="1918" y="334"/>
                      <a:pt x="1865" y="145"/>
                    </a:cubicBezTo>
                    <a:cubicBezTo>
                      <a:pt x="1973" y="135"/>
                      <a:pt x="2085" y="129"/>
                      <a:pt x="2201" y="129"/>
                    </a:cubicBezTo>
                    <a:close/>
                    <a:moveTo>
                      <a:pt x="6813" y="2523"/>
                    </a:moveTo>
                    <a:cubicBezTo>
                      <a:pt x="6846" y="2572"/>
                      <a:pt x="6895" y="2609"/>
                      <a:pt x="6932" y="2658"/>
                    </a:cubicBezTo>
                    <a:cubicBezTo>
                      <a:pt x="7067" y="2798"/>
                      <a:pt x="7100" y="3003"/>
                      <a:pt x="7018" y="3171"/>
                    </a:cubicBezTo>
                    <a:lnTo>
                      <a:pt x="6505" y="4338"/>
                    </a:lnTo>
                    <a:cubicBezTo>
                      <a:pt x="6419" y="4506"/>
                      <a:pt x="6246" y="4609"/>
                      <a:pt x="6057" y="4609"/>
                    </a:cubicBezTo>
                    <a:cubicBezTo>
                      <a:pt x="5992" y="4609"/>
                      <a:pt x="5938" y="4592"/>
                      <a:pt x="5868" y="4592"/>
                    </a:cubicBezTo>
                    <a:lnTo>
                      <a:pt x="6813" y="2523"/>
                    </a:lnTo>
                    <a:close/>
                    <a:moveTo>
                      <a:pt x="2197" y="1"/>
                    </a:moveTo>
                    <a:cubicBezTo>
                      <a:pt x="897" y="1"/>
                      <a:pt x="50" y="679"/>
                      <a:pt x="38" y="691"/>
                    </a:cubicBezTo>
                    <a:cubicBezTo>
                      <a:pt x="17" y="691"/>
                      <a:pt x="1" y="724"/>
                      <a:pt x="1" y="745"/>
                    </a:cubicBezTo>
                    <a:cubicBezTo>
                      <a:pt x="1" y="761"/>
                      <a:pt x="120" y="2831"/>
                      <a:pt x="2296" y="3804"/>
                    </a:cubicBezTo>
                    <a:cubicBezTo>
                      <a:pt x="3885" y="4522"/>
                      <a:pt x="5322" y="4695"/>
                      <a:pt x="6041" y="4748"/>
                    </a:cubicBezTo>
                    <a:lnTo>
                      <a:pt x="6074" y="4748"/>
                    </a:lnTo>
                    <a:cubicBezTo>
                      <a:pt x="6316" y="4748"/>
                      <a:pt x="6521" y="4609"/>
                      <a:pt x="6624" y="4387"/>
                    </a:cubicBezTo>
                    <a:lnTo>
                      <a:pt x="7154" y="3225"/>
                    </a:lnTo>
                    <a:cubicBezTo>
                      <a:pt x="7240" y="3003"/>
                      <a:pt x="7203" y="2728"/>
                      <a:pt x="7035" y="2556"/>
                    </a:cubicBezTo>
                    <a:cubicBezTo>
                      <a:pt x="6521" y="2042"/>
                      <a:pt x="5425" y="1086"/>
                      <a:pt x="3852" y="367"/>
                    </a:cubicBezTo>
                    <a:cubicBezTo>
                      <a:pt x="3249" y="98"/>
                      <a:pt x="2691" y="1"/>
                      <a:pt x="219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3" name="Google Shape;323;p24"/>
              <p:cNvSpPr/>
              <p:nvPr/>
            </p:nvSpPr>
            <p:spPr>
              <a:xfrm>
                <a:off x="4219825" y="3369700"/>
                <a:ext cx="53925" cy="49900"/>
              </a:xfrm>
              <a:custGeom>
                <a:avLst/>
                <a:gdLst/>
                <a:ahLst/>
                <a:cxnLst/>
                <a:rect l="l" t="t" r="r" b="b"/>
                <a:pathLst>
                  <a:path w="2157" h="1996" extrusionOk="0">
                    <a:moveTo>
                      <a:pt x="1130" y="131"/>
                    </a:moveTo>
                    <a:cubicBezTo>
                      <a:pt x="1249" y="131"/>
                      <a:pt x="1368" y="164"/>
                      <a:pt x="1487" y="217"/>
                    </a:cubicBezTo>
                    <a:cubicBezTo>
                      <a:pt x="1692" y="303"/>
                      <a:pt x="1849" y="472"/>
                      <a:pt x="1931" y="693"/>
                    </a:cubicBezTo>
                    <a:cubicBezTo>
                      <a:pt x="2017" y="899"/>
                      <a:pt x="2017" y="1141"/>
                      <a:pt x="1914" y="1346"/>
                    </a:cubicBezTo>
                    <a:cubicBezTo>
                      <a:pt x="1828" y="1568"/>
                      <a:pt x="1660" y="1720"/>
                      <a:pt x="1438" y="1806"/>
                    </a:cubicBezTo>
                    <a:cubicBezTo>
                      <a:pt x="1336" y="1838"/>
                      <a:pt x="1235" y="1855"/>
                      <a:pt x="1135" y="1855"/>
                    </a:cubicBezTo>
                    <a:cubicBezTo>
                      <a:pt x="1015" y="1855"/>
                      <a:pt x="898" y="1830"/>
                      <a:pt x="785" y="1773"/>
                    </a:cubicBezTo>
                    <a:cubicBezTo>
                      <a:pt x="342" y="1584"/>
                      <a:pt x="153" y="1071"/>
                      <a:pt x="342" y="644"/>
                    </a:cubicBezTo>
                    <a:cubicBezTo>
                      <a:pt x="444" y="439"/>
                      <a:pt x="617" y="266"/>
                      <a:pt x="822" y="201"/>
                    </a:cubicBezTo>
                    <a:cubicBezTo>
                      <a:pt x="925" y="147"/>
                      <a:pt x="1027" y="131"/>
                      <a:pt x="1130" y="131"/>
                    </a:cubicBezTo>
                    <a:close/>
                    <a:moveTo>
                      <a:pt x="1129" y="0"/>
                    </a:moveTo>
                    <a:cubicBezTo>
                      <a:pt x="1012" y="0"/>
                      <a:pt x="895" y="22"/>
                      <a:pt x="785" y="61"/>
                    </a:cubicBezTo>
                    <a:cubicBezTo>
                      <a:pt x="530" y="164"/>
                      <a:pt x="342" y="353"/>
                      <a:pt x="222" y="591"/>
                    </a:cubicBezTo>
                    <a:cubicBezTo>
                      <a:pt x="1" y="1088"/>
                      <a:pt x="222" y="1671"/>
                      <a:pt x="719" y="1909"/>
                    </a:cubicBezTo>
                    <a:cubicBezTo>
                      <a:pt x="855" y="1962"/>
                      <a:pt x="990" y="1995"/>
                      <a:pt x="1130" y="1995"/>
                    </a:cubicBezTo>
                    <a:cubicBezTo>
                      <a:pt x="1249" y="1995"/>
                      <a:pt x="1368" y="1962"/>
                      <a:pt x="1487" y="1925"/>
                    </a:cubicBezTo>
                    <a:cubicBezTo>
                      <a:pt x="1725" y="1823"/>
                      <a:pt x="1931" y="1654"/>
                      <a:pt x="2033" y="1396"/>
                    </a:cubicBezTo>
                    <a:cubicBezTo>
                      <a:pt x="2156" y="1157"/>
                      <a:pt x="2156" y="899"/>
                      <a:pt x="2070" y="644"/>
                    </a:cubicBezTo>
                    <a:cubicBezTo>
                      <a:pt x="1968" y="406"/>
                      <a:pt x="1779" y="201"/>
                      <a:pt x="1541" y="98"/>
                    </a:cubicBezTo>
                    <a:cubicBezTo>
                      <a:pt x="1409" y="31"/>
                      <a:pt x="1268" y="0"/>
                      <a:pt x="112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4" name="Google Shape;324;p24"/>
              <p:cNvSpPr/>
              <p:nvPr/>
            </p:nvSpPr>
            <p:spPr>
              <a:xfrm>
                <a:off x="4229575" y="3378275"/>
                <a:ext cx="35150" cy="32800"/>
              </a:xfrm>
              <a:custGeom>
                <a:avLst/>
                <a:gdLst/>
                <a:ahLst/>
                <a:cxnLst/>
                <a:rect l="l" t="t" r="r" b="b"/>
                <a:pathLst>
                  <a:path w="1406" h="1312" extrusionOk="0">
                    <a:moveTo>
                      <a:pt x="740" y="129"/>
                    </a:moveTo>
                    <a:cubicBezTo>
                      <a:pt x="806" y="129"/>
                      <a:pt x="892" y="145"/>
                      <a:pt x="962" y="182"/>
                    </a:cubicBezTo>
                    <a:cubicBezTo>
                      <a:pt x="1081" y="231"/>
                      <a:pt x="1183" y="334"/>
                      <a:pt x="1216" y="474"/>
                    </a:cubicBezTo>
                    <a:cubicBezTo>
                      <a:pt x="1270" y="593"/>
                      <a:pt x="1270" y="745"/>
                      <a:pt x="1216" y="864"/>
                    </a:cubicBezTo>
                    <a:cubicBezTo>
                      <a:pt x="1129" y="1054"/>
                      <a:pt x="939" y="1169"/>
                      <a:pt x="743" y="1169"/>
                    </a:cubicBezTo>
                    <a:cubicBezTo>
                      <a:pt x="673" y="1169"/>
                      <a:pt x="602" y="1154"/>
                      <a:pt x="535" y="1122"/>
                    </a:cubicBezTo>
                    <a:cubicBezTo>
                      <a:pt x="276" y="1003"/>
                      <a:pt x="157" y="695"/>
                      <a:pt x="276" y="437"/>
                    </a:cubicBezTo>
                    <a:cubicBezTo>
                      <a:pt x="329" y="318"/>
                      <a:pt x="432" y="215"/>
                      <a:pt x="551" y="166"/>
                    </a:cubicBezTo>
                    <a:cubicBezTo>
                      <a:pt x="617" y="145"/>
                      <a:pt x="687" y="129"/>
                      <a:pt x="740" y="129"/>
                    </a:cubicBezTo>
                    <a:close/>
                    <a:moveTo>
                      <a:pt x="729" y="1"/>
                    </a:moveTo>
                    <a:cubicBezTo>
                      <a:pt x="655" y="1"/>
                      <a:pt x="582" y="14"/>
                      <a:pt x="514" y="42"/>
                    </a:cubicBezTo>
                    <a:cubicBezTo>
                      <a:pt x="346" y="112"/>
                      <a:pt x="227" y="231"/>
                      <a:pt x="140" y="387"/>
                    </a:cubicBezTo>
                    <a:cubicBezTo>
                      <a:pt x="1" y="712"/>
                      <a:pt x="140" y="1106"/>
                      <a:pt x="481" y="1241"/>
                    </a:cubicBezTo>
                    <a:cubicBezTo>
                      <a:pt x="567" y="1295"/>
                      <a:pt x="654" y="1311"/>
                      <a:pt x="740" y="1311"/>
                    </a:cubicBezTo>
                    <a:cubicBezTo>
                      <a:pt x="995" y="1311"/>
                      <a:pt x="1233" y="1155"/>
                      <a:pt x="1335" y="917"/>
                    </a:cubicBezTo>
                    <a:cubicBezTo>
                      <a:pt x="1405" y="761"/>
                      <a:pt x="1405" y="593"/>
                      <a:pt x="1356" y="420"/>
                    </a:cubicBezTo>
                    <a:cubicBezTo>
                      <a:pt x="1286" y="268"/>
                      <a:pt x="1167" y="129"/>
                      <a:pt x="1011" y="63"/>
                    </a:cubicBezTo>
                    <a:cubicBezTo>
                      <a:pt x="925" y="23"/>
                      <a:pt x="827" y="1"/>
                      <a:pt x="72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5" name="Google Shape;325;p24"/>
              <p:cNvSpPr/>
              <p:nvPr/>
            </p:nvSpPr>
            <p:spPr>
              <a:xfrm>
                <a:off x="4280500" y="3398875"/>
                <a:ext cx="14600" cy="27175"/>
              </a:xfrm>
              <a:custGeom>
                <a:avLst/>
                <a:gdLst/>
                <a:ahLst/>
                <a:cxnLst/>
                <a:rect l="l" t="t" r="r" b="b"/>
                <a:pathLst>
                  <a:path w="584" h="1087" extrusionOk="0">
                    <a:moveTo>
                      <a:pt x="519" y="0"/>
                    </a:moveTo>
                    <a:cubicBezTo>
                      <a:pt x="490" y="0"/>
                      <a:pt x="460" y="16"/>
                      <a:pt x="448" y="40"/>
                    </a:cubicBezTo>
                    <a:lnTo>
                      <a:pt x="17" y="1000"/>
                    </a:lnTo>
                    <a:cubicBezTo>
                      <a:pt x="0" y="1033"/>
                      <a:pt x="17" y="1066"/>
                      <a:pt x="54" y="1087"/>
                    </a:cubicBezTo>
                    <a:lnTo>
                      <a:pt x="87" y="1087"/>
                    </a:lnTo>
                    <a:cubicBezTo>
                      <a:pt x="103" y="1087"/>
                      <a:pt x="140" y="1066"/>
                      <a:pt x="140" y="1050"/>
                    </a:cubicBezTo>
                    <a:lnTo>
                      <a:pt x="567" y="93"/>
                    </a:lnTo>
                    <a:cubicBezTo>
                      <a:pt x="584" y="60"/>
                      <a:pt x="584" y="23"/>
                      <a:pt x="551" y="7"/>
                    </a:cubicBezTo>
                    <a:cubicBezTo>
                      <a:pt x="541" y="2"/>
                      <a:pt x="530" y="0"/>
                      <a:pt x="51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6" name="Google Shape;326;p24"/>
              <p:cNvSpPr/>
              <p:nvPr/>
            </p:nvSpPr>
            <p:spPr>
              <a:xfrm>
                <a:off x="4288200" y="3402250"/>
                <a:ext cx="14600" cy="27200"/>
              </a:xfrm>
              <a:custGeom>
                <a:avLst/>
                <a:gdLst/>
                <a:ahLst/>
                <a:cxnLst/>
                <a:rect l="l" t="t" r="r" b="b"/>
                <a:pathLst>
                  <a:path w="584" h="1088" extrusionOk="0">
                    <a:moveTo>
                      <a:pt x="505" y="1"/>
                    </a:moveTo>
                    <a:cubicBezTo>
                      <a:pt x="481" y="1"/>
                      <a:pt x="460" y="17"/>
                      <a:pt x="448" y="44"/>
                    </a:cubicBezTo>
                    <a:lnTo>
                      <a:pt x="17" y="1001"/>
                    </a:lnTo>
                    <a:cubicBezTo>
                      <a:pt x="0" y="1034"/>
                      <a:pt x="17" y="1071"/>
                      <a:pt x="54" y="1087"/>
                    </a:cubicBezTo>
                    <a:lnTo>
                      <a:pt x="70" y="1087"/>
                    </a:lnTo>
                    <a:cubicBezTo>
                      <a:pt x="103" y="1087"/>
                      <a:pt x="120" y="1071"/>
                      <a:pt x="140" y="1054"/>
                    </a:cubicBezTo>
                    <a:lnTo>
                      <a:pt x="567" y="94"/>
                    </a:lnTo>
                    <a:cubicBezTo>
                      <a:pt x="584" y="61"/>
                      <a:pt x="567" y="28"/>
                      <a:pt x="530" y="7"/>
                    </a:cubicBezTo>
                    <a:cubicBezTo>
                      <a:pt x="521" y="3"/>
                      <a:pt x="513" y="1"/>
                      <a:pt x="505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7" name="Google Shape;327;p24"/>
              <p:cNvSpPr/>
              <p:nvPr/>
            </p:nvSpPr>
            <p:spPr>
              <a:xfrm>
                <a:off x="4295475" y="3405750"/>
                <a:ext cx="14625" cy="27075"/>
              </a:xfrm>
              <a:custGeom>
                <a:avLst/>
                <a:gdLst/>
                <a:ahLst/>
                <a:cxnLst/>
                <a:rect l="l" t="t" r="r" b="b"/>
                <a:pathLst>
                  <a:path w="585" h="1083" extrusionOk="0">
                    <a:moveTo>
                      <a:pt x="504" y="0"/>
                    </a:moveTo>
                    <a:cubicBezTo>
                      <a:pt x="481" y="0"/>
                      <a:pt x="459" y="16"/>
                      <a:pt x="444" y="40"/>
                    </a:cubicBezTo>
                    <a:lnTo>
                      <a:pt x="17" y="980"/>
                    </a:lnTo>
                    <a:cubicBezTo>
                      <a:pt x="1" y="1017"/>
                      <a:pt x="17" y="1066"/>
                      <a:pt x="54" y="1083"/>
                    </a:cubicBezTo>
                    <a:lnTo>
                      <a:pt x="87" y="1083"/>
                    </a:lnTo>
                    <a:cubicBezTo>
                      <a:pt x="104" y="1083"/>
                      <a:pt x="136" y="1066"/>
                      <a:pt x="136" y="1050"/>
                    </a:cubicBezTo>
                    <a:lnTo>
                      <a:pt x="568" y="93"/>
                    </a:lnTo>
                    <a:cubicBezTo>
                      <a:pt x="584" y="56"/>
                      <a:pt x="568" y="23"/>
                      <a:pt x="531" y="7"/>
                    </a:cubicBezTo>
                    <a:cubicBezTo>
                      <a:pt x="522" y="3"/>
                      <a:pt x="513" y="0"/>
                      <a:pt x="50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8" name="Google Shape;328;p24"/>
              <p:cNvSpPr/>
              <p:nvPr/>
            </p:nvSpPr>
            <p:spPr>
              <a:xfrm>
                <a:off x="4211200" y="3374800"/>
                <a:ext cx="14200" cy="12750"/>
              </a:xfrm>
              <a:custGeom>
                <a:avLst/>
                <a:gdLst/>
                <a:ahLst/>
                <a:cxnLst/>
                <a:rect l="l" t="t" r="r" b="b"/>
                <a:pathLst>
                  <a:path w="568" h="510" extrusionOk="0">
                    <a:moveTo>
                      <a:pt x="276" y="132"/>
                    </a:moveTo>
                    <a:cubicBezTo>
                      <a:pt x="292" y="132"/>
                      <a:pt x="309" y="132"/>
                      <a:pt x="325" y="149"/>
                    </a:cubicBezTo>
                    <a:cubicBezTo>
                      <a:pt x="346" y="149"/>
                      <a:pt x="379" y="181"/>
                      <a:pt x="379" y="202"/>
                    </a:cubicBezTo>
                    <a:cubicBezTo>
                      <a:pt x="395" y="235"/>
                      <a:pt x="395" y="268"/>
                      <a:pt x="379" y="305"/>
                    </a:cubicBezTo>
                    <a:cubicBezTo>
                      <a:pt x="362" y="321"/>
                      <a:pt x="346" y="354"/>
                      <a:pt x="309" y="354"/>
                    </a:cubicBezTo>
                    <a:cubicBezTo>
                      <a:pt x="301" y="362"/>
                      <a:pt x="288" y="366"/>
                      <a:pt x="273" y="366"/>
                    </a:cubicBezTo>
                    <a:cubicBezTo>
                      <a:pt x="258" y="366"/>
                      <a:pt x="241" y="362"/>
                      <a:pt x="223" y="354"/>
                    </a:cubicBezTo>
                    <a:cubicBezTo>
                      <a:pt x="190" y="354"/>
                      <a:pt x="173" y="321"/>
                      <a:pt x="157" y="284"/>
                    </a:cubicBezTo>
                    <a:lnTo>
                      <a:pt x="157" y="202"/>
                    </a:lnTo>
                    <a:cubicBezTo>
                      <a:pt x="190" y="149"/>
                      <a:pt x="223" y="132"/>
                      <a:pt x="276" y="132"/>
                    </a:cubicBezTo>
                    <a:close/>
                    <a:moveTo>
                      <a:pt x="278" y="1"/>
                    </a:moveTo>
                    <a:cubicBezTo>
                      <a:pt x="246" y="1"/>
                      <a:pt x="216" y="5"/>
                      <a:pt x="190" y="13"/>
                    </a:cubicBezTo>
                    <a:cubicBezTo>
                      <a:pt x="120" y="30"/>
                      <a:pt x="71" y="79"/>
                      <a:pt x="38" y="149"/>
                    </a:cubicBezTo>
                    <a:cubicBezTo>
                      <a:pt x="17" y="202"/>
                      <a:pt x="1" y="268"/>
                      <a:pt x="38" y="337"/>
                    </a:cubicBezTo>
                    <a:cubicBezTo>
                      <a:pt x="54" y="407"/>
                      <a:pt x="103" y="457"/>
                      <a:pt x="173" y="473"/>
                    </a:cubicBezTo>
                    <a:cubicBezTo>
                      <a:pt x="206" y="489"/>
                      <a:pt x="243" y="510"/>
                      <a:pt x="276" y="510"/>
                    </a:cubicBezTo>
                    <a:cubicBezTo>
                      <a:pt x="309" y="510"/>
                      <a:pt x="325" y="489"/>
                      <a:pt x="362" y="489"/>
                    </a:cubicBezTo>
                    <a:cubicBezTo>
                      <a:pt x="428" y="457"/>
                      <a:pt x="481" y="424"/>
                      <a:pt x="498" y="354"/>
                    </a:cubicBezTo>
                    <a:cubicBezTo>
                      <a:pt x="567" y="235"/>
                      <a:pt x="498" y="79"/>
                      <a:pt x="379" y="13"/>
                    </a:cubicBezTo>
                    <a:cubicBezTo>
                      <a:pt x="344" y="5"/>
                      <a:pt x="310" y="1"/>
                      <a:pt x="278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9" name="Google Shape;329;p24"/>
              <p:cNvSpPr/>
              <p:nvPr/>
            </p:nvSpPr>
            <p:spPr>
              <a:xfrm>
                <a:off x="4195800" y="3396650"/>
                <a:ext cx="14200" cy="12675"/>
              </a:xfrm>
              <a:custGeom>
                <a:avLst/>
                <a:gdLst/>
                <a:ahLst/>
                <a:cxnLst/>
                <a:rect l="l" t="t" r="r" b="b"/>
                <a:pathLst>
                  <a:path w="568" h="507" extrusionOk="0">
                    <a:moveTo>
                      <a:pt x="292" y="129"/>
                    </a:moveTo>
                    <a:cubicBezTo>
                      <a:pt x="309" y="129"/>
                      <a:pt x="325" y="129"/>
                      <a:pt x="325" y="149"/>
                    </a:cubicBezTo>
                    <a:cubicBezTo>
                      <a:pt x="362" y="166"/>
                      <a:pt x="379" y="182"/>
                      <a:pt x="395" y="215"/>
                    </a:cubicBezTo>
                    <a:cubicBezTo>
                      <a:pt x="412" y="252"/>
                      <a:pt x="412" y="268"/>
                      <a:pt x="395" y="301"/>
                    </a:cubicBezTo>
                    <a:cubicBezTo>
                      <a:pt x="379" y="334"/>
                      <a:pt x="362" y="354"/>
                      <a:pt x="325" y="371"/>
                    </a:cubicBezTo>
                    <a:lnTo>
                      <a:pt x="243" y="371"/>
                    </a:lnTo>
                    <a:cubicBezTo>
                      <a:pt x="173" y="334"/>
                      <a:pt x="157" y="268"/>
                      <a:pt x="173" y="198"/>
                    </a:cubicBezTo>
                    <a:cubicBezTo>
                      <a:pt x="190" y="166"/>
                      <a:pt x="243" y="129"/>
                      <a:pt x="292" y="129"/>
                    </a:cubicBezTo>
                    <a:close/>
                    <a:moveTo>
                      <a:pt x="283" y="0"/>
                    </a:moveTo>
                    <a:cubicBezTo>
                      <a:pt x="183" y="0"/>
                      <a:pt x="90" y="59"/>
                      <a:pt x="54" y="149"/>
                    </a:cubicBezTo>
                    <a:cubicBezTo>
                      <a:pt x="1" y="285"/>
                      <a:pt x="54" y="420"/>
                      <a:pt x="190" y="490"/>
                    </a:cubicBezTo>
                    <a:cubicBezTo>
                      <a:pt x="206" y="506"/>
                      <a:pt x="260" y="506"/>
                      <a:pt x="292" y="506"/>
                    </a:cubicBezTo>
                    <a:cubicBezTo>
                      <a:pt x="309" y="506"/>
                      <a:pt x="346" y="506"/>
                      <a:pt x="379" y="490"/>
                    </a:cubicBezTo>
                    <a:cubicBezTo>
                      <a:pt x="448" y="474"/>
                      <a:pt x="498" y="420"/>
                      <a:pt x="514" y="354"/>
                    </a:cubicBezTo>
                    <a:cubicBezTo>
                      <a:pt x="568" y="231"/>
                      <a:pt x="514" y="79"/>
                      <a:pt x="395" y="26"/>
                    </a:cubicBezTo>
                    <a:cubicBezTo>
                      <a:pt x="358" y="8"/>
                      <a:pt x="320" y="0"/>
                      <a:pt x="28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0" name="Google Shape;330;p24"/>
              <p:cNvSpPr/>
              <p:nvPr/>
            </p:nvSpPr>
            <p:spPr>
              <a:xfrm>
                <a:off x="4218075" y="3348925"/>
                <a:ext cx="13700" cy="12450"/>
              </a:xfrm>
              <a:custGeom>
                <a:avLst/>
                <a:gdLst/>
                <a:ahLst/>
                <a:cxnLst/>
                <a:rect l="l" t="t" r="r" b="b"/>
                <a:pathLst>
                  <a:path w="548" h="498" extrusionOk="0">
                    <a:moveTo>
                      <a:pt x="309" y="141"/>
                    </a:moveTo>
                    <a:cubicBezTo>
                      <a:pt x="358" y="173"/>
                      <a:pt x="395" y="243"/>
                      <a:pt x="358" y="293"/>
                    </a:cubicBezTo>
                    <a:cubicBezTo>
                      <a:pt x="358" y="330"/>
                      <a:pt x="325" y="346"/>
                      <a:pt x="292" y="362"/>
                    </a:cubicBezTo>
                    <a:cubicBezTo>
                      <a:pt x="284" y="371"/>
                      <a:pt x="271" y="375"/>
                      <a:pt x="256" y="375"/>
                    </a:cubicBezTo>
                    <a:cubicBezTo>
                      <a:pt x="240" y="375"/>
                      <a:pt x="223" y="371"/>
                      <a:pt x="206" y="362"/>
                    </a:cubicBezTo>
                    <a:cubicBezTo>
                      <a:pt x="173" y="346"/>
                      <a:pt x="153" y="330"/>
                      <a:pt x="136" y="293"/>
                    </a:cubicBezTo>
                    <a:cubicBezTo>
                      <a:pt x="136" y="260"/>
                      <a:pt x="136" y="227"/>
                      <a:pt x="153" y="210"/>
                    </a:cubicBezTo>
                    <a:cubicBezTo>
                      <a:pt x="173" y="157"/>
                      <a:pt x="206" y="141"/>
                      <a:pt x="256" y="141"/>
                    </a:cubicBezTo>
                    <a:close/>
                    <a:moveTo>
                      <a:pt x="259" y="1"/>
                    </a:moveTo>
                    <a:cubicBezTo>
                      <a:pt x="165" y="1"/>
                      <a:pt x="69" y="53"/>
                      <a:pt x="17" y="141"/>
                    </a:cubicBezTo>
                    <a:cubicBezTo>
                      <a:pt x="1" y="210"/>
                      <a:pt x="1" y="276"/>
                      <a:pt x="17" y="346"/>
                    </a:cubicBezTo>
                    <a:cubicBezTo>
                      <a:pt x="34" y="395"/>
                      <a:pt x="87" y="449"/>
                      <a:pt x="153" y="481"/>
                    </a:cubicBezTo>
                    <a:cubicBezTo>
                      <a:pt x="190" y="498"/>
                      <a:pt x="223" y="498"/>
                      <a:pt x="256" y="498"/>
                    </a:cubicBezTo>
                    <a:cubicBezTo>
                      <a:pt x="358" y="498"/>
                      <a:pt x="444" y="449"/>
                      <a:pt x="481" y="362"/>
                    </a:cubicBezTo>
                    <a:cubicBezTo>
                      <a:pt x="547" y="227"/>
                      <a:pt x="481" y="71"/>
                      <a:pt x="358" y="22"/>
                    </a:cubicBezTo>
                    <a:cubicBezTo>
                      <a:pt x="327" y="8"/>
                      <a:pt x="293" y="1"/>
                      <a:pt x="25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  <p:grpSp>
        <p:nvGrpSpPr>
          <p:cNvPr id="331" name="Google Shape;331;p24"/>
          <p:cNvGrpSpPr/>
          <p:nvPr/>
        </p:nvGrpSpPr>
        <p:grpSpPr>
          <a:xfrm rot="-1061850">
            <a:off x="729777" y="4499915"/>
            <a:ext cx="1531143" cy="1710531"/>
            <a:chOff x="237700" y="1732475"/>
            <a:chExt cx="314100" cy="350900"/>
          </a:xfrm>
        </p:grpSpPr>
        <p:sp>
          <p:nvSpPr>
            <p:cNvPr id="332" name="Google Shape;332;p24"/>
            <p:cNvSpPr/>
            <p:nvPr/>
          </p:nvSpPr>
          <p:spPr>
            <a:xfrm>
              <a:off x="237700" y="1732500"/>
              <a:ext cx="314050" cy="350875"/>
            </a:xfrm>
            <a:custGeom>
              <a:avLst/>
              <a:gdLst/>
              <a:ahLst/>
              <a:cxnLst/>
              <a:rect l="l" t="t" r="r" b="b"/>
              <a:pathLst>
                <a:path w="12562" h="14035" extrusionOk="0">
                  <a:moveTo>
                    <a:pt x="5810" y="1469"/>
                  </a:moveTo>
                  <a:cubicBezTo>
                    <a:pt x="6087" y="1469"/>
                    <a:pt x="6365" y="1546"/>
                    <a:pt x="6603" y="1716"/>
                  </a:cubicBezTo>
                  <a:cubicBezTo>
                    <a:pt x="6846" y="1889"/>
                    <a:pt x="7014" y="2127"/>
                    <a:pt x="7100" y="2369"/>
                  </a:cubicBezTo>
                  <a:cubicBezTo>
                    <a:pt x="7014" y="2574"/>
                    <a:pt x="6948" y="2780"/>
                    <a:pt x="6878" y="2985"/>
                  </a:cubicBezTo>
                  <a:cubicBezTo>
                    <a:pt x="6792" y="3276"/>
                    <a:pt x="6706" y="3564"/>
                    <a:pt x="6640" y="3872"/>
                  </a:cubicBezTo>
                  <a:cubicBezTo>
                    <a:pt x="6603" y="3855"/>
                    <a:pt x="6554" y="3839"/>
                    <a:pt x="6517" y="3822"/>
                  </a:cubicBezTo>
                  <a:cubicBezTo>
                    <a:pt x="6657" y="3650"/>
                    <a:pt x="6759" y="3428"/>
                    <a:pt x="6776" y="3153"/>
                  </a:cubicBezTo>
                  <a:cubicBezTo>
                    <a:pt x="6833" y="2394"/>
                    <a:pt x="6288" y="1867"/>
                    <a:pt x="5745" y="1867"/>
                  </a:cubicBezTo>
                  <a:cubicBezTo>
                    <a:pt x="5469" y="1867"/>
                    <a:pt x="5193" y="2004"/>
                    <a:pt x="4998" y="2316"/>
                  </a:cubicBezTo>
                  <a:cubicBezTo>
                    <a:pt x="4739" y="2710"/>
                    <a:pt x="4858" y="3379"/>
                    <a:pt x="5371" y="3445"/>
                  </a:cubicBezTo>
                  <a:cubicBezTo>
                    <a:pt x="5388" y="3449"/>
                    <a:pt x="5409" y="3451"/>
                    <a:pt x="5433" y="3451"/>
                  </a:cubicBezTo>
                  <a:cubicBezTo>
                    <a:pt x="5632" y="3451"/>
                    <a:pt x="6027" y="3318"/>
                    <a:pt x="5782" y="3120"/>
                  </a:cubicBezTo>
                  <a:cubicBezTo>
                    <a:pt x="5753" y="3095"/>
                    <a:pt x="5721" y="3087"/>
                    <a:pt x="5686" y="3087"/>
                  </a:cubicBezTo>
                  <a:cubicBezTo>
                    <a:pt x="5611" y="3087"/>
                    <a:pt x="5526" y="3129"/>
                    <a:pt x="5446" y="3129"/>
                  </a:cubicBezTo>
                  <a:cubicBezTo>
                    <a:pt x="5415" y="3129"/>
                    <a:pt x="5384" y="3122"/>
                    <a:pt x="5355" y="3104"/>
                  </a:cubicBezTo>
                  <a:cubicBezTo>
                    <a:pt x="4947" y="2845"/>
                    <a:pt x="5357" y="2343"/>
                    <a:pt x="5742" y="2343"/>
                  </a:cubicBezTo>
                  <a:cubicBezTo>
                    <a:pt x="5790" y="2343"/>
                    <a:pt x="5839" y="2351"/>
                    <a:pt x="5885" y="2369"/>
                  </a:cubicBezTo>
                  <a:cubicBezTo>
                    <a:pt x="6193" y="2472"/>
                    <a:pt x="6365" y="2796"/>
                    <a:pt x="6332" y="3104"/>
                  </a:cubicBezTo>
                  <a:cubicBezTo>
                    <a:pt x="6312" y="3379"/>
                    <a:pt x="6143" y="3584"/>
                    <a:pt x="5922" y="3703"/>
                  </a:cubicBezTo>
                  <a:cubicBezTo>
                    <a:pt x="5782" y="3687"/>
                    <a:pt x="5630" y="3666"/>
                    <a:pt x="5490" y="3666"/>
                  </a:cubicBezTo>
                  <a:cubicBezTo>
                    <a:pt x="5285" y="3666"/>
                    <a:pt x="5100" y="3687"/>
                    <a:pt x="4912" y="3720"/>
                  </a:cubicBezTo>
                  <a:cubicBezTo>
                    <a:pt x="4620" y="3584"/>
                    <a:pt x="4431" y="3293"/>
                    <a:pt x="4382" y="2948"/>
                  </a:cubicBezTo>
                  <a:cubicBezTo>
                    <a:pt x="4255" y="2079"/>
                    <a:pt x="5030" y="1469"/>
                    <a:pt x="5810" y="1469"/>
                  </a:cubicBezTo>
                  <a:close/>
                  <a:moveTo>
                    <a:pt x="9890" y="8370"/>
                  </a:moveTo>
                  <a:cubicBezTo>
                    <a:pt x="10079" y="8370"/>
                    <a:pt x="10271" y="8504"/>
                    <a:pt x="10315" y="8696"/>
                  </a:cubicBezTo>
                  <a:cubicBezTo>
                    <a:pt x="10352" y="8852"/>
                    <a:pt x="10266" y="9004"/>
                    <a:pt x="10147" y="9074"/>
                  </a:cubicBezTo>
                  <a:cubicBezTo>
                    <a:pt x="10083" y="9114"/>
                    <a:pt x="10008" y="9133"/>
                    <a:pt x="9933" y="9133"/>
                  </a:cubicBezTo>
                  <a:cubicBezTo>
                    <a:pt x="9783" y="9133"/>
                    <a:pt x="9632" y="9059"/>
                    <a:pt x="9564" y="8922"/>
                  </a:cubicBezTo>
                  <a:cubicBezTo>
                    <a:pt x="9514" y="8836"/>
                    <a:pt x="9514" y="8750"/>
                    <a:pt x="9531" y="8647"/>
                  </a:cubicBezTo>
                  <a:lnTo>
                    <a:pt x="9531" y="8647"/>
                  </a:lnTo>
                  <a:cubicBezTo>
                    <a:pt x="9580" y="8664"/>
                    <a:pt x="9617" y="8680"/>
                    <a:pt x="9650" y="8696"/>
                  </a:cubicBezTo>
                  <a:cubicBezTo>
                    <a:pt x="9662" y="8711"/>
                    <a:pt x="9692" y="8724"/>
                    <a:pt x="9715" y="8724"/>
                  </a:cubicBezTo>
                  <a:cubicBezTo>
                    <a:pt x="9724" y="8724"/>
                    <a:pt x="9732" y="8722"/>
                    <a:pt x="9736" y="8717"/>
                  </a:cubicBezTo>
                  <a:cubicBezTo>
                    <a:pt x="9753" y="8696"/>
                    <a:pt x="9736" y="8664"/>
                    <a:pt x="9720" y="8647"/>
                  </a:cubicBezTo>
                  <a:cubicBezTo>
                    <a:pt x="9666" y="8614"/>
                    <a:pt x="9634" y="8577"/>
                    <a:pt x="9580" y="8545"/>
                  </a:cubicBezTo>
                  <a:cubicBezTo>
                    <a:pt x="9597" y="8512"/>
                    <a:pt x="9617" y="8491"/>
                    <a:pt x="9634" y="8475"/>
                  </a:cubicBezTo>
                  <a:cubicBezTo>
                    <a:pt x="9706" y="8402"/>
                    <a:pt x="9798" y="8370"/>
                    <a:pt x="9890" y="8370"/>
                  </a:cubicBezTo>
                  <a:close/>
                  <a:moveTo>
                    <a:pt x="10814" y="9046"/>
                  </a:moveTo>
                  <a:cubicBezTo>
                    <a:pt x="10941" y="9046"/>
                    <a:pt x="11054" y="9167"/>
                    <a:pt x="11054" y="9296"/>
                  </a:cubicBezTo>
                  <a:cubicBezTo>
                    <a:pt x="11034" y="9382"/>
                    <a:pt x="10984" y="9468"/>
                    <a:pt x="10898" y="9501"/>
                  </a:cubicBezTo>
                  <a:cubicBezTo>
                    <a:pt x="10875" y="9514"/>
                    <a:pt x="10848" y="9520"/>
                    <a:pt x="10820" y="9520"/>
                  </a:cubicBezTo>
                  <a:cubicBezTo>
                    <a:pt x="10764" y="9520"/>
                    <a:pt x="10704" y="9496"/>
                    <a:pt x="10660" y="9452"/>
                  </a:cubicBezTo>
                  <a:cubicBezTo>
                    <a:pt x="10644" y="9436"/>
                    <a:pt x="10623" y="9399"/>
                    <a:pt x="10607" y="9382"/>
                  </a:cubicBezTo>
                  <a:cubicBezTo>
                    <a:pt x="10574" y="9280"/>
                    <a:pt x="10574" y="9160"/>
                    <a:pt x="10660" y="9107"/>
                  </a:cubicBezTo>
                  <a:cubicBezTo>
                    <a:pt x="10693" y="9074"/>
                    <a:pt x="10709" y="9074"/>
                    <a:pt x="10746" y="9058"/>
                  </a:cubicBezTo>
                  <a:cubicBezTo>
                    <a:pt x="10769" y="9050"/>
                    <a:pt x="10792" y="9046"/>
                    <a:pt x="10814" y="9046"/>
                  </a:cubicBezTo>
                  <a:close/>
                  <a:moveTo>
                    <a:pt x="1837" y="6627"/>
                  </a:moveTo>
                  <a:cubicBezTo>
                    <a:pt x="1846" y="6627"/>
                    <a:pt x="1856" y="6627"/>
                    <a:pt x="1865" y="6627"/>
                  </a:cubicBezTo>
                  <a:lnTo>
                    <a:pt x="1865" y="6643"/>
                  </a:lnTo>
                  <a:cubicBezTo>
                    <a:pt x="1898" y="6783"/>
                    <a:pt x="1918" y="7038"/>
                    <a:pt x="1865" y="7432"/>
                  </a:cubicBezTo>
                  <a:cubicBezTo>
                    <a:pt x="1627" y="7432"/>
                    <a:pt x="1368" y="7465"/>
                    <a:pt x="1130" y="7518"/>
                  </a:cubicBezTo>
                  <a:cubicBezTo>
                    <a:pt x="1044" y="7518"/>
                    <a:pt x="892" y="7551"/>
                    <a:pt x="892" y="7604"/>
                  </a:cubicBezTo>
                  <a:cubicBezTo>
                    <a:pt x="908" y="7621"/>
                    <a:pt x="974" y="7621"/>
                    <a:pt x="1011" y="7621"/>
                  </a:cubicBezTo>
                  <a:cubicBezTo>
                    <a:pt x="1179" y="7604"/>
                    <a:pt x="1351" y="7588"/>
                    <a:pt x="1508" y="7588"/>
                  </a:cubicBezTo>
                  <a:cubicBezTo>
                    <a:pt x="1627" y="7567"/>
                    <a:pt x="1746" y="7567"/>
                    <a:pt x="1848" y="7567"/>
                  </a:cubicBezTo>
                  <a:cubicBezTo>
                    <a:pt x="1832" y="7670"/>
                    <a:pt x="1815" y="7793"/>
                    <a:pt x="1779" y="7929"/>
                  </a:cubicBezTo>
                  <a:cubicBezTo>
                    <a:pt x="1573" y="7978"/>
                    <a:pt x="1368" y="8048"/>
                    <a:pt x="1179" y="8150"/>
                  </a:cubicBezTo>
                  <a:cubicBezTo>
                    <a:pt x="1146" y="8183"/>
                    <a:pt x="1060" y="8253"/>
                    <a:pt x="1076" y="8269"/>
                  </a:cubicBezTo>
                  <a:cubicBezTo>
                    <a:pt x="1085" y="8278"/>
                    <a:pt x="1098" y="8282"/>
                    <a:pt x="1113" y="8282"/>
                  </a:cubicBezTo>
                  <a:cubicBezTo>
                    <a:pt x="1160" y="8282"/>
                    <a:pt x="1228" y="8245"/>
                    <a:pt x="1265" y="8220"/>
                  </a:cubicBezTo>
                  <a:cubicBezTo>
                    <a:pt x="1421" y="8167"/>
                    <a:pt x="1573" y="8117"/>
                    <a:pt x="1729" y="8081"/>
                  </a:cubicBezTo>
                  <a:lnTo>
                    <a:pt x="1729" y="8081"/>
                  </a:lnTo>
                  <a:cubicBezTo>
                    <a:pt x="1713" y="8134"/>
                    <a:pt x="1692" y="8183"/>
                    <a:pt x="1676" y="8253"/>
                  </a:cubicBezTo>
                  <a:cubicBezTo>
                    <a:pt x="1643" y="8356"/>
                    <a:pt x="1610" y="8442"/>
                    <a:pt x="1573" y="8545"/>
                  </a:cubicBezTo>
                  <a:cubicBezTo>
                    <a:pt x="1487" y="8594"/>
                    <a:pt x="1421" y="8647"/>
                    <a:pt x="1351" y="8696"/>
                  </a:cubicBezTo>
                  <a:cubicBezTo>
                    <a:pt x="1335" y="8717"/>
                    <a:pt x="1302" y="8766"/>
                    <a:pt x="1319" y="8783"/>
                  </a:cubicBezTo>
                  <a:cubicBezTo>
                    <a:pt x="1322" y="8786"/>
                    <a:pt x="1327" y="8787"/>
                    <a:pt x="1332" y="8787"/>
                  </a:cubicBezTo>
                  <a:cubicBezTo>
                    <a:pt x="1354" y="8787"/>
                    <a:pt x="1392" y="8766"/>
                    <a:pt x="1421" y="8766"/>
                  </a:cubicBezTo>
                  <a:cubicBezTo>
                    <a:pt x="1454" y="8750"/>
                    <a:pt x="1487" y="8733"/>
                    <a:pt x="1508" y="8717"/>
                  </a:cubicBezTo>
                  <a:lnTo>
                    <a:pt x="1508" y="8717"/>
                  </a:lnTo>
                  <a:cubicBezTo>
                    <a:pt x="1282" y="9247"/>
                    <a:pt x="1060" y="9518"/>
                    <a:pt x="908" y="9674"/>
                  </a:cubicBezTo>
                  <a:lnTo>
                    <a:pt x="892" y="9674"/>
                  </a:lnTo>
                  <a:cubicBezTo>
                    <a:pt x="719" y="9555"/>
                    <a:pt x="584" y="9366"/>
                    <a:pt x="497" y="9128"/>
                  </a:cubicBezTo>
                  <a:cubicBezTo>
                    <a:pt x="428" y="8922"/>
                    <a:pt x="395" y="8680"/>
                    <a:pt x="411" y="8442"/>
                  </a:cubicBezTo>
                  <a:cubicBezTo>
                    <a:pt x="411" y="8253"/>
                    <a:pt x="444" y="8064"/>
                    <a:pt x="514" y="7875"/>
                  </a:cubicBezTo>
                  <a:cubicBezTo>
                    <a:pt x="530" y="7810"/>
                    <a:pt x="547" y="7740"/>
                    <a:pt x="584" y="7670"/>
                  </a:cubicBezTo>
                  <a:cubicBezTo>
                    <a:pt x="850" y="7049"/>
                    <a:pt x="1349" y="6627"/>
                    <a:pt x="1837" y="6627"/>
                  </a:cubicBezTo>
                  <a:close/>
                  <a:moveTo>
                    <a:pt x="9913" y="9444"/>
                  </a:moveTo>
                  <a:cubicBezTo>
                    <a:pt x="10218" y="9444"/>
                    <a:pt x="10447" y="9831"/>
                    <a:pt x="10352" y="10101"/>
                  </a:cubicBezTo>
                  <a:cubicBezTo>
                    <a:pt x="10295" y="10283"/>
                    <a:pt x="10098" y="10410"/>
                    <a:pt x="9906" y="10410"/>
                  </a:cubicBezTo>
                  <a:cubicBezTo>
                    <a:pt x="9865" y="10410"/>
                    <a:pt x="9825" y="10405"/>
                    <a:pt x="9785" y="10392"/>
                  </a:cubicBezTo>
                  <a:cubicBezTo>
                    <a:pt x="9547" y="10322"/>
                    <a:pt x="9391" y="10068"/>
                    <a:pt x="9461" y="9846"/>
                  </a:cubicBezTo>
                  <a:cubicBezTo>
                    <a:pt x="9478" y="9744"/>
                    <a:pt x="9531" y="9641"/>
                    <a:pt x="9617" y="9571"/>
                  </a:cubicBezTo>
                  <a:cubicBezTo>
                    <a:pt x="9666" y="9518"/>
                    <a:pt x="9753" y="9468"/>
                    <a:pt x="9839" y="9452"/>
                  </a:cubicBezTo>
                  <a:cubicBezTo>
                    <a:pt x="9864" y="9447"/>
                    <a:pt x="9889" y="9444"/>
                    <a:pt x="9913" y="9444"/>
                  </a:cubicBezTo>
                  <a:close/>
                  <a:moveTo>
                    <a:pt x="9111" y="0"/>
                  </a:moveTo>
                  <a:cubicBezTo>
                    <a:pt x="9053" y="0"/>
                    <a:pt x="8993" y="8"/>
                    <a:pt x="8931" y="24"/>
                  </a:cubicBezTo>
                  <a:cubicBezTo>
                    <a:pt x="8726" y="74"/>
                    <a:pt x="8537" y="160"/>
                    <a:pt x="8385" y="316"/>
                  </a:cubicBezTo>
                  <a:cubicBezTo>
                    <a:pt x="8180" y="521"/>
                    <a:pt x="7991" y="743"/>
                    <a:pt x="7835" y="997"/>
                  </a:cubicBezTo>
                  <a:cubicBezTo>
                    <a:pt x="7667" y="1256"/>
                    <a:pt x="7511" y="1531"/>
                    <a:pt x="7359" y="1802"/>
                  </a:cubicBezTo>
                  <a:cubicBezTo>
                    <a:pt x="7015" y="1263"/>
                    <a:pt x="6393" y="946"/>
                    <a:pt x="5748" y="946"/>
                  </a:cubicBezTo>
                  <a:cubicBezTo>
                    <a:pt x="5431" y="946"/>
                    <a:pt x="5108" y="1023"/>
                    <a:pt x="4809" y="1186"/>
                  </a:cubicBezTo>
                  <a:cubicBezTo>
                    <a:pt x="4345" y="1445"/>
                    <a:pt x="4020" y="1905"/>
                    <a:pt x="3901" y="2402"/>
                  </a:cubicBezTo>
                  <a:cubicBezTo>
                    <a:pt x="3848" y="2283"/>
                    <a:pt x="3815" y="2164"/>
                    <a:pt x="3766" y="2024"/>
                  </a:cubicBezTo>
                  <a:cubicBezTo>
                    <a:pt x="3610" y="1634"/>
                    <a:pt x="3421" y="1256"/>
                    <a:pt x="3183" y="895"/>
                  </a:cubicBezTo>
                  <a:cubicBezTo>
                    <a:pt x="3010" y="624"/>
                    <a:pt x="2789" y="402"/>
                    <a:pt x="2514" y="230"/>
                  </a:cubicBezTo>
                  <a:cubicBezTo>
                    <a:pt x="2381" y="162"/>
                    <a:pt x="2236" y="117"/>
                    <a:pt x="2080" y="117"/>
                  </a:cubicBezTo>
                  <a:cubicBezTo>
                    <a:pt x="2037" y="117"/>
                    <a:pt x="1995" y="120"/>
                    <a:pt x="1951" y="127"/>
                  </a:cubicBezTo>
                  <a:cubicBezTo>
                    <a:pt x="1729" y="160"/>
                    <a:pt x="1557" y="246"/>
                    <a:pt x="1438" y="451"/>
                  </a:cubicBezTo>
                  <a:cubicBezTo>
                    <a:pt x="1368" y="607"/>
                    <a:pt x="1319" y="759"/>
                    <a:pt x="1302" y="932"/>
                  </a:cubicBezTo>
                  <a:cubicBezTo>
                    <a:pt x="1282" y="1170"/>
                    <a:pt x="1319" y="1408"/>
                    <a:pt x="1368" y="1650"/>
                  </a:cubicBezTo>
                  <a:cubicBezTo>
                    <a:pt x="1438" y="1991"/>
                    <a:pt x="1573" y="2299"/>
                    <a:pt x="1729" y="2624"/>
                  </a:cubicBezTo>
                  <a:cubicBezTo>
                    <a:pt x="1832" y="2866"/>
                    <a:pt x="1935" y="3104"/>
                    <a:pt x="2054" y="3342"/>
                  </a:cubicBezTo>
                  <a:lnTo>
                    <a:pt x="2021" y="3342"/>
                  </a:lnTo>
                  <a:cubicBezTo>
                    <a:pt x="1627" y="3342"/>
                    <a:pt x="1302" y="3666"/>
                    <a:pt x="1302" y="4061"/>
                  </a:cubicBezTo>
                  <a:cubicBezTo>
                    <a:pt x="1302" y="4455"/>
                    <a:pt x="1627" y="4779"/>
                    <a:pt x="2021" y="4779"/>
                  </a:cubicBezTo>
                  <a:cubicBezTo>
                    <a:pt x="2156" y="4779"/>
                    <a:pt x="2292" y="4746"/>
                    <a:pt x="2411" y="4660"/>
                  </a:cubicBezTo>
                  <a:cubicBezTo>
                    <a:pt x="2534" y="4763"/>
                    <a:pt x="2653" y="4882"/>
                    <a:pt x="2772" y="5021"/>
                  </a:cubicBezTo>
                  <a:cubicBezTo>
                    <a:pt x="2756" y="5038"/>
                    <a:pt x="2739" y="5054"/>
                    <a:pt x="2719" y="5071"/>
                  </a:cubicBezTo>
                  <a:cubicBezTo>
                    <a:pt x="2448" y="5206"/>
                    <a:pt x="2123" y="5535"/>
                    <a:pt x="1815" y="6011"/>
                  </a:cubicBezTo>
                  <a:cubicBezTo>
                    <a:pt x="1762" y="6081"/>
                    <a:pt x="1713" y="6167"/>
                    <a:pt x="1659" y="6253"/>
                  </a:cubicBezTo>
                  <a:cubicBezTo>
                    <a:pt x="1076" y="6335"/>
                    <a:pt x="514" y="6816"/>
                    <a:pt x="222" y="7534"/>
                  </a:cubicBezTo>
                  <a:cubicBezTo>
                    <a:pt x="189" y="7604"/>
                    <a:pt x="153" y="7670"/>
                    <a:pt x="136" y="7756"/>
                  </a:cubicBezTo>
                  <a:cubicBezTo>
                    <a:pt x="70" y="7978"/>
                    <a:pt x="17" y="8204"/>
                    <a:pt x="17" y="8425"/>
                  </a:cubicBezTo>
                  <a:cubicBezTo>
                    <a:pt x="1" y="8717"/>
                    <a:pt x="33" y="9004"/>
                    <a:pt x="120" y="9247"/>
                  </a:cubicBezTo>
                  <a:cubicBezTo>
                    <a:pt x="206" y="9485"/>
                    <a:pt x="341" y="9707"/>
                    <a:pt x="514" y="9863"/>
                  </a:cubicBezTo>
                  <a:cubicBezTo>
                    <a:pt x="497" y="9965"/>
                    <a:pt x="497" y="10051"/>
                    <a:pt x="497" y="10154"/>
                  </a:cubicBezTo>
                  <a:cubicBezTo>
                    <a:pt x="460" y="10992"/>
                    <a:pt x="616" y="11591"/>
                    <a:pt x="994" y="11710"/>
                  </a:cubicBezTo>
                  <a:cubicBezTo>
                    <a:pt x="1036" y="11724"/>
                    <a:pt x="1079" y="11730"/>
                    <a:pt x="1124" y="11730"/>
                  </a:cubicBezTo>
                  <a:cubicBezTo>
                    <a:pt x="1646" y="11730"/>
                    <a:pt x="2354" y="10846"/>
                    <a:pt x="2891" y="9571"/>
                  </a:cubicBezTo>
                  <a:cubicBezTo>
                    <a:pt x="2961" y="9657"/>
                    <a:pt x="3027" y="9744"/>
                    <a:pt x="3080" y="9826"/>
                  </a:cubicBezTo>
                  <a:cubicBezTo>
                    <a:pt x="2961" y="10015"/>
                    <a:pt x="2891" y="10220"/>
                    <a:pt x="2875" y="10425"/>
                  </a:cubicBezTo>
                  <a:cubicBezTo>
                    <a:pt x="2616" y="10598"/>
                    <a:pt x="2411" y="10803"/>
                    <a:pt x="2259" y="11078"/>
                  </a:cubicBezTo>
                  <a:cubicBezTo>
                    <a:pt x="2086" y="11419"/>
                    <a:pt x="1951" y="11776"/>
                    <a:pt x="1967" y="12187"/>
                  </a:cubicBezTo>
                  <a:cubicBezTo>
                    <a:pt x="1984" y="12581"/>
                    <a:pt x="2275" y="12959"/>
                    <a:pt x="2653" y="13045"/>
                  </a:cubicBezTo>
                  <a:cubicBezTo>
                    <a:pt x="2680" y="13048"/>
                    <a:pt x="2707" y="13049"/>
                    <a:pt x="2733" y="13049"/>
                  </a:cubicBezTo>
                  <a:cubicBezTo>
                    <a:pt x="2859" y="13049"/>
                    <a:pt x="2985" y="13019"/>
                    <a:pt x="3097" y="12975"/>
                  </a:cubicBezTo>
                  <a:cubicBezTo>
                    <a:pt x="3183" y="12942"/>
                    <a:pt x="3269" y="12905"/>
                    <a:pt x="3335" y="12856"/>
                  </a:cubicBezTo>
                  <a:lnTo>
                    <a:pt x="3335" y="12856"/>
                  </a:lnTo>
                  <a:cubicBezTo>
                    <a:pt x="3302" y="13336"/>
                    <a:pt x="3318" y="13726"/>
                    <a:pt x="3318" y="13899"/>
                  </a:cubicBezTo>
                  <a:cubicBezTo>
                    <a:pt x="3318" y="13899"/>
                    <a:pt x="3335" y="14034"/>
                    <a:pt x="3474" y="14034"/>
                  </a:cubicBezTo>
                  <a:lnTo>
                    <a:pt x="7921" y="14034"/>
                  </a:lnTo>
                  <a:cubicBezTo>
                    <a:pt x="8057" y="14034"/>
                    <a:pt x="8077" y="13899"/>
                    <a:pt x="8077" y="13899"/>
                  </a:cubicBezTo>
                  <a:cubicBezTo>
                    <a:pt x="8077" y="13747"/>
                    <a:pt x="8094" y="13418"/>
                    <a:pt x="8057" y="13008"/>
                  </a:cubicBezTo>
                  <a:lnTo>
                    <a:pt x="8057" y="13008"/>
                  </a:lnTo>
                  <a:cubicBezTo>
                    <a:pt x="8148" y="13035"/>
                    <a:pt x="8236" y="13051"/>
                    <a:pt x="8331" y="13051"/>
                  </a:cubicBezTo>
                  <a:cubicBezTo>
                    <a:pt x="8364" y="13051"/>
                    <a:pt x="8399" y="13049"/>
                    <a:pt x="8435" y="13045"/>
                  </a:cubicBezTo>
                  <a:cubicBezTo>
                    <a:pt x="8726" y="12975"/>
                    <a:pt x="8981" y="12737"/>
                    <a:pt x="9083" y="12445"/>
                  </a:cubicBezTo>
                  <a:cubicBezTo>
                    <a:pt x="9173" y="12457"/>
                    <a:pt x="9262" y="12462"/>
                    <a:pt x="9351" y="12462"/>
                  </a:cubicBezTo>
                  <a:cubicBezTo>
                    <a:pt x="10991" y="12462"/>
                    <a:pt x="12562" y="10583"/>
                    <a:pt x="11362" y="8733"/>
                  </a:cubicBezTo>
                  <a:cubicBezTo>
                    <a:pt x="10919" y="8031"/>
                    <a:pt x="10279" y="7744"/>
                    <a:pt x="9630" y="7744"/>
                  </a:cubicBezTo>
                  <a:cubicBezTo>
                    <a:pt x="9425" y="7744"/>
                    <a:pt x="9219" y="7773"/>
                    <a:pt x="9018" y="7826"/>
                  </a:cubicBezTo>
                  <a:cubicBezTo>
                    <a:pt x="8948" y="7810"/>
                    <a:pt x="8899" y="7810"/>
                    <a:pt x="8845" y="7810"/>
                  </a:cubicBezTo>
                  <a:cubicBezTo>
                    <a:pt x="8862" y="7723"/>
                    <a:pt x="8862" y="7637"/>
                    <a:pt x="8878" y="7551"/>
                  </a:cubicBezTo>
                  <a:cubicBezTo>
                    <a:pt x="8949" y="7546"/>
                    <a:pt x="9020" y="7544"/>
                    <a:pt x="9090" y="7544"/>
                  </a:cubicBezTo>
                  <a:cubicBezTo>
                    <a:pt x="9260" y="7544"/>
                    <a:pt x="9428" y="7556"/>
                    <a:pt x="9597" y="7567"/>
                  </a:cubicBezTo>
                  <a:cubicBezTo>
                    <a:pt x="9753" y="7588"/>
                    <a:pt x="9925" y="7604"/>
                    <a:pt x="10077" y="7621"/>
                  </a:cubicBezTo>
                  <a:cubicBezTo>
                    <a:pt x="10099" y="7621"/>
                    <a:pt x="10145" y="7628"/>
                    <a:pt x="10173" y="7628"/>
                  </a:cubicBezTo>
                  <a:cubicBezTo>
                    <a:pt x="10187" y="7628"/>
                    <a:pt x="10196" y="7626"/>
                    <a:pt x="10196" y="7621"/>
                  </a:cubicBezTo>
                  <a:cubicBezTo>
                    <a:pt x="10213" y="7567"/>
                    <a:pt x="10044" y="7534"/>
                    <a:pt x="9974" y="7518"/>
                  </a:cubicBezTo>
                  <a:cubicBezTo>
                    <a:pt x="9664" y="7457"/>
                    <a:pt x="9350" y="7412"/>
                    <a:pt x="9039" y="7412"/>
                  </a:cubicBezTo>
                  <a:cubicBezTo>
                    <a:pt x="8992" y="7412"/>
                    <a:pt x="8945" y="7413"/>
                    <a:pt x="8899" y="7415"/>
                  </a:cubicBezTo>
                  <a:cubicBezTo>
                    <a:pt x="8915" y="7313"/>
                    <a:pt x="8915" y="7210"/>
                    <a:pt x="8915" y="7107"/>
                  </a:cubicBezTo>
                  <a:cubicBezTo>
                    <a:pt x="8915" y="6319"/>
                    <a:pt x="8640" y="5600"/>
                    <a:pt x="8213" y="5021"/>
                  </a:cubicBezTo>
                  <a:cubicBezTo>
                    <a:pt x="8315" y="4882"/>
                    <a:pt x="8451" y="4763"/>
                    <a:pt x="8554" y="4660"/>
                  </a:cubicBezTo>
                  <a:cubicBezTo>
                    <a:pt x="8673" y="4746"/>
                    <a:pt x="8812" y="4779"/>
                    <a:pt x="8948" y="4779"/>
                  </a:cubicBezTo>
                  <a:cubicBezTo>
                    <a:pt x="9358" y="4779"/>
                    <a:pt x="9666" y="4455"/>
                    <a:pt x="9666" y="4061"/>
                  </a:cubicBezTo>
                  <a:cubicBezTo>
                    <a:pt x="9666" y="3720"/>
                    <a:pt x="9428" y="3412"/>
                    <a:pt x="9083" y="3359"/>
                  </a:cubicBezTo>
                  <a:cubicBezTo>
                    <a:pt x="9170" y="3190"/>
                    <a:pt x="9272" y="3018"/>
                    <a:pt x="9342" y="2829"/>
                  </a:cubicBezTo>
                  <a:cubicBezTo>
                    <a:pt x="9514" y="2455"/>
                    <a:pt x="9617" y="2061"/>
                    <a:pt x="9736" y="1667"/>
                  </a:cubicBezTo>
                  <a:cubicBezTo>
                    <a:pt x="9839" y="1326"/>
                    <a:pt x="9839" y="948"/>
                    <a:pt x="9785" y="587"/>
                  </a:cubicBezTo>
                  <a:cubicBezTo>
                    <a:pt x="9743" y="293"/>
                    <a:pt x="9469" y="0"/>
                    <a:pt x="9111" y="0"/>
                  </a:cubicBezTo>
                  <a:close/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grpSp>
          <p:nvGrpSpPr>
            <p:cNvPr id="333" name="Google Shape;333;p24"/>
            <p:cNvGrpSpPr/>
            <p:nvPr/>
          </p:nvGrpSpPr>
          <p:grpSpPr>
            <a:xfrm>
              <a:off x="237700" y="1732475"/>
              <a:ext cx="314100" cy="350875"/>
              <a:chOff x="237700" y="1732475"/>
              <a:chExt cx="314100" cy="350875"/>
            </a:xfrm>
          </p:grpSpPr>
          <p:sp>
            <p:nvSpPr>
              <p:cNvPr id="334" name="Google Shape;334;p24"/>
              <p:cNvSpPr/>
              <p:nvPr/>
            </p:nvSpPr>
            <p:spPr>
              <a:xfrm>
                <a:off x="237700" y="1857600"/>
                <a:ext cx="94975" cy="168100"/>
              </a:xfrm>
              <a:custGeom>
                <a:avLst/>
                <a:gdLst/>
                <a:ahLst/>
                <a:cxnLst/>
                <a:rect l="l" t="t" r="r" b="b"/>
                <a:pathLst>
                  <a:path w="3799" h="6724" extrusionOk="0">
                    <a:moveTo>
                      <a:pt x="1837" y="1622"/>
                    </a:moveTo>
                    <a:cubicBezTo>
                      <a:pt x="1846" y="1622"/>
                      <a:pt x="1856" y="1622"/>
                      <a:pt x="1865" y="1622"/>
                    </a:cubicBezTo>
                    <a:cubicBezTo>
                      <a:pt x="1918" y="1865"/>
                      <a:pt x="1951" y="2378"/>
                      <a:pt x="1676" y="3248"/>
                    </a:cubicBezTo>
                    <a:cubicBezTo>
                      <a:pt x="1627" y="3404"/>
                      <a:pt x="1573" y="3556"/>
                      <a:pt x="1524" y="3692"/>
                    </a:cubicBezTo>
                    <a:cubicBezTo>
                      <a:pt x="1282" y="4226"/>
                      <a:pt x="1060" y="4513"/>
                      <a:pt x="908" y="4669"/>
                    </a:cubicBezTo>
                    <a:lnTo>
                      <a:pt x="892" y="4669"/>
                    </a:lnTo>
                    <a:cubicBezTo>
                      <a:pt x="719" y="4550"/>
                      <a:pt x="584" y="4361"/>
                      <a:pt x="497" y="4102"/>
                    </a:cubicBezTo>
                    <a:cubicBezTo>
                      <a:pt x="428" y="3918"/>
                      <a:pt x="395" y="3675"/>
                      <a:pt x="411" y="3437"/>
                    </a:cubicBezTo>
                    <a:cubicBezTo>
                      <a:pt x="411" y="3248"/>
                      <a:pt x="444" y="3059"/>
                      <a:pt x="514" y="2871"/>
                    </a:cubicBezTo>
                    <a:cubicBezTo>
                      <a:pt x="530" y="2805"/>
                      <a:pt x="547" y="2735"/>
                      <a:pt x="584" y="2665"/>
                    </a:cubicBezTo>
                    <a:cubicBezTo>
                      <a:pt x="850" y="2045"/>
                      <a:pt x="1349" y="1622"/>
                      <a:pt x="1837" y="1622"/>
                    </a:cubicBezTo>
                    <a:close/>
                    <a:moveTo>
                      <a:pt x="2991" y="0"/>
                    </a:moveTo>
                    <a:cubicBezTo>
                      <a:pt x="2648" y="0"/>
                      <a:pt x="2210" y="366"/>
                      <a:pt x="1815" y="1006"/>
                    </a:cubicBezTo>
                    <a:cubicBezTo>
                      <a:pt x="1762" y="1076"/>
                      <a:pt x="1713" y="1162"/>
                      <a:pt x="1659" y="1249"/>
                    </a:cubicBezTo>
                    <a:cubicBezTo>
                      <a:pt x="1076" y="1331"/>
                      <a:pt x="514" y="1811"/>
                      <a:pt x="222" y="2513"/>
                    </a:cubicBezTo>
                    <a:cubicBezTo>
                      <a:pt x="189" y="2600"/>
                      <a:pt x="153" y="2665"/>
                      <a:pt x="136" y="2751"/>
                    </a:cubicBezTo>
                    <a:cubicBezTo>
                      <a:pt x="70" y="2973"/>
                      <a:pt x="17" y="3199"/>
                      <a:pt x="17" y="3421"/>
                    </a:cubicBezTo>
                    <a:cubicBezTo>
                      <a:pt x="1" y="3712"/>
                      <a:pt x="33" y="3983"/>
                      <a:pt x="120" y="4242"/>
                    </a:cubicBezTo>
                    <a:cubicBezTo>
                      <a:pt x="206" y="4480"/>
                      <a:pt x="341" y="4702"/>
                      <a:pt x="514" y="4858"/>
                    </a:cubicBezTo>
                    <a:cubicBezTo>
                      <a:pt x="497" y="4961"/>
                      <a:pt x="497" y="5047"/>
                      <a:pt x="497" y="5149"/>
                    </a:cubicBezTo>
                    <a:cubicBezTo>
                      <a:pt x="460" y="5987"/>
                      <a:pt x="616" y="6587"/>
                      <a:pt x="994" y="6706"/>
                    </a:cubicBezTo>
                    <a:cubicBezTo>
                      <a:pt x="1035" y="6718"/>
                      <a:pt x="1077" y="6724"/>
                      <a:pt x="1120" y="6724"/>
                    </a:cubicBezTo>
                    <a:cubicBezTo>
                      <a:pt x="1752" y="6724"/>
                      <a:pt x="2653" y="5458"/>
                      <a:pt x="3199" y="3729"/>
                    </a:cubicBezTo>
                    <a:cubicBezTo>
                      <a:pt x="3799" y="1881"/>
                      <a:pt x="3745" y="222"/>
                      <a:pt x="3113" y="17"/>
                    </a:cubicBezTo>
                    <a:cubicBezTo>
                      <a:pt x="3074" y="6"/>
                      <a:pt x="3033" y="0"/>
                      <a:pt x="299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5" name="Google Shape;335;p24"/>
              <p:cNvSpPr/>
              <p:nvPr/>
            </p:nvSpPr>
            <p:spPr>
              <a:xfrm>
                <a:off x="392475" y="1925800"/>
                <a:ext cx="159325" cy="118300"/>
              </a:xfrm>
              <a:custGeom>
                <a:avLst/>
                <a:gdLst/>
                <a:ahLst/>
                <a:cxnLst/>
                <a:rect l="l" t="t" r="r" b="b"/>
                <a:pathLst>
                  <a:path w="6373" h="4732" extrusionOk="0">
                    <a:moveTo>
                      <a:pt x="3699" y="637"/>
                    </a:moveTo>
                    <a:cubicBezTo>
                      <a:pt x="3888" y="637"/>
                      <a:pt x="4080" y="771"/>
                      <a:pt x="4124" y="964"/>
                    </a:cubicBezTo>
                    <a:cubicBezTo>
                      <a:pt x="4161" y="1120"/>
                      <a:pt x="4075" y="1272"/>
                      <a:pt x="3956" y="1342"/>
                    </a:cubicBezTo>
                    <a:cubicBezTo>
                      <a:pt x="3892" y="1382"/>
                      <a:pt x="3817" y="1401"/>
                      <a:pt x="3742" y="1401"/>
                    </a:cubicBezTo>
                    <a:cubicBezTo>
                      <a:pt x="3592" y="1401"/>
                      <a:pt x="3441" y="1326"/>
                      <a:pt x="3373" y="1190"/>
                    </a:cubicBezTo>
                    <a:cubicBezTo>
                      <a:pt x="3303" y="1050"/>
                      <a:pt x="3323" y="845"/>
                      <a:pt x="3443" y="742"/>
                    </a:cubicBezTo>
                    <a:cubicBezTo>
                      <a:pt x="3515" y="669"/>
                      <a:pt x="3607" y="637"/>
                      <a:pt x="3699" y="637"/>
                    </a:cubicBezTo>
                    <a:close/>
                    <a:moveTo>
                      <a:pt x="4623" y="1314"/>
                    </a:moveTo>
                    <a:cubicBezTo>
                      <a:pt x="4750" y="1314"/>
                      <a:pt x="4863" y="1434"/>
                      <a:pt x="4863" y="1563"/>
                    </a:cubicBezTo>
                    <a:cubicBezTo>
                      <a:pt x="4843" y="1650"/>
                      <a:pt x="4793" y="1736"/>
                      <a:pt x="4707" y="1769"/>
                    </a:cubicBezTo>
                    <a:cubicBezTo>
                      <a:pt x="4684" y="1781"/>
                      <a:pt x="4657" y="1787"/>
                      <a:pt x="4629" y="1787"/>
                    </a:cubicBezTo>
                    <a:cubicBezTo>
                      <a:pt x="4573" y="1787"/>
                      <a:pt x="4513" y="1763"/>
                      <a:pt x="4469" y="1719"/>
                    </a:cubicBezTo>
                    <a:cubicBezTo>
                      <a:pt x="4453" y="1703"/>
                      <a:pt x="4432" y="1666"/>
                      <a:pt x="4416" y="1650"/>
                    </a:cubicBezTo>
                    <a:cubicBezTo>
                      <a:pt x="4383" y="1547"/>
                      <a:pt x="4383" y="1428"/>
                      <a:pt x="4469" y="1374"/>
                    </a:cubicBezTo>
                    <a:cubicBezTo>
                      <a:pt x="4502" y="1342"/>
                      <a:pt x="4518" y="1342"/>
                      <a:pt x="4555" y="1325"/>
                    </a:cubicBezTo>
                    <a:cubicBezTo>
                      <a:pt x="4578" y="1317"/>
                      <a:pt x="4601" y="1314"/>
                      <a:pt x="4623" y="1314"/>
                    </a:cubicBezTo>
                    <a:close/>
                    <a:moveTo>
                      <a:pt x="3722" y="1712"/>
                    </a:moveTo>
                    <a:cubicBezTo>
                      <a:pt x="4027" y="1712"/>
                      <a:pt x="4256" y="2098"/>
                      <a:pt x="4161" y="2368"/>
                    </a:cubicBezTo>
                    <a:cubicBezTo>
                      <a:pt x="4104" y="2551"/>
                      <a:pt x="3907" y="2678"/>
                      <a:pt x="3715" y="2678"/>
                    </a:cubicBezTo>
                    <a:cubicBezTo>
                      <a:pt x="3674" y="2678"/>
                      <a:pt x="3634" y="2672"/>
                      <a:pt x="3594" y="2660"/>
                    </a:cubicBezTo>
                    <a:cubicBezTo>
                      <a:pt x="3356" y="2590"/>
                      <a:pt x="3200" y="2335"/>
                      <a:pt x="3270" y="2093"/>
                    </a:cubicBezTo>
                    <a:cubicBezTo>
                      <a:pt x="3287" y="2011"/>
                      <a:pt x="3340" y="1908"/>
                      <a:pt x="3426" y="1838"/>
                    </a:cubicBezTo>
                    <a:cubicBezTo>
                      <a:pt x="3475" y="1785"/>
                      <a:pt x="3562" y="1736"/>
                      <a:pt x="3648" y="1719"/>
                    </a:cubicBezTo>
                    <a:cubicBezTo>
                      <a:pt x="3673" y="1714"/>
                      <a:pt x="3698" y="1712"/>
                      <a:pt x="3722" y="1712"/>
                    </a:cubicBezTo>
                    <a:close/>
                    <a:moveTo>
                      <a:pt x="3439" y="1"/>
                    </a:moveTo>
                    <a:cubicBezTo>
                      <a:pt x="1762" y="1"/>
                      <a:pt x="1" y="1914"/>
                      <a:pt x="1320" y="3735"/>
                    </a:cubicBezTo>
                    <a:cubicBezTo>
                      <a:pt x="1828" y="4438"/>
                      <a:pt x="2492" y="4731"/>
                      <a:pt x="3143" y="4731"/>
                    </a:cubicBezTo>
                    <a:cubicBezTo>
                      <a:pt x="4795" y="4731"/>
                      <a:pt x="6373" y="2848"/>
                      <a:pt x="5171" y="984"/>
                    </a:cubicBezTo>
                    <a:cubicBezTo>
                      <a:pt x="4730" y="289"/>
                      <a:pt x="4091" y="1"/>
                      <a:pt x="343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6" name="Google Shape;336;p24"/>
              <p:cNvSpPr/>
              <p:nvPr/>
            </p:nvSpPr>
            <p:spPr>
              <a:xfrm>
                <a:off x="324550" y="1756125"/>
                <a:ext cx="106075" cy="92800"/>
              </a:xfrm>
              <a:custGeom>
                <a:avLst/>
                <a:gdLst/>
                <a:ahLst/>
                <a:cxnLst/>
                <a:rect l="l" t="t" r="r" b="b"/>
                <a:pathLst>
                  <a:path w="4243" h="3712" extrusionOk="0">
                    <a:moveTo>
                      <a:pt x="2269" y="0"/>
                    </a:moveTo>
                    <a:cubicBezTo>
                      <a:pt x="1953" y="0"/>
                      <a:pt x="1632" y="77"/>
                      <a:pt x="1335" y="241"/>
                    </a:cubicBezTo>
                    <a:cubicBezTo>
                      <a:pt x="374" y="770"/>
                      <a:pt x="0" y="2142"/>
                      <a:pt x="822" y="2963"/>
                    </a:cubicBezTo>
                    <a:cubicBezTo>
                      <a:pt x="1100" y="3235"/>
                      <a:pt x="1493" y="3367"/>
                      <a:pt x="1885" y="3367"/>
                    </a:cubicBezTo>
                    <a:cubicBezTo>
                      <a:pt x="2574" y="3367"/>
                      <a:pt x="3257" y="2961"/>
                      <a:pt x="3302" y="2208"/>
                    </a:cubicBezTo>
                    <a:cubicBezTo>
                      <a:pt x="3359" y="1448"/>
                      <a:pt x="2814" y="922"/>
                      <a:pt x="2271" y="922"/>
                    </a:cubicBezTo>
                    <a:cubicBezTo>
                      <a:pt x="1995" y="922"/>
                      <a:pt x="1719" y="1058"/>
                      <a:pt x="1524" y="1370"/>
                    </a:cubicBezTo>
                    <a:cubicBezTo>
                      <a:pt x="1265" y="1748"/>
                      <a:pt x="1384" y="2433"/>
                      <a:pt x="1897" y="2499"/>
                    </a:cubicBezTo>
                    <a:cubicBezTo>
                      <a:pt x="1907" y="2500"/>
                      <a:pt x="1918" y="2501"/>
                      <a:pt x="1930" y="2501"/>
                    </a:cubicBezTo>
                    <a:cubicBezTo>
                      <a:pt x="2115" y="2501"/>
                      <a:pt x="2566" y="2383"/>
                      <a:pt x="2308" y="2175"/>
                    </a:cubicBezTo>
                    <a:cubicBezTo>
                      <a:pt x="2279" y="2150"/>
                      <a:pt x="2247" y="2141"/>
                      <a:pt x="2212" y="2141"/>
                    </a:cubicBezTo>
                    <a:cubicBezTo>
                      <a:pt x="2137" y="2141"/>
                      <a:pt x="2052" y="2183"/>
                      <a:pt x="1972" y="2183"/>
                    </a:cubicBezTo>
                    <a:cubicBezTo>
                      <a:pt x="1941" y="2183"/>
                      <a:pt x="1910" y="2177"/>
                      <a:pt x="1881" y="2158"/>
                    </a:cubicBezTo>
                    <a:cubicBezTo>
                      <a:pt x="1473" y="1899"/>
                      <a:pt x="1883" y="1398"/>
                      <a:pt x="2268" y="1398"/>
                    </a:cubicBezTo>
                    <a:cubicBezTo>
                      <a:pt x="2316" y="1398"/>
                      <a:pt x="2365" y="1406"/>
                      <a:pt x="2411" y="1423"/>
                    </a:cubicBezTo>
                    <a:cubicBezTo>
                      <a:pt x="2719" y="1526"/>
                      <a:pt x="2891" y="1850"/>
                      <a:pt x="2858" y="2142"/>
                    </a:cubicBezTo>
                    <a:cubicBezTo>
                      <a:pt x="2824" y="2641"/>
                      <a:pt x="2351" y="2883"/>
                      <a:pt x="1903" y="2883"/>
                    </a:cubicBezTo>
                    <a:cubicBezTo>
                      <a:pt x="1861" y="2883"/>
                      <a:pt x="1819" y="2881"/>
                      <a:pt x="1778" y="2877"/>
                    </a:cubicBezTo>
                    <a:cubicBezTo>
                      <a:pt x="1298" y="2807"/>
                      <a:pt x="974" y="2483"/>
                      <a:pt x="908" y="2002"/>
                    </a:cubicBezTo>
                    <a:cubicBezTo>
                      <a:pt x="781" y="1133"/>
                      <a:pt x="1556" y="523"/>
                      <a:pt x="2336" y="523"/>
                    </a:cubicBezTo>
                    <a:cubicBezTo>
                      <a:pt x="2613" y="523"/>
                      <a:pt x="2891" y="600"/>
                      <a:pt x="3129" y="770"/>
                    </a:cubicBezTo>
                    <a:cubicBezTo>
                      <a:pt x="4123" y="1489"/>
                      <a:pt x="3782" y="3066"/>
                      <a:pt x="2653" y="3423"/>
                    </a:cubicBezTo>
                    <a:cubicBezTo>
                      <a:pt x="2550" y="3460"/>
                      <a:pt x="2513" y="3579"/>
                      <a:pt x="2583" y="3665"/>
                    </a:cubicBezTo>
                    <a:cubicBezTo>
                      <a:pt x="2613" y="3700"/>
                      <a:pt x="2652" y="3711"/>
                      <a:pt x="2693" y="3711"/>
                    </a:cubicBezTo>
                    <a:cubicBezTo>
                      <a:pt x="2748" y="3711"/>
                      <a:pt x="2809" y="3691"/>
                      <a:pt x="2858" y="3682"/>
                    </a:cubicBezTo>
                    <a:cubicBezTo>
                      <a:pt x="3183" y="3612"/>
                      <a:pt x="3474" y="3407"/>
                      <a:pt x="3696" y="3168"/>
                    </a:cubicBezTo>
                    <a:cubicBezTo>
                      <a:pt x="4070" y="2741"/>
                      <a:pt x="4242" y="2175"/>
                      <a:pt x="4156" y="1612"/>
                    </a:cubicBezTo>
                    <a:cubicBezTo>
                      <a:pt x="4031" y="624"/>
                      <a:pt x="3172" y="0"/>
                      <a:pt x="226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7" name="Google Shape;337;p24"/>
              <p:cNvSpPr/>
              <p:nvPr/>
            </p:nvSpPr>
            <p:spPr>
              <a:xfrm>
                <a:off x="320650" y="1976050"/>
                <a:ext cx="119000" cy="105675"/>
              </a:xfrm>
              <a:custGeom>
                <a:avLst/>
                <a:gdLst/>
                <a:ahLst/>
                <a:cxnLst/>
                <a:rect l="l" t="t" r="r" b="b"/>
                <a:pathLst>
                  <a:path w="4760" h="4227" extrusionOk="0">
                    <a:moveTo>
                      <a:pt x="2378" y="1"/>
                    </a:moveTo>
                    <a:cubicBezTo>
                      <a:pt x="0" y="1"/>
                      <a:pt x="54" y="3610"/>
                      <a:pt x="87" y="4226"/>
                    </a:cubicBezTo>
                    <a:lnTo>
                      <a:pt x="4673" y="4226"/>
                    </a:lnTo>
                    <a:cubicBezTo>
                      <a:pt x="4706" y="3610"/>
                      <a:pt x="4759" y="1"/>
                      <a:pt x="2378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8" name="Google Shape;338;p24"/>
              <p:cNvSpPr/>
              <p:nvPr/>
            </p:nvSpPr>
            <p:spPr>
              <a:xfrm>
                <a:off x="342925" y="2005100"/>
                <a:ext cx="74450" cy="76625"/>
              </a:xfrm>
              <a:custGeom>
                <a:avLst/>
                <a:gdLst/>
                <a:ahLst/>
                <a:cxnLst/>
                <a:rect l="l" t="t" r="r" b="b"/>
                <a:pathLst>
                  <a:path w="2978" h="3065" extrusionOk="0">
                    <a:moveTo>
                      <a:pt x="1487" y="1"/>
                    </a:moveTo>
                    <a:cubicBezTo>
                      <a:pt x="0" y="1"/>
                      <a:pt x="0" y="2551"/>
                      <a:pt x="17" y="3064"/>
                    </a:cubicBezTo>
                    <a:lnTo>
                      <a:pt x="2961" y="3064"/>
                    </a:lnTo>
                    <a:cubicBezTo>
                      <a:pt x="2977" y="2551"/>
                      <a:pt x="2977" y="1"/>
                      <a:pt x="1487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9" name="Google Shape;339;p24"/>
              <p:cNvSpPr/>
              <p:nvPr/>
            </p:nvSpPr>
            <p:spPr>
              <a:xfrm>
                <a:off x="353175" y="2013725"/>
                <a:ext cx="30000" cy="55675"/>
              </a:xfrm>
              <a:custGeom>
                <a:avLst/>
                <a:gdLst/>
                <a:ahLst/>
                <a:cxnLst/>
                <a:rect l="l" t="t" r="r" b="b"/>
                <a:pathLst>
                  <a:path w="1200" h="2227" extrusionOk="0">
                    <a:moveTo>
                      <a:pt x="753" y="1"/>
                    </a:moveTo>
                    <a:cubicBezTo>
                      <a:pt x="670" y="1"/>
                      <a:pt x="596" y="39"/>
                      <a:pt x="531" y="116"/>
                    </a:cubicBezTo>
                    <a:cubicBezTo>
                      <a:pt x="325" y="374"/>
                      <a:pt x="190" y="715"/>
                      <a:pt x="104" y="1060"/>
                    </a:cubicBezTo>
                    <a:cubicBezTo>
                      <a:pt x="50" y="1245"/>
                      <a:pt x="17" y="1450"/>
                      <a:pt x="1" y="1656"/>
                    </a:cubicBezTo>
                    <a:cubicBezTo>
                      <a:pt x="1" y="1812"/>
                      <a:pt x="1" y="1984"/>
                      <a:pt x="104" y="2103"/>
                    </a:cubicBezTo>
                    <a:cubicBezTo>
                      <a:pt x="168" y="2189"/>
                      <a:pt x="267" y="2227"/>
                      <a:pt x="366" y="2227"/>
                    </a:cubicBezTo>
                    <a:cubicBezTo>
                      <a:pt x="423" y="2227"/>
                      <a:pt x="481" y="2214"/>
                      <a:pt x="531" y="2189"/>
                    </a:cubicBezTo>
                    <a:cubicBezTo>
                      <a:pt x="687" y="2120"/>
                      <a:pt x="789" y="1984"/>
                      <a:pt x="871" y="1844"/>
                    </a:cubicBezTo>
                    <a:cubicBezTo>
                      <a:pt x="1114" y="1417"/>
                      <a:pt x="1200" y="888"/>
                      <a:pt x="1097" y="391"/>
                    </a:cubicBezTo>
                    <a:cubicBezTo>
                      <a:pt x="1060" y="239"/>
                      <a:pt x="995" y="66"/>
                      <a:pt x="839" y="13"/>
                    </a:cubicBezTo>
                    <a:cubicBezTo>
                      <a:pt x="809" y="5"/>
                      <a:pt x="781" y="1"/>
                      <a:pt x="753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40" name="Google Shape;340;p24"/>
              <p:cNvSpPr/>
              <p:nvPr/>
            </p:nvSpPr>
            <p:spPr>
              <a:xfrm>
                <a:off x="334800" y="2063550"/>
                <a:ext cx="3425" cy="4625"/>
              </a:xfrm>
              <a:custGeom>
                <a:avLst/>
                <a:gdLst/>
                <a:ahLst/>
                <a:cxnLst/>
                <a:rect l="l" t="t" r="r" b="b"/>
                <a:pathLst>
                  <a:path w="137" h="185" extrusionOk="0">
                    <a:moveTo>
                      <a:pt x="48" y="1"/>
                    </a:moveTo>
                    <a:cubicBezTo>
                      <a:pt x="43" y="1"/>
                      <a:pt x="39" y="3"/>
                      <a:pt x="34" y="7"/>
                    </a:cubicBezTo>
                    <a:cubicBezTo>
                      <a:pt x="1" y="7"/>
                      <a:pt x="1" y="24"/>
                      <a:pt x="1" y="57"/>
                    </a:cubicBezTo>
                    <a:cubicBezTo>
                      <a:pt x="17" y="110"/>
                      <a:pt x="34" y="143"/>
                      <a:pt x="67" y="176"/>
                    </a:cubicBezTo>
                    <a:cubicBezTo>
                      <a:pt x="80" y="176"/>
                      <a:pt x="92" y="185"/>
                      <a:pt x="103" y="185"/>
                    </a:cubicBezTo>
                    <a:cubicBezTo>
                      <a:pt x="109" y="185"/>
                      <a:pt x="115" y="183"/>
                      <a:pt x="120" y="176"/>
                    </a:cubicBezTo>
                    <a:cubicBezTo>
                      <a:pt x="136" y="176"/>
                      <a:pt x="136" y="143"/>
                      <a:pt x="120" y="127"/>
                    </a:cubicBezTo>
                    <a:cubicBezTo>
                      <a:pt x="104" y="94"/>
                      <a:pt x="104" y="57"/>
                      <a:pt x="87" y="24"/>
                    </a:cubicBezTo>
                    <a:cubicBezTo>
                      <a:pt x="73" y="12"/>
                      <a:pt x="60" y="1"/>
                      <a:pt x="48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41" name="Google Shape;341;p24"/>
              <p:cNvSpPr/>
              <p:nvPr/>
            </p:nvSpPr>
            <p:spPr>
              <a:xfrm>
                <a:off x="330500" y="2065875"/>
                <a:ext cx="3000" cy="487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95" extrusionOk="0">
                    <a:moveTo>
                      <a:pt x="17" y="1"/>
                    </a:moveTo>
                    <a:cubicBezTo>
                      <a:pt x="1" y="17"/>
                      <a:pt x="1" y="34"/>
                      <a:pt x="1" y="66"/>
                    </a:cubicBezTo>
                    <a:cubicBezTo>
                      <a:pt x="1" y="103"/>
                      <a:pt x="17" y="153"/>
                      <a:pt x="54" y="169"/>
                    </a:cubicBezTo>
                    <a:cubicBezTo>
                      <a:pt x="65" y="181"/>
                      <a:pt x="77" y="194"/>
                      <a:pt x="88" y="194"/>
                    </a:cubicBezTo>
                    <a:cubicBezTo>
                      <a:pt x="93" y="194"/>
                      <a:pt x="98" y="192"/>
                      <a:pt x="103" y="185"/>
                    </a:cubicBezTo>
                    <a:cubicBezTo>
                      <a:pt x="120" y="169"/>
                      <a:pt x="120" y="153"/>
                      <a:pt x="103" y="136"/>
                    </a:cubicBezTo>
                    <a:cubicBezTo>
                      <a:pt x="103" y="103"/>
                      <a:pt x="87" y="66"/>
                      <a:pt x="70" y="34"/>
                    </a:cubicBezTo>
                    <a:cubicBezTo>
                      <a:pt x="54" y="17"/>
                      <a:pt x="33" y="1"/>
                      <a:pt x="1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42" name="Google Shape;342;p24"/>
              <p:cNvSpPr/>
              <p:nvPr/>
            </p:nvSpPr>
            <p:spPr>
              <a:xfrm>
                <a:off x="427200" y="2065975"/>
                <a:ext cx="5150" cy="3325"/>
              </a:xfrm>
              <a:custGeom>
                <a:avLst/>
                <a:gdLst/>
                <a:ahLst/>
                <a:cxnLst/>
                <a:rect l="l" t="t" r="r" b="b"/>
                <a:pathLst>
                  <a:path w="206" h="133" extrusionOk="0">
                    <a:moveTo>
                      <a:pt x="153" y="1"/>
                    </a:moveTo>
                    <a:cubicBezTo>
                      <a:pt x="140" y="1"/>
                      <a:pt x="128" y="5"/>
                      <a:pt x="120" y="13"/>
                    </a:cubicBezTo>
                    <a:cubicBezTo>
                      <a:pt x="87" y="13"/>
                      <a:pt x="50" y="30"/>
                      <a:pt x="33" y="46"/>
                    </a:cubicBezTo>
                    <a:cubicBezTo>
                      <a:pt x="1" y="62"/>
                      <a:pt x="1" y="79"/>
                      <a:pt x="1" y="116"/>
                    </a:cubicBezTo>
                    <a:cubicBezTo>
                      <a:pt x="17" y="132"/>
                      <a:pt x="33" y="132"/>
                      <a:pt x="66" y="132"/>
                    </a:cubicBezTo>
                    <a:cubicBezTo>
                      <a:pt x="103" y="116"/>
                      <a:pt x="152" y="99"/>
                      <a:pt x="169" y="62"/>
                    </a:cubicBezTo>
                    <a:cubicBezTo>
                      <a:pt x="189" y="46"/>
                      <a:pt x="206" y="30"/>
                      <a:pt x="189" y="13"/>
                    </a:cubicBezTo>
                    <a:cubicBezTo>
                      <a:pt x="179" y="5"/>
                      <a:pt x="166" y="1"/>
                      <a:pt x="153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43" name="Google Shape;343;p24"/>
              <p:cNvSpPr/>
              <p:nvPr/>
            </p:nvSpPr>
            <p:spPr>
              <a:xfrm>
                <a:off x="425875" y="2062275"/>
                <a:ext cx="5150" cy="3250"/>
              </a:xfrm>
              <a:custGeom>
                <a:avLst/>
                <a:gdLst/>
                <a:ahLst/>
                <a:cxnLst/>
                <a:rect l="l" t="t" r="r" b="b"/>
                <a:pathLst>
                  <a:path w="206" h="130" extrusionOk="0">
                    <a:moveTo>
                      <a:pt x="156" y="1"/>
                    </a:moveTo>
                    <a:cubicBezTo>
                      <a:pt x="143" y="1"/>
                      <a:pt x="129" y="5"/>
                      <a:pt x="119" y="5"/>
                    </a:cubicBezTo>
                    <a:cubicBezTo>
                      <a:pt x="86" y="22"/>
                      <a:pt x="54" y="42"/>
                      <a:pt x="37" y="58"/>
                    </a:cubicBezTo>
                    <a:cubicBezTo>
                      <a:pt x="0" y="75"/>
                      <a:pt x="0" y="91"/>
                      <a:pt x="0" y="108"/>
                    </a:cubicBezTo>
                    <a:cubicBezTo>
                      <a:pt x="8" y="125"/>
                      <a:pt x="17" y="130"/>
                      <a:pt x="27" y="130"/>
                    </a:cubicBezTo>
                    <a:cubicBezTo>
                      <a:pt x="39" y="130"/>
                      <a:pt x="53" y="124"/>
                      <a:pt x="70" y="124"/>
                    </a:cubicBezTo>
                    <a:cubicBezTo>
                      <a:pt x="103" y="124"/>
                      <a:pt x="156" y="108"/>
                      <a:pt x="173" y="58"/>
                    </a:cubicBezTo>
                    <a:cubicBezTo>
                      <a:pt x="189" y="58"/>
                      <a:pt x="205" y="42"/>
                      <a:pt x="189" y="22"/>
                    </a:cubicBezTo>
                    <a:cubicBezTo>
                      <a:pt x="181" y="5"/>
                      <a:pt x="168" y="1"/>
                      <a:pt x="156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44" name="Google Shape;344;p24"/>
              <p:cNvSpPr/>
              <p:nvPr/>
            </p:nvSpPr>
            <p:spPr>
              <a:xfrm>
                <a:off x="319425" y="1973900"/>
                <a:ext cx="121450" cy="109450"/>
              </a:xfrm>
              <a:custGeom>
                <a:avLst/>
                <a:gdLst/>
                <a:ahLst/>
                <a:cxnLst/>
                <a:rect l="l" t="t" r="r" b="b"/>
                <a:pathLst>
                  <a:path w="4858" h="4378" extrusionOk="0">
                    <a:moveTo>
                      <a:pt x="2427" y="1335"/>
                    </a:moveTo>
                    <a:cubicBezTo>
                      <a:pt x="2583" y="1335"/>
                      <a:pt x="2718" y="1368"/>
                      <a:pt x="2858" y="1438"/>
                    </a:cubicBezTo>
                    <a:cubicBezTo>
                      <a:pt x="2993" y="1487"/>
                      <a:pt x="3113" y="1590"/>
                      <a:pt x="3215" y="1692"/>
                    </a:cubicBezTo>
                    <a:cubicBezTo>
                      <a:pt x="3404" y="1935"/>
                      <a:pt x="3540" y="2206"/>
                      <a:pt x="3626" y="2514"/>
                    </a:cubicBezTo>
                    <a:cubicBezTo>
                      <a:pt x="3712" y="2805"/>
                      <a:pt x="3761" y="3129"/>
                      <a:pt x="3798" y="3437"/>
                    </a:cubicBezTo>
                    <a:cubicBezTo>
                      <a:pt x="3815" y="3696"/>
                      <a:pt x="3831" y="3967"/>
                      <a:pt x="3831" y="4226"/>
                    </a:cubicBezTo>
                    <a:lnTo>
                      <a:pt x="1027" y="4226"/>
                    </a:lnTo>
                    <a:cubicBezTo>
                      <a:pt x="1027" y="3967"/>
                      <a:pt x="1043" y="3696"/>
                      <a:pt x="1059" y="3437"/>
                    </a:cubicBezTo>
                    <a:cubicBezTo>
                      <a:pt x="1092" y="3129"/>
                      <a:pt x="1146" y="2805"/>
                      <a:pt x="1232" y="2514"/>
                    </a:cubicBezTo>
                    <a:cubicBezTo>
                      <a:pt x="1318" y="2206"/>
                      <a:pt x="1454" y="1935"/>
                      <a:pt x="1643" y="1692"/>
                    </a:cubicBezTo>
                    <a:cubicBezTo>
                      <a:pt x="1745" y="1590"/>
                      <a:pt x="1864" y="1487"/>
                      <a:pt x="2000" y="1438"/>
                    </a:cubicBezTo>
                    <a:cubicBezTo>
                      <a:pt x="2139" y="1368"/>
                      <a:pt x="2275" y="1335"/>
                      <a:pt x="2427" y="1335"/>
                    </a:cubicBezTo>
                    <a:close/>
                    <a:moveTo>
                      <a:pt x="2427" y="153"/>
                    </a:moveTo>
                    <a:cubicBezTo>
                      <a:pt x="2961" y="153"/>
                      <a:pt x="3404" y="341"/>
                      <a:pt x="3745" y="719"/>
                    </a:cubicBezTo>
                    <a:cubicBezTo>
                      <a:pt x="4603" y="1627"/>
                      <a:pt x="4652" y="3421"/>
                      <a:pt x="4652" y="4107"/>
                    </a:cubicBezTo>
                    <a:cubicBezTo>
                      <a:pt x="4652" y="4172"/>
                      <a:pt x="4583" y="4226"/>
                      <a:pt x="4533" y="4226"/>
                    </a:cubicBezTo>
                    <a:lnTo>
                      <a:pt x="3967" y="4226"/>
                    </a:lnTo>
                    <a:cubicBezTo>
                      <a:pt x="3967" y="3951"/>
                      <a:pt x="3967" y="3696"/>
                      <a:pt x="3950" y="3421"/>
                    </a:cubicBezTo>
                    <a:cubicBezTo>
                      <a:pt x="3917" y="3113"/>
                      <a:pt x="3864" y="2789"/>
                      <a:pt x="3782" y="2464"/>
                    </a:cubicBezTo>
                    <a:cubicBezTo>
                      <a:pt x="3728" y="2308"/>
                      <a:pt x="3679" y="2156"/>
                      <a:pt x="3609" y="2000"/>
                    </a:cubicBezTo>
                    <a:cubicBezTo>
                      <a:pt x="3540" y="1865"/>
                      <a:pt x="3453" y="1709"/>
                      <a:pt x="3334" y="1590"/>
                    </a:cubicBezTo>
                    <a:cubicBezTo>
                      <a:pt x="3215" y="1454"/>
                      <a:pt x="3080" y="1352"/>
                      <a:pt x="2924" y="1282"/>
                    </a:cubicBezTo>
                    <a:cubicBezTo>
                      <a:pt x="2772" y="1196"/>
                      <a:pt x="2599" y="1179"/>
                      <a:pt x="2427" y="1163"/>
                    </a:cubicBezTo>
                    <a:cubicBezTo>
                      <a:pt x="2258" y="1179"/>
                      <a:pt x="2086" y="1196"/>
                      <a:pt x="1934" y="1282"/>
                    </a:cubicBezTo>
                    <a:cubicBezTo>
                      <a:pt x="1778" y="1352"/>
                      <a:pt x="1626" y="1454"/>
                      <a:pt x="1523" y="1590"/>
                    </a:cubicBezTo>
                    <a:cubicBezTo>
                      <a:pt x="1400" y="1709"/>
                      <a:pt x="1318" y="1865"/>
                      <a:pt x="1248" y="2000"/>
                    </a:cubicBezTo>
                    <a:cubicBezTo>
                      <a:pt x="1179" y="2156"/>
                      <a:pt x="1129" y="2308"/>
                      <a:pt x="1076" y="2464"/>
                    </a:cubicBezTo>
                    <a:cubicBezTo>
                      <a:pt x="990" y="2789"/>
                      <a:pt x="940" y="3113"/>
                      <a:pt x="908" y="3421"/>
                    </a:cubicBezTo>
                    <a:cubicBezTo>
                      <a:pt x="887" y="3696"/>
                      <a:pt x="887" y="3951"/>
                      <a:pt x="887" y="4226"/>
                    </a:cubicBezTo>
                    <a:lnTo>
                      <a:pt x="324" y="4226"/>
                    </a:lnTo>
                    <a:cubicBezTo>
                      <a:pt x="255" y="4226"/>
                      <a:pt x="205" y="4172"/>
                      <a:pt x="205" y="4123"/>
                    </a:cubicBezTo>
                    <a:cubicBezTo>
                      <a:pt x="205" y="3437"/>
                      <a:pt x="255" y="1643"/>
                      <a:pt x="1113" y="719"/>
                    </a:cubicBezTo>
                    <a:cubicBezTo>
                      <a:pt x="1454" y="341"/>
                      <a:pt x="1897" y="153"/>
                      <a:pt x="2427" y="153"/>
                    </a:cubicBezTo>
                    <a:close/>
                    <a:moveTo>
                      <a:pt x="2427" y="1"/>
                    </a:moveTo>
                    <a:cubicBezTo>
                      <a:pt x="1848" y="1"/>
                      <a:pt x="1367" y="206"/>
                      <a:pt x="990" y="617"/>
                    </a:cubicBezTo>
                    <a:cubicBezTo>
                      <a:pt x="0" y="1692"/>
                      <a:pt x="33" y="3762"/>
                      <a:pt x="49" y="4242"/>
                    </a:cubicBezTo>
                    <a:cubicBezTo>
                      <a:pt x="49" y="4242"/>
                      <a:pt x="66" y="4378"/>
                      <a:pt x="205" y="4378"/>
                    </a:cubicBezTo>
                    <a:lnTo>
                      <a:pt x="4652" y="4378"/>
                    </a:lnTo>
                    <a:cubicBezTo>
                      <a:pt x="4788" y="4378"/>
                      <a:pt x="4808" y="4242"/>
                      <a:pt x="4808" y="4242"/>
                    </a:cubicBezTo>
                    <a:cubicBezTo>
                      <a:pt x="4825" y="3762"/>
                      <a:pt x="4858" y="1692"/>
                      <a:pt x="3864" y="617"/>
                    </a:cubicBezTo>
                    <a:cubicBezTo>
                      <a:pt x="3490" y="206"/>
                      <a:pt x="3010" y="1"/>
                      <a:pt x="242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45" name="Google Shape;345;p24"/>
              <p:cNvSpPr/>
              <p:nvPr/>
            </p:nvSpPr>
            <p:spPr>
              <a:xfrm>
                <a:off x="270250" y="1734250"/>
                <a:ext cx="213025" cy="259525"/>
              </a:xfrm>
              <a:custGeom>
                <a:avLst/>
                <a:gdLst/>
                <a:ahLst/>
                <a:cxnLst/>
                <a:rect l="l" t="t" r="r" b="b"/>
                <a:pathLst>
                  <a:path w="8521" h="10381" extrusionOk="0">
                    <a:moveTo>
                      <a:pt x="7837" y="1"/>
                    </a:moveTo>
                    <a:cubicBezTo>
                      <a:pt x="7771" y="1"/>
                      <a:pt x="7697" y="8"/>
                      <a:pt x="7613" y="23"/>
                    </a:cubicBezTo>
                    <a:cubicBezTo>
                      <a:pt x="7149" y="106"/>
                      <a:pt x="6447" y="894"/>
                      <a:pt x="5934" y="2109"/>
                    </a:cubicBezTo>
                    <a:cubicBezTo>
                      <a:pt x="5544" y="3033"/>
                      <a:pt x="5404" y="3838"/>
                      <a:pt x="5371" y="4162"/>
                    </a:cubicBezTo>
                    <a:cubicBezTo>
                      <a:pt x="5080" y="4043"/>
                      <a:pt x="4772" y="3974"/>
                      <a:pt x="4447" y="3941"/>
                    </a:cubicBezTo>
                    <a:cubicBezTo>
                      <a:pt x="4363" y="3934"/>
                      <a:pt x="4279" y="3931"/>
                      <a:pt x="4195" y="3931"/>
                    </a:cubicBezTo>
                    <a:cubicBezTo>
                      <a:pt x="3806" y="3931"/>
                      <a:pt x="3435" y="4001"/>
                      <a:pt x="3096" y="4130"/>
                    </a:cubicBezTo>
                    <a:cubicBezTo>
                      <a:pt x="3026" y="3752"/>
                      <a:pt x="2854" y="3050"/>
                      <a:pt x="2530" y="2228"/>
                    </a:cubicBezTo>
                    <a:cubicBezTo>
                      <a:pt x="2053" y="1013"/>
                      <a:pt x="1487" y="208"/>
                      <a:pt x="1027" y="126"/>
                    </a:cubicBezTo>
                    <a:cubicBezTo>
                      <a:pt x="925" y="104"/>
                      <a:pt x="834" y="93"/>
                      <a:pt x="751" y="93"/>
                    </a:cubicBezTo>
                    <a:cubicBezTo>
                      <a:pt x="457" y="93"/>
                      <a:pt x="278" y="224"/>
                      <a:pt x="169" y="397"/>
                    </a:cubicBezTo>
                    <a:cubicBezTo>
                      <a:pt x="49" y="602"/>
                      <a:pt x="0" y="1337"/>
                      <a:pt x="308" y="2159"/>
                    </a:cubicBezTo>
                    <a:cubicBezTo>
                      <a:pt x="821" y="3514"/>
                      <a:pt x="1519" y="4557"/>
                      <a:pt x="1827" y="4967"/>
                    </a:cubicBezTo>
                    <a:cubicBezTo>
                      <a:pt x="1351" y="5481"/>
                      <a:pt x="1043" y="6162"/>
                      <a:pt x="973" y="6918"/>
                    </a:cubicBezTo>
                    <a:cubicBezTo>
                      <a:pt x="838" y="8696"/>
                      <a:pt x="2172" y="10235"/>
                      <a:pt x="3950" y="10371"/>
                    </a:cubicBezTo>
                    <a:cubicBezTo>
                      <a:pt x="4036" y="10378"/>
                      <a:pt x="4121" y="10381"/>
                      <a:pt x="4206" y="10381"/>
                    </a:cubicBezTo>
                    <a:cubicBezTo>
                      <a:pt x="5873" y="10381"/>
                      <a:pt x="7275" y="9091"/>
                      <a:pt x="7408" y="7414"/>
                    </a:cubicBezTo>
                    <a:cubicBezTo>
                      <a:pt x="7473" y="6470"/>
                      <a:pt x="7149" y="5583"/>
                      <a:pt x="6550" y="4951"/>
                    </a:cubicBezTo>
                    <a:cubicBezTo>
                      <a:pt x="6825" y="4622"/>
                      <a:pt x="7732" y="3547"/>
                      <a:pt x="8229" y="2093"/>
                    </a:cubicBezTo>
                    <a:cubicBezTo>
                      <a:pt x="8520" y="1272"/>
                      <a:pt x="8483" y="553"/>
                      <a:pt x="8364" y="331"/>
                    </a:cubicBezTo>
                    <a:cubicBezTo>
                      <a:pt x="8267" y="147"/>
                      <a:pt x="8134" y="1"/>
                      <a:pt x="7837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46" name="Google Shape;346;p24"/>
              <p:cNvSpPr/>
              <p:nvPr/>
            </p:nvSpPr>
            <p:spPr>
              <a:xfrm>
                <a:off x="335625" y="1851950"/>
                <a:ext cx="80925" cy="30825"/>
              </a:xfrm>
              <a:custGeom>
                <a:avLst/>
                <a:gdLst/>
                <a:ahLst/>
                <a:cxnLst/>
                <a:rect l="l" t="t" r="r" b="b"/>
                <a:pathLst>
                  <a:path w="3237" h="1233" extrusionOk="0">
                    <a:moveTo>
                      <a:pt x="3113" y="1"/>
                    </a:moveTo>
                    <a:lnTo>
                      <a:pt x="3113" y="1"/>
                    </a:lnTo>
                    <a:cubicBezTo>
                      <a:pt x="3064" y="140"/>
                      <a:pt x="2994" y="276"/>
                      <a:pt x="2892" y="395"/>
                    </a:cubicBezTo>
                    <a:cubicBezTo>
                      <a:pt x="2812" y="504"/>
                      <a:pt x="2678" y="586"/>
                      <a:pt x="2552" y="586"/>
                    </a:cubicBezTo>
                    <a:cubicBezTo>
                      <a:pt x="2540" y="586"/>
                      <a:pt x="2529" y="585"/>
                      <a:pt x="2518" y="584"/>
                    </a:cubicBezTo>
                    <a:cubicBezTo>
                      <a:pt x="2497" y="584"/>
                      <a:pt x="2473" y="581"/>
                      <a:pt x="2449" y="581"/>
                    </a:cubicBezTo>
                    <a:cubicBezTo>
                      <a:pt x="2415" y="581"/>
                      <a:pt x="2382" y="587"/>
                      <a:pt x="2362" y="616"/>
                    </a:cubicBezTo>
                    <a:cubicBezTo>
                      <a:pt x="2345" y="633"/>
                      <a:pt x="2329" y="653"/>
                      <a:pt x="2329" y="670"/>
                    </a:cubicBezTo>
                    <a:cubicBezTo>
                      <a:pt x="2243" y="838"/>
                      <a:pt x="2037" y="908"/>
                      <a:pt x="1849" y="961"/>
                    </a:cubicBezTo>
                    <a:cubicBezTo>
                      <a:pt x="1732" y="982"/>
                      <a:pt x="1615" y="996"/>
                      <a:pt x="1499" y="996"/>
                    </a:cubicBezTo>
                    <a:cubicBezTo>
                      <a:pt x="1428" y="996"/>
                      <a:pt x="1357" y="990"/>
                      <a:pt x="1286" y="978"/>
                    </a:cubicBezTo>
                    <a:cubicBezTo>
                      <a:pt x="1097" y="941"/>
                      <a:pt x="908" y="875"/>
                      <a:pt x="773" y="719"/>
                    </a:cubicBezTo>
                    <a:cubicBezTo>
                      <a:pt x="736" y="686"/>
                      <a:pt x="703" y="653"/>
                      <a:pt x="670" y="633"/>
                    </a:cubicBezTo>
                    <a:cubicBezTo>
                      <a:pt x="652" y="627"/>
                      <a:pt x="637" y="626"/>
                      <a:pt x="622" y="626"/>
                    </a:cubicBezTo>
                    <a:cubicBezTo>
                      <a:pt x="593" y="626"/>
                      <a:pt x="566" y="633"/>
                      <a:pt x="531" y="633"/>
                    </a:cubicBezTo>
                    <a:cubicBezTo>
                      <a:pt x="411" y="633"/>
                      <a:pt x="276" y="567"/>
                      <a:pt x="190" y="465"/>
                    </a:cubicBezTo>
                    <a:cubicBezTo>
                      <a:pt x="103" y="362"/>
                      <a:pt x="54" y="243"/>
                      <a:pt x="17" y="103"/>
                    </a:cubicBezTo>
                    <a:lnTo>
                      <a:pt x="17" y="103"/>
                    </a:lnTo>
                    <a:cubicBezTo>
                      <a:pt x="1" y="243"/>
                      <a:pt x="17" y="378"/>
                      <a:pt x="87" y="514"/>
                    </a:cubicBezTo>
                    <a:cubicBezTo>
                      <a:pt x="157" y="633"/>
                      <a:pt x="276" y="736"/>
                      <a:pt x="411" y="773"/>
                    </a:cubicBezTo>
                    <a:cubicBezTo>
                      <a:pt x="465" y="789"/>
                      <a:pt x="514" y="789"/>
                      <a:pt x="567" y="805"/>
                    </a:cubicBezTo>
                    <a:cubicBezTo>
                      <a:pt x="617" y="822"/>
                      <a:pt x="650" y="875"/>
                      <a:pt x="703" y="908"/>
                    </a:cubicBezTo>
                    <a:cubicBezTo>
                      <a:pt x="908" y="1113"/>
                      <a:pt x="1216" y="1216"/>
                      <a:pt x="1508" y="1232"/>
                    </a:cubicBezTo>
                    <a:cubicBezTo>
                      <a:pt x="1816" y="1232"/>
                      <a:pt x="2107" y="1130"/>
                      <a:pt x="2345" y="961"/>
                    </a:cubicBezTo>
                    <a:cubicBezTo>
                      <a:pt x="2415" y="908"/>
                      <a:pt x="2481" y="838"/>
                      <a:pt x="2551" y="805"/>
                    </a:cubicBezTo>
                    <a:cubicBezTo>
                      <a:pt x="2600" y="789"/>
                      <a:pt x="2653" y="773"/>
                      <a:pt x="2703" y="736"/>
                    </a:cubicBezTo>
                    <a:cubicBezTo>
                      <a:pt x="2994" y="616"/>
                      <a:pt x="3236" y="325"/>
                      <a:pt x="3113" y="1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47" name="Google Shape;347;p24"/>
              <p:cNvSpPr/>
              <p:nvPr/>
            </p:nvSpPr>
            <p:spPr>
              <a:xfrm>
                <a:off x="412625" y="1751275"/>
                <a:ext cx="67150" cy="97950"/>
              </a:xfrm>
              <a:custGeom>
                <a:avLst/>
                <a:gdLst/>
                <a:ahLst/>
                <a:cxnLst/>
                <a:rect l="l" t="t" r="r" b="b"/>
                <a:pathLst>
                  <a:path w="2686" h="3918" extrusionOk="0">
                    <a:moveTo>
                      <a:pt x="1967" y="1"/>
                    </a:moveTo>
                    <a:cubicBezTo>
                      <a:pt x="1445" y="1"/>
                      <a:pt x="776" y="1493"/>
                      <a:pt x="633" y="1839"/>
                    </a:cubicBezTo>
                    <a:cubicBezTo>
                      <a:pt x="497" y="2196"/>
                      <a:pt x="0" y="3736"/>
                      <a:pt x="222" y="3892"/>
                    </a:cubicBezTo>
                    <a:cubicBezTo>
                      <a:pt x="246" y="3910"/>
                      <a:pt x="271" y="3918"/>
                      <a:pt x="299" y="3918"/>
                    </a:cubicBezTo>
                    <a:cubicBezTo>
                      <a:pt x="597" y="3918"/>
                      <a:pt x="1127" y="2971"/>
                      <a:pt x="1454" y="2471"/>
                    </a:cubicBezTo>
                    <a:cubicBezTo>
                      <a:pt x="1799" y="1925"/>
                      <a:pt x="2686" y="402"/>
                      <a:pt x="2107" y="41"/>
                    </a:cubicBezTo>
                    <a:cubicBezTo>
                      <a:pt x="2062" y="13"/>
                      <a:pt x="2015" y="1"/>
                      <a:pt x="1967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48" name="Google Shape;348;p24"/>
              <p:cNvSpPr/>
              <p:nvPr/>
            </p:nvSpPr>
            <p:spPr>
              <a:xfrm>
                <a:off x="286050" y="1756375"/>
                <a:ext cx="49200" cy="92325"/>
              </a:xfrm>
              <a:custGeom>
                <a:avLst/>
                <a:gdLst/>
                <a:ahLst/>
                <a:cxnLst/>
                <a:rect l="l" t="t" r="r" b="b"/>
                <a:pathLst>
                  <a:path w="1968" h="3693" extrusionOk="0">
                    <a:moveTo>
                      <a:pt x="274" y="1"/>
                    </a:moveTo>
                    <a:cubicBezTo>
                      <a:pt x="129" y="1"/>
                      <a:pt x="26" y="111"/>
                      <a:pt x="17" y="350"/>
                    </a:cubicBezTo>
                    <a:cubicBezTo>
                      <a:pt x="1" y="797"/>
                      <a:pt x="341" y="1500"/>
                      <a:pt x="616" y="2046"/>
                    </a:cubicBezTo>
                    <a:cubicBezTo>
                      <a:pt x="878" y="2588"/>
                      <a:pt x="1495" y="3693"/>
                      <a:pt x="1781" y="3693"/>
                    </a:cubicBezTo>
                    <a:cubicBezTo>
                      <a:pt x="1792" y="3693"/>
                      <a:pt x="1802" y="3691"/>
                      <a:pt x="1811" y="3688"/>
                    </a:cubicBezTo>
                    <a:cubicBezTo>
                      <a:pt x="1967" y="3655"/>
                      <a:pt x="1865" y="3224"/>
                      <a:pt x="1729" y="2834"/>
                    </a:cubicBezTo>
                    <a:cubicBezTo>
                      <a:pt x="1606" y="2423"/>
                      <a:pt x="1011" y="555"/>
                      <a:pt x="703" y="231"/>
                    </a:cubicBezTo>
                    <a:cubicBezTo>
                      <a:pt x="551" y="81"/>
                      <a:pt x="397" y="1"/>
                      <a:pt x="274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49" name="Google Shape;349;p24"/>
              <p:cNvSpPr/>
              <p:nvPr/>
            </p:nvSpPr>
            <p:spPr>
              <a:xfrm>
                <a:off x="291175" y="1900700"/>
                <a:ext cx="164700" cy="930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3723" extrusionOk="0">
                    <a:moveTo>
                      <a:pt x="169" y="1"/>
                    </a:moveTo>
                    <a:cubicBezTo>
                      <a:pt x="153" y="87"/>
                      <a:pt x="153" y="173"/>
                      <a:pt x="136" y="260"/>
                    </a:cubicBezTo>
                    <a:cubicBezTo>
                      <a:pt x="1" y="2038"/>
                      <a:pt x="1335" y="3577"/>
                      <a:pt x="3113" y="3713"/>
                    </a:cubicBezTo>
                    <a:cubicBezTo>
                      <a:pt x="3199" y="3720"/>
                      <a:pt x="3284" y="3723"/>
                      <a:pt x="3369" y="3723"/>
                    </a:cubicBezTo>
                    <a:cubicBezTo>
                      <a:pt x="5036" y="3723"/>
                      <a:pt x="6438" y="2433"/>
                      <a:pt x="6571" y="756"/>
                    </a:cubicBezTo>
                    <a:cubicBezTo>
                      <a:pt x="6587" y="654"/>
                      <a:pt x="6587" y="568"/>
                      <a:pt x="6587" y="481"/>
                    </a:cubicBezTo>
                    <a:lnTo>
                      <a:pt x="6587" y="481"/>
                    </a:lnTo>
                    <a:cubicBezTo>
                      <a:pt x="6341" y="2046"/>
                      <a:pt x="4980" y="3208"/>
                      <a:pt x="3385" y="3208"/>
                    </a:cubicBezTo>
                    <a:cubicBezTo>
                      <a:pt x="3306" y="3208"/>
                      <a:pt x="3226" y="3205"/>
                      <a:pt x="3146" y="3200"/>
                    </a:cubicBezTo>
                    <a:cubicBezTo>
                      <a:pt x="1471" y="3064"/>
                      <a:pt x="169" y="1660"/>
                      <a:pt x="169" y="1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50" name="Google Shape;350;p24"/>
              <p:cNvSpPr/>
              <p:nvPr/>
            </p:nvSpPr>
            <p:spPr>
              <a:xfrm>
                <a:off x="269725" y="1732475"/>
                <a:ext cx="213950" cy="263500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10540" extrusionOk="0">
                    <a:moveTo>
                      <a:pt x="7819" y="124"/>
                    </a:moveTo>
                    <a:cubicBezTo>
                      <a:pt x="8131" y="124"/>
                      <a:pt x="8341" y="386"/>
                      <a:pt x="8369" y="624"/>
                    </a:cubicBezTo>
                    <a:cubicBezTo>
                      <a:pt x="8418" y="965"/>
                      <a:pt x="8402" y="1306"/>
                      <a:pt x="8316" y="1634"/>
                    </a:cubicBezTo>
                    <a:cubicBezTo>
                      <a:pt x="8213" y="1992"/>
                      <a:pt x="8110" y="2353"/>
                      <a:pt x="7975" y="2710"/>
                    </a:cubicBezTo>
                    <a:cubicBezTo>
                      <a:pt x="7737" y="3256"/>
                      <a:pt x="7412" y="3769"/>
                      <a:pt x="7051" y="4250"/>
                    </a:cubicBezTo>
                    <a:cubicBezTo>
                      <a:pt x="6932" y="4439"/>
                      <a:pt x="6776" y="4628"/>
                      <a:pt x="6640" y="4796"/>
                    </a:cubicBezTo>
                    <a:cubicBezTo>
                      <a:pt x="6571" y="4882"/>
                      <a:pt x="6505" y="4968"/>
                      <a:pt x="6435" y="5055"/>
                    </a:cubicBezTo>
                    <a:cubicBezTo>
                      <a:pt x="6419" y="5088"/>
                      <a:pt x="6386" y="5124"/>
                      <a:pt x="6419" y="5174"/>
                    </a:cubicBezTo>
                    <a:cubicBezTo>
                      <a:pt x="6431" y="5186"/>
                      <a:pt x="6444" y="5192"/>
                      <a:pt x="6458" y="5192"/>
                    </a:cubicBezTo>
                    <a:cubicBezTo>
                      <a:pt x="6479" y="5192"/>
                      <a:pt x="6501" y="5178"/>
                      <a:pt x="6521" y="5157"/>
                    </a:cubicBezTo>
                    <a:cubicBezTo>
                      <a:pt x="6537" y="5147"/>
                      <a:pt x="6547" y="5143"/>
                      <a:pt x="6555" y="5143"/>
                    </a:cubicBezTo>
                    <a:cubicBezTo>
                      <a:pt x="6572" y="5143"/>
                      <a:pt x="6577" y="5162"/>
                      <a:pt x="6591" y="5174"/>
                    </a:cubicBezTo>
                    <a:cubicBezTo>
                      <a:pt x="6829" y="5449"/>
                      <a:pt x="7002" y="5757"/>
                      <a:pt x="7121" y="6081"/>
                    </a:cubicBezTo>
                    <a:cubicBezTo>
                      <a:pt x="7326" y="6611"/>
                      <a:pt x="7375" y="7157"/>
                      <a:pt x="7289" y="7740"/>
                    </a:cubicBezTo>
                    <a:cubicBezTo>
                      <a:pt x="7067" y="9058"/>
                      <a:pt x="5955" y="10134"/>
                      <a:pt x="4620" y="10306"/>
                    </a:cubicBezTo>
                    <a:cubicBezTo>
                      <a:pt x="4474" y="10326"/>
                      <a:pt x="4329" y="10336"/>
                      <a:pt x="4186" y="10336"/>
                    </a:cubicBezTo>
                    <a:cubicBezTo>
                      <a:pt x="3070" y="10336"/>
                      <a:pt x="2052" y="9753"/>
                      <a:pt x="1491" y="8767"/>
                    </a:cubicBezTo>
                    <a:cubicBezTo>
                      <a:pt x="1130" y="8134"/>
                      <a:pt x="994" y="7465"/>
                      <a:pt x="1097" y="6746"/>
                    </a:cubicBezTo>
                    <a:cubicBezTo>
                      <a:pt x="1183" y="6167"/>
                      <a:pt x="1421" y="5654"/>
                      <a:pt x="1783" y="5190"/>
                    </a:cubicBezTo>
                    <a:cubicBezTo>
                      <a:pt x="1804" y="5169"/>
                      <a:pt x="1824" y="5149"/>
                      <a:pt x="1846" y="5149"/>
                    </a:cubicBezTo>
                    <a:cubicBezTo>
                      <a:pt x="1859" y="5149"/>
                      <a:pt x="1872" y="5156"/>
                      <a:pt x="1885" y="5174"/>
                    </a:cubicBezTo>
                    <a:cubicBezTo>
                      <a:pt x="1897" y="5185"/>
                      <a:pt x="1917" y="5197"/>
                      <a:pt x="1933" y="5197"/>
                    </a:cubicBezTo>
                    <a:cubicBezTo>
                      <a:pt x="1940" y="5197"/>
                      <a:pt x="1946" y="5195"/>
                      <a:pt x="1951" y="5190"/>
                    </a:cubicBezTo>
                    <a:cubicBezTo>
                      <a:pt x="1972" y="5174"/>
                      <a:pt x="1951" y="5157"/>
                      <a:pt x="1935" y="5141"/>
                    </a:cubicBezTo>
                    <a:cubicBezTo>
                      <a:pt x="1421" y="4320"/>
                      <a:pt x="945" y="3482"/>
                      <a:pt x="551" y="2575"/>
                    </a:cubicBezTo>
                    <a:cubicBezTo>
                      <a:pt x="432" y="2299"/>
                      <a:pt x="292" y="2024"/>
                      <a:pt x="227" y="1737"/>
                    </a:cubicBezTo>
                    <a:cubicBezTo>
                      <a:pt x="173" y="1511"/>
                      <a:pt x="124" y="1289"/>
                      <a:pt x="124" y="1051"/>
                    </a:cubicBezTo>
                    <a:cubicBezTo>
                      <a:pt x="124" y="862"/>
                      <a:pt x="173" y="690"/>
                      <a:pt x="276" y="522"/>
                    </a:cubicBezTo>
                    <a:cubicBezTo>
                      <a:pt x="376" y="317"/>
                      <a:pt x="538" y="239"/>
                      <a:pt x="761" y="239"/>
                    </a:cubicBezTo>
                    <a:cubicBezTo>
                      <a:pt x="802" y="239"/>
                      <a:pt x="846" y="241"/>
                      <a:pt x="892" y="246"/>
                    </a:cubicBezTo>
                    <a:cubicBezTo>
                      <a:pt x="1027" y="263"/>
                      <a:pt x="1130" y="333"/>
                      <a:pt x="1233" y="402"/>
                    </a:cubicBezTo>
                    <a:cubicBezTo>
                      <a:pt x="1540" y="587"/>
                      <a:pt x="1746" y="879"/>
                      <a:pt x="1918" y="1187"/>
                    </a:cubicBezTo>
                    <a:cubicBezTo>
                      <a:pt x="2193" y="1684"/>
                      <a:pt x="2399" y="2180"/>
                      <a:pt x="2588" y="2710"/>
                    </a:cubicBezTo>
                    <a:cubicBezTo>
                      <a:pt x="2739" y="3207"/>
                      <a:pt x="2912" y="3704"/>
                      <a:pt x="3047" y="4201"/>
                    </a:cubicBezTo>
                    <a:lnTo>
                      <a:pt x="3101" y="4406"/>
                    </a:lnTo>
                    <a:cubicBezTo>
                      <a:pt x="3101" y="4455"/>
                      <a:pt x="3117" y="4488"/>
                      <a:pt x="3167" y="4488"/>
                    </a:cubicBezTo>
                    <a:cubicBezTo>
                      <a:pt x="3220" y="4472"/>
                      <a:pt x="3220" y="4439"/>
                      <a:pt x="3203" y="4385"/>
                    </a:cubicBezTo>
                    <a:cubicBezTo>
                      <a:pt x="3203" y="4336"/>
                      <a:pt x="3150" y="4266"/>
                      <a:pt x="3203" y="4233"/>
                    </a:cubicBezTo>
                    <a:cubicBezTo>
                      <a:pt x="3236" y="4201"/>
                      <a:pt x="3306" y="4180"/>
                      <a:pt x="3355" y="4180"/>
                    </a:cubicBezTo>
                    <a:cubicBezTo>
                      <a:pt x="3642" y="4099"/>
                      <a:pt x="3926" y="4051"/>
                      <a:pt x="4243" y="4051"/>
                    </a:cubicBezTo>
                    <a:cubicBezTo>
                      <a:pt x="4327" y="4051"/>
                      <a:pt x="4412" y="4054"/>
                      <a:pt x="4501" y="4061"/>
                    </a:cubicBezTo>
                    <a:cubicBezTo>
                      <a:pt x="4706" y="4077"/>
                      <a:pt x="4981" y="4147"/>
                      <a:pt x="5236" y="4233"/>
                    </a:cubicBezTo>
                    <a:cubicBezTo>
                      <a:pt x="5289" y="4250"/>
                      <a:pt x="5322" y="4266"/>
                      <a:pt x="5306" y="4336"/>
                    </a:cubicBezTo>
                    <a:lnTo>
                      <a:pt x="5306" y="4353"/>
                    </a:lnTo>
                    <a:cubicBezTo>
                      <a:pt x="5322" y="4385"/>
                      <a:pt x="5306" y="4439"/>
                      <a:pt x="5359" y="4439"/>
                    </a:cubicBezTo>
                    <a:cubicBezTo>
                      <a:pt x="5425" y="4439"/>
                      <a:pt x="5425" y="4406"/>
                      <a:pt x="5425" y="4353"/>
                    </a:cubicBezTo>
                    <a:cubicBezTo>
                      <a:pt x="5478" y="3753"/>
                      <a:pt x="5647" y="3190"/>
                      <a:pt x="5872" y="2624"/>
                    </a:cubicBezTo>
                    <a:cubicBezTo>
                      <a:pt x="6111" y="1959"/>
                      <a:pt x="6435" y="1326"/>
                      <a:pt x="6878" y="760"/>
                    </a:cubicBezTo>
                    <a:cubicBezTo>
                      <a:pt x="6981" y="624"/>
                      <a:pt x="7104" y="485"/>
                      <a:pt x="7240" y="365"/>
                    </a:cubicBezTo>
                    <a:cubicBezTo>
                      <a:pt x="7359" y="263"/>
                      <a:pt x="7494" y="197"/>
                      <a:pt x="7667" y="144"/>
                    </a:cubicBezTo>
                    <a:cubicBezTo>
                      <a:pt x="7720" y="130"/>
                      <a:pt x="7771" y="124"/>
                      <a:pt x="7819" y="124"/>
                    </a:cubicBezTo>
                    <a:close/>
                    <a:moveTo>
                      <a:pt x="7830" y="0"/>
                    </a:moveTo>
                    <a:cubicBezTo>
                      <a:pt x="7772" y="0"/>
                      <a:pt x="7712" y="8"/>
                      <a:pt x="7650" y="25"/>
                    </a:cubicBezTo>
                    <a:cubicBezTo>
                      <a:pt x="7445" y="74"/>
                      <a:pt x="7256" y="160"/>
                      <a:pt x="7104" y="316"/>
                    </a:cubicBezTo>
                    <a:cubicBezTo>
                      <a:pt x="6899" y="522"/>
                      <a:pt x="6710" y="743"/>
                      <a:pt x="6554" y="998"/>
                    </a:cubicBezTo>
                    <a:cubicBezTo>
                      <a:pt x="6160" y="1614"/>
                      <a:pt x="5819" y="2267"/>
                      <a:pt x="5597" y="2985"/>
                    </a:cubicBezTo>
                    <a:cubicBezTo>
                      <a:pt x="5495" y="3326"/>
                      <a:pt x="5392" y="3687"/>
                      <a:pt x="5339" y="4045"/>
                    </a:cubicBezTo>
                    <a:cubicBezTo>
                      <a:pt x="5328" y="4092"/>
                      <a:pt x="5317" y="4107"/>
                      <a:pt x="5295" y="4107"/>
                    </a:cubicBezTo>
                    <a:cubicBezTo>
                      <a:pt x="5285" y="4107"/>
                      <a:pt x="5273" y="4103"/>
                      <a:pt x="5257" y="4098"/>
                    </a:cubicBezTo>
                    <a:cubicBezTo>
                      <a:pt x="4965" y="3995"/>
                      <a:pt x="4657" y="3942"/>
                      <a:pt x="4349" y="3925"/>
                    </a:cubicBezTo>
                    <a:cubicBezTo>
                      <a:pt x="4299" y="3923"/>
                      <a:pt x="4249" y="3922"/>
                      <a:pt x="4200" y="3922"/>
                    </a:cubicBezTo>
                    <a:cubicBezTo>
                      <a:pt x="3856" y="3922"/>
                      <a:pt x="3516" y="3971"/>
                      <a:pt x="3203" y="4061"/>
                    </a:cubicBezTo>
                    <a:cubicBezTo>
                      <a:pt x="3189" y="4065"/>
                      <a:pt x="3178" y="4067"/>
                      <a:pt x="3168" y="4067"/>
                    </a:cubicBezTo>
                    <a:cubicBezTo>
                      <a:pt x="3142" y="4067"/>
                      <a:pt x="3134" y="4052"/>
                      <a:pt x="3134" y="4028"/>
                    </a:cubicBezTo>
                    <a:cubicBezTo>
                      <a:pt x="3101" y="3925"/>
                      <a:pt x="3080" y="3839"/>
                      <a:pt x="3064" y="3737"/>
                    </a:cubicBezTo>
                    <a:cubicBezTo>
                      <a:pt x="2896" y="3154"/>
                      <a:pt x="2690" y="2591"/>
                      <a:pt x="2485" y="2024"/>
                    </a:cubicBezTo>
                    <a:cubicBezTo>
                      <a:pt x="2329" y="1634"/>
                      <a:pt x="2140" y="1257"/>
                      <a:pt x="1902" y="895"/>
                    </a:cubicBezTo>
                    <a:cubicBezTo>
                      <a:pt x="1729" y="624"/>
                      <a:pt x="1508" y="402"/>
                      <a:pt x="1233" y="230"/>
                    </a:cubicBezTo>
                    <a:cubicBezTo>
                      <a:pt x="1100" y="162"/>
                      <a:pt x="955" y="117"/>
                      <a:pt x="799" y="117"/>
                    </a:cubicBezTo>
                    <a:cubicBezTo>
                      <a:pt x="756" y="117"/>
                      <a:pt x="714" y="120"/>
                      <a:pt x="670" y="127"/>
                    </a:cubicBezTo>
                    <a:cubicBezTo>
                      <a:pt x="448" y="144"/>
                      <a:pt x="276" y="246"/>
                      <a:pt x="157" y="452"/>
                    </a:cubicBezTo>
                    <a:cubicBezTo>
                      <a:pt x="87" y="608"/>
                      <a:pt x="38" y="760"/>
                      <a:pt x="21" y="932"/>
                    </a:cubicBezTo>
                    <a:cubicBezTo>
                      <a:pt x="1" y="1170"/>
                      <a:pt x="38" y="1408"/>
                      <a:pt x="87" y="1651"/>
                    </a:cubicBezTo>
                    <a:cubicBezTo>
                      <a:pt x="157" y="1992"/>
                      <a:pt x="292" y="2299"/>
                      <a:pt x="448" y="2624"/>
                    </a:cubicBezTo>
                    <a:cubicBezTo>
                      <a:pt x="789" y="3429"/>
                      <a:pt x="1216" y="4180"/>
                      <a:pt x="1697" y="4919"/>
                    </a:cubicBezTo>
                    <a:cubicBezTo>
                      <a:pt x="1729" y="4985"/>
                      <a:pt x="1729" y="5022"/>
                      <a:pt x="1680" y="5088"/>
                    </a:cubicBezTo>
                    <a:cubicBezTo>
                      <a:pt x="1097" y="5790"/>
                      <a:pt x="842" y="6594"/>
                      <a:pt x="908" y="7502"/>
                    </a:cubicBezTo>
                    <a:cubicBezTo>
                      <a:pt x="1027" y="9128"/>
                      <a:pt x="2329" y="10393"/>
                      <a:pt x="3938" y="10528"/>
                    </a:cubicBezTo>
                    <a:cubicBezTo>
                      <a:pt x="4030" y="10535"/>
                      <a:pt x="4120" y="10539"/>
                      <a:pt x="4209" y="10539"/>
                    </a:cubicBezTo>
                    <a:cubicBezTo>
                      <a:pt x="4569" y="10539"/>
                      <a:pt x="4917" y="10478"/>
                      <a:pt x="5289" y="10339"/>
                    </a:cubicBezTo>
                    <a:cubicBezTo>
                      <a:pt x="6468" y="9896"/>
                      <a:pt x="7207" y="9042"/>
                      <a:pt x="7445" y="7773"/>
                    </a:cubicBezTo>
                    <a:cubicBezTo>
                      <a:pt x="7564" y="7124"/>
                      <a:pt x="7478" y="6492"/>
                      <a:pt x="7207" y="5876"/>
                    </a:cubicBezTo>
                    <a:cubicBezTo>
                      <a:pt x="7084" y="5584"/>
                      <a:pt x="6899" y="5309"/>
                      <a:pt x="6694" y="5071"/>
                    </a:cubicBezTo>
                    <a:cubicBezTo>
                      <a:pt x="6657" y="5038"/>
                      <a:pt x="6640" y="5022"/>
                      <a:pt x="6673" y="4968"/>
                    </a:cubicBezTo>
                    <a:cubicBezTo>
                      <a:pt x="6846" y="4780"/>
                      <a:pt x="7002" y="4558"/>
                      <a:pt x="7154" y="4353"/>
                    </a:cubicBezTo>
                    <a:cubicBezTo>
                      <a:pt x="7515" y="3872"/>
                      <a:pt x="7823" y="3379"/>
                      <a:pt x="8061" y="2829"/>
                    </a:cubicBezTo>
                    <a:cubicBezTo>
                      <a:pt x="8233" y="2456"/>
                      <a:pt x="8336" y="2061"/>
                      <a:pt x="8455" y="1667"/>
                    </a:cubicBezTo>
                    <a:cubicBezTo>
                      <a:pt x="8558" y="1306"/>
                      <a:pt x="8558" y="949"/>
                      <a:pt x="8504" y="587"/>
                    </a:cubicBezTo>
                    <a:cubicBezTo>
                      <a:pt x="8462" y="294"/>
                      <a:pt x="8188" y="0"/>
                      <a:pt x="783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51" name="Google Shape;351;p24"/>
              <p:cNvSpPr/>
              <p:nvPr/>
            </p:nvSpPr>
            <p:spPr>
              <a:xfrm>
                <a:off x="414775" y="1750000"/>
                <a:ext cx="56075" cy="100775"/>
              </a:xfrm>
              <a:custGeom>
                <a:avLst/>
                <a:gdLst/>
                <a:ahLst/>
                <a:cxnLst/>
                <a:rect l="l" t="t" r="r" b="b"/>
                <a:pathLst>
                  <a:path w="2243" h="4031" extrusionOk="0">
                    <a:moveTo>
                      <a:pt x="1911" y="125"/>
                    </a:moveTo>
                    <a:cubicBezTo>
                      <a:pt x="1998" y="125"/>
                      <a:pt x="2062" y="183"/>
                      <a:pt x="2087" y="297"/>
                    </a:cubicBezTo>
                    <a:cubicBezTo>
                      <a:pt x="2124" y="523"/>
                      <a:pt x="2087" y="728"/>
                      <a:pt x="2037" y="933"/>
                    </a:cubicBezTo>
                    <a:cubicBezTo>
                      <a:pt x="1935" y="1360"/>
                      <a:pt x="1746" y="1734"/>
                      <a:pt x="1540" y="2095"/>
                    </a:cubicBezTo>
                    <a:cubicBezTo>
                      <a:pt x="1265" y="2592"/>
                      <a:pt x="941" y="3036"/>
                      <a:pt x="649" y="3500"/>
                    </a:cubicBezTo>
                    <a:cubicBezTo>
                      <a:pt x="563" y="3635"/>
                      <a:pt x="481" y="3738"/>
                      <a:pt x="358" y="3824"/>
                    </a:cubicBezTo>
                    <a:cubicBezTo>
                      <a:pt x="341" y="3840"/>
                      <a:pt x="309" y="3857"/>
                      <a:pt x="292" y="3873"/>
                    </a:cubicBezTo>
                    <a:cubicBezTo>
                      <a:pt x="266" y="3884"/>
                      <a:pt x="243" y="3890"/>
                      <a:pt x="224" y="3890"/>
                    </a:cubicBezTo>
                    <a:cubicBezTo>
                      <a:pt x="179" y="3890"/>
                      <a:pt x="153" y="3859"/>
                      <a:pt x="153" y="3787"/>
                    </a:cubicBezTo>
                    <a:cubicBezTo>
                      <a:pt x="153" y="3738"/>
                      <a:pt x="173" y="3668"/>
                      <a:pt x="173" y="3635"/>
                    </a:cubicBezTo>
                    <a:cubicBezTo>
                      <a:pt x="206" y="3224"/>
                      <a:pt x="341" y="2847"/>
                      <a:pt x="444" y="2473"/>
                    </a:cubicBezTo>
                    <a:cubicBezTo>
                      <a:pt x="633" y="1820"/>
                      <a:pt x="925" y="1221"/>
                      <a:pt x="1282" y="658"/>
                    </a:cubicBezTo>
                    <a:cubicBezTo>
                      <a:pt x="1405" y="486"/>
                      <a:pt x="1524" y="317"/>
                      <a:pt x="1713" y="215"/>
                    </a:cubicBezTo>
                    <a:cubicBezTo>
                      <a:pt x="1746" y="178"/>
                      <a:pt x="1779" y="161"/>
                      <a:pt x="1816" y="145"/>
                    </a:cubicBezTo>
                    <a:cubicBezTo>
                      <a:pt x="1850" y="131"/>
                      <a:pt x="1882" y="125"/>
                      <a:pt x="1911" y="125"/>
                    </a:cubicBezTo>
                    <a:close/>
                    <a:moveTo>
                      <a:pt x="1888" y="0"/>
                    </a:moveTo>
                    <a:cubicBezTo>
                      <a:pt x="1804" y="0"/>
                      <a:pt x="1728" y="31"/>
                      <a:pt x="1660" y="75"/>
                    </a:cubicBezTo>
                    <a:cubicBezTo>
                      <a:pt x="1508" y="178"/>
                      <a:pt x="1368" y="297"/>
                      <a:pt x="1265" y="453"/>
                    </a:cubicBezTo>
                    <a:cubicBezTo>
                      <a:pt x="1113" y="658"/>
                      <a:pt x="994" y="880"/>
                      <a:pt x="871" y="1118"/>
                    </a:cubicBezTo>
                    <a:cubicBezTo>
                      <a:pt x="498" y="1787"/>
                      <a:pt x="276" y="2522"/>
                      <a:pt x="87" y="3257"/>
                    </a:cubicBezTo>
                    <a:cubicBezTo>
                      <a:pt x="34" y="3446"/>
                      <a:pt x="1" y="3635"/>
                      <a:pt x="34" y="3840"/>
                    </a:cubicBezTo>
                    <a:cubicBezTo>
                      <a:pt x="59" y="3962"/>
                      <a:pt x="126" y="4030"/>
                      <a:pt x="216" y="4030"/>
                    </a:cubicBezTo>
                    <a:cubicBezTo>
                      <a:pt x="254" y="4030"/>
                      <a:pt x="296" y="4018"/>
                      <a:pt x="341" y="3992"/>
                    </a:cubicBezTo>
                    <a:cubicBezTo>
                      <a:pt x="444" y="3943"/>
                      <a:pt x="530" y="3857"/>
                      <a:pt x="600" y="3771"/>
                    </a:cubicBezTo>
                    <a:cubicBezTo>
                      <a:pt x="789" y="3582"/>
                      <a:pt x="908" y="3344"/>
                      <a:pt x="1060" y="3122"/>
                    </a:cubicBezTo>
                    <a:cubicBezTo>
                      <a:pt x="1352" y="2658"/>
                      <a:pt x="1660" y="2214"/>
                      <a:pt x="1898" y="1718"/>
                    </a:cubicBezTo>
                    <a:cubicBezTo>
                      <a:pt x="2070" y="1377"/>
                      <a:pt x="2189" y="1015"/>
                      <a:pt x="2243" y="625"/>
                    </a:cubicBezTo>
                    <a:cubicBezTo>
                      <a:pt x="2243" y="486"/>
                      <a:pt x="2243" y="350"/>
                      <a:pt x="2206" y="215"/>
                    </a:cubicBezTo>
                    <a:cubicBezTo>
                      <a:pt x="2173" y="128"/>
                      <a:pt x="2124" y="42"/>
                      <a:pt x="2021" y="26"/>
                    </a:cubicBezTo>
                    <a:cubicBezTo>
                      <a:pt x="1974" y="8"/>
                      <a:pt x="1930" y="0"/>
                      <a:pt x="188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52" name="Google Shape;352;p24"/>
              <p:cNvSpPr/>
              <p:nvPr/>
            </p:nvSpPr>
            <p:spPr>
              <a:xfrm>
                <a:off x="285125" y="1754425"/>
                <a:ext cx="50125" cy="95875"/>
              </a:xfrm>
              <a:custGeom>
                <a:avLst/>
                <a:gdLst/>
                <a:ahLst/>
                <a:cxnLst/>
                <a:rect l="l" t="t" r="r" b="b"/>
                <a:pathLst>
                  <a:path w="2005" h="3835" extrusionOk="0">
                    <a:moveTo>
                      <a:pt x="321" y="132"/>
                    </a:moveTo>
                    <a:cubicBezTo>
                      <a:pt x="334" y="132"/>
                      <a:pt x="348" y="135"/>
                      <a:pt x="362" y="140"/>
                    </a:cubicBezTo>
                    <a:cubicBezTo>
                      <a:pt x="465" y="157"/>
                      <a:pt x="551" y="222"/>
                      <a:pt x="617" y="309"/>
                    </a:cubicBezTo>
                    <a:cubicBezTo>
                      <a:pt x="822" y="567"/>
                      <a:pt x="978" y="838"/>
                      <a:pt x="1081" y="1146"/>
                    </a:cubicBezTo>
                    <a:cubicBezTo>
                      <a:pt x="1335" y="1885"/>
                      <a:pt x="1594" y="2620"/>
                      <a:pt x="1832" y="3372"/>
                    </a:cubicBezTo>
                    <a:cubicBezTo>
                      <a:pt x="1848" y="3442"/>
                      <a:pt x="1869" y="3507"/>
                      <a:pt x="1869" y="3594"/>
                    </a:cubicBezTo>
                    <a:cubicBezTo>
                      <a:pt x="1885" y="3631"/>
                      <a:pt x="1885" y="3680"/>
                      <a:pt x="1832" y="3696"/>
                    </a:cubicBezTo>
                    <a:cubicBezTo>
                      <a:pt x="1826" y="3699"/>
                      <a:pt x="1819" y="3701"/>
                      <a:pt x="1813" y="3701"/>
                    </a:cubicBezTo>
                    <a:cubicBezTo>
                      <a:pt x="1786" y="3701"/>
                      <a:pt x="1759" y="3677"/>
                      <a:pt x="1729" y="3663"/>
                    </a:cubicBezTo>
                    <a:cubicBezTo>
                      <a:pt x="1627" y="3561"/>
                      <a:pt x="1524" y="3442"/>
                      <a:pt x="1438" y="3323"/>
                    </a:cubicBezTo>
                    <a:cubicBezTo>
                      <a:pt x="1113" y="2859"/>
                      <a:pt x="859" y="2345"/>
                      <a:pt x="584" y="1832"/>
                    </a:cubicBezTo>
                    <a:cubicBezTo>
                      <a:pt x="411" y="1475"/>
                      <a:pt x="259" y="1130"/>
                      <a:pt x="173" y="756"/>
                    </a:cubicBezTo>
                    <a:cubicBezTo>
                      <a:pt x="140" y="670"/>
                      <a:pt x="140" y="584"/>
                      <a:pt x="124" y="514"/>
                    </a:cubicBezTo>
                    <a:cubicBezTo>
                      <a:pt x="103" y="379"/>
                      <a:pt x="157" y="276"/>
                      <a:pt x="226" y="190"/>
                    </a:cubicBezTo>
                    <a:cubicBezTo>
                      <a:pt x="251" y="153"/>
                      <a:pt x="284" y="132"/>
                      <a:pt x="321" y="132"/>
                    </a:cubicBezTo>
                    <a:close/>
                    <a:moveTo>
                      <a:pt x="395" y="1"/>
                    </a:moveTo>
                    <a:cubicBezTo>
                      <a:pt x="292" y="1"/>
                      <a:pt x="206" y="17"/>
                      <a:pt x="157" y="87"/>
                    </a:cubicBezTo>
                    <a:cubicBezTo>
                      <a:pt x="54" y="190"/>
                      <a:pt x="1" y="309"/>
                      <a:pt x="1" y="465"/>
                    </a:cubicBezTo>
                    <a:cubicBezTo>
                      <a:pt x="1" y="633"/>
                      <a:pt x="54" y="789"/>
                      <a:pt x="103" y="962"/>
                    </a:cubicBezTo>
                    <a:cubicBezTo>
                      <a:pt x="226" y="1389"/>
                      <a:pt x="432" y="1783"/>
                      <a:pt x="617" y="2173"/>
                    </a:cubicBezTo>
                    <a:cubicBezTo>
                      <a:pt x="842" y="2620"/>
                      <a:pt x="1081" y="3047"/>
                      <a:pt x="1372" y="3442"/>
                    </a:cubicBezTo>
                    <a:cubicBezTo>
                      <a:pt x="1458" y="3561"/>
                      <a:pt x="1561" y="3680"/>
                      <a:pt x="1680" y="3766"/>
                    </a:cubicBezTo>
                    <a:cubicBezTo>
                      <a:pt x="1723" y="3812"/>
                      <a:pt x="1768" y="3835"/>
                      <a:pt x="1818" y="3835"/>
                    </a:cubicBezTo>
                    <a:cubicBezTo>
                      <a:pt x="1844" y="3835"/>
                      <a:pt x="1872" y="3828"/>
                      <a:pt x="1902" y="3815"/>
                    </a:cubicBezTo>
                    <a:cubicBezTo>
                      <a:pt x="1972" y="3782"/>
                      <a:pt x="2004" y="3696"/>
                      <a:pt x="2004" y="3631"/>
                    </a:cubicBezTo>
                    <a:cubicBezTo>
                      <a:pt x="2004" y="3507"/>
                      <a:pt x="1988" y="3405"/>
                      <a:pt x="1951" y="3302"/>
                    </a:cubicBezTo>
                    <a:cubicBezTo>
                      <a:pt x="1729" y="2567"/>
                      <a:pt x="1458" y="1849"/>
                      <a:pt x="1216" y="1130"/>
                    </a:cubicBezTo>
                    <a:cubicBezTo>
                      <a:pt x="1113" y="789"/>
                      <a:pt x="945" y="498"/>
                      <a:pt x="719" y="222"/>
                    </a:cubicBezTo>
                    <a:cubicBezTo>
                      <a:pt x="637" y="103"/>
                      <a:pt x="534" y="38"/>
                      <a:pt x="395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53" name="Google Shape;353;p24"/>
              <p:cNvSpPr/>
              <p:nvPr/>
            </p:nvSpPr>
            <p:spPr>
              <a:xfrm>
                <a:off x="335225" y="1850725"/>
                <a:ext cx="79175" cy="28025"/>
              </a:xfrm>
              <a:custGeom>
                <a:avLst/>
                <a:gdLst/>
                <a:ahLst/>
                <a:cxnLst/>
                <a:rect l="l" t="t" r="r" b="b"/>
                <a:pathLst>
                  <a:path w="3167" h="1121" extrusionOk="0">
                    <a:moveTo>
                      <a:pt x="2242" y="292"/>
                    </a:moveTo>
                    <a:cubicBezTo>
                      <a:pt x="2308" y="308"/>
                      <a:pt x="2378" y="394"/>
                      <a:pt x="2378" y="477"/>
                    </a:cubicBezTo>
                    <a:cubicBezTo>
                      <a:pt x="2378" y="497"/>
                      <a:pt x="2378" y="530"/>
                      <a:pt x="2345" y="546"/>
                    </a:cubicBezTo>
                    <a:cubicBezTo>
                      <a:pt x="2342" y="550"/>
                      <a:pt x="2338" y="551"/>
                      <a:pt x="2333" y="551"/>
                    </a:cubicBezTo>
                    <a:cubicBezTo>
                      <a:pt x="2315" y="551"/>
                      <a:pt x="2288" y="530"/>
                      <a:pt x="2275" y="530"/>
                    </a:cubicBezTo>
                    <a:cubicBezTo>
                      <a:pt x="2226" y="477"/>
                      <a:pt x="2189" y="427"/>
                      <a:pt x="2173" y="374"/>
                    </a:cubicBezTo>
                    <a:cubicBezTo>
                      <a:pt x="2156" y="308"/>
                      <a:pt x="2189" y="292"/>
                      <a:pt x="2242" y="292"/>
                    </a:cubicBezTo>
                    <a:close/>
                    <a:moveTo>
                      <a:pt x="853" y="265"/>
                    </a:moveTo>
                    <a:cubicBezTo>
                      <a:pt x="865" y="265"/>
                      <a:pt x="878" y="267"/>
                      <a:pt x="891" y="271"/>
                    </a:cubicBezTo>
                    <a:cubicBezTo>
                      <a:pt x="941" y="308"/>
                      <a:pt x="941" y="341"/>
                      <a:pt x="924" y="394"/>
                    </a:cubicBezTo>
                    <a:cubicBezTo>
                      <a:pt x="908" y="460"/>
                      <a:pt x="854" y="514"/>
                      <a:pt x="805" y="563"/>
                    </a:cubicBezTo>
                    <a:cubicBezTo>
                      <a:pt x="791" y="567"/>
                      <a:pt x="779" y="569"/>
                      <a:pt x="770" y="569"/>
                    </a:cubicBezTo>
                    <a:cubicBezTo>
                      <a:pt x="744" y="569"/>
                      <a:pt x="735" y="554"/>
                      <a:pt x="735" y="530"/>
                    </a:cubicBezTo>
                    <a:cubicBezTo>
                      <a:pt x="719" y="444"/>
                      <a:pt x="735" y="358"/>
                      <a:pt x="768" y="325"/>
                    </a:cubicBezTo>
                    <a:cubicBezTo>
                      <a:pt x="784" y="284"/>
                      <a:pt x="816" y="265"/>
                      <a:pt x="853" y="265"/>
                    </a:cubicBezTo>
                    <a:close/>
                    <a:moveTo>
                      <a:pt x="3096" y="0"/>
                    </a:moveTo>
                    <a:cubicBezTo>
                      <a:pt x="3064" y="0"/>
                      <a:pt x="3064" y="17"/>
                      <a:pt x="3047" y="50"/>
                    </a:cubicBezTo>
                    <a:lnTo>
                      <a:pt x="3047" y="87"/>
                    </a:lnTo>
                    <a:cubicBezTo>
                      <a:pt x="2994" y="308"/>
                      <a:pt x="2788" y="530"/>
                      <a:pt x="2550" y="563"/>
                    </a:cubicBezTo>
                    <a:cubicBezTo>
                      <a:pt x="2513" y="563"/>
                      <a:pt x="2497" y="563"/>
                      <a:pt x="2497" y="514"/>
                    </a:cubicBezTo>
                    <a:cubicBezTo>
                      <a:pt x="2534" y="358"/>
                      <a:pt x="2448" y="222"/>
                      <a:pt x="2292" y="169"/>
                    </a:cubicBezTo>
                    <a:cubicBezTo>
                      <a:pt x="2268" y="160"/>
                      <a:pt x="2245" y="156"/>
                      <a:pt x="2222" y="156"/>
                    </a:cubicBezTo>
                    <a:cubicBezTo>
                      <a:pt x="2114" y="156"/>
                      <a:pt x="2023" y="248"/>
                      <a:pt x="2037" y="374"/>
                    </a:cubicBezTo>
                    <a:cubicBezTo>
                      <a:pt x="2053" y="497"/>
                      <a:pt x="2123" y="600"/>
                      <a:pt x="2242" y="665"/>
                    </a:cubicBezTo>
                    <a:cubicBezTo>
                      <a:pt x="2275" y="682"/>
                      <a:pt x="2275" y="702"/>
                      <a:pt x="2242" y="735"/>
                    </a:cubicBezTo>
                    <a:cubicBezTo>
                      <a:pt x="2173" y="822"/>
                      <a:pt x="2086" y="887"/>
                      <a:pt x="1967" y="924"/>
                    </a:cubicBezTo>
                    <a:cubicBezTo>
                      <a:pt x="1842" y="961"/>
                      <a:pt x="1716" y="984"/>
                      <a:pt x="1590" y="984"/>
                    </a:cubicBezTo>
                    <a:cubicBezTo>
                      <a:pt x="1494" y="984"/>
                      <a:pt x="1398" y="971"/>
                      <a:pt x="1302" y="941"/>
                    </a:cubicBezTo>
                    <a:cubicBezTo>
                      <a:pt x="1113" y="908"/>
                      <a:pt x="957" y="822"/>
                      <a:pt x="822" y="702"/>
                    </a:cubicBezTo>
                    <a:cubicBezTo>
                      <a:pt x="941" y="633"/>
                      <a:pt x="1027" y="546"/>
                      <a:pt x="1043" y="427"/>
                    </a:cubicBezTo>
                    <a:cubicBezTo>
                      <a:pt x="1076" y="292"/>
                      <a:pt x="1027" y="189"/>
                      <a:pt x="924" y="152"/>
                    </a:cubicBezTo>
                    <a:cubicBezTo>
                      <a:pt x="900" y="144"/>
                      <a:pt x="874" y="140"/>
                      <a:pt x="848" y="140"/>
                    </a:cubicBezTo>
                    <a:cubicBezTo>
                      <a:pt x="767" y="140"/>
                      <a:pt x="686" y="181"/>
                      <a:pt x="633" y="271"/>
                    </a:cubicBezTo>
                    <a:cubicBezTo>
                      <a:pt x="600" y="358"/>
                      <a:pt x="583" y="460"/>
                      <a:pt x="600" y="546"/>
                    </a:cubicBezTo>
                    <a:cubicBezTo>
                      <a:pt x="616" y="616"/>
                      <a:pt x="600" y="616"/>
                      <a:pt x="547" y="616"/>
                    </a:cubicBezTo>
                    <a:cubicBezTo>
                      <a:pt x="308" y="579"/>
                      <a:pt x="136" y="411"/>
                      <a:pt x="87" y="169"/>
                    </a:cubicBezTo>
                    <a:cubicBezTo>
                      <a:pt x="87" y="140"/>
                      <a:pt x="99" y="100"/>
                      <a:pt x="68" y="100"/>
                    </a:cubicBezTo>
                    <a:cubicBezTo>
                      <a:pt x="63" y="100"/>
                      <a:pt x="57" y="101"/>
                      <a:pt x="50" y="103"/>
                    </a:cubicBezTo>
                    <a:cubicBezTo>
                      <a:pt x="0" y="103"/>
                      <a:pt x="17" y="136"/>
                      <a:pt x="17" y="169"/>
                    </a:cubicBezTo>
                    <a:cubicBezTo>
                      <a:pt x="0" y="444"/>
                      <a:pt x="239" y="719"/>
                      <a:pt x="530" y="735"/>
                    </a:cubicBezTo>
                    <a:cubicBezTo>
                      <a:pt x="633" y="735"/>
                      <a:pt x="719" y="752"/>
                      <a:pt x="768" y="838"/>
                    </a:cubicBezTo>
                    <a:cubicBezTo>
                      <a:pt x="789" y="871"/>
                      <a:pt x="838" y="887"/>
                      <a:pt x="854" y="908"/>
                    </a:cubicBezTo>
                    <a:cubicBezTo>
                      <a:pt x="1085" y="1049"/>
                      <a:pt x="1328" y="1121"/>
                      <a:pt x="1592" y="1121"/>
                    </a:cubicBezTo>
                    <a:cubicBezTo>
                      <a:pt x="1642" y="1121"/>
                      <a:pt x="1693" y="1118"/>
                      <a:pt x="1746" y="1113"/>
                    </a:cubicBezTo>
                    <a:cubicBezTo>
                      <a:pt x="2021" y="1076"/>
                      <a:pt x="2259" y="990"/>
                      <a:pt x="2411" y="735"/>
                    </a:cubicBezTo>
                    <a:cubicBezTo>
                      <a:pt x="2431" y="719"/>
                      <a:pt x="2448" y="702"/>
                      <a:pt x="2481" y="702"/>
                    </a:cubicBezTo>
                    <a:cubicBezTo>
                      <a:pt x="2805" y="702"/>
                      <a:pt x="2994" y="514"/>
                      <a:pt x="3129" y="238"/>
                    </a:cubicBezTo>
                    <a:cubicBezTo>
                      <a:pt x="3166" y="169"/>
                      <a:pt x="3166" y="103"/>
                      <a:pt x="3150" y="50"/>
                    </a:cubicBezTo>
                    <a:cubicBezTo>
                      <a:pt x="3129" y="17"/>
                      <a:pt x="3113" y="0"/>
                      <a:pt x="3096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54" name="Google Shape;354;p24"/>
              <p:cNvSpPr/>
              <p:nvPr/>
            </p:nvSpPr>
            <p:spPr>
              <a:xfrm>
                <a:off x="372900" y="1851775"/>
                <a:ext cx="9775" cy="7175"/>
              </a:xfrm>
              <a:custGeom>
                <a:avLst/>
                <a:gdLst/>
                <a:ahLst/>
                <a:cxnLst/>
                <a:rect l="l" t="t" r="r" b="b"/>
                <a:pathLst>
                  <a:path w="391" h="287" extrusionOk="0">
                    <a:moveTo>
                      <a:pt x="337" y="0"/>
                    </a:moveTo>
                    <a:cubicBezTo>
                      <a:pt x="321" y="0"/>
                      <a:pt x="301" y="8"/>
                      <a:pt x="288" y="8"/>
                    </a:cubicBezTo>
                    <a:cubicBezTo>
                      <a:pt x="206" y="61"/>
                      <a:pt x="119" y="127"/>
                      <a:pt x="33" y="196"/>
                    </a:cubicBezTo>
                    <a:cubicBezTo>
                      <a:pt x="17" y="213"/>
                      <a:pt x="0" y="250"/>
                      <a:pt x="17" y="266"/>
                    </a:cubicBezTo>
                    <a:cubicBezTo>
                      <a:pt x="25" y="283"/>
                      <a:pt x="37" y="287"/>
                      <a:pt x="52" y="287"/>
                    </a:cubicBezTo>
                    <a:cubicBezTo>
                      <a:pt x="67" y="287"/>
                      <a:pt x="85" y="283"/>
                      <a:pt x="103" y="283"/>
                    </a:cubicBezTo>
                    <a:cubicBezTo>
                      <a:pt x="169" y="250"/>
                      <a:pt x="239" y="196"/>
                      <a:pt x="308" y="147"/>
                    </a:cubicBezTo>
                    <a:cubicBezTo>
                      <a:pt x="341" y="110"/>
                      <a:pt x="358" y="94"/>
                      <a:pt x="390" y="45"/>
                    </a:cubicBezTo>
                    <a:cubicBezTo>
                      <a:pt x="390" y="8"/>
                      <a:pt x="390" y="8"/>
                      <a:pt x="358" y="8"/>
                    </a:cubicBezTo>
                    <a:cubicBezTo>
                      <a:pt x="352" y="2"/>
                      <a:pt x="345" y="0"/>
                      <a:pt x="337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55" name="Google Shape;355;p24"/>
              <p:cNvSpPr/>
              <p:nvPr/>
            </p:nvSpPr>
            <p:spPr>
              <a:xfrm>
                <a:off x="283075" y="1747150"/>
                <a:ext cx="5975" cy="7725"/>
              </a:xfrm>
              <a:custGeom>
                <a:avLst/>
                <a:gdLst/>
                <a:ahLst/>
                <a:cxnLst/>
                <a:rect l="l" t="t" r="r" b="b"/>
                <a:pathLst>
                  <a:path w="239" h="309" extrusionOk="0">
                    <a:moveTo>
                      <a:pt x="222" y="0"/>
                    </a:moveTo>
                    <a:cubicBezTo>
                      <a:pt x="185" y="0"/>
                      <a:pt x="169" y="0"/>
                      <a:pt x="152" y="21"/>
                    </a:cubicBezTo>
                    <a:cubicBezTo>
                      <a:pt x="83" y="70"/>
                      <a:pt x="33" y="156"/>
                      <a:pt x="17" y="259"/>
                    </a:cubicBezTo>
                    <a:cubicBezTo>
                      <a:pt x="0" y="275"/>
                      <a:pt x="17" y="292"/>
                      <a:pt x="33" y="308"/>
                    </a:cubicBezTo>
                    <a:cubicBezTo>
                      <a:pt x="50" y="308"/>
                      <a:pt x="66" y="308"/>
                      <a:pt x="83" y="292"/>
                    </a:cubicBezTo>
                    <a:cubicBezTo>
                      <a:pt x="152" y="226"/>
                      <a:pt x="185" y="140"/>
                      <a:pt x="222" y="70"/>
                    </a:cubicBezTo>
                    <a:cubicBezTo>
                      <a:pt x="222" y="37"/>
                      <a:pt x="239" y="21"/>
                      <a:pt x="22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56" name="Google Shape;356;p24"/>
              <p:cNvSpPr/>
              <p:nvPr/>
            </p:nvSpPr>
            <p:spPr>
              <a:xfrm>
                <a:off x="465275" y="1739750"/>
                <a:ext cx="4250" cy="7175"/>
              </a:xfrm>
              <a:custGeom>
                <a:avLst/>
                <a:gdLst/>
                <a:ahLst/>
                <a:cxnLst/>
                <a:rect l="l" t="t" r="r" b="b"/>
                <a:pathLst>
                  <a:path w="170" h="287" extrusionOk="0">
                    <a:moveTo>
                      <a:pt x="43" y="0"/>
                    </a:moveTo>
                    <a:cubicBezTo>
                      <a:pt x="35" y="0"/>
                      <a:pt x="27" y="3"/>
                      <a:pt x="17" y="9"/>
                    </a:cubicBezTo>
                    <a:cubicBezTo>
                      <a:pt x="1" y="25"/>
                      <a:pt x="1" y="42"/>
                      <a:pt x="1" y="58"/>
                    </a:cubicBezTo>
                    <a:cubicBezTo>
                      <a:pt x="17" y="128"/>
                      <a:pt x="34" y="194"/>
                      <a:pt x="83" y="263"/>
                    </a:cubicBezTo>
                    <a:cubicBezTo>
                      <a:pt x="98" y="275"/>
                      <a:pt x="110" y="287"/>
                      <a:pt x="122" y="287"/>
                    </a:cubicBezTo>
                    <a:cubicBezTo>
                      <a:pt x="127" y="287"/>
                      <a:pt x="132" y="285"/>
                      <a:pt x="136" y="280"/>
                    </a:cubicBezTo>
                    <a:cubicBezTo>
                      <a:pt x="153" y="280"/>
                      <a:pt x="169" y="263"/>
                      <a:pt x="169" y="231"/>
                    </a:cubicBezTo>
                    <a:cubicBezTo>
                      <a:pt x="153" y="161"/>
                      <a:pt x="136" y="91"/>
                      <a:pt x="83" y="25"/>
                    </a:cubicBezTo>
                    <a:cubicBezTo>
                      <a:pt x="71" y="14"/>
                      <a:pt x="60" y="0"/>
                      <a:pt x="4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57" name="Google Shape;357;p24"/>
              <p:cNvSpPr/>
              <p:nvPr/>
            </p:nvSpPr>
            <p:spPr>
              <a:xfrm>
                <a:off x="460975" y="1741000"/>
                <a:ext cx="4750" cy="6850"/>
              </a:xfrm>
              <a:custGeom>
                <a:avLst/>
                <a:gdLst/>
                <a:ahLst/>
                <a:cxnLst/>
                <a:rect l="l" t="t" r="r" b="b"/>
                <a:pathLst>
                  <a:path w="190" h="274" extrusionOk="0">
                    <a:moveTo>
                      <a:pt x="51" y="1"/>
                    </a:moveTo>
                    <a:cubicBezTo>
                      <a:pt x="45" y="1"/>
                      <a:pt x="39" y="3"/>
                      <a:pt x="33" y="8"/>
                    </a:cubicBezTo>
                    <a:cubicBezTo>
                      <a:pt x="0" y="24"/>
                      <a:pt x="0" y="41"/>
                      <a:pt x="0" y="61"/>
                    </a:cubicBezTo>
                    <a:cubicBezTo>
                      <a:pt x="33" y="127"/>
                      <a:pt x="70" y="197"/>
                      <a:pt x="103" y="246"/>
                    </a:cubicBezTo>
                    <a:cubicBezTo>
                      <a:pt x="115" y="261"/>
                      <a:pt x="127" y="273"/>
                      <a:pt x="138" y="273"/>
                    </a:cubicBezTo>
                    <a:cubicBezTo>
                      <a:pt x="143" y="273"/>
                      <a:pt x="148" y="271"/>
                      <a:pt x="152" y="267"/>
                    </a:cubicBezTo>
                    <a:cubicBezTo>
                      <a:pt x="173" y="267"/>
                      <a:pt x="189" y="246"/>
                      <a:pt x="189" y="213"/>
                    </a:cubicBezTo>
                    <a:cubicBezTo>
                      <a:pt x="173" y="144"/>
                      <a:pt x="136" y="78"/>
                      <a:pt x="87" y="8"/>
                    </a:cubicBezTo>
                    <a:cubicBezTo>
                      <a:pt x="76" y="8"/>
                      <a:pt x="63" y="1"/>
                      <a:pt x="51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58" name="Google Shape;358;p24"/>
              <p:cNvSpPr/>
              <p:nvPr/>
            </p:nvSpPr>
            <p:spPr>
              <a:xfrm>
                <a:off x="278350" y="1746325"/>
                <a:ext cx="4750" cy="6650"/>
              </a:xfrm>
              <a:custGeom>
                <a:avLst/>
                <a:gdLst/>
                <a:ahLst/>
                <a:cxnLst/>
                <a:rect l="l" t="t" r="r" b="b"/>
                <a:pathLst>
                  <a:path w="190" h="266" extrusionOk="0">
                    <a:moveTo>
                      <a:pt x="169" y="0"/>
                    </a:moveTo>
                    <a:cubicBezTo>
                      <a:pt x="153" y="0"/>
                      <a:pt x="136" y="0"/>
                      <a:pt x="120" y="17"/>
                    </a:cubicBezTo>
                    <a:cubicBezTo>
                      <a:pt x="66" y="70"/>
                      <a:pt x="33" y="136"/>
                      <a:pt x="1" y="189"/>
                    </a:cubicBezTo>
                    <a:cubicBezTo>
                      <a:pt x="1" y="222"/>
                      <a:pt x="17" y="239"/>
                      <a:pt x="33" y="259"/>
                    </a:cubicBezTo>
                    <a:cubicBezTo>
                      <a:pt x="43" y="264"/>
                      <a:pt x="51" y="266"/>
                      <a:pt x="59" y="266"/>
                    </a:cubicBezTo>
                    <a:cubicBezTo>
                      <a:pt x="78" y="266"/>
                      <a:pt x="92" y="253"/>
                      <a:pt x="103" y="239"/>
                    </a:cubicBezTo>
                    <a:cubicBezTo>
                      <a:pt x="136" y="189"/>
                      <a:pt x="169" y="119"/>
                      <a:pt x="189" y="70"/>
                    </a:cubicBezTo>
                    <a:cubicBezTo>
                      <a:pt x="189" y="33"/>
                      <a:pt x="189" y="17"/>
                      <a:pt x="16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59" name="Google Shape;359;p24"/>
              <p:cNvSpPr/>
              <p:nvPr/>
            </p:nvSpPr>
            <p:spPr>
              <a:xfrm>
                <a:off x="370325" y="1847225"/>
                <a:ext cx="7225" cy="5675"/>
              </a:xfrm>
              <a:custGeom>
                <a:avLst/>
                <a:gdLst/>
                <a:ahLst/>
                <a:cxnLst/>
                <a:rect l="l" t="t" r="r" b="b"/>
                <a:pathLst>
                  <a:path w="289" h="227" extrusionOk="0">
                    <a:moveTo>
                      <a:pt x="255" y="1"/>
                    </a:moveTo>
                    <a:cubicBezTo>
                      <a:pt x="153" y="38"/>
                      <a:pt x="66" y="87"/>
                      <a:pt x="17" y="173"/>
                    </a:cubicBezTo>
                    <a:cubicBezTo>
                      <a:pt x="1" y="206"/>
                      <a:pt x="17" y="227"/>
                      <a:pt x="50" y="227"/>
                    </a:cubicBezTo>
                    <a:cubicBezTo>
                      <a:pt x="153" y="190"/>
                      <a:pt x="222" y="124"/>
                      <a:pt x="272" y="38"/>
                    </a:cubicBezTo>
                    <a:cubicBezTo>
                      <a:pt x="288" y="38"/>
                      <a:pt x="288" y="21"/>
                      <a:pt x="288" y="21"/>
                    </a:cubicBezTo>
                    <a:cubicBezTo>
                      <a:pt x="272" y="1"/>
                      <a:pt x="255" y="1"/>
                      <a:pt x="255" y="1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60" name="Google Shape;360;p24"/>
              <p:cNvSpPr/>
              <p:nvPr/>
            </p:nvSpPr>
            <p:spPr>
              <a:xfrm>
                <a:off x="361300" y="1919850"/>
                <a:ext cx="26500" cy="15500"/>
              </a:xfrm>
              <a:custGeom>
                <a:avLst/>
                <a:gdLst/>
                <a:ahLst/>
                <a:cxnLst/>
                <a:rect l="l" t="t" r="r" b="b"/>
                <a:pathLst>
                  <a:path w="1060" h="620" extrusionOk="0">
                    <a:moveTo>
                      <a:pt x="620" y="0"/>
                    </a:moveTo>
                    <a:cubicBezTo>
                      <a:pt x="532" y="0"/>
                      <a:pt x="445" y="9"/>
                      <a:pt x="362" y="23"/>
                    </a:cubicBezTo>
                    <a:cubicBezTo>
                      <a:pt x="259" y="40"/>
                      <a:pt x="173" y="93"/>
                      <a:pt x="87" y="159"/>
                    </a:cubicBezTo>
                    <a:cubicBezTo>
                      <a:pt x="0" y="245"/>
                      <a:pt x="87" y="348"/>
                      <a:pt x="156" y="401"/>
                    </a:cubicBezTo>
                    <a:cubicBezTo>
                      <a:pt x="222" y="467"/>
                      <a:pt x="308" y="537"/>
                      <a:pt x="395" y="569"/>
                    </a:cubicBezTo>
                    <a:cubicBezTo>
                      <a:pt x="468" y="596"/>
                      <a:pt x="540" y="620"/>
                      <a:pt x="613" y="620"/>
                    </a:cubicBezTo>
                    <a:cubicBezTo>
                      <a:pt x="643" y="620"/>
                      <a:pt x="673" y="616"/>
                      <a:pt x="703" y="606"/>
                    </a:cubicBezTo>
                    <a:cubicBezTo>
                      <a:pt x="822" y="569"/>
                      <a:pt x="924" y="467"/>
                      <a:pt x="994" y="348"/>
                    </a:cubicBezTo>
                    <a:cubicBezTo>
                      <a:pt x="1010" y="315"/>
                      <a:pt x="1043" y="278"/>
                      <a:pt x="1043" y="229"/>
                    </a:cubicBezTo>
                    <a:cubicBezTo>
                      <a:pt x="1060" y="175"/>
                      <a:pt x="1060" y="126"/>
                      <a:pt x="1027" y="93"/>
                    </a:cubicBezTo>
                    <a:cubicBezTo>
                      <a:pt x="994" y="73"/>
                      <a:pt x="957" y="56"/>
                      <a:pt x="941" y="40"/>
                    </a:cubicBezTo>
                    <a:cubicBezTo>
                      <a:pt x="837" y="13"/>
                      <a:pt x="728" y="0"/>
                      <a:pt x="620" y="0"/>
                    </a:cubicBezTo>
                    <a:close/>
                  </a:path>
                </a:pathLst>
              </a:custGeom>
              <a:solidFill>
                <a:srgbClr val="FFA79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61" name="Google Shape;361;p24"/>
              <p:cNvSpPr/>
              <p:nvPr/>
            </p:nvSpPr>
            <p:spPr>
              <a:xfrm>
                <a:off x="361700" y="1904025"/>
                <a:ext cx="25275" cy="19125"/>
              </a:xfrm>
              <a:custGeom>
                <a:avLst/>
                <a:gdLst/>
                <a:ahLst/>
                <a:cxnLst/>
                <a:rect l="l" t="t" r="r" b="b"/>
                <a:pathLst>
                  <a:path w="1011" h="765" extrusionOk="0">
                    <a:moveTo>
                      <a:pt x="598" y="0"/>
                    </a:moveTo>
                    <a:cubicBezTo>
                      <a:pt x="523" y="0"/>
                      <a:pt x="446" y="22"/>
                      <a:pt x="379" y="57"/>
                    </a:cubicBezTo>
                    <a:cubicBezTo>
                      <a:pt x="243" y="127"/>
                      <a:pt x="157" y="262"/>
                      <a:pt x="87" y="398"/>
                    </a:cubicBezTo>
                    <a:cubicBezTo>
                      <a:pt x="54" y="484"/>
                      <a:pt x="1" y="640"/>
                      <a:pt x="38" y="743"/>
                    </a:cubicBezTo>
                    <a:cubicBezTo>
                      <a:pt x="46" y="758"/>
                      <a:pt x="61" y="764"/>
                      <a:pt x="81" y="764"/>
                    </a:cubicBezTo>
                    <a:cubicBezTo>
                      <a:pt x="146" y="764"/>
                      <a:pt x="255" y="702"/>
                      <a:pt x="292" y="689"/>
                    </a:cubicBezTo>
                    <a:cubicBezTo>
                      <a:pt x="391" y="662"/>
                      <a:pt x="490" y="649"/>
                      <a:pt x="589" y="649"/>
                    </a:cubicBezTo>
                    <a:cubicBezTo>
                      <a:pt x="730" y="649"/>
                      <a:pt x="871" y="676"/>
                      <a:pt x="1011" y="726"/>
                    </a:cubicBezTo>
                    <a:lnTo>
                      <a:pt x="1011" y="521"/>
                    </a:lnTo>
                    <a:cubicBezTo>
                      <a:pt x="994" y="418"/>
                      <a:pt x="978" y="316"/>
                      <a:pt x="925" y="213"/>
                    </a:cubicBezTo>
                    <a:cubicBezTo>
                      <a:pt x="892" y="160"/>
                      <a:pt x="859" y="110"/>
                      <a:pt x="806" y="73"/>
                    </a:cubicBezTo>
                    <a:cubicBezTo>
                      <a:pt x="746" y="22"/>
                      <a:pt x="673" y="0"/>
                      <a:pt x="598" y="0"/>
                    </a:cubicBezTo>
                    <a:close/>
                  </a:path>
                </a:pathLst>
              </a:custGeom>
              <a:solidFill>
                <a:srgbClr val="FFA79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62" name="Google Shape;362;p24"/>
              <p:cNvSpPr/>
              <p:nvPr/>
            </p:nvSpPr>
            <p:spPr>
              <a:xfrm>
                <a:off x="366850" y="1923225"/>
                <a:ext cx="11200" cy="5650"/>
              </a:xfrm>
              <a:custGeom>
                <a:avLst/>
                <a:gdLst/>
                <a:ahLst/>
                <a:cxnLst/>
                <a:rect l="l" t="t" r="r" b="b"/>
                <a:pathLst>
                  <a:path w="448" h="226" extrusionOk="0">
                    <a:moveTo>
                      <a:pt x="277" y="1"/>
                    </a:moveTo>
                    <a:cubicBezTo>
                      <a:pt x="236" y="1"/>
                      <a:pt x="191" y="12"/>
                      <a:pt x="156" y="24"/>
                    </a:cubicBezTo>
                    <a:cubicBezTo>
                      <a:pt x="103" y="24"/>
                      <a:pt x="70" y="40"/>
                      <a:pt x="37" y="77"/>
                    </a:cubicBezTo>
                    <a:cubicBezTo>
                      <a:pt x="17" y="110"/>
                      <a:pt x="0" y="180"/>
                      <a:pt x="37" y="196"/>
                    </a:cubicBezTo>
                    <a:cubicBezTo>
                      <a:pt x="53" y="213"/>
                      <a:pt x="86" y="213"/>
                      <a:pt x="103" y="213"/>
                    </a:cubicBezTo>
                    <a:cubicBezTo>
                      <a:pt x="129" y="221"/>
                      <a:pt x="159" y="225"/>
                      <a:pt x="189" y="225"/>
                    </a:cubicBezTo>
                    <a:cubicBezTo>
                      <a:pt x="219" y="225"/>
                      <a:pt x="249" y="221"/>
                      <a:pt x="275" y="213"/>
                    </a:cubicBezTo>
                    <a:cubicBezTo>
                      <a:pt x="324" y="213"/>
                      <a:pt x="361" y="196"/>
                      <a:pt x="394" y="163"/>
                    </a:cubicBezTo>
                    <a:cubicBezTo>
                      <a:pt x="427" y="126"/>
                      <a:pt x="448" y="94"/>
                      <a:pt x="411" y="40"/>
                    </a:cubicBezTo>
                    <a:cubicBezTo>
                      <a:pt x="394" y="24"/>
                      <a:pt x="361" y="7"/>
                      <a:pt x="324" y="7"/>
                    </a:cubicBezTo>
                    <a:cubicBezTo>
                      <a:pt x="310" y="3"/>
                      <a:pt x="294" y="1"/>
                      <a:pt x="2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63" name="Google Shape;363;p24"/>
              <p:cNvSpPr/>
              <p:nvPr/>
            </p:nvSpPr>
            <p:spPr>
              <a:xfrm>
                <a:off x="360475" y="1918575"/>
                <a:ext cx="29075" cy="17900"/>
              </a:xfrm>
              <a:custGeom>
                <a:avLst/>
                <a:gdLst/>
                <a:ahLst/>
                <a:cxnLst/>
                <a:rect l="l" t="t" r="r" b="b"/>
                <a:pathLst>
                  <a:path w="1163" h="716" extrusionOk="0">
                    <a:moveTo>
                      <a:pt x="682" y="124"/>
                    </a:moveTo>
                    <a:cubicBezTo>
                      <a:pt x="768" y="124"/>
                      <a:pt x="871" y="144"/>
                      <a:pt x="957" y="161"/>
                    </a:cubicBezTo>
                    <a:cubicBezTo>
                      <a:pt x="1027" y="177"/>
                      <a:pt x="1027" y="210"/>
                      <a:pt x="1011" y="263"/>
                    </a:cubicBezTo>
                    <a:cubicBezTo>
                      <a:pt x="974" y="329"/>
                      <a:pt x="941" y="399"/>
                      <a:pt x="887" y="452"/>
                    </a:cubicBezTo>
                    <a:cubicBezTo>
                      <a:pt x="855" y="485"/>
                      <a:pt x="822" y="501"/>
                      <a:pt x="805" y="534"/>
                    </a:cubicBezTo>
                    <a:cubicBezTo>
                      <a:pt x="736" y="588"/>
                      <a:pt x="649" y="588"/>
                      <a:pt x="579" y="588"/>
                    </a:cubicBezTo>
                    <a:cubicBezTo>
                      <a:pt x="497" y="571"/>
                      <a:pt x="411" y="555"/>
                      <a:pt x="341" y="501"/>
                    </a:cubicBezTo>
                    <a:cubicBezTo>
                      <a:pt x="292" y="452"/>
                      <a:pt x="239" y="415"/>
                      <a:pt x="189" y="366"/>
                    </a:cubicBezTo>
                    <a:cubicBezTo>
                      <a:pt x="136" y="312"/>
                      <a:pt x="136" y="280"/>
                      <a:pt x="189" y="247"/>
                    </a:cubicBezTo>
                    <a:cubicBezTo>
                      <a:pt x="292" y="177"/>
                      <a:pt x="374" y="144"/>
                      <a:pt x="497" y="124"/>
                    </a:cubicBezTo>
                    <a:close/>
                    <a:moveTo>
                      <a:pt x="640" y="0"/>
                    </a:moveTo>
                    <a:cubicBezTo>
                      <a:pt x="609" y="0"/>
                      <a:pt x="578" y="2"/>
                      <a:pt x="547" y="5"/>
                    </a:cubicBezTo>
                    <a:cubicBezTo>
                      <a:pt x="395" y="5"/>
                      <a:pt x="239" y="41"/>
                      <a:pt x="120" y="144"/>
                    </a:cubicBezTo>
                    <a:cubicBezTo>
                      <a:pt x="17" y="210"/>
                      <a:pt x="1" y="329"/>
                      <a:pt x="87" y="432"/>
                    </a:cubicBezTo>
                    <a:cubicBezTo>
                      <a:pt x="206" y="555"/>
                      <a:pt x="325" y="657"/>
                      <a:pt x="514" y="707"/>
                    </a:cubicBezTo>
                    <a:cubicBezTo>
                      <a:pt x="548" y="712"/>
                      <a:pt x="584" y="716"/>
                      <a:pt x="621" y="716"/>
                    </a:cubicBezTo>
                    <a:cubicBezTo>
                      <a:pt x="694" y="716"/>
                      <a:pt x="770" y="701"/>
                      <a:pt x="838" y="657"/>
                    </a:cubicBezTo>
                    <a:cubicBezTo>
                      <a:pt x="974" y="571"/>
                      <a:pt x="1060" y="452"/>
                      <a:pt x="1130" y="312"/>
                    </a:cubicBezTo>
                    <a:cubicBezTo>
                      <a:pt x="1163" y="177"/>
                      <a:pt x="1146" y="91"/>
                      <a:pt x="990" y="58"/>
                    </a:cubicBezTo>
                    <a:cubicBezTo>
                      <a:pt x="906" y="28"/>
                      <a:pt x="778" y="0"/>
                      <a:pt x="640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64" name="Google Shape;364;p24"/>
              <p:cNvSpPr/>
              <p:nvPr/>
            </p:nvSpPr>
            <p:spPr>
              <a:xfrm>
                <a:off x="368575" y="1912725"/>
                <a:ext cx="13275" cy="4025"/>
              </a:xfrm>
              <a:custGeom>
                <a:avLst/>
                <a:gdLst/>
                <a:ahLst/>
                <a:cxnLst/>
                <a:rect l="l" t="t" r="r" b="b"/>
                <a:pathLst>
                  <a:path w="531" h="161" extrusionOk="0">
                    <a:moveTo>
                      <a:pt x="276" y="0"/>
                    </a:moveTo>
                    <a:cubicBezTo>
                      <a:pt x="173" y="0"/>
                      <a:pt x="120" y="17"/>
                      <a:pt x="71" y="33"/>
                    </a:cubicBezTo>
                    <a:cubicBezTo>
                      <a:pt x="50" y="50"/>
                      <a:pt x="34" y="70"/>
                      <a:pt x="17" y="87"/>
                    </a:cubicBezTo>
                    <a:cubicBezTo>
                      <a:pt x="1" y="119"/>
                      <a:pt x="17" y="136"/>
                      <a:pt x="50" y="136"/>
                    </a:cubicBezTo>
                    <a:cubicBezTo>
                      <a:pt x="60" y="144"/>
                      <a:pt x="74" y="148"/>
                      <a:pt x="87" y="148"/>
                    </a:cubicBezTo>
                    <a:cubicBezTo>
                      <a:pt x="99" y="148"/>
                      <a:pt x="112" y="144"/>
                      <a:pt x="120" y="136"/>
                    </a:cubicBezTo>
                    <a:cubicBezTo>
                      <a:pt x="147" y="128"/>
                      <a:pt x="176" y="124"/>
                      <a:pt x="208" y="124"/>
                    </a:cubicBezTo>
                    <a:cubicBezTo>
                      <a:pt x="240" y="124"/>
                      <a:pt x="274" y="128"/>
                      <a:pt x="309" y="136"/>
                    </a:cubicBezTo>
                    <a:cubicBezTo>
                      <a:pt x="342" y="152"/>
                      <a:pt x="395" y="152"/>
                      <a:pt x="444" y="152"/>
                    </a:cubicBezTo>
                    <a:cubicBezTo>
                      <a:pt x="455" y="158"/>
                      <a:pt x="465" y="161"/>
                      <a:pt x="473" y="161"/>
                    </a:cubicBezTo>
                    <a:cubicBezTo>
                      <a:pt x="497" y="161"/>
                      <a:pt x="514" y="143"/>
                      <a:pt x="514" y="119"/>
                    </a:cubicBezTo>
                    <a:cubicBezTo>
                      <a:pt x="531" y="87"/>
                      <a:pt x="514" y="70"/>
                      <a:pt x="461" y="50"/>
                    </a:cubicBezTo>
                    <a:cubicBezTo>
                      <a:pt x="461" y="33"/>
                      <a:pt x="444" y="33"/>
                      <a:pt x="428" y="33"/>
                    </a:cubicBezTo>
                    <a:cubicBezTo>
                      <a:pt x="379" y="17"/>
                      <a:pt x="309" y="0"/>
                      <a:pt x="276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65" name="Google Shape;365;p24"/>
              <p:cNvSpPr/>
              <p:nvPr/>
            </p:nvSpPr>
            <p:spPr>
              <a:xfrm>
                <a:off x="371150" y="1957175"/>
                <a:ext cx="7725" cy="6075"/>
              </a:xfrm>
              <a:custGeom>
                <a:avLst/>
                <a:gdLst/>
                <a:ahLst/>
                <a:cxnLst/>
                <a:rect l="l" t="t" r="r" b="b"/>
                <a:pathLst>
                  <a:path w="309" h="243" extrusionOk="0">
                    <a:moveTo>
                      <a:pt x="103" y="0"/>
                    </a:moveTo>
                    <a:cubicBezTo>
                      <a:pt x="50" y="17"/>
                      <a:pt x="1" y="103"/>
                      <a:pt x="17" y="156"/>
                    </a:cubicBezTo>
                    <a:cubicBezTo>
                      <a:pt x="33" y="206"/>
                      <a:pt x="103" y="243"/>
                      <a:pt x="152" y="243"/>
                    </a:cubicBezTo>
                    <a:cubicBezTo>
                      <a:pt x="222" y="222"/>
                      <a:pt x="276" y="189"/>
                      <a:pt x="292" y="140"/>
                    </a:cubicBezTo>
                    <a:cubicBezTo>
                      <a:pt x="309" y="103"/>
                      <a:pt x="309" y="70"/>
                      <a:pt x="292" y="37"/>
                    </a:cubicBezTo>
                    <a:cubicBezTo>
                      <a:pt x="255" y="0"/>
                      <a:pt x="152" y="0"/>
                      <a:pt x="103" y="0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66" name="Google Shape;366;p24"/>
              <p:cNvSpPr/>
              <p:nvPr/>
            </p:nvSpPr>
            <p:spPr>
              <a:xfrm>
                <a:off x="360650" y="1948375"/>
                <a:ext cx="31700" cy="10100"/>
              </a:xfrm>
              <a:custGeom>
                <a:avLst/>
                <a:gdLst/>
                <a:ahLst/>
                <a:cxnLst/>
                <a:rect l="l" t="t" r="r" b="b"/>
                <a:pathLst>
                  <a:path w="1268" h="404" extrusionOk="0">
                    <a:moveTo>
                      <a:pt x="1192" y="1"/>
                    </a:moveTo>
                    <a:cubicBezTo>
                      <a:pt x="1180" y="1"/>
                      <a:pt x="1167" y="4"/>
                      <a:pt x="1156" y="12"/>
                    </a:cubicBezTo>
                    <a:cubicBezTo>
                      <a:pt x="999" y="141"/>
                      <a:pt x="812" y="205"/>
                      <a:pt x="623" y="205"/>
                    </a:cubicBezTo>
                    <a:cubicBezTo>
                      <a:pt x="440" y="205"/>
                      <a:pt x="256" y="145"/>
                      <a:pt x="96" y="28"/>
                    </a:cubicBezTo>
                    <a:cubicBezTo>
                      <a:pt x="88" y="21"/>
                      <a:pt x="78" y="17"/>
                      <a:pt x="68" y="17"/>
                    </a:cubicBezTo>
                    <a:cubicBezTo>
                      <a:pt x="35" y="17"/>
                      <a:pt x="1" y="56"/>
                      <a:pt x="26" y="98"/>
                    </a:cubicBezTo>
                    <a:cubicBezTo>
                      <a:pt x="154" y="301"/>
                      <a:pt x="390" y="404"/>
                      <a:pt x="627" y="404"/>
                    </a:cubicBezTo>
                    <a:cubicBezTo>
                      <a:pt x="869" y="404"/>
                      <a:pt x="1111" y="297"/>
                      <a:pt x="1242" y="81"/>
                    </a:cubicBezTo>
                    <a:cubicBezTo>
                      <a:pt x="1267" y="40"/>
                      <a:pt x="1233" y="1"/>
                      <a:pt x="1192" y="1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67" name="Google Shape;367;p24"/>
              <p:cNvSpPr/>
              <p:nvPr/>
            </p:nvSpPr>
            <p:spPr>
              <a:xfrm>
                <a:off x="419100" y="1931525"/>
                <a:ext cx="17475" cy="12900"/>
              </a:xfrm>
              <a:custGeom>
                <a:avLst/>
                <a:gdLst/>
                <a:ahLst/>
                <a:cxnLst/>
                <a:rect l="l" t="t" r="r" b="b"/>
                <a:pathLst>
                  <a:path w="699" h="516" extrusionOk="0">
                    <a:moveTo>
                      <a:pt x="327" y="0"/>
                    </a:moveTo>
                    <a:cubicBezTo>
                      <a:pt x="252" y="0"/>
                      <a:pt x="173" y="27"/>
                      <a:pt x="103" y="86"/>
                    </a:cubicBezTo>
                    <a:cubicBezTo>
                      <a:pt x="49" y="119"/>
                      <a:pt x="0" y="205"/>
                      <a:pt x="0" y="291"/>
                    </a:cubicBezTo>
                    <a:cubicBezTo>
                      <a:pt x="0" y="378"/>
                      <a:pt x="49" y="427"/>
                      <a:pt x="103" y="464"/>
                    </a:cubicBezTo>
                    <a:cubicBezTo>
                      <a:pt x="158" y="499"/>
                      <a:pt x="222" y="515"/>
                      <a:pt x="291" y="515"/>
                    </a:cubicBezTo>
                    <a:cubicBezTo>
                      <a:pt x="351" y="515"/>
                      <a:pt x="414" y="503"/>
                      <a:pt x="476" y="480"/>
                    </a:cubicBezTo>
                    <a:cubicBezTo>
                      <a:pt x="546" y="464"/>
                      <a:pt x="616" y="410"/>
                      <a:pt x="649" y="308"/>
                    </a:cubicBezTo>
                    <a:cubicBezTo>
                      <a:pt x="698" y="102"/>
                      <a:pt x="530" y="53"/>
                      <a:pt x="427" y="16"/>
                    </a:cubicBezTo>
                    <a:cubicBezTo>
                      <a:pt x="395" y="6"/>
                      <a:pt x="361" y="0"/>
                      <a:pt x="327" y="0"/>
                    </a:cubicBezTo>
                    <a:close/>
                  </a:path>
                </a:pathLst>
              </a:custGeom>
              <a:solidFill>
                <a:srgbClr val="FFA79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68" name="Google Shape;368;p24"/>
              <p:cNvSpPr/>
              <p:nvPr/>
            </p:nvSpPr>
            <p:spPr>
              <a:xfrm>
                <a:off x="425875" y="1939625"/>
                <a:ext cx="3500" cy="3100"/>
              </a:xfrm>
              <a:custGeom>
                <a:avLst/>
                <a:gdLst/>
                <a:ahLst/>
                <a:cxnLst/>
                <a:rect l="l" t="t" r="r" b="b"/>
                <a:pathLst>
                  <a:path w="140" h="124" extrusionOk="0">
                    <a:moveTo>
                      <a:pt x="70" y="0"/>
                    </a:moveTo>
                    <a:cubicBezTo>
                      <a:pt x="37" y="0"/>
                      <a:pt x="17" y="21"/>
                      <a:pt x="17" y="54"/>
                    </a:cubicBezTo>
                    <a:cubicBezTo>
                      <a:pt x="0" y="86"/>
                      <a:pt x="37" y="123"/>
                      <a:pt x="70" y="123"/>
                    </a:cubicBezTo>
                    <a:cubicBezTo>
                      <a:pt x="103" y="123"/>
                      <a:pt x="119" y="103"/>
                      <a:pt x="140" y="70"/>
                    </a:cubicBezTo>
                    <a:cubicBezTo>
                      <a:pt x="140" y="37"/>
                      <a:pt x="119" y="0"/>
                      <a:pt x="70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69" name="Google Shape;369;p24"/>
              <p:cNvSpPr/>
              <p:nvPr/>
            </p:nvSpPr>
            <p:spPr>
              <a:xfrm>
                <a:off x="429775" y="1934475"/>
                <a:ext cx="3000" cy="312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25" extrusionOk="0">
                    <a:moveTo>
                      <a:pt x="49" y="1"/>
                    </a:moveTo>
                    <a:cubicBezTo>
                      <a:pt x="17" y="1"/>
                      <a:pt x="0" y="21"/>
                      <a:pt x="0" y="54"/>
                    </a:cubicBezTo>
                    <a:cubicBezTo>
                      <a:pt x="0" y="104"/>
                      <a:pt x="17" y="124"/>
                      <a:pt x="49" y="124"/>
                    </a:cubicBezTo>
                    <a:cubicBezTo>
                      <a:pt x="86" y="124"/>
                      <a:pt x="103" y="104"/>
                      <a:pt x="103" y="71"/>
                    </a:cubicBezTo>
                    <a:cubicBezTo>
                      <a:pt x="119" y="38"/>
                      <a:pt x="86" y="1"/>
                      <a:pt x="49" y="1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70" name="Google Shape;370;p24"/>
              <p:cNvSpPr/>
              <p:nvPr/>
            </p:nvSpPr>
            <p:spPr>
              <a:xfrm>
                <a:off x="422900" y="1933975"/>
                <a:ext cx="3000" cy="3100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24" extrusionOk="0">
                    <a:moveTo>
                      <a:pt x="52" y="0"/>
                    </a:moveTo>
                    <a:cubicBezTo>
                      <a:pt x="27" y="0"/>
                      <a:pt x="13" y="28"/>
                      <a:pt x="0" y="58"/>
                    </a:cubicBezTo>
                    <a:cubicBezTo>
                      <a:pt x="0" y="91"/>
                      <a:pt x="16" y="124"/>
                      <a:pt x="53" y="124"/>
                    </a:cubicBezTo>
                    <a:cubicBezTo>
                      <a:pt x="86" y="124"/>
                      <a:pt x="119" y="91"/>
                      <a:pt x="119" y="58"/>
                    </a:cubicBezTo>
                    <a:cubicBezTo>
                      <a:pt x="119" y="21"/>
                      <a:pt x="103" y="4"/>
                      <a:pt x="70" y="4"/>
                    </a:cubicBezTo>
                    <a:cubicBezTo>
                      <a:pt x="63" y="1"/>
                      <a:pt x="57" y="0"/>
                      <a:pt x="52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71" name="Google Shape;371;p24"/>
              <p:cNvSpPr/>
              <p:nvPr/>
            </p:nvSpPr>
            <p:spPr>
              <a:xfrm>
                <a:off x="317675" y="1931500"/>
                <a:ext cx="17575" cy="11650"/>
              </a:xfrm>
              <a:custGeom>
                <a:avLst/>
                <a:gdLst/>
                <a:ahLst/>
                <a:cxnLst/>
                <a:rect l="l" t="t" r="r" b="b"/>
                <a:pathLst>
                  <a:path w="703" h="466" extrusionOk="0">
                    <a:moveTo>
                      <a:pt x="327" y="1"/>
                    </a:moveTo>
                    <a:cubicBezTo>
                      <a:pt x="248" y="1"/>
                      <a:pt x="172" y="24"/>
                      <a:pt x="103" y="71"/>
                    </a:cubicBezTo>
                    <a:cubicBezTo>
                      <a:pt x="54" y="103"/>
                      <a:pt x="0" y="173"/>
                      <a:pt x="0" y="243"/>
                    </a:cubicBezTo>
                    <a:cubicBezTo>
                      <a:pt x="0" y="325"/>
                      <a:pt x="54" y="379"/>
                      <a:pt x="103" y="411"/>
                    </a:cubicBezTo>
                    <a:cubicBezTo>
                      <a:pt x="180" y="446"/>
                      <a:pt x="267" y="465"/>
                      <a:pt x="355" y="465"/>
                    </a:cubicBezTo>
                    <a:cubicBezTo>
                      <a:pt x="402" y="465"/>
                      <a:pt x="450" y="460"/>
                      <a:pt x="497" y="448"/>
                    </a:cubicBezTo>
                    <a:cubicBezTo>
                      <a:pt x="567" y="411"/>
                      <a:pt x="633" y="362"/>
                      <a:pt x="670" y="276"/>
                    </a:cubicBezTo>
                    <a:cubicBezTo>
                      <a:pt x="702" y="103"/>
                      <a:pt x="530" y="38"/>
                      <a:pt x="444" y="17"/>
                    </a:cubicBezTo>
                    <a:cubicBezTo>
                      <a:pt x="405" y="6"/>
                      <a:pt x="365" y="1"/>
                      <a:pt x="327" y="1"/>
                    </a:cubicBezTo>
                    <a:close/>
                  </a:path>
                </a:pathLst>
              </a:custGeom>
              <a:solidFill>
                <a:srgbClr val="FFA79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72" name="Google Shape;372;p24"/>
              <p:cNvSpPr/>
              <p:nvPr/>
            </p:nvSpPr>
            <p:spPr>
              <a:xfrm>
                <a:off x="324550" y="1938375"/>
                <a:ext cx="3000" cy="342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37" extrusionOk="0">
                    <a:moveTo>
                      <a:pt x="66" y="1"/>
                    </a:moveTo>
                    <a:cubicBezTo>
                      <a:pt x="33" y="1"/>
                      <a:pt x="0" y="17"/>
                      <a:pt x="0" y="50"/>
                    </a:cubicBezTo>
                    <a:cubicBezTo>
                      <a:pt x="0" y="104"/>
                      <a:pt x="17" y="120"/>
                      <a:pt x="50" y="136"/>
                    </a:cubicBezTo>
                    <a:cubicBezTo>
                      <a:pt x="87" y="136"/>
                      <a:pt x="119" y="104"/>
                      <a:pt x="119" y="87"/>
                    </a:cubicBezTo>
                    <a:cubicBezTo>
                      <a:pt x="119" y="34"/>
                      <a:pt x="103" y="1"/>
                      <a:pt x="66" y="1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73" name="Google Shape;373;p24"/>
              <p:cNvSpPr/>
              <p:nvPr/>
            </p:nvSpPr>
            <p:spPr>
              <a:xfrm>
                <a:off x="321575" y="1933675"/>
                <a:ext cx="3000" cy="3400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36" extrusionOk="0">
                    <a:moveTo>
                      <a:pt x="66" y="0"/>
                    </a:moveTo>
                    <a:cubicBezTo>
                      <a:pt x="33" y="0"/>
                      <a:pt x="17" y="16"/>
                      <a:pt x="0" y="53"/>
                    </a:cubicBezTo>
                    <a:cubicBezTo>
                      <a:pt x="0" y="86"/>
                      <a:pt x="17" y="119"/>
                      <a:pt x="50" y="136"/>
                    </a:cubicBezTo>
                    <a:cubicBezTo>
                      <a:pt x="82" y="136"/>
                      <a:pt x="119" y="103"/>
                      <a:pt x="119" y="86"/>
                    </a:cubicBezTo>
                    <a:cubicBezTo>
                      <a:pt x="119" y="53"/>
                      <a:pt x="103" y="16"/>
                      <a:pt x="66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74" name="Google Shape;374;p24"/>
              <p:cNvSpPr/>
              <p:nvPr/>
            </p:nvSpPr>
            <p:spPr>
              <a:xfrm>
                <a:off x="328750" y="1934075"/>
                <a:ext cx="2600" cy="3000"/>
              </a:xfrm>
              <a:custGeom>
                <a:avLst/>
                <a:gdLst/>
                <a:ahLst/>
                <a:cxnLst/>
                <a:rect l="l" t="t" r="r" b="b"/>
                <a:pathLst>
                  <a:path w="104" h="120" extrusionOk="0">
                    <a:moveTo>
                      <a:pt x="54" y="0"/>
                    </a:moveTo>
                    <a:cubicBezTo>
                      <a:pt x="21" y="0"/>
                      <a:pt x="1" y="17"/>
                      <a:pt x="1" y="54"/>
                    </a:cubicBezTo>
                    <a:cubicBezTo>
                      <a:pt x="1" y="87"/>
                      <a:pt x="21" y="103"/>
                      <a:pt x="54" y="120"/>
                    </a:cubicBezTo>
                    <a:cubicBezTo>
                      <a:pt x="71" y="120"/>
                      <a:pt x="103" y="103"/>
                      <a:pt x="103" y="70"/>
                    </a:cubicBezTo>
                    <a:cubicBezTo>
                      <a:pt x="103" y="37"/>
                      <a:pt x="87" y="0"/>
                      <a:pt x="54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75" name="Google Shape;375;p24"/>
              <p:cNvSpPr/>
              <p:nvPr/>
            </p:nvSpPr>
            <p:spPr>
              <a:xfrm>
                <a:off x="270250" y="1936450"/>
                <a:ext cx="42300" cy="15625"/>
              </a:xfrm>
              <a:custGeom>
                <a:avLst/>
                <a:gdLst/>
                <a:ahLst/>
                <a:cxnLst/>
                <a:rect l="l" t="t" r="r" b="b"/>
                <a:pathLst>
                  <a:path w="1692" h="625" extrusionOk="0">
                    <a:moveTo>
                      <a:pt x="1602" y="0"/>
                    </a:moveTo>
                    <a:cubicBezTo>
                      <a:pt x="1571" y="0"/>
                      <a:pt x="1537" y="8"/>
                      <a:pt x="1519" y="8"/>
                    </a:cubicBezTo>
                    <a:cubicBezTo>
                      <a:pt x="1314" y="45"/>
                      <a:pt x="1092" y="78"/>
                      <a:pt x="904" y="127"/>
                    </a:cubicBezTo>
                    <a:cubicBezTo>
                      <a:pt x="530" y="213"/>
                      <a:pt x="255" y="369"/>
                      <a:pt x="49" y="538"/>
                    </a:cubicBezTo>
                    <a:cubicBezTo>
                      <a:pt x="33" y="558"/>
                      <a:pt x="0" y="608"/>
                      <a:pt x="17" y="624"/>
                    </a:cubicBezTo>
                    <a:cubicBezTo>
                      <a:pt x="33" y="624"/>
                      <a:pt x="82" y="608"/>
                      <a:pt x="119" y="591"/>
                    </a:cubicBezTo>
                    <a:cubicBezTo>
                      <a:pt x="444" y="435"/>
                      <a:pt x="854" y="250"/>
                      <a:pt x="1417" y="148"/>
                    </a:cubicBezTo>
                    <a:cubicBezTo>
                      <a:pt x="1487" y="148"/>
                      <a:pt x="1692" y="94"/>
                      <a:pt x="1676" y="45"/>
                    </a:cubicBezTo>
                    <a:cubicBezTo>
                      <a:pt x="1667" y="9"/>
                      <a:pt x="1636" y="0"/>
                      <a:pt x="160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76" name="Google Shape;376;p24"/>
              <p:cNvSpPr/>
              <p:nvPr/>
            </p:nvSpPr>
            <p:spPr>
              <a:xfrm>
                <a:off x="259975" y="1918175"/>
                <a:ext cx="50425" cy="5525"/>
              </a:xfrm>
              <a:custGeom>
                <a:avLst/>
                <a:gdLst/>
                <a:ahLst/>
                <a:cxnLst/>
                <a:rect l="l" t="t" r="r" b="b"/>
                <a:pathLst>
                  <a:path w="2017" h="221" extrusionOk="0">
                    <a:moveTo>
                      <a:pt x="1051" y="0"/>
                    </a:moveTo>
                    <a:cubicBezTo>
                      <a:pt x="783" y="0"/>
                      <a:pt x="511" y="27"/>
                      <a:pt x="239" y="74"/>
                    </a:cubicBezTo>
                    <a:cubicBezTo>
                      <a:pt x="153" y="90"/>
                      <a:pt x="1" y="123"/>
                      <a:pt x="1" y="177"/>
                    </a:cubicBezTo>
                    <a:cubicBezTo>
                      <a:pt x="17" y="193"/>
                      <a:pt x="83" y="193"/>
                      <a:pt x="120" y="193"/>
                    </a:cubicBezTo>
                    <a:cubicBezTo>
                      <a:pt x="288" y="177"/>
                      <a:pt x="460" y="160"/>
                      <a:pt x="617" y="140"/>
                    </a:cubicBezTo>
                    <a:cubicBezTo>
                      <a:pt x="750" y="134"/>
                      <a:pt x="882" y="130"/>
                      <a:pt x="1012" y="130"/>
                    </a:cubicBezTo>
                    <a:cubicBezTo>
                      <a:pt x="1248" y="130"/>
                      <a:pt x="1479" y="142"/>
                      <a:pt x="1709" y="177"/>
                    </a:cubicBezTo>
                    <a:cubicBezTo>
                      <a:pt x="1795" y="193"/>
                      <a:pt x="1865" y="209"/>
                      <a:pt x="1951" y="209"/>
                    </a:cubicBezTo>
                    <a:cubicBezTo>
                      <a:pt x="1958" y="216"/>
                      <a:pt x="1967" y="220"/>
                      <a:pt x="1978" y="220"/>
                    </a:cubicBezTo>
                    <a:cubicBezTo>
                      <a:pt x="1992" y="220"/>
                      <a:pt x="2007" y="212"/>
                      <a:pt x="2017" y="193"/>
                    </a:cubicBezTo>
                    <a:cubicBezTo>
                      <a:pt x="2017" y="160"/>
                      <a:pt x="1967" y="123"/>
                      <a:pt x="1914" y="107"/>
                    </a:cubicBezTo>
                    <a:cubicBezTo>
                      <a:pt x="1848" y="90"/>
                      <a:pt x="1779" y="74"/>
                      <a:pt x="1709" y="57"/>
                    </a:cubicBezTo>
                    <a:cubicBezTo>
                      <a:pt x="1493" y="18"/>
                      <a:pt x="1273" y="0"/>
                      <a:pt x="105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77" name="Google Shape;377;p24"/>
              <p:cNvSpPr/>
              <p:nvPr/>
            </p:nvSpPr>
            <p:spPr>
              <a:xfrm>
                <a:off x="264175" y="1927800"/>
                <a:ext cx="47150" cy="11750"/>
              </a:xfrm>
              <a:custGeom>
                <a:avLst/>
                <a:gdLst/>
                <a:ahLst/>
                <a:cxnLst/>
                <a:rect l="l" t="t" r="r" b="b"/>
                <a:pathLst>
                  <a:path w="1886" h="470" extrusionOk="0">
                    <a:moveTo>
                      <a:pt x="1535" y="1"/>
                    </a:moveTo>
                    <a:cubicBezTo>
                      <a:pt x="1279" y="1"/>
                      <a:pt x="1022" y="35"/>
                      <a:pt x="756" y="100"/>
                    </a:cubicBezTo>
                    <a:cubicBezTo>
                      <a:pt x="531" y="165"/>
                      <a:pt x="309" y="219"/>
                      <a:pt x="120" y="338"/>
                    </a:cubicBezTo>
                    <a:cubicBezTo>
                      <a:pt x="87" y="371"/>
                      <a:pt x="1" y="440"/>
                      <a:pt x="17" y="457"/>
                    </a:cubicBezTo>
                    <a:cubicBezTo>
                      <a:pt x="26" y="466"/>
                      <a:pt x="39" y="469"/>
                      <a:pt x="54" y="469"/>
                    </a:cubicBezTo>
                    <a:cubicBezTo>
                      <a:pt x="101" y="469"/>
                      <a:pt x="169" y="432"/>
                      <a:pt x="206" y="407"/>
                    </a:cubicBezTo>
                    <a:cubicBezTo>
                      <a:pt x="654" y="251"/>
                      <a:pt x="1081" y="149"/>
                      <a:pt x="1508" y="132"/>
                    </a:cubicBezTo>
                    <a:cubicBezTo>
                      <a:pt x="1611" y="132"/>
                      <a:pt x="1713" y="132"/>
                      <a:pt x="1799" y="116"/>
                    </a:cubicBezTo>
                    <a:cubicBezTo>
                      <a:pt x="1810" y="116"/>
                      <a:pt x="1823" y="118"/>
                      <a:pt x="1835" y="118"/>
                    </a:cubicBezTo>
                    <a:cubicBezTo>
                      <a:pt x="1861" y="118"/>
                      <a:pt x="1886" y="110"/>
                      <a:pt x="1886" y="63"/>
                    </a:cubicBezTo>
                    <a:cubicBezTo>
                      <a:pt x="1886" y="13"/>
                      <a:pt x="1832" y="30"/>
                      <a:pt x="1799" y="13"/>
                    </a:cubicBezTo>
                    <a:cubicBezTo>
                      <a:pt x="1711" y="5"/>
                      <a:pt x="1623" y="1"/>
                      <a:pt x="1535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78" name="Google Shape;378;p24"/>
              <p:cNvSpPr/>
              <p:nvPr/>
            </p:nvSpPr>
            <p:spPr>
              <a:xfrm>
                <a:off x="440025" y="1935625"/>
                <a:ext cx="41500" cy="14975"/>
              </a:xfrm>
              <a:custGeom>
                <a:avLst/>
                <a:gdLst/>
                <a:ahLst/>
                <a:cxnLst/>
                <a:rect l="l" t="t" r="r" b="b"/>
                <a:pathLst>
                  <a:path w="1660" h="599" extrusionOk="0">
                    <a:moveTo>
                      <a:pt x="90" y="0"/>
                    </a:moveTo>
                    <a:cubicBezTo>
                      <a:pt x="55" y="0"/>
                      <a:pt x="25" y="8"/>
                      <a:pt x="17" y="41"/>
                    </a:cubicBezTo>
                    <a:cubicBezTo>
                      <a:pt x="1" y="94"/>
                      <a:pt x="222" y="144"/>
                      <a:pt x="309" y="160"/>
                    </a:cubicBezTo>
                    <a:cubicBezTo>
                      <a:pt x="888" y="246"/>
                      <a:pt x="1265" y="435"/>
                      <a:pt x="1557" y="571"/>
                    </a:cubicBezTo>
                    <a:cubicBezTo>
                      <a:pt x="1569" y="585"/>
                      <a:pt x="1599" y="598"/>
                      <a:pt x="1622" y="598"/>
                    </a:cubicBezTo>
                    <a:cubicBezTo>
                      <a:pt x="1631" y="598"/>
                      <a:pt x="1639" y="596"/>
                      <a:pt x="1643" y="591"/>
                    </a:cubicBezTo>
                    <a:cubicBezTo>
                      <a:pt x="1660" y="571"/>
                      <a:pt x="1643" y="538"/>
                      <a:pt x="1627" y="522"/>
                    </a:cubicBezTo>
                    <a:cubicBezTo>
                      <a:pt x="1454" y="365"/>
                      <a:pt x="1196" y="230"/>
                      <a:pt x="838" y="127"/>
                    </a:cubicBezTo>
                    <a:cubicBezTo>
                      <a:pt x="650" y="78"/>
                      <a:pt x="428" y="58"/>
                      <a:pt x="190" y="8"/>
                    </a:cubicBezTo>
                    <a:cubicBezTo>
                      <a:pt x="163" y="8"/>
                      <a:pt x="124" y="0"/>
                      <a:pt x="9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79" name="Google Shape;379;p24"/>
              <p:cNvSpPr/>
              <p:nvPr/>
            </p:nvSpPr>
            <p:spPr>
              <a:xfrm>
                <a:off x="442600" y="1917825"/>
                <a:ext cx="50425" cy="5375"/>
              </a:xfrm>
              <a:custGeom>
                <a:avLst/>
                <a:gdLst/>
                <a:ahLst/>
                <a:cxnLst/>
                <a:rect l="l" t="t" r="r" b="b"/>
                <a:pathLst>
                  <a:path w="2017" h="215" extrusionOk="0">
                    <a:moveTo>
                      <a:pt x="822" y="1"/>
                    </a:moveTo>
                    <a:cubicBezTo>
                      <a:pt x="648" y="1"/>
                      <a:pt x="472" y="11"/>
                      <a:pt x="292" y="35"/>
                    </a:cubicBezTo>
                    <a:cubicBezTo>
                      <a:pt x="222" y="51"/>
                      <a:pt x="169" y="71"/>
                      <a:pt x="103" y="88"/>
                    </a:cubicBezTo>
                    <a:cubicBezTo>
                      <a:pt x="33" y="104"/>
                      <a:pt x="0" y="137"/>
                      <a:pt x="0" y="174"/>
                    </a:cubicBezTo>
                    <a:cubicBezTo>
                      <a:pt x="17" y="191"/>
                      <a:pt x="33" y="191"/>
                      <a:pt x="50" y="191"/>
                    </a:cubicBezTo>
                    <a:cubicBezTo>
                      <a:pt x="136" y="191"/>
                      <a:pt x="222" y="174"/>
                      <a:pt x="308" y="174"/>
                    </a:cubicBezTo>
                    <a:cubicBezTo>
                      <a:pt x="491" y="139"/>
                      <a:pt x="674" y="125"/>
                      <a:pt x="859" y="125"/>
                    </a:cubicBezTo>
                    <a:cubicBezTo>
                      <a:pt x="1037" y="125"/>
                      <a:pt x="1218" y="138"/>
                      <a:pt x="1401" y="154"/>
                    </a:cubicBezTo>
                    <a:cubicBezTo>
                      <a:pt x="1557" y="174"/>
                      <a:pt x="1729" y="191"/>
                      <a:pt x="1881" y="207"/>
                    </a:cubicBezTo>
                    <a:cubicBezTo>
                      <a:pt x="1903" y="207"/>
                      <a:pt x="1949" y="214"/>
                      <a:pt x="1977" y="214"/>
                    </a:cubicBezTo>
                    <a:cubicBezTo>
                      <a:pt x="1991" y="214"/>
                      <a:pt x="2000" y="212"/>
                      <a:pt x="2000" y="207"/>
                    </a:cubicBezTo>
                    <a:cubicBezTo>
                      <a:pt x="2017" y="154"/>
                      <a:pt x="1848" y="121"/>
                      <a:pt x="1778" y="104"/>
                    </a:cubicBezTo>
                    <a:cubicBezTo>
                      <a:pt x="1456" y="38"/>
                      <a:pt x="1142" y="1"/>
                      <a:pt x="822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80" name="Google Shape;380;p24"/>
              <p:cNvSpPr/>
              <p:nvPr/>
            </p:nvSpPr>
            <p:spPr>
              <a:xfrm>
                <a:off x="441275" y="1927000"/>
                <a:ext cx="49175" cy="11275"/>
              </a:xfrm>
              <a:custGeom>
                <a:avLst/>
                <a:gdLst/>
                <a:ahLst/>
                <a:cxnLst/>
                <a:rect l="l" t="t" r="r" b="b"/>
                <a:pathLst>
                  <a:path w="1967" h="451" extrusionOk="0">
                    <a:moveTo>
                      <a:pt x="352" y="1"/>
                    </a:moveTo>
                    <a:cubicBezTo>
                      <a:pt x="269" y="1"/>
                      <a:pt x="186" y="4"/>
                      <a:pt x="103" y="12"/>
                    </a:cubicBezTo>
                    <a:cubicBezTo>
                      <a:pt x="70" y="12"/>
                      <a:pt x="16" y="12"/>
                      <a:pt x="16" y="62"/>
                    </a:cubicBezTo>
                    <a:cubicBezTo>
                      <a:pt x="0" y="115"/>
                      <a:pt x="70" y="115"/>
                      <a:pt x="103" y="115"/>
                    </a:cubicBezTo>
                    <a:cubicBezTo>
                      <a:pt x="222" y="115"/>
                      <a:pt x="324" y="115"/>
                      <a:pt x="448" y="132"/>
                    </a:cubicBezTo>
                    <a:cubicBezTo>
                      <a:pt x="907" y="148"/>
                      <a:pt x="1335" y="251"/>
                      <a:pt x="1782" y="386"/>
                    </a:cubicBezTo>
                    <a:cubicBezTo>
                      <a:pt x="1820" y="415"/>
                      <a:pt x="1890" y="450"/>
                      <a:pt x="1927" y="450"/>
                    </a:cubicBezTo>
                    <a:cubicBezTo>
                      <a:pt x="1938" y="450"/>
                      <a:pt x="1947" y="447"/>
                      <a:pt x="1950" y="439"/>
                    </a:cubicBezTo>
                    <a:cubicBezTo>
                      <a:pt x="1967" y="403"/>
                      <a:pt x="1885" y="353"/>
                      <a:pt x="1848" y="337"/>
                    </a:cubicBezTo>
                    <a:cubicBezTo>
                      <a:pt x="1642" y="234"/>
                      <a:pt x="1437" y="164"/>
                      <a:pt x="1232" y="115"/>
                    </a:cubicBezTo>
                    <a:cubicBezTo>
                      <a:pt x="940" y="48"/>
                      <a:pt x="646" y="1"/>
                      <a:pt x="352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81" name="Google Shape;381;p24"/>
              <p:cNvSpPr/>
              <p:nvPr/>
            </p:nvSpPr>
            <p:spPr>
              <a:xfrm>
                <a:off x="392925" y="1886050"/>
                <a:ext cx="38100" cy="39950"/>
              </a:xfrm>
              <a:custGeom>
                <a:avLst/>
                <a:gdLst/>
                <a:ahLst/>
                <a:cxnLst/>
                <a:rect l="l" t="t" r="r" b="b"/>
                <a:pathLst>
                  <a:path w="1524" h="1598" extrusionOk="0">
                    <a:moveTo>
                      <a:pt x="782" y="0"/>
                    </a:moveTo>
                    <a:cubicBezTo>
                      <a:pt x="750" y="0"/>
                      <a:pt x="718" y="3"/>
                      <a:pt x="686" y="8"/>
                    </a:cubicBezTo>
                    <a:cubicBezTo>
                      <a:pt x="140" y="90"/>
                      <a:pt x="0" y="484"/>
                      <a:pt x="0" y="829"/>
                    </a:cubicBezTo>
                    <a:cubicBezTo>
                      <a:pt x="0" y="1170"/>
                      <a:pt x="308" y="1581"/>
                      <a:pt x="756" y="1597"/>
                    </a:cubicBezTo>
                    <a:cubicBezTo>
                      <a:pt x="1183" y="1597"/>
                      <a:pt x="1523" y="1219"/>
                      <a:pt x="1523" y="792"/>
                    </a:cubicBezTo>
                    <a:cubicBezTo>
                      <a:pt x="1508" y="382"/>
                      <a:pt x="1170" y="0"/>
                      <a:pt x="782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82" name="Google Shape;382;p24"/>
              <p:cNvSpPr/>
              <p:nvPr/>
            </p:nvSpPr>
            <p:spPr>
              <a:xfrm>
                <a:off x="391275" y="1885300"/>
                <a:ext cx="42725" cy="41550"/>
              </a:xfrm>
              <a:custGeom>
                <a:avLst/>
                <a:gdLst/>
                <a:ahLst/>
                <a:cxnLst/>
                <a:rect l="l" t="t" r="r" b="b"/>
                <a:pathLst>
                  <a:path w="1709" h="1662" extrusionOk="0">
                    <a:moveTo>
                      <a:pt x="392" y="497"/>
                    </a:moveTo>
                    <a:cubicBezTo>
                      <a:pt x="535" y="497"/>
                      <a:pt x="594" y="689"/>
                      <a:pt x="444" y="757"/>
                    </a:cubicBezTo>
                    <a:cubicBezTo>
                      <a:pt x="423" y="765"/>
                      <a:pt x="403" y="769"/>
                      <a:pt x="385" y="769"/>
                    </a:cubicBezTo>
                    <a:cubicBezTo>
                      <a:pt x="231" y="769"/>
                      <a:pt x="192" y="497"/>
                      <a:pt x="361" y="497"/>
                    </a:cubicBezTo>
                    <a:cubicBezTo>
                      <a:pt x="365" y="497"/>
                      <a:pt x="369" y="498"/>
                      <a:pt x="374" y="498"/>
                    </a:cubicBezTo>
                    <a:cubicBezTo>
                      <a:pt x="380" y="497"/>
                      <a:pt x="386" y="497"/>
                      <a:pt x="392" y="497"/>
                    </a:cubicBezTo>
                    <a:close/>
                    <a:moveTo>
                      <a:pt x="854" y="120"/>
                    </a:moveTo>
                    <a:cubicBezTo>
                      <a:pt x="1043" y="120"/>
                      <a:pt x="1216" y="243"/>
                      <a:pt x="1281" y="309"/>
                    </a:cubicBezTo>
                    <a:cubicBezTo>
                      <a:pt x="1421" y="449"/>
                      <a:pt x="1503" y="633"/>
                      <a:pt x="1503" y="822"/>
                    </a:cubicBezTo>
                    <a:cubicBezTo>
                      <a:pt x="1524" y="1011"/>
                      <a:pt x="1454" y="1233"/>
                      <a:pt x="1298" y="1352"/>
                    </a:cubicBezTo>
                    <a:cubicBezTo>
                      <a:pt x="1093" y="1557"/>
                      <a:pt x="822" y="1578"/>
                      <a:pt x="822" y="1578"/>
                    </a:cubicBezTo>
                    <a:cubicBezTo>
                      <a:pt x="822" y="1578"/>
                      <a:pt x="941" y="1216"/>
                      <a:pt x="957" y="1167"/>
                    </a:cubicBezTo>
                    <a:cubicBezTo>
                      <a:pt x="974" y="1065"/>
                      <a:pt x="974" y="941"/>
                      <a:pt x="974" y="839"/>
                    </a:cubicBezTo>
                    <a:cubicBezTo>
                      <a:pt x="974" y="720"/>
                      <a:pt x="957" y="601"/>
                      <a:pt x="941" y="498"/>
                    </a:cubicBezTo>
                    <a:cubicBezTo>
                      <a:pt x="924" y="465"/>
                      <a:pt x="854" y="276"/>
                      <a:pt x="822" y="174"/>
                    </a:cubicBezTo>
                    <a:cubicBezTo>
                      <a:pt x="805" y="157"/>
                      <a:pt x="822" y="120"/>
                      <a:pt x="854" y="120"/>
                    </a:cubicBezTo>
                    <a:close/>
                    <a:moveTo>
                      <a:pt x="821" y="0"/>
                    </a:moveTo>
                    <a:cubicBezTo>
                      <a:pt x="390" y="0"/>
                      <a:pt x="0" y="307"/>
                      <a:pt x="0" y="859"/>
                    </a:cubicBezTo>
                    <a:cubicBezTo>
                      <a:pt x="0" y="1416"/>
                      <a:pt x="410" y="1661"/>
                      <a:pt x="806" y="1661"/>
                    </a:cubicBezTo>
                    <a:cubicBezTo>
                      <a:pt x="822" y="1661"/>
                      <a:pt x="838" y="1661"/>
                      <a:pt x="854" y="1660"/>
                    </a:cubicBezTo>
                    <a:cubicBezTo>
                      <a:pt x="1232" y="1660"/>
                      <a:pt x="1557" y="1372"/>
                      <a:pt x="1626" y="978"/>
                    </a:cubicBezTo>
                    <a:cubicBezTo>
                      <a:pt x="1709" y="481"/>
                      <a:pt x="1351" y="38"/>
                      <a:pt x="854" y="1"/>
                    </a:cubicBezTo>
                    <a:cubicBezTo>
                      <a:pt x="843" y="1"/>
                      <a:pt x="832" y="0"/>
                      <a:pt x="82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83" name="Google Shape;383;p24"/>
              <p:cNvSpPr/>
              <p:nvPr/>
            </p:nvSpPr>
            <p:spPr>
              <a:xfrm>
                <a:off x="319425" y="1886050"/>
                <a:ext cx="38500" cy="39550"/>
              </a:xfrm>
              <a:custGeom>
                <a:avLst/>
                <a:gdLst/>
                <a:ahLst/>
                <a:cxnLst/>
                <a:rect l="l" t="t" r="r" b="b"/>
                <a:pathLst>
                  <a:path w="1540" h="1582" extrusionOk="0">
                    <a:moveTo>
                      <a:pt x="798" y="0"/>
                    </a:moveTo>
                    <a:cubicBezTo>
                      <a:pt x="766" y="0"/>
                      <a:pt x="734" y="3"/>
                      <a:pt x="702" y="8"/>
                    </a:cubicBezTo>
                    <a:cubicBezTo>
                      <a:pt x="152" y="90"/>
                      <a:pt x="16" y="484"/>
                      <a:pt x="16" y="829"/>
                    </a:cubicBezTo>
                    <a:cubicBezTo>
                      <a:pt x="0" y="1170"/>
                      <a:pt x="324" y="1581"/>
                      <a:pt x="751" y="1581"/>
                    </a:cubicBezTo>
                    <a:cubicBezTo>
                      <a:pt x="761" y="1581"/>
                      <a:pt x="770" y="1581"/>
                      <a:pt x="779" y="1581"/>
                    </a:cubicBezTo>
                    <a:cubicBezTo>
                      <a:pt x="1209" y="1581"/>
                      <a:pt x="1540" y="1210"/>
                      <a:pt x="1523" y="792"/>
                    </a:cubicBezTo>
                    <a:cubicBezTo>
                      <a:pt x="1523" y="382"/>
                      <a:pt x="1186" y="0"/>
                      <a:pt x="798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84" name="Google Shape;384;p24"/>
              <p:cNvSpPr/>
              <p:nvPr/>
            </p:nvSpPr>
            <p:spPr>
              <a:xfrm>
                <a:off x="318075" y="1885300"/>
                <a:ext cx="42425" cy="41550"/>
              </a:xfrm>
              <a:custGeom>
                <a:avLst/>
                <a:gdLst/>
                <a:ahLst/>
                <a:cxnLst/>
                <a:rect l="l" t="t" r="r" b="b"/>
                <a:pathLst>
                  <a:path w="1697" h="1662" extrusionOk="0">
                    <a:moveTo>
                      <a:pt x="378" y="481"/>
                    </a:moveTo>
                    <a:cubicBezTo>
                      <a:pt x="530" y="481"/>
                      <a:pt x="600" y="687"/>
                      <a:pt x="448" y="757"/>
                    </a:cubicBezTo>
                    <a:cubicBezTo>
                      <a:pt x="430" y="762"/>
                      <a:pt x="413" y="765"/>
                      <a:pt x="397" y="765"/>
                    </a:cubicBezTo>
                    <a:cubicBezTo>
                      <a:pt x="233" y="765"/>
                      <a:pt x="191" y="481"/>
                      <a:pt x="378" y="481"/>
                    </a:cubicBezTo>
                    <a:close/>
                    <a:moveTo>
                      <a:pt x="838" y="120"/>
                    </a:moveTo>
                    <a:cubicBezTo>
                      <a:pt x="1044" y="120"/>
                      <a:pt x="1216" y="243"/>
                      <a:pt x="1286" y="309"/>
                    </a:cubicBezTo>
                    <a:cubicBezTo>
                      <a:pt x="1421" y="449"/>
                      <a:pt x="1508" y="633"/>
                      <a:pt x="1508" y="822"/>
                    </a:cubicBezTo>
                    <a:cubicBezTo>
                      <a:pt x="1524" y="1011"/>
                      <a:pt x="1438" y="1233"/>
                      <a:pt x="1302" y="1352"/>
                    </a:cubicBezTo>
                    <a:cubicBezTo>
                      <a:pt x="1097" y="1557"/>
                      <a:pt x="822" y="1578"/>
                      <a:pt x="822" y="1578"/>
                    </a:cubicBezTo>
                    <a:cubicBezTo>
                      <a:pt x="822" y="1578"/>
                      <a:pt x="941" y="1216"/>
                      <a:pt x="941" y="1167"/>
                    </a:cubicBezTo>
                    <a:cubicBezTo>
                      <a:pt x="978" y="1065"/>
                      <a:pt x="978" y="941"/>
                      <a:pt x="978" y="839"/>
                    </a:cubicBezTo>
                    <a:cubicBezTo>
                      <a:pt x="978" y="720"/>
                      <a:pt x="962" y="601"/>
                      <a:pt x="941" y="498"/>
                    </a:cubicBezTo>
                    <a:cubicBezTo>
                      <a:pt x="925" y="465"/>
                      <a:pt x="859" y="276"/>
                      <a:pt x="822" y="174"/>
                    </a:cubicBezTo>
                    <a:cubicBezTo>
                      <a:pt x="805" y="157"/>
                      <a:pt x="822" y="120"/>
                      <a:pt x="838" y="120"/>
                    </a:cubicBezTo>
                    <a:close/>
                    <a:moveTo>
                      <a:pt x="824" y="0"/>
                    </a:moveTo>
                    <a:cubicBezTo>
                      <a:pt x="375" y="0"/>
                      <a:pt x="1" y="307"/>
                      <a:pt x="1" y="859"/>
                    </a:cubicBezTo>
                    <a:cubicBezTo>
                      <a:pt x="1" y="1416"/>
                      <a:pt x="414" y="1661"/>
                      <a:pt x="811" y="1661"/>
                    </a:cubicBezTo>
                    <a:cubicBezTo>
                      <a:pt x="827" y="1661"/>
                      <a:pt x="843" y="1661"/>
                      <a:pt x="859" y="1660"/>
                    </a:cubicBezTo>
                    <a:cubicBezTo>
                      <a:pt x="1233" y="1660"/>
                      <a:pt x="1557" y="1372"/>
                      <a:pt x="1627" y="978"/>
                    </a:cubicBezTo>
                    <a:cubicBezTo>
                      <a:pt x="1697" y="481"/>
                      <a:pt x="1352" y="38"/>
                      <a:pt x="859" y="1"/>
                    </a:cubicBezTo>
                    <a:cubicBezTo>
                      <a:pt x="847" y="1"/>
                      <a:pt x="835" y="0"/>
                      <a:pt x="82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85" name="Google Shape;385;p24"/>
              <p:cNvSpPr/>
              <p:nvPr/>
            </p:nvSpPr>
            <p:spPr>
              <a:xfrm>
                <a:off x="290775" y="1825875"/>
                <a:ext cx="168075" cy="184400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7376" extrusionOk="0">
                    <a:moveTo>
                      <a:pt x="1691" y="2170"/>
                    </a:moveTo>
                    <a:cubicBezTo>
                      <a:pt x="1976" y="2170"/>
                      <a:pt x="2283" y="2286"/>
                      <a:pt x="2530" y="2518"/>
                    </a:cubicBezTo>
                    <a:cubicBezTo>
                      <a:pt x="2994" y="2945"/>
                      <a:pt x="3096" y="3593"/>
                      <a:pt x="2735" y="3971"/>
                    </a:cubicBezTo>
                    <a:cubicBezTo>
                      <a:pt x="2577" y="4144"/>
                      <a:pt x="2354" y="4230"/>
                      <a:pt x="2113" y="4230"/>
                    </a:cubicBezTo>
                    <a:cubicBezTo>
                      <a:pt x="1833" y="4230"/>
                      <a:pt x="1531" y="4114"/>
                      <a:pt x="1282" y="3885"/>
                    </a:cubicBezTo>
                    <a:cubicBezTo>
                      <a:pt x="822" y="3474"/>
                      <a:pt x="719" y="2826"/>
                      <a:pt x="1060" y="2431"/>
                    </a:cubicBezTo>
                    <a:cubicBezTo>
                      <a:pt x="1218" y="2256"/>
                      <a:pt x="1446" y="2170"/>
                      <a:pt x="1691" y="2170"/>
                    </a:cubicBezTo>
                    <a:close/>
                    <a:moveTo>
                      <a:pt x="5035" y="2170"/>
                    </a:moveTo>
                    <a:cubicBezTo>
                      <a:pt x="5278" y="2170"/>
                      <a:pt x="5503" y="2256"/>
                      <a:pt x="5663" y="2431"/>
                    </a:cubicBezTo>
                    <a:cubicBezTo>
                      <a:pt x="6004" y="2826"/>
                      <a:pt x="5917" y="3474"/>
                      <a:pt x="5458" y="3885"/>
                    </a:cubicBezTo>
                    <a:cubicBezTo>
                      <a:pt x="5199" y="4114"/>
                      <a:pt x="4893" y="4230"/>
                      <a:pt x="4611" y="4230"/>
                    </a:cubicBezTo>
                    <a:cubicBezTo>
                      <a:pt x="4368" y="4230"/>
                      <a:pt x="4143" y="4144"/>
                      <a:pt x="3983" y="3971"/>
                    </a:cubicBezTo>
                    <a:cubicBezTo>
                      <a:pt x="3643" y="3593"/>
                      <a:pt x="3729" y="2945"/>
                      <a:pt x="4189" y="2518"/>
                    </a:cubicBezTo>
                    <a:cubicBezTo>
                      <a:pt x="4447" y="2286"/>
                      <a:pt x="4753" y="2170"/>
                      <a:pt x="5035" y="2170"/>
                    </a:cubicBezTo>
                    <a:close/>
                    <a:moveTo>
                      <a:pt x="3367" y="1"/>
                    </a:moveTo>
                    <a:cubicBezTo>
                      <a:pt x="1503" y="1"/>
                      <a:pt x="0" y="1508"/>
                      <a:pt x="0" y="3355"/>
                    </a:cubicBezTo>
                    <a:cubicBezTo>
                      <a:pt x="0" y="5219"/>
                      <a:pt x="1590" y="7375"/>
                      <a:pt x="3367" y="7375"/>
                    </a:cubicBezTo>
                    <a:cubicBezTo>
                      <a:pt x="5133" y="7375"/>
                      <a:pt x="6722" y="5219"/>
                      <a:pt x="6722" y="3355"/>
                    </a:cubicBezTo>
                    <a:cubicBezTo>
                      <a:pt x="6722" y="1508"/>
                      <a:pt x="5215" y="1"/>
                      <a:pt x="3367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86" name="Google Shape;386;p24"/>
              <p:cNvSpPr/>
              <p:nvPr/>
            </p:nvSpPr>
            <p:spPr>
              <a:xfrm>
                <a:off x="336975" y="1835075"/>
                <a:ext cx="35425" cy="17825"/>
              </a:xfrm>
              <a:custGeom>
                <a:avLst/>
                <a:gdLst/>
                <a:ahLst/>
                <a:cxnLst/>
                <a:rect l="l" t="t" r="r" b="b"/>
                <a:pathLst>
                  <a:path w="1417" h="713" extrusionOk="0">
                    <a:moveTo>
                      <a:pt x="1123" y="1"/>
                    </a:moveTo>
                    <a:cubicBezTo>
                      <a:pt x="1097" y="1"/>
                      <a:pt x="1070" y="4"/>
                      <a:pt x="1043" y="10"/>
                    </a:cubicBezTo>
                    <a:cubicBezTo>
                      <a:pt x="838" y="27"/>
                      <a:pt x="633" y="60"/>
                      <a:pt x="427" y="146"/>
                    </a:cubicBezTo>
                    <a:cubicBezTo>
                      <a:pt x="325" y="199"/>
                      <a:pt x="222" y="265"/>
                      <a:pt x="136" y="335"/>
                    </a:cubicBezTo>
                    <a:cubicBezTo>
                      <a:pt x="82" y="368"/>
                      <a:pt x="49" y="421"/>
                      <a:pt x="33" y="470"/>
                    </a:cubicBezTo>
                    <a:cubicBezTo>
                      <a:pt x="0" y="524"/>
                      <a:pt x="0" y="573"/>
                      <a:pt x="33" y="626"/>
                    </a:cubicBezTo>
                    <a:cubicBezTo>
                      <a:pt x="66" y="692"/>
                      <a:pt x="136" y="713"/>
                      <a:pt x="206" y="713"/>
                    </a:cubicBezTo>
                    <a:cubicBezTo>
                      <a:pt x="271" y="713"/>
                      <a:pt x="341" y="692"/>
                      <a:pt x="411" y="659"/>
                    </a:cubicBezTo>
                    <a:cubicBezTo>
                      <a:pt x="633" y="589"/>
                      <a:pt x="871" y="540"/>
                      <a:pt x="1092" y="507"/>
                    </a:cubicBezTo>
                    <a:cubicBezTo>
                      <a:pt x="1162" y="507"/>
                      <a:pt x="1212" y="507"/>
                      <a:pt x="1265" y="470"/>
                    </a:cubicBezTo>
                    <a:cubicBezTo>
                      <a:pt x="1351" y="437"/>
                      <a:pt x="1417" y="318"/>
                      <a:pt x="1400" y="216"/>
                    </a:cubicBezTo>
                    <a:cubicBezTo>
                      <a:pt x="1373" y="73"/>
                      <a:pt x="1251" y="1"/>
                      <a:pt x="1123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87" name="Google Shape;387;p24"/>
              <p:cNvSpPr/>
              <p:nvPr/>
            </p:nvSpPr>
            <p:spPr>
              <a:xfrm>
                <a:off x="312525" y="1935175"/>
                <a:ext cx="23125" cy="19325"/>
              </a:xfrm>
              <a:custGeom>
                <a:avLst/>
                <a:gdLst/>
                <a:ahLst/>
                <a:cxnLst/>
                <a:rect l="l" t="t" r="r" b="b"/>
                <a:pathLst>
                  <a:path w="925" h="773" extrusionOk="0">
                    <a:moveTo>
                      <a:pt x="479" y="0"/>
                    </a:moveTo>
                    <a:cubicBezTo>
                      <a:pt x="273" y="0"/>
                      <a:pt x="68" y="124"/>
                      <a:pt x="34" y="351"/>
                    </a:cubicBezTo>
                    <a:cubicBezTo>
                      <a:pt x="1" y="470"/>
                      <a:pt x="54" y="609"/>
                      <a:pt x="157" y="691"/>
                    </a:cubicBezTo>
                    <a:cubicBezTo>
                      <a:pt x="232" y="746"/>
                      <a:pt x="326" y="772"/>
                      <a:pt x="425" y="772"/>
                    </a:cubicBezTo>
                    <a:cubicBezTo>
                      <a:pt x="483" y="772"/>
                      <a:pt x="543" y="763"/>
                      <a:pt x="600" y="745"/>
                    </a:cubicBezTo>
                    <a:cubicBezTo>
                      <a:pt x="720" y="712"/>
                      <a:pt x="822" y="659"/>
                      <a:pt x="876" y="540"/>
                    </a:cubicBezTo>
                    <a:cubicBezTo>
                      <a:pt x="925" y="453"/>
                      <a:pt x="925" y="351"/>
                      <a:pt x="892" y="264"/>
                    </a:cubicBezTo>
                    <a:cubicBezTo>
                      <a:pt x="876" y="215"/>
                      <a:pt x="839" y="162"/>
                      <a:pt x="806" y="129"/>
                    </a:cubicBezTo>
                    <a:cubicBezTo>
                      <a:pt x="718" y="42"/>
                      <a:pt x="599" y="0"/>
                      <a:pt x="479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88" name="Google Shape;388;p24"/>
              <p:cNvSpPr/>
              <p:nvPr/>
            </p:nvSpPr>
            <p:spPr>
              <a:xfrm>
                <a:off x="413950" y="1935175"/>
                <a:ext cx="23125" cy="19325"/>
              </a:xfrm>
              <a:custGeom>
                <a:avLst/>
                <a:gdLst/>
                <a:ahLst/>
                <a:cxnLst/>
                <a:rect l="l" t="t" r="r" b="b"/>
                <a:pathLst>
                  <a:path w="925" h="773" extrusionOk="0">
                    <a:moveTo>
                      <a:pt x="458" y="0"/>
                    </a:moveTo>
                    <a:cubicBezTo>
                      <a:pt x="341" y="0"/>
                      <a:pt x="224" y="42"/>
                      <a:pt x="136" y="129"/>
                    </a:cubicBezTo>
                    <a:cubicBezTo>
                      <a:pt x="83" y="162"/>
                      <a:pt x="50" y="215"/>
                      <a:pt x="34" y="264"/>
                    </a:cubicBezTo>
                    <a:cubicBezTo>
                      <a:pt x="1" y="351"/>
                      <a:pt x="1" y="453"/>
                      <a:pt x="50" y="540"/>
                    </a:cubicBezTo>
                    <a:cubicBezTo>
                      <a:pt x="103" y="659"/>
                      <a:pt x="223" y="712"/>
                      <a:pt x="342" y="745"/>
                    </a:cubicBezTo>
                    <a:cubicBezTo>
                      <a:pt x="392" y="763"/>
                      <a:pt x="447" y="772"/>
                      <a:pt x="503" y="772"/>
                    </a:cubicBezTo>
                    <a:cubicBezTo>
                      <a:pt x="598" y="772"/>
                      <a:pt x="694" y="746"/>
                      <a:pt x="769" y="691"/>
                    </a:cubicBezTo>
                    <a:cubicBezTo>
                      <a:pt x="871" y="609"/>
                      <a:pt x="925" y="470"/>
                      <a:pt x="904" y="351"/>
                    </a:cubicBezTo>
                    <a:cubicBezTo>
                      <a:pt x="863" y="124"/>
                      <a:pt x="661" y="0"/>
                      <a:pt x="458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89" name="Google Shape;389;p24"/>
              <p:cNvSpPr/>
              <p:nvPr/>
            </p:nvSpPr>
            <p:spPr>
              <a:xfrm>
                <a:off x="296725" y="1876575"/>
                <a:ext cx="25275" cy="86275"/>
              </a:xfrm>
              <a:custGeom>
                <a:avLst/>
                <a:gdLst/>
                <a:ahLst/>
                <a:cxnLst/>
                <a:rect l="l" t="t" r="r" b="b"/>
                <a:pathLst>
                  <a:path w="1011" h="3451" extrusionOk="0">
                    <a:moveTo>
                      <a:pt x="363" y="1"/>
                    </a:moveTo>
                    <a:cubicBezTo>
                      <a:pt x="345" y="1"/>
                      <a:pt x="327" y="3"/>
                      <a:pt x="309" y="9"/>
                    </a:cubicBezTo>
                    <a:cubicBezTo>
                      <a:pt x="222" y="42"/>
                      <a:pt x="189" y="198"/>
                      <a:pt x="153" y="284"/>
                    </a:cubicBezTo>
                    <a:cubicBezTo>
                      <a:pt x="50" y="539"/>
                      <a:pt x="17" y="830"/>
                      <a:pt x="1" y="1122"/>
                    </a:cubicBezTo>
                    <a:cubicBezTo>
                      <a:pt x="1" y="1479"/>
                      <a:pt x="50" y="1857"/>
                      <a:pt x="120" y="2214"/>
                    </a:cubicBezTo>
                    <a:cubicBezTo>
                      <a:pt x="189" y="2625"/>
                      <a:pt x="292" y="3035"/>
                      <a:pt x="584" y="3327"/>
                    </a:cubicBezTo>
                    <a:cubicBezTo>
                      <a:pt x="640" y="3401"/>
                      <a:pt x="723" y="3450"/>
                      <a:pt x="810" y="3450"/>
                    </a:cubicBezTo>
                    <a:cubicBezTo>
                      <a:pt x="825" y="3450"/>
                      <a:pt x="840" y="3449"/>
                      <a:pt x="855" y="3446"/>
                    </a:cubicBezTo>
                    <a:cubicBezTo>
                      <a:pt x="941" y="3413"/>
                      <a:pt x="994" y="3327"/>
                      <a:pt x="1011" y="3241"/>
                    </a:cubicBezTo>
                    <a:cubicBezTo>
                      <a:pt x="1011" y="3138"/>
                      <a:pt x="974" y="3056"/>
                      <a:pt x="957" y="2970"/>
                    </a:cubicBezTo>
                    <a:cubicBezTo>
                      <a:pt x="719" y="2337"/>
                      <a:pt x="411" y="1685"/>
                      <a:pt x="428" y="1003"/>
                    </a:cubicBezTo>
                    <a:cubicBezTo>
                      <a:pt x="444" y="814"/>
                      <a:pt x="460" y="642"/>
                      <a:pt x="514" y="469"/>
                    </a:cubicBezTo>
                    <a:cubicBezTo>
                      <a:pt x="547" y="350"/>
                      <a:pt x="584" y="247"/>
                      <a:pt x="547" y="128"/>
                    </a:cubicBezTo>
                    <a:cubicBezTo>
                      <a:pt x="520" y="58"/>
                      <a:pt x="446" y="1"/>
                      <a:pt x="363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90" name="Google Shape;390;p24"/>
              <p:cNvSpPr/>
              <p:nvPr/>
            </p:nvSpPr>
            <p:spPr>
              <a:xfrm>
                <a:off x="374550" y="1832350"/>
                <a:ext cx="17150" cy="15825"/>
              </a:xfrm>
              <a:custGeom>
                <a:avLst/>
                <a:gdLst/>
                <a:ahLst/>
                <a:cxnLst/>
                <a:rect l="l" t="t" r="r" b="b"/>
                <a:pathLst>
                  <a:path w="686" h="633" extrusionOk="0">
                    <a:moveTo>
                      <a:pt x="308" y="0"/>
                    </a:moveTo>
                    <a:cubicBezTo>
                      <a:pt x="103" y="0"/>
                      <a:pt x="0" y="222"/>
                      <a:pt x="16" y="374"/>
                    </a:cubicBezTo>
                    <a:cubicBezTo>
                      <a:pt x="53" y="514"/>
                      <a:pt x="205" y="633"/>
                      <a:pt x="378" y="633"/>
                    </a:cubicBezTo>
                    <a:cubicBezTo>
                      <a:pt x="550" y="616"/>
                      <a:pt x="686" y="493"/>
                      <a:pt x="686" y="341"/>
                    </a:cubicBezTo>
                    <a:cubicBezTo>
                      <a:pt x="686" y="185"/>
                      <a:pt x="497" y="17"/>
                      <a:pt x="308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91" name="Google Shape;391;p24"/>
              <p:cNvSpPr/>
              <p:nvPr/>
            </p:nvSpPr>
            <p:spPr>
              <a:xfrm>
                <a:off x="289025" y="1824125"/>
                <a:ext cx="171550" cy="187875"/>
              </a:xfrm>
              <a:custGeom>
                <a:avLst/>
                <a:gdLst/>
                <a:ahLst/>
                <a:cxnLst/>
                <a:rect l="l" t="t" r="r" b="b"/>
                <a:pathLst>
                  <a:path w="6862" h="7515" extrusionOk="0">
                    <a:moveTo>
                      <a:pt x="3437" y="140"/>
                    </a:moveTo>
                    <a:cubicBezTo>
                      <a:pt x="5252" y="140"/>
                      <a:pt x="6722" y="1610"/>
                      <a:pt x="6722" y="3425"/>
                    </a:cubicBezTo>
                    <a:cubicBezTo>
                      <a:pt x="6722" y="5203"/>
                      <a:pt x="5203" y="7375"/>
                      <a:pt x="3437" y="7375"/>
                    </a:cubicBezTo>
                    <a:cubicBezTo>
                      <a:pt x="1660" y="7375"/>
                      <a:pt x="136" y="5203"/>
                      <a:pt x="136" y="3425"/>
                    </a:cubicBezTo>
                    <a:cubicBezTo>
                      <a:pt x="136" y="1610"/>
                      <a:pt x="1627" y="140"/>
                      <a:pt x="3437" y="140"/>
                    </a:cubicBezTo>
                    <a:close/>
                    <a:moveTo>
                      <a:pt x="3437" y="1"/>
                    </a:moveTo>
                    <a:cubicBezTo>
                      <a:pt x="1540" y="1"/>
                      <a:pt x="1" y="1541"/>
                      <a:pt x="1" y="3425"/>
                    </a:cubicBezTo>
                    <a:cubicBezTo>
                      <a:pt x="1" y="5273"/>
                      <a:pt x="1590" y="7515"/>
                      <a:pt x="3437" y="7515"/>
                    </a:cubicBezTo>
                    <a:cubicBezTo>
                      <a:pt x="5269" y="7515"/>
                      <a:pt x="6862" y="5273"/>
                      <a:pt x="6862" y="3425"/>
                    </a:cubicBezTo>
                    <a:cubicBezTo>
                      <a:pt x="6862" y="1541"/>
                      <a:pt x="5322" y="1"/>
                      <a:pt x="343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92" name="Google Shape;392;p24"/>
              <p:cNvSpPr/>
              <p:nvPr/>
            </p:nvSpPr>
            <p:spPr>
              <a:xfrm>
                <a:off x="382650" y="1878475"/>
                <a:ext cx="57400" cy="54800"/>
              </a:xfrm>
              <a:custGeom>
                <a:avLst/>
                <a:gdLst/>
                <a:ahLst/>
                <a:cxnLst/>
                <a:rect l="l" t="t" r="r" b="b"/>
                <a:pathLst>
                  <a:path w="2296" h="2192" extrusionOk="0">
                    <a:moveTo>
                      <a:pt x="1364" y="137"/>
                    </a:moveTo>
                    <a:cubicBezTo>
                      <a:pt x="1596" y="137"/>
                      <a:pt x="1795" y="222"/>
                      <a:pt x="1934" y="377"/>
                    </a:cubicBezTo>
                    <a:cubicBezTo>
                      <a:pt x="2090" y="549"/>
                      <a:pt x="2156" y="771"/>
                      <a:pt x="2123" y="1030"/>
                    </a:cubicBezTo>
                    <a:cubicBezTo>
                      <a:pt x="2090" y="1284"/>
                      <a:pt x="1934" y="1543"/>
                      <a:pt x="1729" y="1728"/>
                    </a:cubicBezTo>
                    <a:cubicBezTo>
                      <a:pt x="1490" y="1949"/>
                      <a:pt x="1200" y="2062"/>
                      <a:pt x="936" y="2062"/>
                    </a:cubicBezTo>
                    <a:cubicBezTo>
                      <a:pt x="710" y="2062"/>
                      <a:pt x="503" y="1980"/>
                      <a:pt x="362" y="1814"/>
                    </a:cubicBezTo>
                    <a:cubicBezTo>
                      <a:pt x="206" y="1645"/>
                      <a:pt x="140" y="1420"/>
                      <a:pt x="173" y="1165"/>
                    </a:cubicBezTo>
                    <a:cubicBezTo>
                      <a:pt x="206" y="906"/>
                      <a:pt x="362" y="652"/>
                      <a:pt x="567" y="463"/>
                    </a:cubicBezTo>
                    <a:cubicBezTo>
                      <a:pt x="772" y="258"/>
                      <a:pt x="1048" y="155"/>
                      <a:pt x="1302" y="139"/>
                    </a:cubicBezTo>
                    <a:cubicBezTo>
                      <a:pt x="1323" y="137"/>
                      <a:pt x="1344" y="137"/>
                      <a:pt x="1364" y="137"/>
                    </a:cubicBezTo>
                    <a:close/>
                    <a:moveTo>
                      <a:pt x="1375" y="0"/>
                    </a:moveTo>
                    <a:cubicBezTo>
                      <a:pt x="1351" y="0"/>
                      <a:pt x="1327" y="1"/>
                      <a:pt x="1302" y="3"/>
                    </a:cubicBezTo>
                    <a:cubicBezTo>
                      <a:pt x="1011" y="19"/>
                      <a:pt x="719" y="139"/>
                      <a:pt x="481" y="360"/>
                    </a:cubicBezTo>
                    <a:cubicBezTo>
                      <a:pt x="243" y="582"/>
                      <a:pt x="87" y="857"/>
                      <a:pt x="37" y="1149"/>
                    </a:cubicBezTo>
                    <a:cubicBezTo>
                      <a:pt x="0" y="1440"/>
                      <a:pt x="70" y="1711"/>
                      <a:pt x="259" y="1916"/>
                    </a:cubicBezTo>
                    <a:cubicBezTo>
                      <a:pt x="432" y="2105"/>
                      <a:pt x="670" y="2192"/>
                      <a:pt x="945" y="2192"/>
                    </a:cubicBezTo>
                    <a:cubicBezTo>
                      <a:pt x="1232" y="2192"/>
                      <a:pt x="1561" y="2073"/>
                      <a:pt x="1815" y="1830"/>
                    </a:cubicBezTo>
                    <a:cubicBezTo>
                      <a:pt x="2054" y="1625"/>
                      <a:pt x="2210" y="1338"/>
                      <a:pt x="2259" y="1046"/>
                    </a:cubicBezTo>
                    <a:cubicBezTo>
                      <a:pt x="2296" y="754"/>
                      <a:pt x="2226" y="479"/>
                      <a:pt x="2037" y="290"/>
                    </a:cubicBezTo>
                    <a:cubicBezTo>
                      <a:pt x="1883" y="102"/>
                      <a:pt x="1639" y="0"/>
                      <a:pt x="137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93" name="Google Shape;393;p24"/>
              <p:cNvSpPr/>
              <p:nvPr/>
            </p:nvSpPr>
            <p:spPr>
              <a:xfrm>
                <a:off x="309550" y="1878475"/>
                <a:ext cx="57325" cy="54800"/>
              </a:xfrm>
              <a:custGeom>
                <a:avLst/>
                <a:gdLst/>
                <a:ahLst/>
                <a:cxnLst/>
                <a:rect l="l" t="t" r="r" b="b"/>
                <a:pathLst>
                  <a:path w="2293" h="2192" extrusionOk="0">
                    <a:moveTo>
                      <a:pt x="995" y="139"/>
                    </a:moveTo>
                    <a:cubicBezTo>
                      <a:pt x="1266" y="155"/>
                      <a:pt x="1524" y="258"/>
                      <a:pt x="1730" y="463"/>
                    </a:cubicBezTo>
                    <a:cubicBezTo>
                      <a:pt x="1951" y="652"/>
                      <a:pt x="2087" y="906"/>
                      <a:pt x="2124" y="1165"/>
                    </a:cubicBezTo>
                    <a:cubicBezTo>
                      <a:pt x="2157" y="1420"/>
                      <a:pt x="2103" y="1645"/>
                      <a:pt x="1951" y="1814"/>
                    </a:cubicBezTo>
                    <a:cubicBezTo>
                      <a:pt x="1802" y="1980"/>
                      <a:pt x="1591" y="2062"/>
                      <a:pt x="1363" y="2062"/>
                    </a:cubicBezTo>
                    <a:cubicBezTo>
                      <a:pt x="1096" y="2062"/>
                      <a:pt x="805" y="1949"/>
                      <a:pt x="563" y="1728"/>
                    </a:cubicBezTo>
                    <a:cubicBezTo>
                      <a:pt x="358" y="1543"/>
                      <a:pt x="223" y="1284"/>
                      <a:pt x="190" y="1030"/>
                    </a:cubicBezTo>
                    <a:cubicBezTo>
                      <a:pt x="136" y="771"/>
                      <a:pt x="206" y="549"/>
                      <a:pt x="358" y="377"/>
                    </a:cubicBezTo>
                    <a:cubicBezTo>
                      <a:pt x="498" y="225"/>
                      <a:pt x="703" y="139"/>
                      <a:pt x="941" y="139"/>
                    </a:cubicBezTo>
                    <a:close/>
                    <a:moveTo>
                      <a:pt x="935" y="0"/>
                    </a:moveTo>
                    <a:cubicBezTo>
                      <a:pt x="660" y="0"/>
                      <a:pt x="428" y="102"/>
                      <a:pt x="255" y="290"/>
                    </a:cubicBezTo>
                    <a:cubicBezTo>
                      <a:pt x="87" y="479"/>
                      <a:pt x="1" y="754"/>
                      <a:pt x="50" y="1046"/>
                    </a:cubicBezTo>
                    <a:cubicBezTo>
                      <a:pt x="87" y="1338"/>
                      <a:pt x="239" y="1625"/>
                      <a:pt x="481" y="1830"/>
                    </a:cubicBezTo>
                    <a:cubicBezTo>
                      <a:pt x="736" y="2073"/>
                      <a:pt x="1060" y="2192"/>
                      <a:pt x="1352" y="2192"/>
                    </a:cubicBezTo>
                    <a:cubicBezTo>
                      <a:pt x="1627" y="2192"/>
                      <a:pt x="1865" y="2105"/>
                      <a:pt x="2038" y="1916"/>
                    </a:cubicBezTo>
                    <a:cubicBezTo>
                      <a:pt x="2226" y="1711"/>
                      <a:pt x="2292" y="1440"/>
                      <a:pt x="2259" y="1149"/>
                    </a:cubicBezTo>
                    <a:cubicBezTo>
                      <a:pt x="2206" y="857"/>
                      <a:pt x="2054" y="582"/>
                      <a:pt x="1832" y="360"/>
                    </a:cubicBezTo>
                    <a:cubicBezTo>
                      <a:pt x="1590" y="139"/>
                      <a:pt x="1303" y="19"/>
                      <a:pt x="1011" y="3"/>
                    </a:cubicBezTo>
                    <a:cubicBezTo>
                      <a:pt x="985" y="1"/>
                      <a:pt x="960" y="0"/>
                      <a:pt x="93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94" name="Google Shape;394;p24"/>
              <p:cNvSpPr/>
              <p:nvPr/>
            </p:nvSpPr>
            <p:spPr>
              <a:xfrm>
                <a:off x="286050" y="1830400"/>
                <a:ext cx="47050" cy="40875"/>
              </a:xfrm>
              <a:custGeom>
                <a:avLst/>
                <a:gdLst/>
                <a:ahLst/>
                <a:cxnLst/>
                <a:rect l="l" t="t" r="r" b="b"/>
                <a:pathLst>
                  <a:path w="1882" h="1635" extrusionOk="0">
                    <a:moveTo>
                      <a:pt x="363" y="0"/>
                    </a:moveTo>
                    <a:cubicBezTo>
                      <a:pt x="213" y="0"/>
                      <a:pt x="108" y="47"/>
                      <a:pt x="87" y="144"/>
                    </a:cubicBezTo>
                    <a:cubicBezTo>
                      <a:pt x="1" y="522"/>
                      <a:pt x="887" y="674"/>
                      <a:pt x="1195" y="1635"/>
                    </a:cubicBezTo>
                    <a:lnTo>
                      <a:pt x="1881" y="1051"/>
                    </a:lnTo>
                    <a:cubicBezTo>
                      <a:pt x="1589" y="380"/>
                      <a:pt x="791" y="0"/>
                      <a:pt x="36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95" name="Google Shape;395;p24"/>
              <p:cNvSpPr/>
              <p:nvPr/>
            </p:nvSpPr>
            <p:spPr>
              <a:xfrm>
                <a:off x="285125" y="1828750"/>
                <a:ext cx="50125" cy="44175"/>
              </a:xfrm>
              <a:custGeom>
                <a:avLst/>
                <a:gdLst/>
                <a:ahLst/>
                <a:cxnLst/>
                <a:rect l="l" t="t" r="r" b="b"/>
                <a:pathLst>
                  <a:path w="2005" h="1767" extrusionOk="0">
                    <a:moveTo>
                      <a:pt x="405" y="1"/>
                    </a:moveTo>
                    <a:cubicBezTo>
                      <a:pt x="378" y="1"/>
                      <a:pt x="353" y="2"/>
                      <a:pt x="329" y="5"/>
                    </a:cubicBezTo>
                    <a:cubicBezTo>
                      <a:pt x="124" y="21"/>
                      <a:pt x="70" y="124"/>
                      <a:pt x="54" y="194"/>
                    </a:cubicBezTo>
                    <a:cubicBezTo>
                      <a:pt x="1" y="399"/>
                      <a:pt x="173" y="555"/>
                      <a:pt x="395" y="723"/>
                    </a:cubicBezTo>
                    <a:cubicBezTo>
                      <a:pt x="670" y="929"/>
                      <a:pt x="994" y="1204"/>
                      <a:pt x="1167" y="1717"/>
                    </a:cubicBezTo>
                    <a:cubicBezTo>
                      <a:pt x="1167" y="1750"/>
                      <a:pt x="1200" y="1766"/>
                      <a:pt x="1232" y="1766"/>
                    </a:cubicBezTo>
                    <a:lnTo>
                      <a:pt x="1253" y="1750"/>
                    </a:lnTo>
                    <a:cubicBezTo>
                      <a:pt x="1286" y="1750"/>
                      <a:pt x="1302" y="1717"/>
                      <a:pt x="1286" y="1664"/>
                    </a:cubicBezTo>
                    <a:cubicBezTo>
                      <a:pt x="1113" y="1117"/>
                      <a:pt x="756" y="826"/>
                      <a:pt x="481" y="621"/>
                    </a:cubicBezTo>
                    <a:cubicBezTo>
                      <a:pt x="276" y="452"/>
                      <a:pt x="157" y="350"/>
                      <a:pt x="189" y="226"/>
                    </a:cubicBezTo>
                    <a:cubicBezTo>
                      <a:pt x="206" y="161"/>
                      <a:pt x="276" y="144"/>
                      <a:pt x="346" y="144"/>
                    </a:cubicBezTo>
                    <a:cubicBezTo>
                      <a:pt x="363" y="143"/>
                      <a:pt x="381" y="142"/>
                      <a:pt x="401" y="142"/>
                    </a:cubicBezTo>
                    <a:cubicBezTo>
                      <a:pt x="785" y="142"/>
                      <a:pt x="1576" y="486"/>
                      <a:pt x="1869" y="1150"/>
                    </a:cubicBezTo>
                    <a:cubicBezTo>
                      <a:pt x="1885" y="1187"/>
                      <a:pt x="1918" y="1187"/>
                      <a:pt x="1951" y="1187"/>
                    </a:cubicBezTo>
                    <a:cubicBezTo>
                      <a:pt x="1988" y="1171"/>
                      <a:pt x="2004" y="1117"/>
                      <a:pt x="1988" y="1085"/>
                    </a:cubicBezTo>
                    <a:cubicBezTo>
                      <a:pt x="1681" y="405"/>
                      <a:pt x="867" y="1"/>
                      <a:pt x="405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96" name="Google Shape;396;p24"/>
              <p:cNvSpPr/>
              <p:nvPr/>
            </p:nvSpPr>
            <p:spPr>
              <a:xfrm>
                <a:off x="271875" y="1817775"/>
                <a:ext cx="32575" cy="32550"/>
              </a:xfrm>
              <a:custGeom>
                <a:avLst/>
                <a:gdLst/>
                <a:ahLst/>
                <a:cxnLst/>
                <a:rect l="l" t="t" r="r" b="b"/>
                <a:pathLst>
                  <a:path w="1303" h="1302" extrusionOk="0">
                    <a:moveTo>
                      <a:pt x="654" y="0"/>
                    </a:moveTo>
                    <a:cubicBezTo>
                      <a:pt x="292" y="0"/>
                      <a:pt x="1" y="292"/>
                      <a:pt x="1" y="649"/>
                    </a:cubicBezTo>
                    <a:cubicBezTo>
                      <a:pt x="1" y="1010"/>
                      <a:pt x="292" y="1302"/>
                      <a:pt x="654" y="1302"/>
                    </a:cubicBezTo>
                    <a:cubicBezTo>
                      <a:pt x="1011" y="1302"/>
                      <a:pt x="1303" y="1010"/>
                      <a:pt x="1303" y="649"/>
                    </a:cubicBezTo>
                    <a:cubicBezTo>
                      <a:pt x="1303" y="292"/>
                      <a:pt x="1011" y="0"/>
                      <a:pt x="654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97" name="Google Shape;397;p24"/>
              <p:cNvSpPr/>
              <p:nvPr/>
            </p:nvSpPr>
            <p:spPr>
              <a:xfrm>
                <a:off x="276200" y="1823375"/>
                <a:ext cx="19225" cy="18275"/>
              </a:xfrm>
              <a:custGeom>
                <a:avLst/>
                <a:gdLst/>
                <a:ahLst/>
                <a:cxnLst/>
                <a:rect l="l" t="t" r="r" b="b"/>
                <a:pathLst>
                  <a:path w="769" h="731" extrusionOk="0">
                    <a:moveTo>
                      <a:pt x="431" y="0"/>
                    </a:moveTo>
                    <a:cubicBezTo>
                      <a:pt x="319" y="0"/>
                      <a:pt x="205" y="72"/>
                      <a:pt x="136" y="154"/>
                    </a:cubicBezTo>
                    <a:cubicBezTo>
                      <a:pt x="103" y="203"/>
                      <a:pt x="70" y="236"/>
                      <a:pt x="50" y="306"/>
                    </a:cubicBezTo>
                    <a:cubicBezTo>
                      <a:pt x="0" y="462"/>
                      <a:pt x="87" y="647"/>
                      <a:pt x="239" y="700"/>
                    </a:cubicBezTo>
                    <a:cubicBezTo>
                      <a:pt x="285" y="721"/>
                      <a:pt x="334" y="731"/>
                      <a:pt x="384" y="731"/>
                    </a:cubicBezTo>
                    <a:cubicBezTo>
                      <a:pt x="500" y="731"/>
                      <a:pt x="614" y="676"/>
                      <a:pt x="686" y="581"/>
                    </a:cubicBezTo>
                    <a:cubicBezTo>
                      <a:pt x="768" y="441"/>
                      <a:pt x="768" y="257"/>
                      <a:pt x="666" y="117"/>
                    </a:cubicBezTo>
                    <a:cubicBezTo>
                      <a:pt x="633" y="68"/>
                      <a:pt x="583" y="31"/>
                      <a:pt x="514" y="14"/>
                    </a:cubicBezTo>
                    <a:cubicBezTo>
                      <a:pt x="487" y="5"/>
                      <a:pt x="459" y="0"/>
                      <a:pt x="431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98" name="Google Shape;398;p24"/>
              <p:cNvSpPr/>
              <p:nvPr/>
            </p:nvSpPr>
            <p:spPr>
              <a:xfrm>
                <a:off x="270250" y="1816025"/>
                <a:ext cx="35950" cy="35950"/>
              </a:xfrm>
              <a:custGeom>
                <a:avLst/>
                <a:gdLst/>
                <a:ahLst/>
                <a:cxnLst/>
                <a:rect l="l" t="t" r="r" b="b"/>
                <a:pathLst>
                  <a:path w="1438" h="1438" extrusionOk="0">
                    <a:moveTo>
                      <a:pt x="719" y="140"/>
                    </a:moveTo>
                    <a:cubicBezTo>
                      <a:pt x="1043" y="140"/>
                      <a:pt x="1298" y="395"/>
                      <a:pt x="1298" y="719"/>
                    </a:cubicBezTo>
                    <a:cubicBezTo>
                      <a:pt x="1298" y="1043"/>
                      <a:pt x="1043" y="1302"/>
                      <a:pt x="719" y="1302"/>
                    </a:cubicBezTo>
                    <a:cubicBezTo>
                      <a:pt x="390" y="1302"/>
                      <a:pt x="136" y="1043"/>
                      <a:pt x="136" y="719"/>
                    </a:cubicBezTo>
                    <a:cubicBezTo>
                      <a:pt x="136" y="395"/>
                      <a:pt x="390" y="140"/>
                      <a:pt x="719" y="140"/>
                    </a:cubicBezTo>
                    <a:close/>
                    <a:moveTo>
                      <a:pt x="719" y="0"/>
                    </a:moveTo>
                    <a:cubicBezTo>
                      <a:pt x="325" y="0"/>
                      <a:pt x="0" y="325"/>
                      <a:pt x="0" y="719"/>
                    </a:cubicBezTo>
                    <a:cubicBezTo>
                      <a:pt x="0" y="1113"/>
                      <a:pt x="325" y="1438"/>
                      <a:pt x="719" y="1438"/>
                    </a:cubicBezTo>
                    <a:cubicBezTo>
                      <a:pt x="1109" y="1438"/>
                      <a:pt x="1437" y="1113"/>
                      <a:pt x="1437" y="719"/>
                    </a:cubicBezTo>
                    <a:cubicBezTo>
                      <a:pt x="1437" y="325"/>
                      <a:pt x="1109" y="0"/>
                      <a:pt x="71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99" name="Google Shape;399;p24"/>
              <p:cNvSpPr/>
              <p:nvPr/>
            </p:nvSpPr>
            <p:spPr>
              <a:xfrm>
                <a:off x="416525" y="1830400"/>
                <a:ext cx="47050" cy="40875"/>
              </a:xfrm>
              <a:custGeom>
                <a:avLst/>
                <a:gdLst/>
                <a:ahLst/>
                <a:cxnLst/>
                <a:rect l="l" t="t" r="r" b="b"/>
                <a:pathLst>
                  <a:path w="1882" h="1635" extrusionOk="0">
                    <a:moveTo>
                      <a:pt x="1523" y="0"/>
                    </a:moveTo>
                    <a:cubicBezTo>
                      <a:pt x="1096" y="0"/>
                      <a:pt x="289" y="380"/>
                      <a:pt x="0" y="1051"/>
                    </a:cubicBezTo>
                    <a:lnTo>
                      <a:pt x="699" y="1635"/>
                    </a:lnTo>
                    <a:cubicBezTo>
                      <a:pt x="1006" y="674"/>
                      <a:pt x="1881" y="522"/>
                      <a:pt x="1795" y="144"/>
                    </a:cubicBezTo>
                    <a:cubicBezTo>
                      <a:pt x="1777" y="47"/>
                      <a:pt x="1673" y="0"/>
                      <a:pt x="152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00" name="Google Shape;400;p24"/>
              <p:cNvSpPr/>
              <p:nvPr/>
            </p:nvSpPr>
            <p:spPr>
              <a:xfrm>
                <a:off x="414775" y="1828750"/>
                <a:ext cx="49600" cy="44175"/>
              </a:xfrm>
              <a:custGeom>
                <a:avLst/>
                <a:gdLst/>
                <a:ahLst/>
                <a:cxnLst/>
                <a:rect l="l" t="t" r="r" b="b"/>
                <a:pathLst>
                  <a:path w="1984" h="1767" extrusionOk="0">
                    <a:moveTo>
                      <a:pt x="1584" y="1"/>
                    </a:moveTo>
                    <a:cubicBezTo>
                      <a:pt x="1121" y="1"/>
                      <a:pt x="308" y="405"/>
                      <a:pt x="1" y="1085"/>
                    </a:cubicBezTo>
                    <a:cubicBezTo>
                      <a:pt x="1" y="1117"/>
                      <a:pt x="1" y="1171"/>
                      <a:pt x="34" y="1187"/>
                    </a:cubicBezTo>
                    <a:cubicBezTo>
                      <a:pt x="70" y="1187"/>
                      <a:pt x="120" y="1187"/>
                      <a:pt x="136" y="1150"/>
                    </a:cubicBezTo>
                    <a:cubicBezTo>
                      <a:pt x="429" y="486"/>
                      <a:pt x="1202" y="142"/>
                      <a:pt x="1601" y="142"/>
                    </a:cubicBezTo>
                    <a:cubicBezTo>
                      <a:pt x="1622" y="142"/>
                      <a:pt x="1641" y="143"/>
                      <a:pt x="1660" y="144"/>
                    </a:cubicBezTo>
                    <a:cubicBezTo>
                      <a:pt x="1713" y="144"/>
                      <a:pt x="1795" y="161"/>
                      <a:pt x="1816" y="226"/>
                    </a:cubicBezTo>
                    <a:cubicBezTo>
                      <a:pt x="1832" y="350"/>
                      <a:pt x="1713" y="452"/>
                      <a:pt x="1508" y="621"/>
                    </a:cubicBezTo>
                    <a:cubicBezTo>
                      <a:pt x="1249" y="826"/>
                      <a:pt x="871" y="1117"/>
                      <a:pt x="703" y="1664"/>
                    </a:cubicBezTo>
                    <a:cubicBezTo>
                      <a:pt x="686" y="1717"/>
                      <a:pt x="703" y="1750"/>
                      <a:pt x="736" y="1750"/>
                    </a:cubicBezTo>
                    <a:cubicBezTo>
                      <a:pt x="752" y="1766"/>
                      <a:pt x="752" y="1766"/>
                      <a:pt x="769" y="1766"/>
                    </a:cubicBezTo>
                    <a:cubicBezTo>
                      <a:pt x="789" y="1766"/>
                      <a:pt x="822" y="1750"/>
                      <a:pt x="822" y="1717"/>
                    </a:cubicBezTo>
                    <a:cubicBezTo>
                      <a:pt x="994" y="1204"/>
                      <a:pt x="1319" y="929"/>
                      <a:pt x="1590" y="723"/>
                    </a:cubicBezTo>
                    <a:cubicBezTo>
                      <a:pt x="1816" y="555"/>
                      <a:pt x="1984" y="399"/>
                      <a:pt x="1935" y="194"/>
                    </a:cubicBezTo>
                    <a:cubicBezTo>
                      <a:pt x="1918" y="124"/>
                      <a:pt x="1865" y="21"/>
                      <a:pt x="1660" y="5"/>
                    </a:cubicBezTo>
                    <a:cubicBezTo>
                      <a:pt x="1636" y="2"/>
                      <a:pt x="1610" y="1"/>
                      <a:pt x="1584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01" name="Google Shape;401;p24"/>
              <p:cNvSpPr/>
              <p:nvPr/>
            </p:nvSpPr>
            <p:spPr>
              <a:xfrm>
                <a:off x="445175" y="1817775"/>
                <a:ext cx="32975" cy="32550"/>
              </a:xfrm>
              <a:custGeom>
                <a:avLst/>
                <a:gdLst/>
                <a:ahLst/>
                <a:cxnLst/>
                <a:rect l="l" t="t" r="r" b="b"/>
                <a:pathLst>
                  <a:path w="1319" h="1302" extrusionOk="0">
                    <a:moveTo>
                      <a:pt x="649" y="0"/>
                    </a:moveTo>
                    <a:cubicBezTo>
                      <a:pt x="292" y="0"/>
                      <a:pt x="0" y="292"/>
                      <a:pt x="0" y="649"/>
                    </a:cubicBezTo>
                    <a:cubicBezTo>
                      <a:pt x="0" y="1010"/>
                      <a:pt x="292" y="1302"/>
                      <a:pt x="649" y="1302"/>
                    </a:cubicBezTo>
                    <a:cubicBezTo>
                      <a:pt x="1010" y="1302"/>
                      <a:pt x="1318" y="1010"/>
                      <a:pt x="1318" y="649"/>
                    </a:cubicBezTo>
                    <a:cubicBezTo>
                      <a:pt x="1318" y="292"/>
                      <a:pt x="1010" y="0"/>
                      <a:pt x="64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02" name="Google Shape;402;p24"/>
              <p:cNvSpPr/>
              <p:nvPr/>
            </p:nvSpPr>
            <p:spPr>
              <a:xfrm>
                <a:off x="452875" y="1823100"/>
                <a:ext cx="16650" cy="16400"/>
              </a:xfrm>
              <a:custGeom>
                <a:avLst/>
                <a:gdLst/>
                <a:ahLst/>
                <a:cxnLst/>
                <a:rect l="l" t="t" r="r" b="b"/>
                <a:pathLst>
                  <a:path w="666" h="656" extrusionOk="0">
                    <a:moveTo>
                      <a:pt x="347" y="1"/>
                    </a:moveTo>
                    <a:cubicBezTo>
                      <a:pt x="175" y="1"/>
                      <a:pt x="0" y="165"/>
                      <a:pt x="0" y="333"/>
                    </a:cubicBezTo>
                    <a:cubicBezTo>
                      <a:pt x="0" y="452"/>
                      <a:pt x="86" y="576"/>
                      <a:pt x="189" y="625"/>
                    </a:cubicBezTo>
                    <a:cubicBezTo>
                      <a:pt x="235" y="646"/>
                      <a:pt x="284" y="655"/>
                      <a:pt x="333" y="655"/>
                    </a:cubicBezTo>
                    <a:cubicBezTo>
                      <a:pt x="409" y="655"/>
                      <a:pt x="484" y="632"/>
                      <a:pt x="546" y="592"/>
                    </a:cubicBezTo>
                    <a:cubicBezTo>
                      <a:pt x="579" y="555"/>
                      <a:pt x="632" y="522"/>
                      <a:pt x="649" y="473"/>
                    </a:cubicBezTo>
                    <a:cubicBezTo>
                      <a:pt x="665" y="420"/>
                      <a:pt x="665" y="370"/>
                      <a:pt x="665" y="317"/>
                    </a:cubicBezTo>
                    <a:cubicBezTo>
                      <a:pt x="665" y="247"/>
                      <a:pt x="632" y="165"/>
                      <a:pt x="563" y="112"/>
                    </a:cubicBezTo>
                    <a:cubicBezTo>
                      <a:pt x="530" y="62"/>
                      <a:pt x="476" y="25"/>
                      <a:pt x="411" y="9"/>
                    </a:cubicBezTo>
                    <a:cubicBezTo>
                      <a:pt x="390" y="3"/>
                      <a:pt x="368" y="1"/>
                      <a:pt x="347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03" name="Google Shape;403;p24"/>
              <p:cNvSpPr/>
              <p:nvPr/>
            </p:nvSpPr>
            <p:spPr>
              <a:xfrm>
                <a:off x="443425" y="1816025"/>
                <a:ext cx="35950" cy="35950"/>
              </a:xfrm>
              <a:custGeom>
                <a:avLst/>
                <a:gdLst/>
                <a:ahLst/>
                <a:cxnLst/>
                <a:rect l="l" t="t" r="r" b="b"/>
                <a:pathLst>
                  <a:path w="1438" h="1438" extrusionOk="0">
                    <a:moveTo>
                      <a:pt x="719" y="140"/>
                    </a:moveTo>
                    <a:cubicBezTo>
                      <a:pt x="1043" y="140"/>
                      <a:pt x="1318" y="395"/>
                      <a:pt x="1318" y="719"/>
                    </a:cubicBezTo>
                    <a:cubicBezTo>
                      <a:pt x="1318" y="1043"/>
                      <a:pt x="1043" y="1302"/>
                      <a:pt x="719" y="1302"/>
                    </a:cubicBezTo>
                    <a:cubicBezTo>
                      <a:pt x="411" y="1302"/>
                      <a:pt x="136" y="1043"/>
                      <a:pt x="136" y="719"/>
                    </a:cubicBezTo>
                    <a:cubicBezTo>
                      <a:pt x="136" y="395"/>
                      <a:pt x="411" y="140"/>
                      <a:pt x="719" y="140"/>
                    </a:cubicBezTo>
                    <a:close/>
                    <a:moveTo>
                      <a:pt x="719" y="0"/>
                    </a:moveTo>
                    <a:cubicBezTo>
                      <a:pt x="325" y="0"/>
                      <a:pt x="0" y="325"/>
                      <a:pt x="0" y="719"/>
                    </a:cubicBezTo>
                    <a:cubicBezTo>
                      <a:pt x="0" y="1113"/>
                      <a:pt x="325" y="1438"/>
                      <a:pt x="719" y="1438"/>
                    </a:cubicBezTo>
                    <a:cubicBezTo>
                      <a:pt x="1129" y="1438"/>
                      <a:pt x="1437" y="1113"/>
                      <a:pt x="1437" y="719"/>
                    </a:cubicBezTo>
                    <a:cubicBezTo>
                      <a:pt x="1437" y="325"/>
                      <a:pt x="1129" y="0"/>
                      <a:pt x="71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04" name="Google Shape;404;p24"/>
              <p:cNvSpPr/>
              <p:nvPr/>
            </p:nvSpPr>
            <p:spPr>
              <a:xfrm>
                <a:off x="362125" y="1947825"/>
                <a:ext cx="20150" cy="16050"/>
              </a:xfrm>
              <a:custGeom>
                <a:avLst/>
                <a:gdLst/>
                <a:ahLst/>
                <a:cxnLst/>
                <a:rect l="l" t="t" r="r" b="b"/>
                <a:pathLst>
                  <a:path w="806" h="642" extrusionOk="0">
                    <a:moveTo>
                      <a:pt x="37" y="1"/>
                    </a:moveTo>
                    <a:cubicBezTo>
                      <a:pt x="21" y="120"/>
                      <a:pt x="0" y="239"/>
                      <a:pt x="21" y="341"/>
                    </a:cubicBezTo>
                    <a:cubicBezTo>
                      <a:pt x="37" y="391"/>
                      <a:pt x="37" y="461"/>
                      <a:pt x="70" y="493"/>
                    </a:cubicBezTo>
                    <a:cubicBezTo>
                      <a:pt x="86" y="547"/>
                      <a:pt x="140" y="596"/>
                      <a:pt x="189" y="617"/>
                    </a:cubicBezTo>
                    <a:cubicBezTo>
                      <a:pt x="232" y="633"/>
                      <a:pt x="279" y="641"/>
                      <a:pt x="327" y="641"/>
                    </a:cubicBezTo>
                    <a:cubicBezTo>
                      <a:pt x="374" y="641"/>
                      <a:pt x="421" y="633"/>
                      <a:pt x="464" y="617"/>
                    </a:cubicBezTo>
                    <a:cubicBezTo>
                      <a:pt x="550" y="580"/>
                      <a:pt x="600" y="514"/>
                      <a:pt x="653" y="461"/>
                    </a:cubicBezTo>
                    <a:cubicBezTo>
                      <a:pt x="719" y="391"/>
                      <a:pt x="772" y="309"/>
                      <a:pt x="805" y="239"/>
                    </a:cubicBezTo>
                    <a:lnTo>
                      <a:pt x="37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05" name="Google Shape;405;p24"/>
              <p:cNvSpPr/>
              <p:nvPr/>
            </p:nvSpPr>
            <p:spPr>
              <a:xfrm>
                <a:off x="356391" y="1940098"/>
                <a:ext cx="37425" cy="26325"/>
              </a:xfrm>
              <a:custGeom>
                <a:avLst/>
                <a:gdLst/>
                <a:ahLst/>
                <a:cxnLst/>
                <a:rect l="l" t="t" r="r" b="b"/>
                <a:pathLst>
                  <a:path w="1497" h="1053" extrusionOk="0">
                    <a:moveTo>
                      <a:pt x="319" y="437"/>
                    </a:moveTo>
                    <a:lnTo>
                      <a:pt x="319" y="437"/>
                    </a:lnTo>
                    <a:cubicBezTo>
                      <a:pt x="389" y="470"/>
                      <a:pt x="459" y="502"/>
                      <a:pt x="525" y="523"/>
                    </a:cubicBezTo>
                    <a:lnTo>
                      <a:pt x="508" y="675"/>
                    </a:lnTo>
                    <a:cubicBezTo>
                      <a:pt x="498" y="709"/>
                      <a:pt x="529" y="735"/>
                      <a:pt x="558" y="735"/>
                    </a:cubicBezTo>
                    <a:cubicBezTo>
                      <a:pt x="574" y="735"/>
                      <a:pt x="589" y="727"/>
                      <a:pt x="595" y="708"/>
                    </a:cubicBezTo>
                    <a:cubicBezTo>
                      <a:pt x="595" y="708"/>
                      <a:pt x="627" y="626"/>
                      <a:pt x="644" y="556"/>
                    </a:cubicBezTo>
                    <a:cubicBezTo>
                      <a:pt x="730" y="589"/>
                      <a:pt x="833" y="589"/>
                      <a:pt x="919" y="605"/>
                    </a:cubicBezTo>
                    <a:cubicBezTo>
                      <a:pt x="903" y="708"/>
                      <a:pt x="833" y="810"/>
                      <a:pt x="730" y="880"/>
                    </a:cubicBezTo>
                    <a:cubicBezTo>
                      <a:pt x="692" y="899"/>
                      <a:pt x="640" y="907"/>
                      <a:pt x="594" y="907"/>
                    </a:cubicBezTo>
                    <a:cubicBezTo>
                      <a:pt x="561" y="907"/>
                      <a:pt x="530" y="903"/>
                      <a:pt x="508" y="897"/>
                    </a:cubicBezTo>
                    <a:cubicBezTo>
                      <a:pt x="459" y="897"/>
                      <a:pt x="422" y="864"/>
                      <a:pt x="406" y="831"/>
                    </a:cubicBezTo>
                    <a:cubicBezTo>
                      <a:pt x="373" y="794"/>
                      <a:pt x="373" y="761"/>
                      <a:pt x="356" y="708"/>
                    </a:cubicBezTo>
                    <a:cubicBezTo>
                      <a:pt x="336" y="626"/>
                      <a:pt x="319" y="523"/>
                      <a:pt x="319" y="437"/>
                    </a:cubicBezTo>
                    <a:close/>
                    <a:moveTo>
                      <a:pt x="69" y="1"/>
                    </a:moveTo>
                    <a:cubicBezTo>
                      <a:pt x="35" y="1"/>
                      <a:pt x="1" y="32"/>
                      <a:pt x="11" y="75"/>
                    </a:cubicBezTo>
                    <a:cubicBezTo>
                      <a:pt x="28" y="178"/>
                      <a:pt x="98" y="281"/>
                      <a:pt x="200" y="367"/>
                    </a:cubicBezTo>
                    <a:cubicBezTo>
                      <a:pt x="184" y="486"/>
                      <a:pt x="184" y="605"/>
                      <a:pt x="217" y="745"/>
                    </a:cubicBezTo>
                    <a:cubicBezTo>
                      <a:pt x="233" y="810"/>
                      <a:pt x="254" y="864"/>
                      <a:pt x="287" y="913"/>
                    </a:cubicBezTo>
                    <a:cubicBezTo>
                      <a:pt x="336" y="966"/>
                      <a:pt x="389" y="1016"/>
                      <a:pt x="459" y="1036"/>
                    </a:cubicBezTo>
                    <a:cubicBezTo>
                      <a:pt x="492" y="1053"/>
                      <a:pt x="541" y="1053"/>
                      <a:pt x="578" y="1053"/>
                    </a:cubicBezTo>
                    <a:cubicBezTo>
                      <a:pt x="644" y="1053"/>
                      <a:pt x="714" y="1036"/>
                      <a:pt x="783" y="999"/>
                    </a:cubicBezTo>
                    <a:cubicBezTo>
                      <a:pt x="886" y="950"/>
                      <a:pt x="952" y="864"/>
                      <a:pt x="989" y="794"/>
                    </a:cubicBezTo>
                    <a:cubicBezTo>
                      <a:pt x="1022" y="745"/>
                      <a:pt x="1054" y="691"/>
                      <a:pt x="1091" y="626"/>
                    </a:cubicBezTo>
                    <a:cubicBezTo>
                      <a:pt x="1227" y="605"/>
                      <a:pt x="1362" y="572"/>
                      <a:pt x="1449" y="502"/>
                    </a:cubicBezTo>
                    <a:cubicBezTo>
                      <a:pt x="1497" y="458"/>
                      <a:pt x="1472" y="397"/>
                      <a:pt x="1418" y="397"/>
                    </a:cubicBezTo>
                    <a:cubicBezTo>
                      <a:pt x="1412" y="397"/>
                      <a:pt x="1406" y="398"/>
                      <a:pt x="1399" y="400"/>
                    </a:cubicBezTo>
                    <a:cubicBezTo>
                      <a:pt x="1310" y="433"/>
                      <a:pt x="1202" y="448"/>
                      <a:pt x="1088" y="448"/>
                    </a:cubicBezTo>
                    <a:cubicBezTo>
                      <a:pt x="717" y="448"/>
                      <a:pt x="271" y="286"/>
                      <a:pt x="114" y="26"/>
                    </a:cubicBezTo>
                    <a:cubicBezTo>
                      <a:pt x="103" y="8"/>
                      <a:pt x="86" y="1"/>
                      <a:pt x="6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06" name="Google Shape;406;p24"/>
              <p:cNvSpPr/>
              <p:nvPr/>
            </p:nvSpPr>
            <p:spPr>
              <a:xfrm>
                <a:off x="339950" y="1864050"/>
                <a:ext cx="21775" cy="17500"/>
              </a:xfrm>
              <a:custGeom>
                <a:avLst/>
                <a:gdLst/>
                <a:ahLst/>
                <a:cxnLst/>
                <a:rect l="l" t="t" r="r" b="b"/>
                <a:pathLst>
                  <a:path w="871" h="700" extrusionOk="0">
                    <a:moveTo>
                      <a:pt x="274" y="99"/>
                    </a:moveTo>
                    <a:cubicBezTo>
                      <a:pt x="354" y="99"/>
                      <a:pt x="439" y="138"/>
                      <a:pt x="460" y="149"/>
                    </a:cubicBezTo>
                    <a:cubicBezTo>
                      <a:pt x="530" y="202"/>
                      <a:pt x="616" y="235"/>
                      <a:pt x="665" y="305"/>
                    </a:cubicBezTo>
                    <a:cubicBezTo>
                      <a:pt x="735" y="354"/>
                      <a:pt x="768" y="424"/>
                      <a:pt x="752" y="510"/>
                    </a:cubicBezTo>
                    <a:cubicBezTo>
                      <a:pt x="752" y="543"/>
                      <a:pt x="719" y="560"/>
                      <a:pt x="682" y="580"/>
                    </a:cubicBezTo>
                    <a:lnTo>
                      <a:pt x="616" y="580"/>
                    </a:lnTo>
                    <a:cubicBezTo>
                      <a:pt x="546" y="580"/>
                      <a:pt x="497" y="543"/>
                      <a:pt x="444" y="527"/>
                    </a:cubicBezTo>
                    <a:cubicBezTo>
                      <a:pt x="325" y="457"/>
                      <a:pt x="238" y="375"/>
                      <a:pt x="169" y="289"/>
                    </a:cubicBezTo>
                    <a:cubicBezTo>
                      <a:pt x="136" y="235"/>
                      <a:pt x="119" y="186"/>
                      <a:pt x="152" y="149"/>
                    </a:cubicBezTo>
                    <a:cubicBezTo>
                      <a:pt x="183" y="112"/>
                      <a:pt x="228" y="99"/>
                      <a:pt x="274" y="99"/>
                    </a:cubicBezTo>
                    <a:close/>
                    <a:moveTo>
                      <a:pt x="260" y="0"/>
                    </a:moveTo>
                    <a:cubicBezTo>
                      <a:pt x="186" y="0"/>
                      <a:pt x="115" y="22"/>
                      <a:pt x="66" y="83"/>
                    </a:cubicBezTo>
                    <a:cubicBezTo>
                      <a:pt x="0" y="169"/>
                      <a:pt x="17" y="272"/>
                      <a:pt x="66" y="354"/>
                    </a:cubicBezTo>
                    <a:cubicBezTo>
                      <a:pt x="152" y="457"/>
                      <a:pt x="255" y="543"/>
                      <a:pt x="374" y="629"/>
                    </a:cubicBezTo>
                    <a:cubicBezTo>
                      <a:pt x="444" y="662"/>
                      <a:pt x="514" y="699"/>
                      <a:pt x="600" y="699"/>
                    </a:cubicBezTo>
                    <a:cubicBezTo>
                      <a:pt x="649" y="699"/>
                      <a:pt x="702" y="699"/>
                      <a:pt x="735" y="683"/>
                    </a:cubicBezTo>
                    <a:cubicBezTo>
                      <a:pt x="805" y="646"/>
                      <a:pt x="871" y="596"/>
                      <a:pt x="871" y="510"/>
                    </a:cubicBezTo>
                    <a:cubicBezTo>
                      <a:pt x="871" y="457"/>
                      <a:pt x="871" y="391"/>
                      <a:pt x="838" y="338"/>
                    </a:cubicBezTo>
                    <a:cubicBezTo>
                      <a:pt x="822" y="289"/>
                      <a:pt x="785" y="235"/>
                      <a:pt x="719" y="186"/>
                    </a:cubicBezTo>
                    <a:cubicBezTo>
                      <a:pt x="665" y="149"/>
                      <a:pt x="616" y="116"/>
                      <a:pt x="546" y="83"/>
                    </a:cubicBezTo>
                    <a:cubicBezTo>
                      <a:pt x="494" y="51"/>
                      <a:pt x="374" y="0"/>
                      <a:pt x="26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07" name="Google Shape;407;p24"/>
              <p:cNvSpPr/>
              <p:nvPr/>
            </p:nvSpPr>
            <p:spPr>
              <a:xfrm>
                <a:off x="378450" y="1868675"/>
                <a:ext cx="22700" cy="18100"/>
              </a:xfrm>
              <a:custGeom>
                <a:avLst/>
                <a:gdLst/>
                <a:ahLst/>
                <a:cxnLst/>
                <a:rect l="l" t="t" r="r" b="b"/>
                <a:pathLst>
                  <a:path w="908" h="724" extrusionOk="0">
                    <a:moveTo>
                      <a:pt x="644" y="105"/>
                    </a:moveTo>
                    <a:cubicBezTo>
                      <a:pt x="678" y="105"/>
                      <a:pt x="713" y="114"/>
                      <a:pt x="752" y="136"/>
                    </a:cubicBezTo>
                    <a:cubicBezTo>
                      <a:pt x="768" y="153"/>
                      <a:pt x="784" y="190"/>
                      <a:pt x="768" y="223"/>
                    </a:cubicBezTo>
                    <a:cubicBezTo>
                      <a:pt x="768" y="239"/>
                      <a:pt x="768" y="272"/>
                      <a:pt x="752" y="292"/>
                    </a:cubicBezTo>
                    <a:cubicBezTo>
                      <a:pt x="735" y="342"/>
                      <a:pt x="682" y="395"/>
                      <a:pt x="632" y="428"/>
                    </a:cubicBezTo>
                    <a:cubicBezTo>
                      <a:pt x="546" y="514"/>
                      <a:pt x="427" y="563"/>
                      <a:pt x="324" y="600"/>
                    </a:cubicBezTo>
                    <a:cubicBezTo>
                      <a:pt x="311" y="604"/>
                      <a:pt x="297" y="606"/>
                      <a:pt x="284" y="606"/>
                    </a:cubicBezTo>
                    <a:cubicBezTo>
                      <a:pt x="242" y="606"/>
                      <a:pt x="201" y="587"/>
                      <a:pt x="189" y="547"/>
                    </a:cubicBezTo>
                    <a:cubicBezTo>
                      <a:pt x="119" y="444"/>
                      <a:pt x="271" y="309"/>
                      <a:pt x="308" y="272"/>
                    </a:cubicBezTo>
                    <a:cubicBezTo>
                      <a:pt x="374" y="223"/>
                      <a:pt x="444" y="169"/>
                      <a:pt x="513" y="136"/>
                    </a:cubicBezTo>
                    <a:cubicBezTo>
                      <a:pt x="561" y="118"/>
                      <a:pt x="602" y="105"/>
                      <a:pt x="644" y="105"/>
                    </a:cubicBezTo>
                    <a:close/>
                    <a:moveTo>
                      <a:pt x="632" y="1"/>
                    </a:moveTo>
                    <a:cubicBezTo>
                      <a:pt x="563" y="1"/>
                      <a:pt x="497" y="17"/>
                      <a:pt x="444" y="50"/>
                    </a:cubicBezTo>
                    <a:cubicBezTo>
                      <a:pt x="374" y="87"/>
                      <a:pt x="324" y="120"/>
                      <a:pt x="271" y="169"/>
                    </a:cubicBezTo>
                    <a:cubicBezTo>
                      <a:pt x="189" y="239"/>
                      <a:pt x="0" y="444"/>
                      <a:pt x="86" y="617"/>
                    </a:cubicBezTo>
                    <a:cubicBezTo>
                      <a:pt x="127" y="689"/>
                      <a:pt x="217" y="724"/>
                      <a:pt x="296" y="724"/>
                    </a:cubicBezTo>
                    <a:cubicBezTo>
                      <a:pt x="311" y="724"/>
                      <a:pt x="327" y="722"/>
                      <a:pt x="341" y="719"/>
                    </a:cubicBezTo>
                    <a:cubicBezTo>
                      <a:pt x="476" y="682"/>
                      <a:pt x="600" y="617"/>
                      <a:pt x="702" y="531"/>
                    </a:cubicBezTo>
                    <a:cubicBezTo>
                      <a:pt x="768" y="477"/>
                      <a:pt x="821" y="428"/>
                      <a:pt x="854" y="358"/>
                    </a:cubicBezTo>
                    <a:cubicBezTo>
                      <a:pt x="871" y="309"/>
                      <a:pt x="887" y="255"/>
                      <a:pt x="887" y="206"/>
                    </a:cubicBezTo>
                    <a:cubicBezTo>
                      <a:pt x="908" y="136"/>
                      <a:pt x="871" y="50"/>
                      <a:pt x="784" y="34"/>
                    </a:cubicBezTo>
                    <a:cubicBezTo>
                      <a:pt x="735" y="1"/>
                      <a:pt x="682" y="1"/>
                      <a:pt x="632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08" name="Google Shape;408;p24"/>
              <p:cNvSpPr/>
              <p:nvPr/>
            </p:nvSpPr>
            <p:spPr>
              <a:xfrm>
                <a:off x="410050" y="1984475"/>
                <a:ext cx="56075" cy="72100"/>
              </a:xfrm>
              <a:custGeom>
                <a:avLst/>
                <a:gdLst/>
                <a:ahLst/>
                <a:cxnLst/>
                <a:rect l="l" t="t" r="r" b="b"/>
                <a:pathLst>
                  <a:path w="2243" h="2884" extrusionOk="0">
                    <a:moveTo>
                      <a:pt x="234" y="1"/>
                    </a:moveTo>
                    <a:cubicBezTo>
                      <a:pt x="158" y="1"/>
                      <a:pt x="86" y="7"/>
                      <a:pt x="17" y="21"/>
                    </a:cubicBezTo>
                    <a:lnTo>
                      <a:pt x="1" y="21"/>
                    </a:lnTo>
                    <a:lnTo>
                      <a:pt x="276" y="653"/>
                    </a:lnTo>
                    <a:cubicBezTo>
                      <a:pt x="276" y="653"/>
                      <a:pt x="1" y="756"/>
                      <a:pt x="54" y="1253"/>
                    </a:cubicBezTo>
                    <a:cubicBezTo>
                      <a:pt x="103" y="1750"/>
                      <a:pt x="362" y="2657"/>
                      <a:pt x="1130" y="2846"/>
                    </a:cubicBezTo>
                    <a:cubicBezTo>
                      <a:pt x="1238" y="2872"/>
                      <a:pt x="1335" y="2884"/>
                      <a:pt x="1422" y="2884"/>
                    </a:cubicBezTo>
                    <a:cubicBezTo>
                      <a:pt x="1952" y="2884"/>
                      <a:pt x="2096" y="2451"/>
                      <a:pt x="2156" y="2247"/>
                    </a:cubicBezTo>
                    <a:cubicBezTo>
                      <a:pt x="2243" y="2004"/>
                      <a:pt x="2107" y="1286"/>
                      <a:pt x="1697" y="756"/>
                    </a:cubicBezTo>
                    <a:cubicBezTo>
                      <a:pt x="1341" y="283"/>
                      <a:pt x="726" y="1"/>
                      <a:pt x="234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09" name="Google Shape;409;p24"/>
              <p:cNvSpPr/>
              <p:nvPr/>
            </p:nvSpPr>
            <p:spPr>
              <a:xfrm>
                <a:off x="408825" y="1982575"/>
                <a:ext cx="57300" cy="76150"/>
              </a:xfrm>
              <a:custGeom>
                <a:avLst/>
                <a:gdLst/>
                <a:ahLst/>
                <a:cxnLst/>
                <a:rect l="l" t="t" r="r" b="b"/>
                <a:pathLst>
                  <a:path w="2292" h="3046" extrusionOk="0">
                    <a:moveTo>
                      <a:pt x="234" y="0"/>
                    </a:moveTo>
                    <a:cubicBezTo>
                      <a:pt x="184" y="0"/>
                      <a:pt x="133" y="8"/>
                      <a:pt x="83" y="27"/>
                    </a:cubicBezTo>
                    <a:cubicBezTo>
                      <a:pt x="50" y="48"/>
                      <a:pt x="1" y="64"/>
                      <a:pt x="17" y="114"/>
                    </a:cubicBezTo>
                    <a:cubicBezTo>
                      <a:pt x="27" y="147"/>
                      <a:pt x="50" y="153"/>
                      <a:pt x="71" y="153"/>
                    </a:cubicBezTo>
                    <a:cubicBezTo>
                      <a:pt x="83" y="153"/>
                      <a:pt x="95" y="150"/>
                      <a:pt x="103" y="150"/>
                    </a:cubicBezTo>
                    <a:cubicBezTo>
                      <a:pt x="148" y="134"/>
                      <a:pt x="192" y="128"/>
                      <a:pt x="236" y="128"/>
                    </a:cubicBezTo>
                    <a:cubicBezTo>
                      <a:pt x="295" y="128"/>
                      <a:pt x="353" y="139"/>
                      <a:pt x="411" y="150"/>
                    </a:cubicBezTo>
                    <a:cubicBezTo>
                      <a:pt x="785" y="233"/>
                      <a:pt x="1146" y="405"/>
                      <a:pt x="1438" y="643"/>
                    </a:cubicBezTo>
                    <a:cubicBezTo>
                      <a:pt x="1881" y="988"/>
                      <a:pt x="2086" y="1485"/>
                      <a:pt x="2136" y="2031"/>
                    </a:cubicBezTo>
                    <a:cubicBezTo>
                      <a:pt x="2173" y="2339"/>
                      <a:pt x="2070" y="2594"/>
                      <a:pt x="1828" y="2766"/>
                    </a:cubicBezTo>
                    <a:cubicBezTo>
                      <a:pt x="1717" y="2850"/>
                      <a:pt x="1607" y="2912"/>
                      <a:pt x="1485" y="2912"/>
                    </a:cubicBezTo>
                    <a:cubicBezTo>
                      <a:pt x="1458" y="2912"/>
                      <a:pt x="1430" y="2908"/>
                      <a:pt x="1401" y="2902"/>
                    </a:cubicBezTo>
                    <a:cubicBezTo>
                      <a:pt x="1007" y="2819"/>
                      <a:pt x="699" y="2631"/>
                      <a:pt x="493" y="2286"/>
                    </a:cubicBezTo>
                    <a:cubicBezTo>
                      <a:pt x="308" y="1998"/>
                      <a:pt x="222" y="1670"/>
                      <a:pt x="185" y="1312"/>
                    </a:cubicBezTo>
                    <a:cubicBezTo>
                      <a:pt x="152" y="1054"/>
                      <a:pt x="255" y="832"/>
                      <a:pt x="493" y="680"/>
                    </a:cubicBezTo>
                    <a:cubicBezTo>
                      <a:pt x="533" y="653"/>
                      <a:pt x="581" y="637"/>
                      <a:pt x="636" y="637"/>
                    </a:cubicBezTo>
                    <a:cubicBezTo>
                      <a:pt x="656" y="637"/>
                      <a:pt x="677" y="639"/>
                      <a:pt x="699" y="643"/>
                    </a:cubicBezTo>
                    <a:cubicBezTo>
                      <a:pt x="838" y="664"/>
                      <a:pt x="974" y="713"/>
                      <a:pt x="1093" y="799"/>
                    </a:cubicBezTo>
                    <a:cubicBezTo>
                      <a:pt x="1212" y="918"/>
                      <a:pt x="1314" y="1037"/>
                      <a:pt x="1401" y="1193"/>
                    </a:cubicBezTo>
                    <a:cubicBezTo>
                      <a:pt x="1487" y="1362"/>
                      <a:pt x="1557" y="1534"/>
                      <a:pt x="1606" y="1723"/>
                    </a:cubicBezTo>
                    <a:cubicBezTo>
                      <a:pt x="1622" y="1772"/>
                      <a:pt x="1643" y="1842"/>
                      <a:pt x="1676" y="1912"/>
                    </a:cubicBezTo>
                    <a:cubicBezTo>
                      <a:pt x="1676" y="1924"/>
                      <a:pt x="1684" y="1935"/>
                      <a:pt x="1695" y="1935"/>
                    </a:cubicBezTo>
                    <a:cubicBezTo>
                      <a:pt x="1699" y="1935"/>
                      <a:pt x="1704" y="1933"/>
                      <a:pt x="1709" y="1928"/>
                    </a:cubicBezTo>
                    <a:cubicBezTo>
                      <a:pt x="1725" y="1928"/>
                      <a:pt x="1746" y="1912"/>
                      <a:pt x="1746" y="1896"/>
                    </a:cubicBezTo>
                    <a:lnTo>
                      <a:pt x="1746" y="1826"/>
                    </a:lnTo>
                    <a:cubicBezTo>
                      <a:pt x="1725" y="1756"/>
                      <a:pt x="1725" y="1690"/>
                      <a:pt x="1709" y="1620"/>
                    </a:cubicBezTo>
                    <a:lnTo>
                      <a:pt x="1709" y="1620"/>
                    </a:lnTo>
                    <a:cubicBezTo>
                      <a:pt x="1746" y="1637"/>
                      <a:pt x="1778" y="1637"/>
                      <a:pt x="1795" y="1653"/>
                    </a:cubicBezTo>
                    <a:cubicBezTo>
                      <a:pt x="1828" y="1653"/>
                      <a:pt x="1865" y="1653"/>
                      <a:pt x="1881" y="1620"/>
                    </a:cubicBezTo>
                    <a:cubicBezTo>
                      <a:pt x="1898" y="1588"/>
                      <a:pt x="1881" y="1567"/>
                      <a:pt x="1848" y="1551"/>
                    </a:cubicBezTo>
                    <a:cubicBezTo>
                      <a:pt x="1811" y="1518"/>
                      <a:pt x="1762" y="1501"/>
                      <a:pt x="1725" y="1501"/>
                    </a:cubicBezTo>
                    <a:cubicBezTo>
                      <a:pt x="1676" y="1485"/>
                      <a:pt x="1659" y="1464"/>
                      <a:pt x="1643" y="1415"/>
                    </a:cubicBezTo>
                    <a:cubicBezTo>
                      <a:pt x="1540" y="1124"/>
                      <a:pt x="1384" y="869"/>
                      <a:pt x="1130" y="664"/>
                    </a:cubicBezTo>
                    <a:cubicBezTo>
                      <a:pt x="993" y="556"/>
                      <a:pt x="844" y="505"/>
                      <a:pt x="671" y="505"/>
                    </a:cubicBezTo>
                    <a:cubicBezTo>
                      <a:pt x="646" y="505"/>
                      <a:pt x="621" y="506"/>
                      <a:pt x="596" y="508"/>
                    </a:cubicBezTo>
                    <a:cubicBezTo>
                      <a:pt x="341" y="541"/>
                      <a:pt x="66" y="849"/>
                      <a:pt x="66" y="1156"/>
                    </a:cubicBezTo>
                    <a:cubicBezTo>
                      <a:pt x="50" y="1362"/>
                      <a:pt x="83" y="1588"/>
                      <a:pt x="136" y="1793"/>
                    </a:cubicBezTo>
                    <a:cubicBezTo>
                      <a:pt x="288" y="2339"/>
                      <a:pt x="596" y="2766"/>
                      <a:pt x="1146" y="2971"/>
                    </a:cubicBezTo>
                    <a:cubicBezTo>
                      <a:pt x="1271" y="3015"/>
                      <a:pt x="1388" y="3045"/>
                      <a:pt x="1511" y="3045"/>
                    </a:cubicBezTo>
                    <a:cubicBezTo>
                      <a:pt x="1537" y="3045"/>
                      <a:pt x="1563" y="3044"/>
                      <a:pt x="1590" y="3041"/>
                    </a:cubicBezTo>
                    <a:cubicBezTo>
                      <a:pt x="1967" y="2955"/>
                      <a:pt x="2275" y="2577"/>
                      <a:pt x="2275" y="2183"/>
                    </a:cubicBezTo>
                    <a:cubicBezTo>
                      <a:pt x="2292" y="1772"/>
                      <a:pt x="2173" y="1415"/>
                      <a:pt x="1984" y="1074"/>
                    </a:cubicBezTo>
                    <a:cubicBezTo>
                      <a:pt x="1795" y="713"/>
                      <a:pt x="1503" y="475"/>
                      <a:pt x="1163" y="302"/>
                    </a:cubicBezTo>
                    <a:cubicBezTo>
                      <a:pt x="904" y="167"/>
                      <a:pt x="633" y="48"/>
                      <a:pt x="341" y="11"/>
                    </a:cubicBezTo>
                    <a:cubicBezTo>
                      <a:pt x="306" y="4"/>
                      <a:pt x="270" y="0"/>
                      <a:pt x="23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10" name="Google Shape;410;p24"/>
              <p:cNvSpPr/>
              <p:nvPr/>
            </p:nvSpPr>
            <p:spPr>
              <a:xfrm>
                <a:off x="436550" y="2032825"/>
                <a:ext cx="3925" cy="7000"/>
              </a:xfrm>
              <a:custGeom>
                <a:avLst/>
                <a:gdLst/>
                <a:ahLst/>
                <a:cxnLst/>
                <a:rect l="l" t="t" r="r" b="b"/>
                <a:pathLst>
                  <a:path w="157" h="280" extrusionOk="0">
                    <a:moveTo>
                      <a:pt x="54" y="0"/>
                    </a:moveTo>
                    <a:cubicBezTo>
                      <a:pt x="49" y="0"/>
                      <a:pt x="43" y="2"/>
                      <a:pt x="37" y="5"/>
                    </a:cubicBezTo>
                    <a:cubicBezTo>
                      <a:pt x="0" y="21"/>
                      <a:pt x="0" y="37"/>
                      <a:pt x="0" y="70"/>
                    </a:cubicBezTo>
                    <a:cubicBezTo>
                      <a:pt x="21" y="140"/>
                      <a:pt x="54" y="194"/>
                      <a:pt x="70" y="259"/>
                    </a:cubicBezTo>
                    <a:cubicBezTo>
                      <a:pt x="84" y="274"/>
                      <a:pt x="95" y="280"/>
                      <a:pt x="105" y="280"/>
                    </a:cubicBezTo>
                    <a:cubicBezTo>
                      <a:pt x="119" y="280"/>
                      <a:pt x="130" y="269"/>
                      <a:pt x="140" y="259"/>
                    </a:cubicBezTo>
                    <a:cubicBezTo>
                      <a:pt x="156" y="243"/>
                      <a:pt x="156" y="210"/>
                      <a:pt x="156" y="194"/>
                    </a:cubicBezTo>
                    <a:cubicBezTo>
                      <a:pt x="140" y="140"/>
                      <a:pt x="123" y="91"/>
                      <a:pt x="103" y="37"/>
                    </a:cubicBezTo>
                    <a:cubicBezTo>
                      <a:pt x="90" y="24"/>
                      <a:pt x="76" y="0"/>
                      <a:pt x="5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11" name="Google Shape;411;p24"/>
              <p:cNvSpPr/>
              <p:nvPr/>
            </p:nvSpPr>
            <p:spPr>
              <a:xfrm>
                <a:off x="431400" y="2031175"/>
                <a:ext cx="3925" cy="7025"/>
              </a:xfrm>
              <a:custGeom>
                <a:avLst/>
                <a:gdLst/>
                <a:ahLst/>
                <a:cxnLst/>
                <a:rect l="l" t="t" r="r" b="b"/>
                <a:pathLst>
                  <a:path w="157" h="281" extrusionOk="0">
                    <a:moveTo>
                      <a:pt x="54" y="1"/>
                    </a:moveTo>
                    <a:cubicBezTo>
                      <a:pt x="1" y="17"/>
                      <a:pt x="1" y="34"/>
                      <a:pt x="1" y="71"/>
                    </a:cubicBezTo>
                    <a:cubicBezTo>
                      <a:pt x="21" y="136"/>
                      <a:pt x="38" y="190"/>
                      <a:pt x="71" y="260"/>
                    </a:cubicBezTo>
                    <a:cubicBezTo>
                      <a:pt x="79" y="276"/>
                      <a:pt x="87" y="280"/>
                      <a:pt x="98" y="280"/>
                    </a:cubicBezTo>
                    <a:cubicBezTo>
                      <a:pt x="109" y="280"/>
                      <a:pt x="122" y="276"/>
                      <a:pt x="140" y="276"/>
                    </a:cubicBezTo>
                    <a:cubicBezTo>
                      <a:pt x="157" y="239"/>
                      <a:pt x="157" y="223"/>
                      <a:pt x="157" y="206"/>
                    </a:cubicBezTo>
                    <a:cubicBezTo>
                      <a:pt x="140" y="136"/>
                      <a:pt x="124" y="87"/>
                      <a:pt x="104" y="34"/>
                    </a:cubicBezTo>
                    <a:cubicBezTo>
                      <a:pt x="87" y="17"/>
                      <a:pt x="71" y="1"/>
                      <a:pt x="54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12" name="Google Shape;412;p24"/>
              <p:cNvSpPr/>
              <p:nvPr/>
            </p:nvSpPr>
            <p:spPr>
              <a:xfrm>
                <a:off x="389925" y="1962750"/>
                <a:ext cx="58250" cy="58175"/>
              </a:xfrm>
              <a:custGeom>
                <a:avLst/>
                <a:gdLst/>
                <a:ahLst/>
                <a:cxnLst/>
                <a:rect l="l" t="t" r="r" b="b"/>
                <a:pathLst>
                  <a:path w="2330" h="2327" extrusionOk="0">
                    <a:moveTo>
                      <a:pt x="1000" y="0"/>
                    </a:moveTo>
                    <a:cubicBezTo>
                      <a:pt x="836" y="0"/>
                      <a:pt x="670" y="45"/>
                      <a:pt x="514" y="139"/>
                    </a:cubicBezTo>
                    <a:cubicBezTo>
                      <a:pt x="1" y="463"/>
                      <a:pt x="38" y="1198"/>
                      <a:pt x="395" y="1765"/>
                    </a:cubicBezTo>
                    <a:cubicBezTo>
                      <a:pt x="637" y="2141"/>
                      <a:pt x="954" y="2326"/>
                      <a:pt x="1292" y="2326"/>
                    </a:cubicBezTo>
                    <a:cubicBezTo>
                      <a:pt x="1458" y="2326"/>
                      <a:pt x="1630" y="2281"/>
                      <a:pt x="1799" y="2192"/>
                    </a:cubicBezTo>
                    <a:cubicBezTo>
                      <a:pt x="2243" y="1970"/>
                      <a:pt x="2329" y="1268"/>
                      <a:pt x="1988" y="652"/>
                    </a:cubicBezTo>
                    <a:cubicBezTo>
                      <a:pt x="1748" y="235"/>
                      <a:pt x="1377" y="0"/>
                      <a:pt x="1000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13" name="Google Shape;413;p24"/>
              <p:cNvSpPr/>
              <p:nvPr/>
            </p:nvSpPr>
            <p:spPr>
              <a:xfrm>
                <a:off x="390850" y="1961475"/>
                <a:ext cx="57725" cy="61425"/>
              </a:xfrm>
              <a:custGeom>
                <a:avLst/>
                <a:gdLst/>
                <a:ahLst/>
                <a:cxnLst/>
                <a:rect l="l" t="t" r="r" b="b"/>
                <a:pathLst>
                  <a:path w="2309" h="2457" extrusionOk="0">
                    <a:moveTo>
                      <a:pt x="888" y="153"/>
                    </a:moveTo>
                    <a:cubicBezTo>
                      <a:pt x="1093" y="153"/>
                      <a:pt x="1282" y="206"/>
                      <a:pt x="1438" y="309"/>
                    </a:cubicBezTo>
                    <a:cubicBezTo>
                      <a:pt x="1898" y="617"/>
                      <a:pt x="2136" y="1044"/>
                      <a:pt x="2070" y="1610"/>
                    </a:cubicBezTo>
                    <a:cubicBezTo>
                      <a:pt x="2054" y="1935"/>
                      <a:pt x="1882" y="2173"/>
                      <a:pt x="1574" y="2276"/>
                    </a:cubicBezTo>
                    <a:cubicBezTo>
                      <a:pt x="1487" y="2305"/>
                      <a:pt x="1400" y="2319"/>
                      <a:pt x="1315" y="2319"/>
                    </a:cubicBezTo>
                    <a:cubicBezTo>
                      <a:pt x="1198" y="2319"/>
                      <a:pt x="1083" y="2293"/>
                      <a:pt x="974" y="2243"/>
                    </a:cubicBezTo>
                    <a:cubicBezTo>
                      <a:pt x="650" y="2103"/>
                      <a:pt x="428" y="1849"/>
                      <a:pt x="288" y="1524"/>
                    </a:cubicBezTo>
                    <a:cubicBezTo>
                      <a:pt x="169" y="1249"/>
                      <a:pt x="153" y="974"/>
                      <a:pt x="223" y="703"/>
                    </a:cubicBezTo>
                    <a:cubicBezTo>
                      <a:pt x="234" y="656"/>
                      <a:pt x="245" y="633"/>
                      <a:pt x="272" y="633"/>
                    </a:cubicBezTo>
                    <a:cubicBezTo>
                      <a:pt x="285" y="633"/>
                      <a:pt x="302" y="639"/>
                      <a:pt x="325" y="650"/>
                    </a:cubicBezTo>
                    <a:cubicBezTo>
                      <a:pt x="563" y="769"/>
                      <a:pt x="720" y="974"/>
                      <a:pt x="839" y="1200"/>
                    </a:cubicBezTo>
                    <a:cubicBezTo>
                      <a:pt x="855" y="1216"/>
                      <a:pt x="855" y="1233"/>
                      <a:pt x="871" y="1249"/>
                    </a:cubicBezTo>
                    <a:cubicBezTo>
                      <a:pt x="886" y="1278"/>
                      <a:pt x="888" y="1322"/>
                      <a:pt x="912" y="1322"/>
                    </a:cubicBezTo>
                    <a:cubicBezTo>
                      <a:pt x="916" y="1322"/>
                      <a:pt x="920" y="1321"/>
                      <a:pt x="925" y="1319"/>
                    </a:cubicBezTo>
                    <a:cubicBezTo>
                      <a:pt x="974" y="1302"/>
                      <a:pt x="974" y="1249"/>
                      <a:pt x="958" y="1216"/>
                    </a:cubicBezTo>
                    <a:cubicBezTo>
                      <a:pt x="871" y="908"/>
                      <a:pt x="683" y="687"/>
                      <a:pt x="412" y="547"/>
                    </a:cubicBezTo>
                    <a:cubicBezTo>
                      <a:pt x="309" y="498"/>
                      <a:pt x="309" y="498"/>
                      <a:pt x="375" y="411"/>
                    </a:cubicBezTo>
                    <a:cubicBezTo>
                      <a:pt x="514" y="272"/>
                      <a:pt x="592" y="207"/>
                      <a:pt x="668" y="207"/>
                    </a:cubicBezTo>
                    <a:cubicBezTo>
                      <a:pt x="741" y="207"/>
                      <a:pt x="814" y="267"/>
                      <a:pt x="941" y="379"/>
                    </a:cubicBezTo>
                    <a:cubicBezTo>
                      <a:pt x="1110" y="530"/>
                      <a:pt x="1212" y="736"/>
                      <a:pt x="1282" y="958"/>
                    </a:cubicBezTo>
                    <a:cubicBezTo>
                      <a:pt x="1298" y="1011"/>
                      <a:pt x="1315" y="1060"/>
                      <a:pt x="1352" y="1130"/>
                    </a:cubicBezTo>
                    <a:cubicBezTo>
                      <a:pt x="1352" y="1146"/>
                      <a:pt x="1368" y="1163"/>
                      <a:pt x="1385" y="1163"/>
                    </a:cubicBezTo>
                    <a:cubicBezTo>
                      <a:pt x="1401" y="1163"/>
                      <a:pt x="1418" y="1130"/>
                      <a:pt x="1418" y="1114"/>
                    </a:cubicBezTo>
                    <a:cubicBezTo>
                      <a:pt x="1438" y="1044"/>
                      <a:pt x="1418" y="974"/>
                      <a:pt x="1401" y="908"/>
                    </a:cubicBezTo>
                    <a:cubicBezTo>
                      <a:pt x="1335" y="600"/>
                      <a:pt x="1163" y="358"/>
                      <a:pt x="904" y="190"/>
                    </a:cubicBezTo>
                    <a:cubicBezTo>
                      <a:pt x="904" y="173"/>
                      <a:pt x="904" y="173"/>
                      <a:pt x="888" y="153"/>
                    </a:cubicBezTo>
                    <a:close/>
                    <a:moveTo>
                      <a:pt x="925" y="1"/>
                    </a:moveTo>
                    <a:cubicBezTo>
                      <a:pt x="358" y="17"/>
                      <a:pt x="153" y="428"/>
                      <a:pt x="67" y="703"/>
                    </a:cubicBezTo>
                    <a:cubicBezTo>
                      <a:pt x="1" y="1027"/>
                      <a:pt x="50" y="1335"/>
                      <a:pt x="169" y="1627"/>
                    </a:cubicBezTo>
                    <a:cubicBezTo>
                      <a:pt x="358" y="2000"/>
                      <a:pt x="617" y="2276"/>
                      <a:pt x="1007" y="2395"/>
                    </a:cubicBezTo>
                    <a:cubicBezTo>
                      <a:pt x="1121" y="2437"/>
                      <a:pt x="1234" y="2457"/>
                      <a:pt x="1343" y="2457"/>
                    </a:cubicBezTo>
                    <a:cubicBezTo>
                      <a:pt x="1723" y="2457"/>
                      <a:pt x="2048" y="2210"/>
                      <a:pt x="2157" y="1795"/>
                    </a:cubicBezTo>
                    <a:cubicBezTo>
                      <a:pt x="2309" y="1200"/>
                      <a:pt x="2103" y="703"/>
                      <a:pt x="1660" y="292"/>
                    </a:cubicBezTo>
                    <a:cubicBezTo>
                      <a:pt x="1455" y="103"/>
                      <a:pt x="1212" y="17"/>
                      <a:pt x="925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14" name="Google Shape;414;p24"/>
              <p:cNvSpPr/>
              <p:nvPr/>
            </p:nvSpPr>
            <p:spPr>
              <a:xfrm>
                <a:off x="413950" y="1993975"/>
                <a:ext cx="15425" cy="7250"/>
              </a:xfrm>
              <a:custGeom>
                <a:avLst/>
                <a:gdLst/>
                <a:ahLst/>
                <a:cxnLst/>
                <a:rect l="l" t="t" r="r" b="b"/>
                <a:pathLst>
                  <a:path w="617" h="290" extrusionOk="0">
                    <a:moveTo>
                      <a:pt x="540" y="1"/>
                    </a:moveTo>
                    <a:cubicBezTo>
                      <a:pt x="518" y="1"/>
                      <a:pt x="496" y="10"/>
                      <a:pt x="477" y="19"/>
                    </a:cubicBezTo>
                    <a:cubicBezTo>
                      <a:pt x="358" y="85"/>
                      <a:pt x="239" y="122"/>
                      <a:pt x="103" y="171"/>
                    </a:cubicBezTo>
                    <a:cubicBezTo>
                      <a:pt x="83" y="171"/>
                      <a:pt x="50" y="187"/>
                      <a:pt x="34" y="208"/>
                    </a:cubicBezTo>
                    <a:cubicBezTo>
                      <a:pt x="17" y="224"/>
                      <a:pt x="1" y="241"/>
                      <a:pt x="1" y="257"/>
                    </a:cubicBezTo>
                    <a:cubicBezTo>
                      <a:pt x="17" y="273"/>
                      <a:pt x="34" y="273"/>
                      <a:pt x="67" y="290"/>
                    </a:cubicBezTo>
                    <a:cubicBezTo>
                      <a:pt x="83" y="290"/>
                      <a:pt x="120" y="290"/>
                      <a:pt x="153" y="273"/>
                    </a:cubicBezTo>
                    <a:cubicBezTo>
                      <a:pt x="288" y="257"/>
                      <a:pt x="411" y="208"/>
                      <a:pt x="547" y="138"/>
                    </a:cubicBezTo>
                    <a:cubicBezTo>
                      <a:pt x="580" y="122"/>
                      <a:pt x="617" y="85"/>
                      <a:pt x="596" y="35"/>
                    </a:cubicBezTo>
                    <a:cubicBezTo>
                      <a:pt x="580" y="9"/>
                      <a:pt x="560" y="1"/>
                      <a:pt x="54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15" name="Google Shape;415;p24"/>
              <p:cNvSpPr/>
              <p:nvPr/>
            </p:nvSpPr>
            <p:spPr>
              <a:xfrm>
                <a:off x="418575" y="2001125"/>
                <a:ext cx="13375" cy="6175"/>
              </a:xfrm>
              <a:custGeom>
                <a:avLst/>
                <a:gdLst/>
                <a:ahLst/>
                <a:cxnLst/>
                <a:rect l="l" t="t" r="r" b="b"/>
                <a:pathLst>
                  <a:path w="535" h="247" extrusionOk="0">
                    <a:moveTo>
                      <a:pt x="485" y="0"/>
                    </a:moveTo>
                    <a:cubicBezTo>
                      <a:pt x="475" y="0"/>
                      <a:pt x="464" y="4"/>
                      <a:pt x="448" y="4"/>
                    </a:cubicBezTo>
                    <a:cubicBezTo>
                      <a:pt x="329" y="57"/>
                      <a:pt x="206" y="90"/>
                      <a:pt x="103" y="143"/>
                    </a:cubicBezTo>
                    <a:cubicBezTo>
                      <a:pt x="70" y="143"/>
                      <a:pt x="54" y="160"/>
                      <a:pt x="54" y="160"/>
                    </a:cubicBezTo>
                    <a:cubicBezTo>
                      <a:pt x="38" y="176"/>
                      <a:pt x="1" y="193"/>
                      <a:pt x="21" y="209"/>
                    </a:cubicBezTo>
                    <a:cubicBezTo>
                      <a:pt x="21" y="230"/>
                      <a:pt x="38" y="246"/>
                      <a:pt x="87" y="246"/>
                    </a:cubicBezTo>
                    <a:cubicBezTo>
                      <a:pt x="226" y="246"/>
                      <a:pt x="378" y="193"/>
                      <a:pt x="497" y="90"/>
                    </a:cubicBezTo>
                    <a:cubicBezTo>
                      <a:pt x="534" y="74"/>
                      <a:pt x="534" y="57"/>
                      <a:pt x="514" y="24"/>
                    </a:cubicBezTo>
                    <a:cubicBezTo>
                      <a:pt x="505" y="5"/>
                      <a:pt x="496" y="0"/>
                      <a:pt x="48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16" name="Google Shape;416;p24"/>
              <p:cNvSpPr/>
              <p:nvPr/>
            </p:nvSpPr>
            <p:spPr>
              <a:xfrm>
                <a:off x="286875" y="1984475"/>
                <a:ext cx="55650" cy="72100"/>
              </a:xfrm>
              <a:custGeom>
                <a:avLst/>
                <a:gdLst/>
                <a:ahLst/>
                <a:cxnLst/>
                <a:rect l="l" t="t" r="r" b="b"/>
                <a:pathLst>
                  <a:path w="2226" h="2884" extrusionOk="0">
                    <a:moveTo>
                      <a:pt x="1993" y="1"/>
                    </a:moveTo>
                    <a:cubicBezTo>
                      <a:pt x="1505" y="1"/>
                      <a:pt x="902" y="283"/>
                      <a:pt x="547" y="756"/>
                    </a:cubicBezTo>
                    <a:cubicBezTo>
                      <a:pt x="136" y="1286"/>
                      <a:pt x="0" y="2004"/>
                      <a:pt x="70" y="2247"/>
                    </a:cubicBezTo>
                    <a:cubicBezTo>
                      <a:pt x="144" y="2451"/>
                      <a:pt x="279" y="2884"/>
                      <a:pt x="806" y="2884"/>
                    </a:cubicBezTo>
                    <a:cubicBezTo>
                      <a:pt x="892" y="2884"/>
                      <a:pt x="988" y="2872"/>
                      <a:pt x="1097" y="2846"/>
                    </a:cubicBezTo>
                    <a:cubicBezTo>
                      <a:pt x="1865" y="2657"/>
                      <a:pt x="2140" y="1750"/>
                      <a:pt x="2173" y="1253"/>
                    </a:cubicBezTo>
                    <a:cubicBezTo>
                      <a:pt x="2226" y="756"/>
                      <a:pt x="1967" y="653"/>
                      <a:pt x="1967" y="653"/>
                    </a:cubicBezTo>
                    <a:lnTo>
                      <a:pt x="2226" y="21"/>
                    </a:lnTo>
                    <a:lnTo>
                      <a:pt x="2210" y="21"/>
                    </a:lnTo>
                    <a:cubicBezTo>
                      <a:pt x="2141" y="7"/>
                      <a:pt x="2069" y="1"/>
                      <a:pt x="1993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17" name="Google Shape;417;p24"/>
              <p:cNvSpPr/>
              <p:nvPr/>
            </p:nvSpPr>
            <p:spPr>
              <a:xfrm>
                <a:off x="286450" y="1982575"/>
                <a:ext cx="57325" cy="76150"/>
              </a:xfrm>
              <a:custGeom>
                <a:avLst/>
                <a:gdLst/>
                <a:ahLst/>
                <a:cxnLst/>
                <a:rect l="l" t="t" r="r" b="b"/>
                <a:pathLst>
                  <a:path w="2293" h="3046" extrusionOk="0">
                    <a:moveTo>
                      <a:pt x="2065" y="0"/>
                    </a:moveTo>
                    <a:cubicBezTo>
                      <a:pt x="2026" y="0"/>
                      <a:pt x="1987" y="4"/>
                      <a:pt x="1951" y="11"/>
                    </a:cubicBezTo>
                    <a:cubicBezTo>
                      <a:pt x="1660" y="48"/>
                      <a:pt x="1385" y="167"/>
                      <a:pt x="1130" y="302"/>
                    </a:cubicBezTo>
                    <a:cubicBezTo>
                      <a:pt x="789" y="475"/>
                      <a:pt x="498" y="713"/>
                      <a:pt x="309" y="1074"/>
                    </a:cubicBezTo>
                    <a:cubicBezTo>
                      <a:pt x="136" y="1415"/>
                      <a:pt x="1" y="1772"/>
                      <a:pt x="17" y="2183"/>
                    </a:cubicBezTo>
                    <a:cubicBezTo>
                      <a:pt x="34" y="2577"/>
                      <a:pt x="325" y="2955"/>
                      <a:pt x="703" y="3041"/>
                    </a:cubicBezTo>
                    <a:cubicBezTo>
                      <a:pt x="730" y="3044"/>
                      <a:pt x="757" y="3045"/>
                      <a:pt x="783" y="3045"/>
                    </a:cubicBezTo>
                    <a:cubicBezTo>
                      <a:pt x="909" y="3045"/>
                      <a:pt x="1035" y="3015"/>
                      <a:pt x="1147" y="2971"/>
                    </a:cubicBezTo>
                    <a:cubicBezTo>
                      <a:pt x="1693" y="2766"/>
                      <a:pt x="2001" y="2339"/>
                      <a:pt x="2157" y="1793"/>
                    </a:cubicBezTo>
                    <a:cubicBezTo>
                      <a:pt x="2206" y="1588"/>
                      <a:pt x="2243" y="1362"/>
                      <a:pt x="2243" y="1156"/>
                    </a:cubicBezTo>
                    <a:cubicBezTo>
                      <a:pt x="2227" y="849"/>
                      <a:pt x="1968" y="541"/>
                      <a:pt x="1693" y="508"/>
                    </a:cubicBezTo>
                    <a:cubicBezTo>
                      <a:pt x="1670" y="506"/>
                      <a:pt x="1647" y="505"/>
                      <a:pt x="1624" y="505"/>
                    </a:cubicBezTo>
                    <a:cubicBezTo>
                      <a:pt x="1462" y="505"/>
                      <a:pt x="1300" y="556"/>
                      <a:pt x="1163" y="664"/>
                    </a:cubicBezTo>
                    <a:cubicBezTo>
                      <a:pt x="908" y="869"/>
                      <a:pt x="752" y="1124"/>
                      <a:pt x="650" y="1415"/>
                    </a:cubicBezTo>
                    <a:cubicBezTo>
                      <a:pt x="633" y="1464"/>
                      <a:pt x="617" y="1485"/>
                      <a:pt x="564" y="1501"/>
                    </a:cubicBezTo>
                    <a:cubicBezTo>
                      <a:pt x="531" y="1501"/>
                      <a:pt x="481" y="1518"/>
                      <a:pt x="444" y="1551"/>
                    </a:cubicBezTo>
                    <a:cubicBezTo>
                      <a:pt x="428" y="1567"/>
                      <a:pt x="395" y="1588"/>
                      <a:pt x="412" y="1620"/>
                    </a:cubicBezTo>
                    <a:cubicBezTo>
                      <a:pt x="428" y="1653"/>
                      <a:pt x="461" y="1653"/>
                      <a:pt x="498" y="1653"/>
                    </a:cubicBezTo>
                    <a:cubicBezTo>
                      <a:pt x="531" y="1637"/>
                      <a:pt x="547" y="1637"/>
                      <a:pt x="600" y="1620"/>
                    </a:cubicBezTo>
                    <a:lnTo>
                      <a:pt x="600" y="1620"/>
                    </a:lnTo>
                    <a:lnTo>
                      <a:pt x="547" y="1826"/>
                    </a:lnTo>
                    <a:lnTo>
                      <a:pt x="547" y="1896"/>
                    </a:lnTo>
                    <a:cubicBezTo>
                      <a:pt x="547" y="1912"/>
                      <a:pt x="564" y="1928"/>
                      <a:pt x="584" y="1928"/>
                    </a:cubicBezTo>
                    <a:cubicBezTo>
                      <a:pt x="594" y="1933"/>
                      <a:pt x="600" y="1935"/>
                      <a:pt x="606" y="1935"/>
                    </a:cubicBezTo>
                    <a:cubicBezTo>
                      <a:pt x="618" y="1935"/>
                      <a:pt x="622" y="1924"/>
                      <a:pt x="633" y="1912"/>
                    </a:cubicBezTo>
                    <a:cubicBezTo>
                      <a:pt x="650" y="1842"/>
                      <a:pt x="666" y="1772"/>
                      <a:pt x="703" y="1723"/>
                    </a:cubicBezTo>
                    <a:cubicBezTo>
                      <a:pt x="752" y="1534"/>
                      <a:pt x="806" y="1362"/>
                      <a:pt x="892" y="1193"/>
                    </a:cubicBezTo>
                    <a:cubicBezTo>
                      <a:pt x="974" y="1037"/>
                      <a:pt x="1077" y="918"/>
                      <a:pt x="1216" y="799"/>
                    </a:cubicBezTo>
                    <a:cubicBezTo>
                      <a:pt x="1319" y="713"/>
                      <a:pt x="1455" y="664"/>
                      <a:pt x="1611" y="643"/>
                    </a:cubicBezTo>
                    <a:cubicBezTo>
                      <a:pt x="1628" y="639"/>
                      <a:pt x="1645" y="637"/>
                      <a:pt x="1663" y="637"/>
                    </a:cubicBezTo>
                    <a:cubicBezTo>
                      <a:pt x="1713" y="637"/>
                      <a:pt x="1764" y="653"/>
                      <a:pt x="1816" y="680"/>
                    </a:cubicBezTo>
                    <a:cubicBezTo>
                      <a:pt x="2038" y="832"/>
                      <a:pt x="2140" y="1054"/>
                      <a:pt x="2124" y="1312"/>
                    </a:cubicBezTo>
                    <a:cubicBezTo>
                      <a:pt x="2087" y="1670"/>
                      <a:pt x="1984" y="1998"/>
                      <a:pt x="1795" y="2286"/>
                    </a:cubicBezTo>
                    <a:cubicBezTo>
                      <a:pt x="1590" y="2631"/>
                      <a:pt x="1282" y="2819"/>
                      <a:pt x="892" y="2902"/>
                    </a:cubicBezTo>
                    <a:cubicBezTo>
                      <a:pt x="863" y="2908"/>
                      <a:pt x="835" y="2912"/>
                      <a:pt x="807" y="2912"/>
                    </a:cubicBezTo>
                    <a:cubicBezTo>
                      <a:pt x="686" y="2912"/>
                      <a:pt x="575" y="2850"/>
                      <a:pt x="461" y="2766"/>
                    </a:cubicBezTo>
                    <a:cubicBezTo>
                      <a:pt x="223" y="2594"/>
                      <a:pt x="120" y="2339"/>
                      <a:pt x="153" y="2031"/>
                    </a:cubicBezTo>
                    <a:cubicBezTo>
                      <a:pt x="206" y="1485"/>
                      <a:pt x="412" y="988"/>
                      <a:pt x="855" y="643"/>
                    </a:cubicBezTo>
                    <a:cubicBezTo>
                      <a:pt x="1163" y="405"/>
                      <a:pt x="1508" y="233"/>
                      <a:pt x="1882" y="150"/>
                    </a:cubicBezTo>
                    <a:cubicBezTo>
                      <a:pt x="1940" y="139"/>
                      <a:pt x="1998" y="128"/>
                      <a:pt x="2056" y="128"/>
                    </a:cubicBezTo>
                    <a:cubicBezTo>
                      <a:pt x="2101" y="128"/>
                      <a:pt x="2145" y="134"/>
                      <a:pt x="2190" y="150"/>
                    </a:cubicBezTo>
                    <a:cubicBezTo>
                      <a:pt x="2204" y="150"/>
                      <a:pt x="2217" y="153"/>
                      <a:pt x="2229" y="153"/>
                    </a:cubicBezTo>
                    <a:cubicBezTo>
                      <a:pt x="2249" y="153"/>
                      <a:pt x="2266" y="147"/>
                      <a:pt x="2276" y="114"/>
                    </a:cubicBezTo>
                    <a:cubicBezTo>
                      <a:pt x="2292" y="64"/>
                      <a:pt x="2259" y="48"/>
                      <a:pt x="2227" y="27"/>
                    </a:cubicBezTo>
                    <a:cubicBezTo>
                      <a:pt x="2176" y="8"/>
                      <a:pt x="2120" y="0"/>
                      <a:pt x="206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18" name="Google Shape;418;p24"/>
              <p:cNvSpPr/>
              <p:nvPr/>
            </p:nvSpPr>
            <p:spPr>
              <a:xfrm>
                <a:off x="316850" y="2033225"/>
                <a:ext cx="7300" cy="4750"/>
              </a:xfrm>
              <a:custGeom>
                <a:avLst/>
                <a:gdLst/>
                <a:ahLst/>
                <a:cxnLst/>
                <a:rect l="l" t="t" r="r" b="b"/>
                <a:pathLst>
                  <a:path w="292" h="190" extrusionOk="0">
                    <a:moveTo>
                      <a:pt x="52" y="1"/>
                    </a:moveTo>
                    <a:cubicBezTo>
                      <a:pt x="37" y="1"/>
                      <a:pt x="25" y="5"/>
                      <a:pt x="17" y="21"/>
                    </a:cubicBezTo>
                    <a:cubicBezTo>
                      <a:pt x="0" y="54"/>
                      <a:pt x="17" y="75"/>
                      <a:pt x="50" y="91"/>
                    </a:cubicBezTo>
                    <a:cubicBezTo>
                      <a:pt x="87" y="124"/>
                      <a:pt x="136" y="157"/>
                      <a:pt x="189" y="178"/>
                    </a:cubicBezTo>
                    <a:cubicBezTo>
                      <a:pt x="198" y="186"/>
                      <a:pt x="210" y="190"/>
                      <a:pt x="222" y="190"/>
                    </a:cubicBezTo>
                    <a:cubicBezTo>
                      <a:pt x="234" y="190"/>
                      <a:pt x="247" y="186"/>
                      <a:pt x="255" y="178"/>
                    </a:cubicBezTo>
                    <a:cubicBezTo>
                      <a:pt x="271" y="157"/>
                      <a:pt x="292" y="141"/>
                      <a:pt x="255" y="108"/>
                    </a:cubicBezTo>
                    <a:cubicBezTo>
                      <a:pt x="206" y="75"/>
                      <a:pt x="152" y="38"/>
                      <a:pt x="103" y="5"/>
                    </a:cubicBezTo>
                    <a:cubicBezTo>
                      <a:pt x="85" y="5"/>
                      <a:pt x="67" y="1"/>
                      <a:pt x="52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19" name="Google Shape;419;p24"/>
              <p:cNvSpPr/>
              <p:nvPr/>
            </p:nvSpPr>
            <p:spPr>
              <a:xfrm>
                <a:off x="320650" y="2028100"/>
                <a:ext cx="7300" cy="4750"/>
              </a:xfrm>
              <a:custGeom>
                <a:avLst/>
                <a:gdLst/>
                <a:ahLst/>
                <a:cxnLst/>
                <a:rect l="l" t="t" r="r" b="b"/>
                <a:pathLst>
                  <a:path w="292" h="190" extrusionOk="0">
                    <a:moveTo>
                      <a:pt x="47" y="1"/>
                    </a:moveTo>
                    <a:cubicBezTo>
                      <a:pt x="36" y="1"/>
                      <a:pt x="27" y="5"/>
                      <a:pt x="17" y="21"/>
                    </a:cubicBezTo>
                    <a:cubicBezTo>
                      <a:pt x="0" y="54"/>
                      <a:pt x="17" y="75"/>
                      <a:pt x="37" y="91"/>
                    </a:cubicBezTo>
                    <a:cubicBezTo>
                      <a:pt x="87" y="124"/>
                      <a:pt x="140" y="157"/>
                      <a:pt x="189" y="177"/>
                    </a:cubicBezTo>
                    <a:cubicBezTo>
                      <a:pt x="197" y="185"/>
                      <a:pt x="206" y="190"/>
                      <a:pt x="216" y="190"/>
                    </a:cubicBezTo>
                    <a:cubicBezTo>
                      <a:pt x="227" y="190"/>
                      <a:pt x="241" y="185"/>
                      <a:pt x="259" y="177"/>
                    </a:cubicBezTo>
                    <a:cubicBezTo>
                      <a:pt x="275" y="157"/>
                      <a:pt x="292" y="140"/>
                      <a:pt x="259" y="107"/>
                    </a:cubicBezTo>
                    <a:cubicBezTo>
                      <a:pt x="206" y="75"/>
                      <a:pt x="156" y="38"/>
                      <a:pt x="87" y="5"/>
                    </a:cubicBezTo>
                    <a:cubicBezTo>
                      <a:pt x="70" y="5"/>
                      <a:pt x="58" y="1"/>
                      <a:pt x="4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20" name="Google Shape;420;p24"/>
              <p:cNvSpPr/>
              <p:nvPr/>
            </p:nvSpPr>
            <p:spPr>
              <a:xfrm>
                <a:off x="307000" y="1962750"/>
                <a:ext cx="58225" cy="58175"/>
              </a:xfrm>
              <a:custGeom>
                <a:avLst/>
                <a:gdLst/>
                <a:ahLst/>
                <a:cxnLst/>
                <a:rect l="l" t="t" r="r" b="b"/>
                <a:pathLst>
                  <a:path w="2329" h="2327" extrusionOk="0">
                    <a:moveTo>
                      <a:pt x="1333" y="0"/>
                    </a:moveTo>
                    <a:cubicBezTo>
                      <a:pt x="961" y="0"/>
                      <a:pt x="598" y="235"/>
                      <a:pt x="357" y="652"/>
                    </a:cubicBezTo>
                    <a:cubicBezTo>
                      <a:pt x="0" y="1268"/>
                      <a:pt x="103" y="1970"/>
                      <a:pt x="530" y="2192"/>
                    </a:cubicBezTo>
                    <a:cubicBezTo>
                      <a:pt x="700" y="2281"/>
                      <a:pt x="873" y="2326"/>
                      <a:pt x="1042" y="2326"/>
                    </a:cubicBezTo>
                    <a:cubicBezTo>
                      <a:pt x="1384" y="2326"/>
                      <a:pt x="1709" y="2141"/>
                      <a:pt x="1951" y="1765"/>
                    </a:cubicBezTo>
                    <a:cubicBezTo>
                      <a:pt x="2308" y="1198"/>
                      <a:pt x="2328" y="463"/>
                      <a:pt x="1815" y="139"/>
                    </a:cubicBezTo>
                    <a:cubicBezTo>
                      <a:pt x="1659" y="45"/>
                      <a:pt x="1495" y="0"/>
                      <a:pt x="1333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21" name="Google Shape;421;p24"/>
              <p:cNvSpPr/>
              <p:nvPr/>
            </p:nvSpPr>
            <p:spPr>
              <a:xfrm>
                <a:off x="306575" y="1961475"/>
                <a:ext cx="58125" cy="61425"/>
              </a:xfrm>
              <a:custGeom>
                <a:avLst/>
                <a:gdLst/>
                <a:ahLst/>
                <a:cxnLst/>
                <a:rect l="l" t="t" r="r" b="b"/>
                <a:pathLst>
                  <a:path w="2325" h="2457" extrusionOk="0">
                    <a:moveTo>
                      <a:pt x="1438" y="153"/>
                    </a:moveTo>
                    <a:lnTo>
                      <a:pt x="1401" y="190"/>
                    </a:lnTo>
                    <a:cubicBezTo>
                      <a:pt x="1163" y="358"/>
                      <a:pt x="990" y="600"/>
                      <a:pt x="925" y="908"/>
                    </a:cubicBezTo>
                    <a:cubicBezTo>
                      <a:pt x="908" y="974"/>
                      <a:pt x="888" y="1044"/>
                      <a:pt x="908" y="1114"/>
                    </a:cubicBezTo>
                    <a:cubicBezTo>
                      <a:pt x="908" y="1130"/>
                      <a:pt x="908" y="1163"/>
                      <a:pt x="941" y="1163"/>
                    </a:cubicBezTo>
                    <a:cubicBezTo>
                      <a:pt x="958" y="1163"/>
                      <a:pt x="958" y="1146"/>
                      <a:pt x="974" y="1130"/>
                    </a:cubicBezTo>
                    <a:cubicBezTo>
                      <a:pt x="990" y="1060"/>
                      <a:pt x="1011" y="1011"/>
                      <a:pt x="1027" y="958"/>
                    </a:cubicBezTo>
                    <a:cubicBezTo>
                      <a:pt x="1114" y="736"/>
                      <a:pt x="1196" y="530"/>
                      <a:pt x="1368" y="379"/>
                    </a:cubicBezTo>
                    <a:cubicBezTo>
                      <a:pt x="1495" y="267"/>
                      <a:pt x="1572" y="207"/>
                      <a:pt x="1648" y="207"/>
                    </a:cubicBezTo>
                    <a:cubicBezTo>
                      <a:pt x="1726" y="207"/>
                      <a:pt x="1803" y="272"/>
                      <a:pt x="1935" y="411"/>
                    </a:cubicBezTo>
                    <a:cubicBezTo>
                      <a:pt x="2017" y="498"/>
                      <a:pt x="2000" y="498"/>
                      <a:pt x="1914" y="547"/>
                    </a:cubicBezTo>
                    <a:cubicBezTo>
                      <a:pt x="1627" y="687"/>
                      <a:pt x="1454" y="908"/>
                      <a:pt x="1352" y="1216"/>
                    </a:cubicBezTo>
                    <a:cubicBezTo>
                      <a:pt x="1352" y="1249"/>
                      <a:pt x="1335" y="1302"/>
                      <a:pt x="1385" y="1319"/>
                    </a:cubicBezTo>
                    <a:cubicBezTo>
                      <a:pt x="1391" y="1321"/>
                      <a:pt x="1397" y="1322"/>
                      <a:pt x="1403" y="1322"/>
                    </a:cubicBezTo>
                    <a:cubicBezTo>
                      <a:pt x="1438" y="1322"/>
                      <a:pt x="1440" y="1278"/>
                      <a:pt x="1454" y="1249"/>
                    </a:cubicBezTo>
                    <a:cubicBezTo>
                      <a:pt x="1454" y="1233"/>
                      <a:pt x="1471" y="1216"/>
                      <a:pt x="1471" y="1200"/>
                    </a:cubicBezTo>
                    <a:cubicBezTo>
                      <a:pt x="1590" y="974"/>
                      <a:pt x="1746" y="769"/>
                      <a:pt x="1984" y="650"/>
                    </a:cubicBezTo>
                    <a:cubicBezTo>
                      <a:pt x="2007" y="639"/>
                      <a:pt x="2024" y="633"/>
                      <a:pt x="2037" y="633"/>
                    </a:cubicBezTo>
                    <a:cubicBezTo>
                      <a:pt x="2065" y="633"/>
                      <a:pt x="2076" y="656"/>
                      <a:pt x="2087" y="703"/>
                    </a:cubicBezTo>
                    <a:cubicBezTo>
                      <a:pt x="2173" y="974"/>
                      <a:pt x="2140" y="1249"/>
                      <a:pt x="2037" y="1524"/>
                    </a:cubicBezTo>
                    <a:cubicBezTo>
                      <a:pt x="1898" y="1849"/>
                      <a:pt x="1676" y="2103"/>
                      <a:pt x="1335" y="2243"/>
                    </a:cubicBezTo>
                    <a:cubicBezTo>
                      <a:pt x="1226" y="2293"/>
                      <a:pt x="1117" y="2319"/>
                      <a:pt x="1004" y="2319"/>
                    </a:cubicBezTo>
                    <a:cubicBezTo>
                      <a:pt x="922" y="2319"/>
                      <a:pt x="839" y="2305"/>
                      <a:pt x="752" y="2276"/>
                    </a:cubicBezTo>
                    <a:cubicBezTo>
                      <a:pt x="444" y="2173"/>
                      <a:pt x="272" y="1935"/>
                      <a:pt x="239" y="1610"/>
                    </a:cubicBezTo>
                    <a:cubicBezTo>
                      <a:pt x="190" y="1044"/>
                      <a:pt x="428" y="617"/>
                      <a:pt x="888" y="309"/>
                    </a:cubicBezTo>
                    <a:cubicBezTo>
                      <a:pt x="1044" y="206"/>
                      <a:pt x="1233" y="153"/>
                      <a:pt x="1438" y="153"/>
                    </a:cubicBezTo>
                    <a:close/>
                    <a:moveTo>
                      <a:pt x="1385" y="1"/>
                    </a:moveTo>
                    <a:cubicBezTo>
                      <a:pt x="1114" y="17"/>
                      <a:pt x="871" y="103"/>
                      <a:pt x="666" y="292"/>
                    </a:cubicBezTo>
                    <a:cubicBezTo>
                      <a:pt x="206" y="703"/>
                      <a:pt x="1" y="1200"/>
                      <a:pt x="153" y="1795"/>
                    </a:cubicBezTo>
                    <a:cubicBezTo>
                      <a:pt x="261" y="2210"/>
                      <a:pt x="584" y="2457"/>
                      <a:pt x="963" y="2457"/>
                    </a:cubicBezTo>
                    <a:cubicBezTo>
                      <a:pt x="1071" y="2457"/>
                      <a:pt x="1184" y="2437"/>
                      <a:pt x="1298" y="2395"/>
                    </a:cubicBezTo>
                    <a:cubicBezTo>
                      <a:pt x="1693" y="2276"/>
                      <a:pt x="1968" y="2000"/>
                      <a:pt x="2140" y="1627"/>
                    </a:cubicBezTo>
                    <a:cubicBezTo>
                      <a:pt x="2276" y="1335"/>
                      <a:pt x="2325" y="1027"/>
                      <a:pt x="2243" y="703"/>
                    </a:cubicBezTo>
                    <a:cubicBezTo>
                      <a:pt x="2173" y="428"/>
                      <a:pt x="1951" y="17"/>
                      <a:pt x="1385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22" name="Google Shape;422;p24"/>
              <p:cNvSpPr/>
              <p:nvPr/>
            </p:nvSpPr>
            <p:spPr>
              <a:xfrm>
                <a:off x="326200" y="1993975"/>
                <a:ext cx="15000" cy="7250"/>
              </a:xfrm>
              <a:custGeom>
                <a:avLst/>
                <a:gdLst/>
                <a:ahLst/>
                <a:cxnLst/>
                <a:rect l="l" t="t" r="r" b="b"/>
                <a:pathLst>
                  <a:path w="600" h="290" extrusionOk="0">
                    <a:moveTo>
                      <a:pt x="63" y="1"/>
                    </a:moveTo>
                    <a:cubicBezTo>
                      <a:pt x="44" y="1"/>
                      <a:pt x="29" y="9"/>
                      <a:pt x="21" y="35"/>
                    </a:cubicBezTo>
                    <a:cubicBezTo>
                      <a:pt x="0" y="85"/>
                      <a:pt x="37" y="122"/>
                      <a:pt x="70" y="138"/>
                    </a:cubicBezTo>
                    <a:cubicBezTo>
                      <a:pt x="189" y="208"/>
                      <a:pt x="308" y="257"/>
                      <a:pt x="448" y="273"/>
                    </a:cubicBezTo>
                    <a:cubicBezTo>
                      <a:pt x="480" y="290"/>
                      <a:pt x="513" y="290"/>
                      <a:pt x="550" y="290"/>
                    </a:cubicBezTo>
                    <a:cubicBezTo>
                      <a:pt x="567" y="273"/>
                      <a:pt x="600" y="273"/>
                      <a:pt x="600" y="257"/>
                    </a:cubicBezTo>
                    <a:cubicBezTo>
                      <a:pt x="600" y="241"/>
                      <a:pt x="583" y="224"/>
                      <a:pt x="567" y="208"/>
                    </a:cubicBezTo>
                    <a:cubicBezTo>
                      <a:pt x="550" y="187"/>
                      <a:pt x="534" y="171"/>
                      <a:pt x="497" y="171"/>
                    </a:cubicBezTo>
                    <a:cubicBezTo>
                      <a:pt x="378" y="122"/>
                      <a:pt x="259" y="85"/>
                      <a:pt x="123" y="19"/>
                    </a:cubicBezTo>
                    <a:cubicBezTo>
                      <a:pt x="104" y="10"/>
                      <a:pt x="82" y="1"/>
                      <a:pt x="63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23" name="Google Shape;423;p24"/>
              <p:cNvSpPr/>
              <p:nvPr/>
            </p:nvSpPr>
            <p:spPr>
              <a:xfrm>
                <a:off x="323200" y="2001125"/>
                <a:ext cx="13275" cy="6175"/>
              </a:xfrm>
              <a:custGeom>
                <a:avLst/>
                <a:gdLst/>
                <a:ahLst/>
                <a:cxnLst/>
                <a:rect l="l" t="t" r="r" b="b"/>
                <a:pathLst>
                  <a:path w="531" h="247" extrusionOk="0">
                    <a:moveTo>
                      <a:pt x="56" y="0"/>
                    </a:moveTo>
                    <a:cubicBezTo>
                      <a:pt x="43" y="0"/>
                      <a:pt x="28" y="5"/>
                      <a:pt x="17" y="24"/>
                    </a:cubicBezTo>
                    <a:cubicBezTo>
                      <a:pt x="1" y="57"/>
                      <a:pt x="17" y="74"/>
                      <a:pt x="38" y="90"/>
                    </a:cubicBezTo>
                    <a:cubicBezTo>
                      <a:pt x="173" y="193"/>
                      <a:pt x="325" y="246"/>
                      <a:pt x="465" y="246"/>
                    </a:cubicBezTo>
                    <a:cubicBezTo>
                      <a:pt x="498" y="246"/>
                      <a:pt x="514" y="230"/>
                      <a:pt x="531" y="209"/>
                    </a:cubicBezTo>
                    <a:cubicBezTo>
                      <a:pt x="531" y="193"/>
                      <a:pt x="514" y="176"/>
                      <a:pt x="498" y="160"/>
                    </a:cubicBezTo>
                    <a:cubicBezTo>
                      <a:pt x="481" y="160"/>
                      <a:pt x="465" y="143"/>
                      <a:pt x="449" y="143"/>
                    </a:cubicBezTo>
                    <a:cubicBezTo>
                      <a:pt x="325" y="90"/>
                      <a:pt x="206" y="57"/>
                      <a:pt x="87" y="4"/>
                    </a:cubicBezTo>
                    <a:cubicBezTo>
                      <a:pt x="79" y="4"/>
                      <a:pt x="68" y="0"/>
                      <a:pt x="5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  <p:grpSp>
        <p:nvGrpSpPr>
          <p:cNvPr id="424" name="Google Shape;424;p24"/>
          <p:cNvGrpSpPr/>
          <p:nvPr/>
        </p:nvGrpSpPr>
        <p:grpSpPr>
          <a:xfrm rot="1303824">
            <a:off x="9329503" y="3483828"/>
            <a:ext cx="1776455" cy="1525165"/>
            <a:chOff x="2058475" y="2438250"/>
            <a:chExt cx="364425" cy="312875"/>
          </a:xfrm>
        </p:grpSpPr>
        <p:sp>
          <p:nvSpPr>
            <p:cNvPr id="425" name="Google Shape;425;p24"/>
            <p:cNvSpPr/>
            <p:nvPr/>
          </p:nvSpPr>
          <p:spPr>
            <a:xfrm>
              <a:off x="2058475" y="2438425"/>
              <a:ext cx="364425" cy="312700"/>
            </a:xfrm>
            <a:custGeom>
              <a:avLst/>
              <a:gdLst/>
              <a:ahLst/>
              <a:cxnLst/>
              <a:rect l="l" t="t" r="r" b="b"/>
              <a:pathLst>
                <a:path w="14577" h="12508" extrusionOk="0">
                  <a:moveTo>
                    <a:pt x="12647" y="6184"/>
                  </a:moveTo>
                  <a:cubicBezTo>
                    <a:pt x="13014" y="6184"/>
                    <a:pt x="13348" y="6383"/>
                    <a:pt x="13550" y="6722"/>
                  </a:cubicBezTo>
                  <a:cubicBezTo>
                    <a:pt x="14113" y="7713"/>
                    <a:pt x="13226" y="8849"/>
                    <a:pt x="12192" y="8849"/>
                  </a:cubicBezTo>
                  <a:cubicBezTo>
                    <a:pt x="12155" y="8849"/>
                    <a:pt x="12118" y="8848"/>
                    <a:pt x="12080" y="8845"/>
                  </a:cubicBezTo>
                  <a:lnTo>
                    <a:pt x="11978" y="8332"/>
                  </a:lnTo>
                  <a:lnTo>
                    <a:pt x="11978" y="8332"/>
                  </a:lnTo>
                  <a:cubicBezTo>
                    <a:pt x="12087" y="8367"/>
                    <a:pt x="12199" y="8385"/>
                    <a:pt x="12308" y="8385"/>
                  </a:cubicBezTo>
                  <a:cubicBezTo>
                    <a:pt x="12729" y="8385"/>
                    <a:pt x="13115" y="8121"/>
                    <a:pt x="13210" y="7580"/>
                  </a:cubicBezTo>
                  <a:cubicBezTo>
                    <a:pt x="13287" y="7147"/>
                    <a:pt x="12987" y="6616"/>
                    <a:pt x="12527" y="6616"/>
                  </a:cubicBezTo>
                  <a:cubicBezTo>
                    <a:pt x="12477" y="6616"/>
                    <a:pt x="12425" y="6623"/>
                    <a:pt x="12372" y="6636"/>
                  </a:cubicBezTo>
                  <a:cubicBezTo>
                    <a:pt x="12236" y="6673"/>
                    <a:pt x="11772" y="7014"/>
                    <a:pt x="12113" y="7116"/>
                  </a:cubicBezTo>
                  <a:cubicBezTo>
                    <a:pt x="12129" y="7122"/>
                    <a:pt x="12144" y="7124"/>
                    <a:pt x="12159" y="7124"/>
                  </a:cubicBezTo>
                  <a:cubicBezTo>
                    <a:pt x="12280" y="7124"/>
                    <a:pt x="12373" y="6961"/>
                    <a:pt x="12508" y="6961"/>
                  </a:cubicBezTo>
                  <a:cubicBezTo>
                    <a:pt x="12520" y="6961"/>
                    <a:pt x="12532" y="6962"/>
                    <a:pt x="12544" y="6964"/>
                  </a:cubicBezTo>
                  <a:cubicBezTo>
                    <a:pt x="13107" y="7067"/>
                    <a:pt x="12782" y="7868"/>
                    <a:pt x="12318" y="7888"/>
                  </a:cubicBezTo>
                  <a:cubicBezTo>
                    <a:pt x="12302" y="7890"/>
                    <a:pt x="12285" y="7891"/>
                    <a:pt x="12268" y="7891"/>
                  </a:cubicBezTo>
                  <a:cubicBezTo>
                    <a:pt x="12116" y="7891"/>
                    <a:pt x="11966" y="7826"/>
                    <a:pt x="11859" y="7749"/>
                  </a:cubicBezTo>
                  <a:lnTo>
                    <a:pt x="11653" y="6739"/>
                  </a:lnTo>
                  <a:cubicBezTo>
                    <a:pt x="11789" y="6500"/>
                    <a:pt x="12064" y="6295"/>
                    <a:pt x="12355" y="6225"/>
                  </a:cubicBezTo>
                  <a:cubicBezTo>
                    <a:pt x="12454" y="6197"/>
                    <a:pt x="12551" y="6184"/>
                    <a:pt x="12647" y="6184"/>
                  </a:cubicBezTo>
                  <a:close/>
                  <a:moveTo>
                    <a:pt x="2603" y="7954"/>
                  </a:moveTo>
                  <a:cubicBezTo>
                    <a:pt x="2792" y="8262"/>
                    <a:pt x="3014" y="8521"/>
                    <a:pt x="3285" y="8742"/>
                  </a:cubicBezTo>
                  <a:cubicBezTo>
                    <a:pt x="3167" y="8955"/>
                    <a:pt x="2966" y="9085"/>
                    <a:pt x="2771" y="9085"/>
                  </a:cubicBezTo>
                  <a:cubicBezTo>
                    <a:pt x="2714" y="9085"/>
                    <a:pt x="2657" y="9074"/>
                    <a:pt x="2603" y="9050"/>
                  </a:cubicBezTo>
                  <a:cubicBezTo>
                    <a:pt x="2328" y="8931"/>
                    <a:pt x="2226" y="8570"/>
                    <a:pt x="2382" y="8246"/>
                  </a:cubicBezTo>
                  <a:cubicBezTo>
                    <a:pt x="2431" y="8126"/>
                    <a:pt x="2517" y="8024"/>
                    <a:pt x="2603" y="7954"/>
                  </a:cubicBezTo>
                  <a:close/>
                  <a:moveTo>
                    <a:pt x="1274" y="8596"/>
                  </a:moveTo>
                  <a:cubicBezTo>
                    <a:pt x="1355" y="8596"/>
                    <a:pt x="1439" y="8610"/>
                    <a:pt x="1523" y="8640"/>
                  </a:cubicBezTo>
                  <a:cubicBezTo>
                    <a:pt x="1848" y="8742"/>
                    <a:pt x="2053" y="9050"/>
                    <a:pt x="1971" y="9325"/>
                  </a:cubicBezTo>
                  <a:cubicBezTo>
                    <a:pt x="1894" y="9529"/>
                    <a:pt x="1681" y="9658"/>
                    <a:pt x="1442" y="9658"/>
                  </a:cubicBezTo>
                  <a:cubicBezTo>
                    <a:pt x="1363" y="9658"/>
                    <a:pt x="1280" y="9644"/>
                    <a:pt x="1199" y="9613"/>
                  </a:cubicBezTo>
                  <a:cubicBezTo>
                    <a:pt x="858" y="9510"/>
                    <a:pt x="669" y="9202"/>
                    <a:pt x="756" y="8931"/>
                  </a:cubicBezTo>
                  <a:cubicBezTo>
                    <a:pt x="820" y="8724"/>
                    <a:pt x="1029" y="8596"/>
                    <a:pt x="1274" y="8596"/>
                  </a:cubicBezTo>
                  <a:close/>
                  <a:moveTo>
                    <a:pt x="2978" y="9424"/>
                  </a:moveTo>
                  <a:cubicBezTo>
                    <a:pt x="3012" y="9424"/>
                    <a:pt x="3049" y="9468"/>
                    <a:pt x="3063" y="9510"/>
                  </a:cubicBezTo>
                  <a:cubicBezTo>
                    <a:pt x="3080" y="9580"/>
                    <a:pt x="3063" y="9666"/>
                    <a:pt x="3047" y="9752"/>
                  </a:cubicBezTo>
                  <a:cubicBezTo>
                    <a:pt x="3030" y="9802"/>
                    <a:pt x="2998" y="9855"/>
                    <a:pt x="2977" y="9904"/>
                  </a:cubicBezTo>
                  <a:cubicBezTo>
                    <a:pt x="2911" y="10007"/>
                    <a:pt x="2809" y="10110"/>
                    <a:pt x="2690" y="10163"/>
                  </a:cubicBezTo>
                  <a:cubicBezTo>
                    <a:pt x="2608" y="10202"/>
                    <a:pt x="2516" y="10218"/>
                    <a:pt x="2423" y="10218"/>
                  </a:cubicBezTo>
                  <a:cubicBezTo>
                    <a:pt x="2357" y="10218"/>
                    <a:pt x="2290" y="10210"/>
                    <a:pt x="2226" y="10196"/>
                  </a:cubicBezTo>
                  <a:cubicBezTo>
                    <a:pt x="2123" y="10163"/>
                    <a:pt x="1868" y="9974"/>
                    <a:pt x="2107" y="9921"/>
                  </a:cubicBezTo>
                  <a:cubicBezTo>
                    <a:pt x="2123" y="9915"/>
                    <a:pt x="2140" y="9914"/>
                    <a:pt x="2158" y="9914"/>
                  </a:cubicBezTo>
                  <a:cubicBezTo>
                    <a:pt x="2193" y="9914"/>
                    <a:pt x="2232" y="9921"/>
                    <a:pt x="2279" y="9921"/>
                  </a:cubicBezTo>
                  <a:cubicBezTo>
                    <a:pt x="2322" y="9929"/>
                    <a:pt x="2367" y="9934"/>
                    <a:pt x="2411" y="9934"/>
                  </a:cubicBezTo>
                  <a:cubicBezTo>
                    <a:pt x="2556" y="9934"/>
                    <a:pt x="2698" y="9885"/>
                    <a:pt x="2792" y="9769"/>
                  </a:cubicBezTo>
                  <a:cubicBezTo>
                    <a:pt x="2858" y="9683"/>
                    <a:pt x="2874" y="9564"/>
                    <a:pt x="2928" y="9461"/>
                  </a:cubicBezTo>
                  <a:cubicBezTo>
                    <a:pt x="2944" y="9445"/>
                    <a:pt x="2944" y="9445"/>
                    <a:pt x="2961" y="9428"/>
                  </a:cubicBezTo>
                  <a:cubicBezTo>
                    <a:pt x="2966" y="9425"/>
                    <a:pt x="2972" y="9424"/>
                    <a:pt x="2978" y="9424"/>
                  </a:cubicBezTo>
                  <a:close/>
                  <a:moveTo>
                    <a:pt x="4435" y="0"/>
                  </a:moveTo>
                  <a:cubicBezTo>
                    <a:pt x="4381" y="0"/>
                    <a:pt x="4332" y="17"/>
                    <a:pt x="4279" y="33"/>
                  </a:cubicBezTo>
                  <a:cubicBezTo>
                    <a:pt x="4229" y="33"/>
                    <a:pt x="4176" y="66"/>
                    <a:pt x="4127" y="103"/>
                  </a:cubicBezTo>
                  <a:cubicBezTo>
                    <a:pt x="4041" y="152"/>
                    <a:pt x="3971" y="255"/>
                    <a:pt x="3921" y="341"/>
                  </a:cubicBezTo>
                  <a:cubicBezTo>
                    <a:pt x="3835" y="530"/>
                    <a:pt x="3798" y="735"/>
                    <a:pt x="3798" y="941"/>
                  </a:cubicBezTo>
                  <a:cubicBezTo>
                    <a:pt x="3798" y="1130"/>
                    <a:pt x="3835" y="1335"/>
                    <a:pt x="3868" y="1524"/>
                  </a:cubicBezTo>
                  <a:cubicBezTo>
                    <a:pt x="3901" y="1709"/>
                    <a:pt x="3954" y="1897"/>
                    <a:pt x="4024" y="2086"/>
                  </a:cubicBezTo>
                  <a:cubicBezTo>
                    <a:pt x="4143" y="2448"/>
                    <a:pt x="4262" y="2821"/>
                    <a:pt x="4398" y="3183"/>
                  </a:cubicBezTo>
                  <a:cubicBezTo>
                    <a:pt x="4468" y="3318"/>
                    <a:pt x="4517" y="3474"/>
                    <a:pt x="4587" y="3626"/>
                  </a:cubicBezTo>
                  <a:cubicBezTo>
                    <a:pt x="4381" y="3643"/>
                    <a:pt x="4192" y="3696"/>
                    <a:pt x="4004" y="3782"/>
                  </a:cubicBezTo>
                  <a:cubicBezTo>
                    <a:pt x="3995" y="3787"/>
                    <a:pt x="3987" y="3789"/>
                    <a:pt x="3981" y="3789"/>
                  </a:cubicBezTo>
                  <a:cubicBezTo>
                    <a:pt x="3963" y="3789"/>
                    <a:pt x="3954" y="3772"/>
                    <a:pt x="3954" y="3745"/>
                  </a:cubicBezTo>
                  <a:cubicBezTo>
                    <a:pt x="3921" y="3659"/>
                    <a:pt x="3901" y="3577"/>
                    <a:pt x="3868" y="3491"/>
                  </a:cubicBezTo>
                  <a:cubicBezTo>
                    <a:pt x="3852" y="3454"/>
                    <a:pt x="3835" y="3421"/>
                    <a:pt x="3819" y="3372"/>
                  </a:cubicBezTo>
                  <a:cubicBezTo>
                    <a:pt x="4004" y="3199"/>
                    <a:pt x="4073" y="3113"/>
                    <a:pt x="4106" y="3064"/>
                  </a:cubicBezTo>
                  <a:cubicBezTo>
                    <a:pt x="4143" y="2994"/>
                    <a:pt x="4143" y="2908"/>
                    <a:pt x="4090" y="2858"/>
                  </a:cubicBezTo>
                  <a:cubicBezTo>
                    <a:pt x="4057" y="2821"/>
                    <a:pt x="3987" y="2805"/>
                    <a:pt x="3938" y="2805"/>
                  </a:cubicBezTo>
                  <a:cubicBezTo>
                    <a:pt x="3835" y="2805"/>
                    <a:pt x="3716" y="2805"/>
                    <a:pt x="3613" y="2821"/>
                  </a:cubicBezTo>
                  <a:cubicBezTo>
                    <a:pt x="3490" y="2567"/>
                    <a:pt x="3371" y="2292"/>
                    <a:pt x="3252" y="2037"/>
                  </a:cubicBezTo>
                  <a:cubicBezTo>
                    <a:pt x="3100" y="1709"/>
                    <a:pt x="2895" y="1384"/>
                    <a:pt x="2669" y="1076"/>
                  </a:cubicBezTo>
                  <a:cubicBezTo>
                    <a:pt x="2501" y="855"/>
                    <a:pt x="2295" y="666"/>
                    <a:pt x="2037" y="547"/>
                  </a:cubicBezTo>
                  <a:cubicBezTo>
                    <a:pt x="1937" y="501"/>
                    <a:pt x="1829" y="478"/>
                    <a:pt x="1718" y="478"/>
                  </a:cubicBezTo>
                  <a:cubicBezTo>
                    <a:pt x="1659" y="478"/>
                    <a:pt x="1600" y="484"/>
                    <a:pt x="1540" y="497"/>
                  </a:cubicBezTo>
                  <a:cubicBezTo>
                    <a:pt x="1355" y="530"/>
                    <a:pt x="1199" y="633"/>
                    <a:pt x="1113" y="822"/>
                  </a:cubicBezTo>
                  <a:cubicBezTo>
                    <a:pt x="1064" y="941"/>
                    <a:pt x="1027" y="1093"/>
                    <a:pt x="1027" y="1232"/>
                  </a:cubicBezTo>
                  <a:cubicBezTo>
                    <a:pt x="1010" y="1454"/>
                    <a:pt x="1080" y="1659"/>
                    <a:pt x="1129" y="1865"/>
                  </a:cubicBezTo>
                  <a:cubicBezTo>
                    <a:pt x="1216" y="2156"/>
                    <a:pt x="1355" y="2427"/>
                    <a:pt x="1507" y="2686"/>
                  </a:cubicBezTo>
                  <a:cubicBezTo>
                    <a:pt x="1507" y="2702"/>
                    <a:pt x="1523" y="2719"/>
                    <a:pt x="1523" y="2735"/>
                  </a:cubicBezTo>
                  <a:cubicBezTo>
                    <a:pt x="1507" y="2908"/>
                    <a:pt x="1491" y="3080"/>
                    <a:pt x="1474" y="3248"/>
                  </a:cubicBezTo>
                  <a:cubicBezTo>
                    <a:pt x="1269" y="3285"/>
                    <a:pt x="1047" y="3318"/>
                    <a:pt x="842" y="3335"/>
                  </a:cubicBezTo>
                  <a:cubicBezTo>
                    <a:pt x="756" y="3351"/>
                    <a:pt x="653" y="3372"/>
                    <a:pt x="583" y="3404"/>
                  </a:cubicBezTo>
                  <a:cubicBezTo>
                    <a:pt x="497" y="3454"/>
                    <a:pt x="431" y="3523"/>
                    <a:pt x="431" y="3626"/>
                  </a:cubicBezTo>
                  <a:cubicBezTo>
                    <a:pt x="448" y="3729"/>
                    <a:pt x="550" y="3815"/>
                    <a:pt x="637" y="3864"/>
                  </a:cubicBezTo>
                  <a:cubicBezTo>
                    <a:pt x="908" y="4037"/>
                    <a:pt x="1199" y="4193"/>
                    <a:pt x="1474" y="4345"/>
                  </a:cubicBezTo>
                  <a:cubicBezTo>
                    <a:pt x="1491" y="4480"/>
                    <a:pt x="1491" y="4620"/>
                    <a:pt x="1507" y="4755"/>
                  </a:cubicBezTo>
                  <a:cubicBezTo>
                    <a:pt x="1507" y="5014"/>
                    <a:pt x="1523" y="5269"/>
                    <a:pt x="1610" y="5527"/>
                  </a:cubicBezTo>
                  <a:cubicBezTo>
                    <a:pt x="1626" y="5560"/>
                    <a:pt x="1643" y="5593"/>
                    <a:pt x="1679" y="5609"/>
                  </a:cubicBezTo>
                  <a:cubicBezTo>
                    <a:pt x="1686" y="5614"/>
                    <a:pt x="1694" y="5615"/>
                    <a:pt x="1702" y="5615"/>
                  </a:cubicBezTo>
                  <a:cubicBezTo>
                    <a:pt x="1734" y="5615"/>
                    <a:pt x="1776" y="5590"/>
                    <a:pt x="1815" y="5577"/>
                  </a:cubicBezTo>
                  <a:cubicBezTo>
                    <a:pt x="2090" y="5371"/>
                    <a:pt x="2312" y="5080"/>
                    <a:pt x="2517" y="4788"/>
                  </a:cubicBezTo>
                  <a:cubicBezTo>
                    <a:pt x="2566" y="4825"/>
                    <a:pt x="2620" y="4842"/>
                    <a:pt x="2690" y="4858"/>
                  </a:cubicBezTo>
                  <a:cubicBezTo>
                    <a:pt x="2279" y="5490"/>
                    <a:pt x="2123" y="6176"/>
                    <a:pt x="2226" y="6927"/>
                  </a:cubicBezTo>
                  <a:cubicBezTo>
                    <a:pt x="2242" y="6927"/>
                    <a:pt x="2242" y="6944"/>
                    <a:pt x="2242" y="6964"/>
                  </a:cubicBezTo>
                  <a:cubicBezTo>
                    <a:pt x="2107" y="6981"/>
                    <a:pt x="1971" y="6997"/>
                    <a:pt x="1848" y="7014"/>
                  </a:cubicBezTo>
                  <a:cubicBezTo>
                    <a:pt x="1799" y="7014"/>
                    <a:pt x="1745" y="7030"/>
                    <a:pt x="1696" y="7047"/>
                  </a:cubicBezTo>
                  <a:cubicBezTo>
                    <a:pt x="1593" y="7067"/>
                    <a:pt x="1491" y="7116"/>
                    <a:pt x="1372" y="7149"/>
                  </a:cubicBezTo>
                  <a:cubicBezTo>
                    <a:pt x="431" y="7580"/>
                    <a:pt x="0" y="8689"/>
                    <a:pt x="431" y="9633"/>
                  </a:cubicBezTo>
                  <a:cubicBezTo>
                    <a:pt x="767" y="10406"/>
                    <a:pt x="1682" y="11041"/>
                    <a:pt x="2501" y="11041"/>
                  </a:cubicBezTo>
                  <a:cubicBezTo>
                    <a:pt x="2552" y="11041"/>
                    <a:pt x="2602" y="11039"/>
                    <a:pt x="2653" y="11034"/>
                  </a:cubicBezTo>
                  <a:lnTo>
                    <a:pt x="2653" y="11034"/>
                  </a:lnTo>
                  <a:lnTo>
                    <a:pt x="1474" y="12438"/>
                  </a:lnTo>
                  <a:lnTo>
                    <a:pt x="2603" y="12438"/>
                  </a:lnTo>
                  <a:cubicBezTo>
                    <a:pt x="2603" y="12471"/>
                    <a:pt x="2620" y="12508"/>
                    <a:pt x="2669" y="12508"/>
                  </a:cubicBezTo>
                  <a:lnTo>
                    <a:pt x="6673" y="12508"/>
                  </a:lnTo>
                  <a:cubicBezTo>
                    <a:pt x="6726" y="12508"/>
                    <a:pt x="6742" y="12471"/>
                    <a:pt x="6742" y="12438"/>
                  </a:cubicBezTo>
                  <a:lnTo>
                    <a:pt x="12799" y="12438"/>
                  </a:lnTo>
                  <a:lnTo>
                    <a:pt x="12183" y="9358"/>
                  </a:lnTo>
                  <a:lnTo>
                    <a:pt x="12183" y="9358"/>
                  </a:lnTo>
                  <a:cubicBezTo>
                    <a:pt x="12202" y="9359"/>
                    <a:pt x="12220" y="9359"/>
                    <a:pt x="12239" y="9359"/>
                  </a:cubicBezTo>
                  <a:cubicBezTo>
                    <a:pt x="12836" y="9359"/>
                    <a:pt x="13428" y="9104"/>
                    <a:pt x="13842" y="8586"/>
                  </a:cubicBezTo>
                  <a:cubicBezTo>
                    <a:pt x="14544" y="7716"/>
                    <a:pt x="14355" y="6225"/>
                    <a:pt x="13242" y="5765"/>
                  </a:cubicBezTo>
                  <a:cubicBezTo>
                    <a:pt x="13067" y="5693"/>
                    <a:pt x="12882" y="5660"/>
                    <a:pt x="12697" y="5660"/>
                  </a:cubicBezTo>
                  <a:cubicBezTo>
                    <a:pt x="12270" y="5660"/>
                    <a:pt x="11843" y="5836"/>
                    <a:pt x="11534" y="6123"/>
                  </a:cubicBezTo>
                  <a:lnTo>
                    <a:pt x="11226" y="4653"/>
                  </a:lnTo>
                  <a:lnTo>
                    <a:pt x="11276" y="4653"/>
                  </a:lnTo>
                  <a:cubicBezTo>
                    <a:pt x="11362" y="4653"/>
                    <a:pt x="11448" y="4603"/>
                    <a:pt x="11497" y="4517"/>
                  </a:cubicBezTo>
                  <a:lnTo>
                    <a:pt x="11670" y="4226"/>
                  </a:lnTo>
                  <a:cubicBezTo>
                    <a:pt x="11945" y="4258"/>
                    <a:pt x="12236" y="4275"/>
                    <a:pt x="12491" y="4275"/>
                  </a:cubicBezTo>
                  <a:cubicBezTo>
                    <a:pt x="12663" y="4275"/>
                    <a:pt x="12832" y="4258"/>
                    <a:pt x="12988" y="4242"/>
                  </a:cubicBezTo>
                  <a:cubicBezTo>
                    <a:pt x="13825" y="4172"/>
                    <a:pt x="14339" y="3934"/>
                    <a:pt x="14458" y="3556"/>
                  </a:cubicBezTo>
                  <a:cubicBezTo>
                    <a:pt x="14458" y="3540"/>
                    <a:pt x="14458" y="3540"/>
                    <a:pt x="14474" y="3523"/>
                  </a:cubicBezTo>
                  <a:cubicBezTo>
                    <a:pt x="14577" y="3129"/>
                    <a:pt x="14236" y="2653"/>
                    <a:pt x="13517" y="2173"/>
                  </a:cubicBezTo>
                  <a:cubicBezTo>
                    <a:pt x="13329" y="2054"/>
                    <a:pt x="13123" y="1934"/>
                    <a:pt x="12918" y="1832"/>
                  </a:cubicBezTo>
                  <a:cubicBezTo>
                    <a:pt x="12750" y="1060"/>
                    <a:pt x="11994" y="374"/>
                    <a:pt x="11005" y="120"/>
                  </a:cubicBezTo>
                  <a:cubicBezTo>
                    <a:pt x="10732" y="50"/>
                    <a:pt x="10460" y="16"/>
                    <a:pt x="10199" y="16"/>
                  </a:cubicBezTo>
                  <a:cubicBezTo>
                    <a:pt x="9493" y="16"/>
                    <a:pt x="8862" y="260"/>
                    <a:pt x="8487" y="682"/>
                  </a:cubicBezTo>
                  <a:cubicBezTo>
                    <a:pt x="8420" y="680"/>
                    <a:pt x="8353" y="679"/>
                    <a:pt x="8288" y="679"/>
                  </a:cubicBezTo>
                  <a:cubicBezTo>
                    <a:pt x="7196" y="679"/>
                    <a:pt x="6443" y="938"/>
                    <a:pt x="6315" y="1438"/>
                  </a:cubicBezTo>
                  <a:cubicBezTo>
                    <a:pt x="6159" y="2037"/>
                    <a:pt x="7034" y="2805"/>
                    <a:pt x="8438" y="3404"/>
                  </a:cubicBezTo>
                  <a:lnTo>
                    <a:pt x="8438" y="3745"/>
                  </a:lnTo>
                  <a:cubicBezTo>
                    <a:pt x="8438" y="3848"/>
                    <a:pt x="8504" y="3934"/>
                    <a:pt x="8607" y="3967"/>
                  </a:cubicBezTo>
                  <a:lnTo>
                    <a:pt x="7650" y="5117"/>
                  </a:lnTo>
                  <a:cubicBezTo>
                    <a:pt x="7650" y="5117"/>
                    <a:pt x="7633" y="5096"/>
                    <a:pt x="7633" y="5080"/>
                  </a:cubicBezTo>
                  <a:cubicBezTo>
                    <a:pt x="7494" y="4842"/>
                    <a:pt x="7325" y="4620"/>
                    <a:pt x="7137" y="4415"/>
                  </a:cubicBezTo>
                  <a:cubicBezTo>
                    <a:pt x="6742" y="4004"/>
                    <a:pt x="6418" y="3864"/>
                    <a:pt x="6040" y="3729"/>
                  </a:cubicBezTo>
                  <a:cubicBezTo>
                    <a:pt x="6024" y="3659"/>
                    <a:pt x="6024" y="3593"/>
                    <a:pt x="6007" y="3507"/>
                  </a:cubicBezTo>
                  <a:cubicBezTo>
                    <a:pt x="5991" y="3318"/>
                    <a:pt x="5954" y="3129"/>
                    <a:pt x="5938" y="2940"/>
                  </a:cubicBezTo>
                  <a:cubicBezTo>
                    <a:pt x="5872" y="2550"/>
                    <a:pt x="5802" y="2173"/>
                    <a:pt x="5716" y="1795"/>
                  </a:cubicBezTo>
                  <a:cubicBezTo>
                    <a:pt x="5683" y="1606"/>
                    <a:pt x="5630" y="1421"/>
                    <a:pt x="5580" y="1232"/>
                  </a:cubicBezTo>
                  <a:cubicBezTo>
                    <a:pt x="5527" y="1043"/>
                    <a:pt x="5461" y="855"/>
                    <a:pt x="5375" y="682"/>
                  </a:cubicBezTo>
                  <a:cubicBezTo>
                    <a:pt x="5272" y="514"/>
                    <a:pt x="5170" y="341"/>
                    <a:pt x="5014" y="206"/>
                  </a:cubicBezTo>
                  <a:cubicBezTo>
                    <a:pt x="4927" y="136"/>
                    <a:pt x="4845" y="87"/>
                    <a:pt x="4743" y="50"/>
                  </a:cubicBezTo>
                  <a:cubicBezTo>
                    <a:pt x="4640" y="0"/>
                    <a:pt x="4537" y="0"/>
                    <a:pt x="4435" y="0"/>
                  </a:cubicBezTo>
                  <a:close/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grpSp>
          <p:nvGrpSpPr>
            <p:cNvPr id="426" name="Google Shape;426;p24"/>
            <p:cNvGrpSpPr/>
            <p:nvPr/>
          </p:nvGrpSpPr>
          <p:grpSpPr>
            <a:xfrm>
              <a:off x="2058475" y="2438250"/>
              <a:ext cx="364425" cy="312875"/>
              <a:chOff x="2058475" y="2438250"/>
              <a:chExt cx="364425" cy="312875"/>
            </a:xfrm>
          </p:grpSpPr>
          <p:sp>
            <p:nvSpPr>
              <p:cNvPr id="427" name="Google Shape;427;p24"/>
              <p:cNvSpPr/>
              <p:nvPr/>
            </p:nvSpPr>
            <p:spPr>
              <a:xfrm>
                <a:off x="2313050" y="2579950"/>
                <a:ext cx="109050" cy="92550"/>
              </a:xfrm>
              <a:custGeom>
                <a:avLst/>
                <a:gdLst/>
                <a:ahLst/>
                <a:cxnLst/>
                <a:rect l="l" t="t" r="r" b="b"/>
                <a:pathLst>
                  <a:path w="4362" h="3702" extrusionOk="0">
                    <a:moveTo>
                      <a:pt x="2511" y="0"/>
                    </a:moveTo>
                    <a:cubicBezTo>
                      <a:pt x="1574" y="0"/>
                      <a:pt x="628" y="830"/>
                      <a:pt x="957" y="1816"/>
                    </a:cubicBezTo>
                    <a:cubicBezTo>
                      <a:pt x="1154" y="2413"/>
                      <a:pt x="1651" y="2722"/>
                      <a:pt x="2112" y="2722"/>
                    </a:cubicBezTo>
                    <a:cubicBezTo>
                      <a:pt x="2535" y="2722"/>
                      <a:pt x="2928" y="2460"/>
                      <a:pt x="3027" y="1919"/>
                    </a:cubicBezTo>
                    <a:cubicBezTo>
                      <a:pt x="3104" y="1485"/>
                      <a:pt x="2804" y="955"/>
                      <a:pt x="2344" y="955"/>
                    </a:cubicBezTo>
                    <a:cubicBezTo>
                      <a:pt x="2294" y="955"/>
                      <a:pt x="2242" y="961"/>
                      <a:pt x="2189" y="974"/>
                    </a:cubicBezTo>
                    <a:cubicBezTo>
                      <a:pt x="2053" y="1011"/>
                      <a:pt x="1589" y="1336"/>
                      <a:pt x="1930" y="1455"/>
                    </a:cubicBezTo>
                    <a:cubicBezTo>
                      <a:pt x="1946" y="1460"/>
                      <a:pt x="1961" y="1462"/>
                      <a:pt x="1976" y="1462"/>
                    </a:cubicBezTo>
                    <a:cubicBezTo>
                      <a:pt x="2097" y="1462"/>
                      <a:pt x="2190" y="1299"/>
                      <a:pt x="2325" y="1299"/>
                    </a:cubicBezTo>
                    <a:cubicBezTo>
                      <a:pt x="2337" y="1299"/>
                      <a:pt x="2349" y="1300"/>
                      <a:pt x="2361" y="1303"/>
                    </a:cubicBezTo>
                    <a:cubicBezTo>
                      <a:pt x="2924" y="1385"/>
                      <a:pt x="2599" y="2206"/>
                      <a:pt x="2135" y="2227"/>
                    </a:cubicBezTo>
                    <a:cubicBezTo>
                      <a:pt x="2125" y="2227"/>
                      <a:pt x="2114" y="2227"/>
                      <a:pt x="2103" y="2227"/>
                    </a:cubicBezTo>
                    <a:cubicBezTo>
                      <a:pt x="1776" y="2227"/>
                      <a:pt x="1500" y="1991"/>
                      <a:pt x="1400" y="1693"/>
                    </a:cubicBezTo>
                    <a:cubicBezTo>
                      <a:pt x="1232" y="1163"/>
                      <a:pt x="1676" y="703"/>
                      <a:pt x="2172" y="564"/>
                    </a:cubicBezTo>
                    <a:cubicBezTo>
                      <a:pt x="2271" y="536"/>
                      <a:pt x="2368" y="522"/>
                      <a:pt x="2464" y="522"/>
                    </a:cubicBezTo>
                    <a:cubicBezTo>
                      <a:pt x="2831" y="522"/>
                      <a:pt x="3165" y="722"/>
                      <a:pt x="3367" y="1061"/>
                    </a:cubicBezTo>
                    <a:cubicBezTo>
                      <a:pt x="3948" y="2045"/>
                      <a:pt x="3029" y="3184"/>
                      <a:pt x="1994" y="3184"/>
                    </a:cubicBezTo>
                    <a:cubicBezTo>
                      <a:pt x="1894" y="3184"/>
                      <a:pt x="1793" y="3173"/>
                      <a:pt x="1692" y="3151"/>
                    </a:cubicBezTo>
                    <a:cubicBezTo>
                      <a:pt x="444" y="2843"/>
                      <a:pt x="152" y="1163"/>
                      <a:pt x="1109" y="379"/>
                    </a:cubicBezTo>
                    <a:cubicBezTo>
                      <a:pt x="1195" y="293"/>
                      <a:pt x="1179" y="174"/>
                      <a:pt x="1076" y="104"/>
                    </a:cubicBezTo>
                    <a:cubicBezTo>
                      <a:pt x="1056" y="93"/>
                      <a:pt x="1036" y="89"/>
                      <a:pt x="1016" y="89"/>
                    </a:cubicBezTo>
                    <a:cubicBezTo>
                      <a:pt x="934" y="89"/>
                      <a:pt x="857" y="164"/>
                      <a:pt x="801" y="206"/>
                    </a:cubicBezTo>
                    <a:cubicBezTo>
                      <a:pt x="514" y="412"/>
                      <a:pt x="308" y="736"/>
                      <a:pt x="206" y="1044"/>
                    </a:cubicBezTo>
                    <a:cubicBezTo>
                      <a:pt x="0" y="1590"/>
                      <a:pt x="66" y="2227"/>
                      <a:pt x="358" y="2740"/>
                    </a:cubicBezTo>
                    <a:cubicBezTo>
                      <a:pt x="725" y="3385"/>
                      <a:pt x="1374" y="3701"/>
                      <a:pt x="2034" y="3701"/>
                    </a:cubicBezTo>
                    <a:cubicBezTo>
                      <a:pt x="2635" y="3701"/>
                      <a:pt x="3244" y="3439"/>
                      <a:pt x="3659" y="2925"/>
                    </a:cubicBezTo>
                    <a:cubicBezTo>
                      <a:pt x="4361" y="2054"/>
                      <a:pt x="4172" y="564"/>
                      <a:pt x="3059" y="104"/>
                    </a:cubicBezTo>
                    <a:cubicBezTo>
                      <a:pt x="2884" y="33"/>
                      <a:pt x="2698" y="0"/>
                      <a:pt x="2511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28" name="Google Shape;428;p24"/>
              <p:cNvSpPr/>
              <p:nvPr/>
            </p:nvSpPr>
            <p:spPr>
              <a:xfrm>
                <a:off x="2058475" y="2613250"/>
                <a:ext cx="106975" cy="101150"/>
              </a:xfrm>
              <a:custGeom>
                <a:avLst/>
                <a:gdLst/>
                <a:ahLst/>
                <a:cxnLst/>
                <a:rect l="l" t="t" r="r" b="b"/>
                <a:pathLst>
                  <a:path w="4279" h="4046" extrusionOk="0">
                    <a:moveTo>
                      <a:pt x="2934" y="843"/>
                    </a:moveTo>
                    <a:cubicBezTo>
                      <a:pt x="2991" y="843"/>
                      <a:pt x="3047" y="853"/>
                      <a:pt x="3100" y="874"/>
                    </a:cubicBezTo>
                    <a:cubicBezTo>
                      <a:pt x="3371" y="997"/>
                      <a:pt x="3474" y="1355"/>
                      <a:pt x="3322" y="1679"/>
                    </a:cubicBezTo>
                    <a:cubicBezTo>
                      <a:pt x="3211" y="1937"/>
                      <a:pt x="2984" y="2088"/>
                      <a:pt x="2767" y="2088"/>
                    </a:cubicBezTo>
                    <a:cubicBezTo>
                      <a:pt x="2711" y="2088"/>
                      <a:pt x="2656" y="2078"/>
                      <a:pt x="2603" y="2057"/>
                    </a:cubicBezTo>
                    <a:cubicBezTo>
                      <a:pt x="2328" y="1938"/>
                      <a:pt x="2226" y="1576"/>
                      <a:pt x="2382" y="1252"/>
                    </a:cubicBezTo>
                    <a:cubicBezTo>
                      <a:pt x="2489" y="994"/>
                      <a:pt x="2716" y="843"/>
                      <a:pt x="2934" y="843"/>
                    </a:cubicBezTo>
                    <a:close/>
                    <a:moveTo>
                      <a:pt x="1295" y="1595"/>
                    </a:moveTo>
                    <a:cubicBezTo>
                      <a:pt x="1369" y="1595"/>
                      <a:pt x="1446" y="1606"/>
                      <a:pt x="1523" y="1630"/>
                    </a:cubicBezTo>
                    <a:cubicBezTo>
                      <a:pt x="1848" y="1749"/>
                      <a:pt x="2053" y="2057"/>
                      <a:pt x="1971" y="2332"/>
                    </a:cubicBezTo>
                    <a:cubicBezTo>
                      <a:pt x="1894" y="2535"/>
                      <a:pt x="1681" y="2664"/>
                      <a:pt x="1442" y="2664"/>
                    </a:cubicBezTo>
                    <a:cubicBezTo>
                      <a:pt x="1363" y="2664"/>
                      <a:pt x="1280" y="2650"/>
                      <a:pt x="1199" y="2619"/>
                    </a:cubicBezTo>
                    <a:cubicBezTo>
                      <a:pt x="858" y="2517"/>
                      <a:pt x="669" y="2209"/>
                      <a:pt x="756" y="1938"/>
                    </a:cubicBezTo>
                    <a:cubicBezTo>
                      <a:pt x="822" y="1725"/>
                      <a:pt x="1042" y="1595"/>
                      <a:pt x="1295" y="1595"/>
                    </a:cubicBezTo>
                    <a:close/>
                    <a:moveTo>
                      <a:pt x="2978" y="2430"/>
                    </a:moveTo>
                    <a:cubicBezTo>
                      <a:pt x="3012" y="2430"/>
                      <a:pt x="3049" y="2475"/>
                      <a:pt x="3063" y="2517"/>
                    </a:cubicBezTo>
                    <a:cubicBezTo>
                      <a:pt x="3080" y="2619"/>
                      <a:pt x="3063" y="2722"/>
                      <a:pt x="3014" y="2825"/>
                    </a:cubicBezTo>
                    <a:cubicBezTo>
                      <a:pt x="2961" y="2981"/>
                      <a:pt x="2842" y="3100"/>
                      <a:pt x="2690" y="3169"/>
                    </a:cubicBezTo>
                    <a:cubicBezTo>
                      <a:pt x="2599" y="3201"/>
                      <a:pt x="2497" y="3219"/>
                      <a:pt x="2394" y="3219"/>
                    </a:cubicBezTo>
                    <a:cubicBezTo>
                      <a:pt x="2338" y="3219"/>
                      <a:pt x="2281" y="3214"/>
                      <a:pt x="2226" y="3202"/>
                    </a:cubicBezTo>
                    <a:cubicBezTo>
                      <a:pt x="2123" y="3169"/>
                      <a:pt x="1868" y="2981"/>
                      <a:pt x="2107" y="2927"/>
                    </a:cubicBezTo>
                    <a:cubicBezTo>
                      <a:pt x="2123" y="2922"/>
                      <a:pt x="2140" y="2920"/>
                      <a:pt x="2158" y="2920"/>
                    </a:cubicBezTo>
                    <a:cubicBezTo>
                      <a:pt x="2193" y="2920"/>
                      <a:pt x="2232" y="2927"/>
                      <a:pt x="2279" y="2927"/>
                    </a:cubicBezTo>
                    <a:cubicBezTo>
                      <a:pt x="2322" y="2936"/>
                      <a:pt x="2367" y="2940"/>
                      <a:pt x="2411" y="2940"/>
                    </a:cubicBezTo>
                    <a:cubicBezTo>
                      <a:pt x="2556" y="2940"/>
                      <a:pt x="2698" y="2892"/>
                      <a:pt x="2792" y="2775"/>
                    </a:cubicBezTo>
                    <a:cubicBezTo>
                      <a:pt x="2858" y="2673"/>
                      <a:pt x="2874" y="2554"/>
                      <a:pt x="2928" y="2467"/>
                    </a:cubicBezTo>
                    <a:cubicBezTo>
                      <a:pt x="2944" y="2451"/>
                      <a:pt x="2944" y="2451"/>
                      <a:pt x="2961" y="2434"/>
                    </a:cubicBezTo>
                    <a:cubicBezTo>
                      <a:pt x="2966" y="2431"/>
                      <a:pt x="2972" y="2430"/>
                      <a:pt x="2978" y="2430"/>
                    </a:cubicBezTo>
                    <a:close/>
                    <a:moveTo>
                      <a:pt x="2125" y="0"/>
                    </a:moveTo>
                    <a:cubicBezTo>
                      <a:pt x="1873" y="0"/>
                      <a:pt x="1617" y="50"/>
                      <a:pt x="1372" y="156"/>
                    </a:cubicBezTo>
                    <a:cubicBezTo>
                      <a:pt x="431" y="587"/>
                      <a:pt x="0" y="1695"/>
                      <a:pt x="431" y="2640"/>
                    </a:cubicBezTo>
                    <a:cubicBezTo>
                      <a:pt x="764" y="3416"/>
                      <a:pt x="1681" y="4046"/>
                      <a:pt x="2499" y="4046"/>
                    </a:cubicBezTo>
                    <a:cubicBezTo>
                      <a:pt x="2690" y="4046"/>
                      <a:pt x="2875" y="4012"/>
                      <a:pt x="3047" y="3937"/>
                    </a:cubicBezTo>
                    <a:cubicBezTo>
                      <a:pt x="3954" y="3527"/>
                      <a:pt x="4279" y="2057"/>
                      <a:pt x="3852" y="1116"/>
                    </a:cubicBezTo>
                    <a:cubicBezTo>
                      <a:pt x="3547" y="418"/>
                      <a:pt x="2854" y="0"/>
                      <a:pt x="2125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29" name="Google Shape;429;p24"/>
              <p:cNvSpPr/>
              <p:nvPr/>
            </p:nvSpPr>
            <p:spPr>
              <a:xfrm>
                <a:off x="2069250" y="2489375"/>
                <a:ext cx="92825" cy="89425"/>
              </a:xfrm>
              <a:custGeom>
                <a:avLst/>
                <a:gdLst/>
                <a:ahLst/>
                <a:cxnLst/>
                <a:rect l="l" t="t" r="r" b="b"/>
                <a:pathLst>
                  <a:path w="3713" h="3577" extrusionOk="0">
                    <a:moveTo>
                      <a:pt x="1477" y="1"/>
                    </a:moveTo>
                    <a:cubicBezTo>
                      <a:pt x="1434" y="1"/>
                      <a:pt x="1391" y="10"/>
                      <a:pt x="1351" y="31"/>
                    </a:cubicBezTo>
                    <a:cubicBezTo>
                      <a:pt x="1232" y="81"/>
                      <a:pt x="1179" y="237"/>
                      <a:pt x="1162" y="356"/>
                    </a:cubicBezTo>
                    <a:cubicBezTo>
                      <a:pt x="1092" y="647"/>
                      <a:pt x="1060" y="922"/>
                      <a:pt x="1043" y="1210"/>
                    </a:cubicBezTo>
                    <a:cubicBezTo>
                      <a:pt x="838" y="1247"/>
                      <a:pt x="616" y="1280"/>
                      <a:pt x="411" y="1296"/>
                    </a:cubicBezTo>
                    <a:cubicBezTo>
                      <a:pt x="325" y="1312"/>
                      <a:pt x="222" y="1333"/>
                      <a:pt x="152" y="1366"/>
                    </a:cubicBezTo>
                    <a:cubicBezTo>
                      <a:pt x="66" y="1399"/>
                      <a:pt x="0" y="1485"/>
                      <a:pt x="0" y="1587"/>
                    </a:cubicBezTo>
                    <a:cubicBezTo>
                      <a:pt x="17" y="1690"/>
                      <a:pt x="119" y="1776"/>
                      <a:pt x="206" y="1826"/>
                    </a:cubicBezTo>
                    <a:cubicBezTo>
                      <a:pt x="477" y="1998"/>
                      <a:pt x="768" y="2154"/>
                      <a:pt x="1043" y="2306"/>
                    </a:cubicBezTo>
                    <a:cubicBezTo>
                      <a:pt x="1060" y="2425"/>
                      <a:pt x="1060" y="2581"/>
                      <a:pt x="1076" y="2717"/>
                    </a:cubicBezTo>
                    <a:cubicBezTo>
                      <a:pt x="1076" y="2975"/>
                      <a:pt x="1092" y="3230"/>
                      <a:pt x="1179" y="3489"/>
                    </a:cubicBezTo>
                    <a:cubicBezTo>
                      <a:pt x="1195" y="3521"/>
                      <a:pt x="1212" y="3554"/>
                      <a:pt x="1248" y="3571"/>
                    </a:cubicBezTo>
                    <a:cubicBezTo>
                      <a:pt x="1255" y="3575"/>
                      <a:pt x="1263" y="3577"/>
                      <a:pt x="1271" y="3577"/>
                    </a:cubicBezTo>
                    <a:cubicBezTo>
                      <a:pt x="1303" y="3577"/>
                      <a:pt x="1345" y="3551"/>
                      <a:pt x="1384" y="3538"/>
                    </a:cubicBezTo>
                    <a:cubicBezTo>
                      <a:pt x="1659" y="3316"/>
                      <a:pt x="1881" y="3041"/>
                      <a:pt x="2086" y="2750"/>
                    </a:cubicBezTo>
                    <a:cubicBezTo>
                      <a:pt x="2222" y="2803"/>
                      <a:pt x="2361" y="2852"/>
                      <a:pt x="2497" y="2906"/>
                    </a:cubicBezTo>
                    <a:cubicBezTo>
                      <a:pt x="2643" y="2958"/>
                      <a:pt x="2937" y="3101"/>
                      <a:pt x="3155" y="3101"/>
                    </a:cubicBezTo>
                    <a:cubicBezTo>
                      <a:pt x="3293" y="3101"/>
                      <a:pt x="3400" y="3044"/>
                      <a:pt x="3421" y="2873"/>
                    </a:cubicBezTo>
                    <a:cubicBezTo>
                      <a:pt x="3437" y="2667"/>
                      <a:pt x="3248" y="2462"/>
                      <a:pt x="3162" y="2290"/>
                    </a:cubicBezTo>
                    <a:cubicBezTo>
                      <a:pt x="3059" y="2117"/>
                      <a:pt x="2957" y="1949"/>
                      <a:pt x="2854" y="1776"/>
                    </a:cubicBezTo>
                    <a:cubicBezTo>
                      <a:pt x="3470" y="1312"/>
                      <a:pt x="3642" y="1091"/>
                      <a:pt x="3675" y="1025"/>
                    </a:cubicBezTo>
                    <a:cubicBezTo>
                      <a:pt x="3712" y="955"/>
                      <a:pt x="3712" y="869"/>
                      <a:pt x="3659" y="820"/>
                    </a:cubicBezTo>
                    <a:cubicBezTo>
                      <a:pt x="3626" y="783"/>
                      <a:pt x="3556" y="766"/>
                      <a:pt x="3507" y="766"/>
                    </a:cubicBezTo>
                    <a:cubicBezTo>
                      <a:pt x="3479" y="765"/>
                      <a:pt x="3451" y="764"/>
                      <a:pt x="3423" y="764"/>
                    </a:cubicBezTo>
                    <a:cubicBezTo>
                      <a:pt x="3173" y="764"/>
                      <a:pt x="2913" y="826"/>
                      <a:pt x="2669" y="885"/>
                    </a:cubicBezTo>
                    <a:cubicBezTo>
                      <a:pt x="2567" y="922"/>
                      <a:pt x="2443" y="939"/>
                      <a:pt x="2324" y="972"/>
                    </a:cubicBezTo>
                    <a:cubicBezTo>
                      <a:pt x="2189" y="750"/>
                      <a:pt x="2033" y="528"/>
                      <a:pt x="1897" y="323"/>
                    </a:cubicBezTo>
                    <a:cubicBezTo>
                      <a:pt x="1827" y="220"/>
                      <a:pt x="1762" y="134"/>
                      <a:pt x="1676" y="64"/>
                    </a:cubicBezTo>
                    <a:cubicBezTo>
                      <a:pt x="1613" y="24"/>
                      <a:pt x="1544" y="1"/>
                      <a:pt x="1477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30" name="Google Shape;430;p24"/>
              <p:cNvSpPr/>
              <p:nvPr/>
            </p:nvSpPr>
            <p:spPr>
              <a:xfrm>
                <a:off x="2095325" y="2497425"/>
                <a:ext cx="283125" cy="251950"/>
              </a:xfrm>
              <a:custGeom>
                <a:avLst/>
                <a:gdLst/>
                <a:ahLst/>
                <a:cxnLst/>
                <a:rect l="l" t="t" r="r" b="b"/>
                <a:pathLst>
                  <a:path w="11325" h="10078" extrusionOk="0">
                    <a:moveTo>
                      <a:pt x="8483" y="1"/>
                    </a:moveTo>
                    <a:lnTo>
                      <a:pt x="0" y="10077"/>
                    </a:lnTo>
                    <a:lnTo>
                      <a:pt x="11325" y="10077"/>
                    </a:lnTo>
                    <a:lnTo>
                      <a:pt x="9342" y="223"/>
                    </a:lnTo>
                    <a:lnTo>
                      <a:pt x="848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31" name="Google Shape;431;p24"/>
              <p:cNvSpPr/>
              <p:nvPr/>
            </p:nvSpPr>
            <p:spPr>
              <a:xfrm>
                <a:off x="2119225" y="2519600"/>
                <a:ext cx="240450" cy="229775"/>
              </a:xfrm>
              <a:custGeom>
                <a:avLst/>
                <a:gdLst/>
                <a:ahLst/>
                <a:cxnLst/>
                <a:rect l="l" t="t" r="r" b="b"/>
                <a:pathLst>
                  <a:path w="9618" h="9191" extrusionOk="0">
                    <a:moveTo>
                      <a:pt x="7770" y="1"/>
                    </a:moveTo>
                    <a:lnTo>
                      <a:pt x="1" y="9190"/>
                    </a:lnTo>
                    <a:lnTo>
                      <a:pt x="9617" y="9190"/>
                    </a:lnTo>
                    <a:lnTo>
                      <a:pt x="7770" y="1"/>
                    </a:ln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32" name="Google Shape;432;p24"/>
              <p:cNvSpPr/>
              <p:nvPr/>
            </p:nvSpPr>
            <p:spPr>
              <a:xfrm>
                <a:off x="2270650" y="2508100"/>
                <a:ext cx="86050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3442" h="1801" extrusionOk="0">
                    <a:moveTo>
                      <a:pt x="0" y="1"/>
                    </a:moveTo>
                    <a:lnTo>
                      <a:pt x="17" y="941"/>
                    </a:lnTo>
                    <a:cubicBezTo>
                      <a:pt x="17" y="1044"/>
                      <a:pt x="70" y="1114"/>
                      <a:pt x="156" y="1130"/>
                    </a:cubicBezTo>
                    <a:lnTo>
                      <a:pt x="2739" y="1795"/>
                    </a:lnTo>
                    <a:cubicBezTo>
                      <a:pt x="2755" y="1799"/>
                      <a:pt x="2770" y="1801"/>
                      <a:pt x="2786" y="1801"/>
                    </a:cubicBezTo>
                    <a:cubicBezTo>
                      <a:pt x="2854" y="1801"/>
                      <a:pt x="2917" y="1763"/>
                      <a:pt x="2961" y="1693"/>
                    </a:cubicBezTo>
                    <a:lnTo>
                      <a:pt x="3441" y="87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33" name="Google Shape;433;p24"/>
              <p:cNvSpPr/>
              <p:nvPr/>
            </p:nvSpPr>
            <p:spPr>
              <a:xfrm>
                <a:off x="2290775" y="2514050"/>
                <a:ext cx="42300" cy="34400"/>
              </a:xfrm>
              <a:custGeom>
                <a:avLst/>
                <a:gdLst/>
                <a:ahLst/>
                <a:cxnLst/>
                <a:rect l="l" t="t" r="r" b="b"/>
                <a:pathLst>
                  <a:path w="1692" h="1376" extrusionOk="0">
                    <a:moveTo>
                      <a:pt x="136" y="1"/>
                    </a:moveTo>
                    <a:lnTo>
                      <a:pt x="17" y="908"/>
                    </a:lnTo>
                    <a:cubicBezTo>
                      <a:pt x="0" y="995"/>
                      <a:pt x="17" y="1064"/>
                      <a:pt x="70" y="1081"/>
                    </a:cubicBezTo>
                    <a:lnTo>
                      <a:pt x="1232" y="1372"/>
                    </a:lnTo>
                    <a:cubicBezTo>
                      <a:pt x="1236" y="1374"/>
                      <a:pt x="1240" y="1375"/>
                      <a:pt x="1245" y="1375"/>
                    </a:cubicBezTo>
                    <a:cubicBezTo>
                      <a:pt x="1278" y="1375"/>
                      <a:pt x="1322" y="1325"/>
                      <a:pt x="1351" y="1249"/>
                    </a:cubicBezTo>
                    <a:lnTo>
                      <a:pt x="1692" y="395"/>
                    </a:lnTo>
                    <a:lnTo>
                      <a:pt x="136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34" name="Google Shape;434;p24"/>
              <p:cNvSpPr/>
              <p:nvPr/>
            </p:nvSpPr>
            <p:spPr>
              <a:xfrm>
                <a:off x="2268900" y="2506375"/>
                <a:ext cx="89025" cy="48375"/>
              </a:xfrm>
              <a:custGeom>
                <a:avLst/>
                <a:gdLst/>
                <a:ahLst/>
                <a:cxnLst/>
                <a:rect l="l" t="t" r="r" b="b"/>
                <a:pathLst>
                  <a:path w="3561" h="1935" extrusionOk="0">
                    <a:moveTo>
                      <a:pt x="124" y="140"/>
                    </a:moveTo>
                    <a:lnTo>
                      <a:pt x="3409" y="977"/>
                    </a:lnTo>
                    <a:lnTo>
                      <a:pt x="2978" y="1745"/>
                    </a:lnTo>
                    <a:cubicBezTo>
                      <a:pt x="2953" y="1785"/>
                      <a:pt x="2907" y="1805"/>
                      <a:pt x="2865" y="1805"/>
                    </a:cubicBezTo>
                    <a:cubicBezTo>
                      <a:pt x="2851" y="1805"/>
                      <a:pt x="2838" y="1803"/>
                      <a:pt x="2826" y="1799"/>
                    </a:cubicBezTo>
                    <a:lnTo>
                      <a:pt x="243" y="1146"/>
                    </a:lnTo>
                    <a:cubicBezTo>
                      <a:pt x="190" y="1129"/>
                      <a:pt x="140" y="1080"/>
                      <a:pt x="140" y="1010"/>
                    </a:cubicBezTo>
                    <a:lnTo>
                      <a:pt x="124" y="140"/>
                    </a:lnTo>
                    <a:close/>
                    <a:moveTo>
                      <a:pt x="70" y="0"/>
                    </a:moveTo>
                    <a:cubicBezTo>
                      <a:pt x="54" y="0"/>
                      <a:pt x="38" y="0"/>
                      <a:pt x="21" y="16"/>
                    </a:cubicBezTo>
                    <a:cubicBezTo>
                      <a:pt x="21" y="16"/>
                      <a:pt x="1" y="53"/>
                      <a:pt x="1" y="70"/>
                    </a:cubicBezTo>
                    <a:lnTo>
                      <a:pt x="21" y="1010"/>
                    </a:lnTo>
                    <a:cubicBezTo>
                      <a:pt x="21" y="1129"/>
                      <a:pt x="103" y="1232"/>
                      <a:pt x="226" y="1269"/>
                    </a:cubicBezTo>
                    <a:lnTo>
                      <a:pt x="2793" y="1918"/>
                    </a:lnTo>
                    <a:cubicBezTo>
                      <a:pt x="2809" y="1918"/>
                      <a:pt x="2826" y="1934"/>
                      <a:pt x="2859" y="1934"/>
                    </a:cubicBezTo>
                    <a:cubicBezTo>
                      <a:pt x="2945" y="1934"/>
                      <a:pt x="3031" y="1885"/>
                      <a:pt x="3080" y="1799"/>
                    </a:cubicBezTo>
                    <a:lnTo>
                      <a:pt x="3561" y="977"/>
                    </a:lnTo>
                    <a:lnTo>
                      <a:pt x="3561" y="924"/>
                    </a:lnTo>
                    <a:cubicBezTo>
                      <a:pt x="3544" y="907"/>
                      <a:pt x="3528" y="891"/>
                      <a:pt x="3511" y="891"/>
                    </a:cubicBezTo>
                    <a:lnTo>
                      <a:pt x="70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35" name="Google Shape;435;p24"/>
              <p:cNvSpPr/>
              <p:nvPr/>
            </p:nvSpPr>
            <p:spPr>
              <a:xfrm>
                <a:off x="2212950" y="2457150"/>
                <a:ext cx="208725" cy="86375"/>
              </a:xfrm>
              <a:custGeom>
                <a:avLst/>
                <a:gdLst/>
                <a:ahLst/>
                <a:cxnLst/>
                <a:rect l="l" t="t" r="r" b="b"/>
                <a:pathLst>
                  <a:path w="8349" h="3455" extrusionOk="0">
                    <a:moveTo>
                      <a:pt x="2136" y="1"/>
                    </a:moveTo>
                    <a:cubicBezTo>
                      <a:pt x="2091" y="1"/>
                      <a:pt x="2045" y="1"/>
                      <a:pt x="2001" y="2"/>
                    </a:cubicBezTo>
                    <a:cubicBezTo>
                      <a:pt x="1007" y="19"/>
                      <a:pt x="309" y="261"/>
                      <a:pt x="186" y="704"/>
                    </a:cubicBezTo>
                    <a:cubicBezTo>
                      <a:pt x="1" y="1456"/>
                      <a:pt x="1643" y="2552"/>
                      <a:pt x="3848" y="3115"/>
                    </a:cubicBezTo>
                    <a:cubicBezTo>
                      <a:pt x="4749" y="3344"/>
                      <a:pt x="5607" y="3455"/>
                      <a:pt x="6322" y="3455"/>
                    </a:cubicBezTo>
                    <a:cubicBezTo>
                      <a:pt x="7374" y="3455"/>
                      <a:pt x="8117" y="3215"/>
                      <a:pt x="8230" y="2757"/>
                    </a:cubicBezTo>
                    <a:cubicBezTo>
                      <a:pt x="8349" y="2314"/>
                      <a:pt x="7852" y="1764"/>
                      <a:pt x="6981" y="1287"/>
                    </a:cubicBezTo>
                    <a:cubicBezTo>
                      <a:pt x="6345" y="910"/>
                      <a:pt x="5507" y="585"/>
                      <a:pt x="4567" y="343"/>
                    </a:cubicBezTo>
                    <a:cubicBezTo>
                      <a:pt x="3684" y="119"/>
                      <a:pt x="2844" y="1"/>
                      <a:pt x="2136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36" name="Google Shape;436;p24"/>
              <p:cNvSpPr/>
              <p:nvPr/>
            </p:nvSpPr>
            <p:spPr>
              <a:xfrm>
                <a:off x="2257400" y="2457150"/>
                <a:ext cx="13010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204" h="2204" extrusionOk="0">
                    <a:moveTo>
                      <a:pt x="358" y="1"/>
                    </a:moveTo>
                    <a:cubicBezTo>
                      <a:pt x="313" y="1"/>
                      <a:pt x="267" y="1"/>
                      <a:pt x="223" y="2"/>
                    </a:cubicBezTo>
                    <a:cubicBezTo>
                      <a:pt x="206" y="35"/>
                      <a:pt x="190" y="56"/>
                      <a:pt x="173" y="88"/>
                    </a:cubicBezTo>
                    <a:cubicBezTo>
                      <a:pt x="1" y="380"/>
                      <a:pt x="50" y="754"/>
                      <a:pt x="309" y="979"/>
                    </a:cubicBezTo>
                    <a:cubicBezTo>
                      <a:pt x="617" y="1287"/>
                      <a:pt x="1233" y="1698"/>
                      <a:pt x="2362" y="2006"/>
                    </a:cubicBezTo>
                    <a:cubicBezTo>
                      <a:pt x="2950" y="2154"/>
                      <a:pt x="3430" y="2204"/>
                      <a:pt x="3813" y="2204"/>
                    </a:cubicBezTo>
                    <a:cubicBezTo>
                      <a:pt x="4177" y="2204"/>
                      <a:pt x="4453" y="2159"/>
                      <a:pt x="4653" y="2109"/>
                    </a:cubicBezTo>
                    <a:cubicBezTo>
                      <a:pt x="4977" y="2022"/>
                      <a:pt x="5203" y="1714"/>
                      <a:pt x="5203" y="1390"/>
                    </a:cubicBezTo>
                    <a:lnTo>
                      <a:pt x="5203" y="1287"/>
                    </a:lnTo>
                    <a:cubicBezTo>
                      <a:pt x="4567" y="910"/>
                      <a:pt x="3729" y="585"/>
                      <a:pt x="2789" y="343"/>
                    </a:cubicBezTo>
                    <a:cubicBezTo>
                      <a:pt x="1906" y="119"/>
                      <a:pt x="1066" y="1"/>
                      <a:pt x="358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37" name="Google Shape;437;p24"/>
              <p:cNvSpPr/>
              <p:nvPr/>
            </p:nvSpPr>
            <p:spPr>
              <a:xfrm>
                <a:off x="2211225" y="2455475"/>
                <a:ext cx="211675" cy="89400"/>
              </a:xfrm>
              <a:custGeom>
                <a:avLst/>
                <a:gdLst/>
                <a:ahLst/>
                <a:cxnLst/>
                <a:rect l="l" t="t" r="r" b="b"/>
                <a:pathLst>
                  <a:path w="8467" h="3576" extrusionOk="0">
                    <a:moveTo>
                      <a:pt x="2189" y="123"/>
                    </a:moveTo>
                    <a:cubicBezTo>
                      <a:pt x="2891" y="123"/>
                      <a:pt x="3745" y="242"/>
                      <a:pt x="4619" y="463"/>
                    </a:cubicBezTo>
                    <a:cubicBezTo>
                      <a:pt x="5695" y="739"/>
                      <a:pt x="6656" y="1129"/>
                      <a:pt x="7338" y="1593"/>
                    </a:cubicBezTo>
                    <a:cubicBezTo>
                      <a:pt x="8007" y="2020"/>
                      <a:pt x="8331" y="2463"/>
                      <a:pt x="8245" y="2808"/>
                    </a:cubicBezTo>
                    <a:cubicBezTo>
                      <a:pt x="8245" y="2824"/>
                      <a:pt x="8245" y="2824"/>
                      <a:pt x="8229" y="2824"/>
                    </a:cubicBezTo>
                    <a:cubicBezTo>
                      <a:pt x="8155" y="3024"/>
                      <a:pt x="7671" y="3138"/>
                      <a:pt x="6946" y="3138"/>
                    </a:cubicBezTo>
                    <a:cubicBezTo>
                      <a:pt x="6180" y="3138"/>
                      <a:pt x="5144" y="3011"/>
                      <a:pt x="4036" y="2722"/>
                    </a:cubicBezTo>
                    <a:cubicBezTo>
                      <a:pt x="1848" y="2176"/>
                      <a:pt x="205" y="1198"/>
                      <a:pt x="324" y="771"/>
                    </a:cubicBezTo>
                    <a:cubicBezTo>
                      <a:pt x="427" y="361"/>
                      <a:pt x="1162" y="123"/>
                      <a:pt x="2189" y="123"/>
                    </a:cubicBezTo>
                    <a:close/>
                    <a:moveTo>
                      <a:pt x="378" y="1182"/>
                    </a:moveTo>
                    <a:lnTo>
                      <a:pt x="378" y="1182"/>
                    </a:lnTo>
                    <a:cubicBezTo>
                      <a:pt x="871" y="1728"/>
                      <a:pt x="2328" y="2414"/>
                      <a:pt x="4003" y="2841"/>
                    </a:cubicBezTo>
                    <a:cubicBezTo>
                      <a:pt x="5100" y="3116"/>
                      <a:pt x="6143" y="3251"/>
                      <a:pt x="6927" y="3268"/>
                    </a:cubicBezTo>
                    <a:cubicBezTo>
                      <a:pt x="7375" y="3268"/>
                      <a:pt x="7732" y="3219"/>
                      <a:pt x="7991" y="3132"/>
                    </a:cubicBezTo>
                    <a:lnTo>
                      <a:pt x="7991" y="3132"/>
                    </a:lnTo>
                    <a:cubicBezTo>
                      <a:pt x="7748" y="3305"/>
                      <a:pt x="7375" y="3407"/>
                      <a:pt x="6861" y="3440"/>
                    </a:cubicBezTo>
                    <a:cubicBezTo>
                      <a:pt x="6695" y="3454"/>
                      <a:pt x="6521" y="3462"/>
                      <a:pt x="6339" y="3462"/>
                    </a:cubicBezTo>
                    <a:cubicBezTo>
                      <a:pt x="5622" y="3462"/>
                      <a:pt x="4795" y="3352"/>
                      <a:pt x="3934" y="3132"/>
                    </a:cubicBezTo>
                    <a:cubicBezTo>
                      <a:pt x="2156" y="2668"/>
                      <a:pt x="719" y="1847"/>
                      <a:pt x="378" y="1182"/>
                    </a:cubicBezTo>
                    <a:close/>
                    <a:moveTo>
                      <a:pt x="2172" y="0"/>
                    </a:moveTo>
                    <a:cubicBezTo>
                      <a:pt x="1087" y="0"/>
                      <a:pt x="329" y="260"/>
                      <a:pt x="205" y="755"/>
                    </a:cubicBezTo>
                    <a:cubicBezTo>
                      <a:pt x="0" y="1560"/>
                      <a:pt x="1626" y="2652"/>
                      <a:pt x="3917" y="3235"/>
                    </a:cubicBezTo>
                    <a:cubicBezTo>
                      <a:pt x="4792" y="3457"/>
                      <a:pt x="5646" y="3576"/>
                      <a:pt x="6381" y="3576"/>
                    </a:cubicBezTo>
                    <a:cubicBezTo>
                      <a:pt x="6553" y="3576"/>
                      <a:pt x="6722" y="3576"/>
                      <a:pt x="6878" y="3559"/>
                    </a:cubicBezTo>
                    <a:cubicBezTo>
                      <a:pt x="7715" y="3490"/>
                      <a:pt x="8229" y="3251"/>
                      <a:pt x="8348" y="2874"/>
                    </a:cubicBezTo>
                    <a:cubicBezTo>
                      <a:pt x="8348" y="2857"/>
                      <a:pt x="8348" y="2857"/>
                      <a:pt x="8364" y="2841"/>
                    </a:cubicBezTo>
                    <a:cubicBezTo>
                      <a:pt x="8467" y="2447"/>
                      <a:pt x="8126" y="1970"/>
                      <a:pt x="7407" y="1490"/>
                    </a:cubicBezTo>
                    <a:cubicBezTo>
                      <a:pt x="6705" y="1026"/>
                      <a:pt x="5732" y="615"/>
                      <a:pt x="4652" y="344"/>
                    </a:cubicBezTo>
                    <a:cubicBezTo>
                      <a:pt x="3743" y="113"/>
                      <a:pt x="2887" y="0"/>
                      <a:pt x="217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38" name="Google Shape;438;p24"/>
              <p:cNvSpPr/>
              <p:nvPr/>
            </p:nvSpPr>
            <p:spPr>
              <a:xfrm>
                <a:off x="2265100" y="2440050"/>
                <a:ext cx="115525" cy="65225"/>
              </a:xfrm>
              <a:custGeom>
                <a:avLst/>
                <a:gdLst/>
                <a:ahLst/>
                <a:cxnLst/>
                <a:rect l="l" t="t" r="r" b="b"/>
                <a:pathLst>
                  <a:path w="4621" h="2609" extrusionOk="0">
                    <a:moveTo>
                      <a:pt x="1918" y="0"/>
                    </a:moveTo>
                    <a:cubicBezTo>
                      <a:pt x="1573" y="0"/>
                      <a:pt x="1233" y="70"/>
                      <a:pt x="957" y="189"/>
                    </a:cubicBezTo>
                    <a:cubicBezTo>
                      <a:pt x="584" y="345"/>
                      <a:pt x="276" y="584"/>
                      <a:pt x="103" y="908"/>
                    </a:cubicBezTo>
                    <a:cubicBezTo>
                      <a:pt x="1" y="1097"/>
                      <a:pt x="34" y="1319"/>
                      <a:pt x="190" y="1475"/>
                    </a:cubicBezTo>
                    <a:cubicBezTo>
                      <a:pt x="444" y="1729"/>
                      <a:pt x="1027" y="2123"/>
                      <a:pt x="2124" y="2415"/>
                    </a:cubicBezTo>
                    <a:cubicBezTo>
                      <a:pt x="2702" y="2559"/>
                      <a:pt x="3166" y="2608"/>
                      <a:pt x="3528" y="2608"/>
                    </a:cubicBezTo>
                    <a:cubicBezTo>
                      <a:pt x="3860" y="2608"/>
                      <a:pt x="4107" y="2567"/>
                      <a:pt x="4279" y="2518"/>
                    </a:cubicBezTo>
                    <a:cubicBezTo>
                      <a:pt x="4485" y="2464"/>
                      <a:pt x="4620" y="2279"/>
                      <a:pt x="4620" y="2074"/>
                    </a:cubicBezTo>
                    <a:cubicBezTo>
                      <a:pt x="4620" y="1232"/>
                      <a:pt x="3832" y="395"/>
                      <a:pt x="2719" y="103"/>
                    </a:cubicBezTo>
                    <a:cubicBezTo>
                      <a:pt x="2448" y="37"/>
                      <a:pt x="2173" y="0"/>
                      <a:pt x="1918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39" name="Google Shape;439;p24"/>
              <p:cNvSpPr/>
              <p:nvPr/>
            </p:nvSpPr>
            <p:spPr>
              <a:xfrm>
                <a:off x="2289425" y="2450950"/>
                <a:ext cx="45825" cy="32025"/>
              </a:xfrm>
              <a:custGeom>
                <a:avLst/>
                <a:gdLst/>
                <a:ahLst/>
                <a:cxnLst/>
                <a:rect l="l" t="t" r="r" b="b"/>
                <a:pathLst>
                  <a:path w="1833" h="1281" extrusionOk="0">
                    <a:moveTo>
                      <a:pt x="1395" y="0"/>
                    </a:moveTo>
                    <a:cubicBezTo>
                      <a:pt x="1108" y="0"/>
                      <a:pt x="750" y="171"/>
                      <a:pt x="568" y="267"/>
                    </a:cubicBezTo>
                    <a:cubicBezTo>
                      <a:pt x="362" y="353"/>
                      <a:pt x="173" y="488"/>
                      <a:pt x="54" y="677"/>
                    </a:cubicBezTo>
                    <a:cubicBezTo>
                      <a:pt x="38" y="731"/>
                      <a:pt x="1" y="796"/>
                      <a:pt x="1" y="866"/>
                    </a:cubicBezTo>
                    <a:cubicBezTo>
                      <a:pt x="1" y="1022"/>
                      <a:pt x="124" y="1174"/>
                      <a:pt x="276" y="1244"/>
                    </a:cubicBezTo>
                    <a:cubicBezTo>
                      <a:pt x="354" y="1269"/>
                      <a:pt x="439" y="1281"/>
                      <a:pt x="524" y="1281"/>
                    </a:cubicBezTo>
                    <a:cubicBezTo>
                      <a:pt x="610" y="1281"/>
                      <a:pt x="695" y="1269"/>
                      <a:pt x="773" y="1244"/>
                    </a:cubicBezTo>
                    <a:cubicBezTo>
                      <a:pt x="1027" y="1191"/>
                      <a:pt x="1270" y="1088"/>
                      <a:pt x="1475" y="936"/>
                    </a:cubicBezTo>
                    <a:cubicBezTo>
                      <a:pt x="1578" y="850"/>
                      <a:pt x="1680" y="747"/>
                      <a:pt x="1746" y="628"/>
                    </a:cubicBezTo>
                    <a:cubicBezTo>
                      <a:pt x="1816" y="509"/>
                      <a:pt x="1832" y="369"/>
                      <a:pt x="1783" y="234"/>
                    </a:cubicBezTo>
                    <a:cubicBezTo>
                      <a:pt x="1713" y="61"/>
                      <a:pt x="1566" y="0"/>
                      <a:pt x="1395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40" name="Google Shape;440;p24"/>
              <p:cNvSpPr/>
              <p:nvPr/>
            </p:nvSpPr>
            <p:spPr>
              <a:xfrm>
                <a:off x="2289025" y="2440050"/>
                <a:ext cx="24050" cy="11500"/>
              </a:xfrm>
              <a:custGeom>
                <a:avLst/>
                <a:gdLst/>
                <a:ahLst/>
                <a:cxnLst/>
                <a:rect l="l" t="t" r="r" b="b"/>
                <a:pathLst>
                  <a:path w="962" h="460" extrusionOk="0">
                    <a:moveTo>
                      <a:pt x="961" y="0"/>
                    </a:moveTo>
                    <a:cubicBezTo>
                      <a:pt x="616" y="0"/>
                      <a:pt x="276" y="70"/>
                      <a:pt x="0" y="189"/>
                    </a:cubicBezTo>
                    <a:cubicBezTo>
                      <a:pt x="88" y="379"/>
                      <a:pt x="256" y="459"/>
                      <a:pt x="428" y="459"/>
                    </a:cubicBezTo>
                    <a:cubicBezTo>
                      <a:pt x="691" y="459"/>
                      <a:pt x="961" y="271"/>
                      <a:pt x="961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41" name="Google Shape;441;p24"/>
              <p:cNvSpPr/>
              <p:nvPr/>
            </p:nvSpPr>
            <p:spPr>
              <a:xfrm>
                <a:off x="2263350" y="2438625"/>
                <a:ext cx="119000" cy="68175"/>
              </a:xfrm>
              <a:custGeom>
                <a:avLst/>
                <a:gdLst/>
                <a:ahLst/>
                <a:cxnLst/>
                <a:rect l="l" t="t" r="r" b="b"/>
                <a:pathLst>
                  <a:path w="4760" h="2727" extrusionOk="0">
                    <a:moveTo>
                      <a:pt x="2021" y="111"/>
                    </a:moveTo>
                    <a:cubicBezTo>
                      <a:pt x="2259" y="111"/>
                      <a:pt x="2518" y="144"/>
                      <a:pt x="2773" y="214"/>
                    </a:cubicBezTo>
                    <a:cubicBezTo>
                      <a:pt x="3852" y="489"/>
                      <a:pt x="4637" y="1289"/>
                      <a:pt x="4637" y="2131"/>
                    </a:cubicBezTo>
                    <a:cubicBezTo>
                      <a:pt x="4637" y="2316"/>
                      <a:pt x="4518" y="2472"/>
                      <a:pt x="4329" y="2521"/>
                    </a:cubicBezTo>
                    <a:cubicBezTo>
                      <a:pt x="4159" y="2568"/>
                      <a:pt x="3924" y="2604"/>
                      <a:pt x="3619" y="2604"/>
                    </a:cubicBezTo>
                    <a:cubicBezTo>
                      <a:pt x="3254" y="2604"/>
                      <a:pt x="2787" y="2552"/>
                      <a:pt x="2210" y="2402"/>
                    </a:cubicBezTo>
                    <a:cubicBezTo>
                      <a:pt x="1147" y="2131"/>
                      <a:pt x="584" y="1753"/>
                      <a:pt x="292" y="1478"/>
                    </a:cubicBezTo>
                    <a:cubicBezTo>
                      <a:pt x="157" y="1359"/>
                      <a:pt x="141" y="1154"/>
                      <a:pt x="223" y="1002"/>
                    </a:cubicBezTo>
                    <a:cubicBezTo>
                      <a:pt x="531" y="435"/>
                      <a:pt x="1216" y="111"/>
                      <a:pt x="2021" y="111"/>
                    </a:cubicBezTo>
                    <a:close/>
                    <a:moveTo>
                      <a:pt x="2034" y="0"/>
                    </a:moveTo>
                    <a:cubicBezTo>
                      <a:pt x="1195" y="0"/>
                      <a:pt x="451" y="339"/>
                      <a:pt x="120" y="932"/>
                    </a:cubicBezTo>
                    <a:cubicBezTo>
                      <a:pt x="1" y="1137"/>
                      <a:pt x="38" y="1413"/>
                      <a:pt x="206" y="1564"/>
                    </a:cubicBezTo>
                    <a:cubicBezTo>
                      <a:pt x="514" y="1856"/>
                      <a:pt x="1081" y="2250"/>
                      <a:pt x="2173" y="2521"/>
                    </a:cubicBezTo>
                    <a:cubicBezTo>
                      <a:pt x="2756" y="2677"/>
                      <a:pt x="3220" y="2726"/>
                      <a:pt x="3594" y="2726"/>
                    </a:cubicBezTo>
                    <a:cubicBezTo>
                      <a:pt x="3918" y="2726"/>
                      <a:pt x="4177" y="2677"/>
                      <a:pt x="4366" y="2624"/>
                    </a:cubicBezTo>
                    <a:cubicBezTo>
                      <a:pt x="4587" y="2575"/>
                      <a:pt x="4760" y="2369"/>
                      <a:pt x="4760" y="2131"/>
                    </a:cubicBezTo>
                    <a:cubicBezTo>
                      <a:pt x="4760" y="1240"/>
                      <a:pt x="3939" y="386"/>
                      <a:pt x="2810" y="94"/>
                    </a:cubicBezTo>
                    <a:cubicBezTo>
                      <a:pt x="2548" y="31"/>
                      <a:pt x="2287" y="0"/>
                      <a:pt x="203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42" name="Google Shape;442;p24"/>
              <p:cNvSpPr/>
              <p:nvPr/>
            </p:nvSpPr>
            <p:spPr>
              <a:xfrm>
                <a:off x="2274950" y="2449050"/>
                <a:ext cx="57325" cy="20175"/>
              </a:xfrm>
              <a:custGeom>
                <a:avLst/>
                <a:gdLst/>
                <a:ahLst/>
                <a:cxnLst/>
                <a:rect l="l" t="t" r="r" b="b"/>
                <a:pathLst>
                  <a:path w="2293" h="807" extrusionOk="0">
                    <a:moveTo>
                      <a:pt x="1555" y="0"/>
                    </a:moveTo>
                    <a:cubicBezTo>
                      <a:pt x="867" y="0"/>
                      <a:pt x="262" y="268"/>
                      <a:pt x="17" y="720"/>
                    </a:cubicBezTo>
                    <a:cubicBezTo>
                      <a:pt x="1" y="753"/>
                      <a:pt x="17" y="790"/>
                      <a:pt x="34" y="807"/>
                    </a:cubicBezTo>
                    <a:lnTo>
                      <a:pt x="67" y="807"/>
                    </a:lnTo>
                    <a:cubicBezTo>
                      <a:pt x="87" y="807"/>
                      <a:pt x="104" y="790"/>
                      <a:pt x="120" y="770"/>
                    </a:cubicBezTo>
                    <a:cubicBezTo>
                      <a:pt x="349" y="363"/>
                      <a:pt x="903" y="118"/>
                      <a:pt x="1537" y="118"/>
                    </a:cubicBezTo>
                    <a:cubicBezTo>
                      <a:pt x="1753" y="118"/>
                      <a:pt x="1980" y="146"/>
                      <a:pt x="2206" y="207"/>
                    </a:cubicBezTo>
                    <a:cubicBezTo>
                      <a:pt x="2243" y="207"/>
                      <a:pt x="2276" y="191"/>
                      <a:pt x="2276" y="154"/>
                    </a:cubicBezTo>
                    <a:cubicBezTo>
                      <a:pt x="2292" y="121"/>
                      <a:pt x="2259" y="88"/>
                      <a:pt x="2243" y="88"/>
                    </a:cubicBezTo>
                    <a:cubicBezTo>
                      <a:pt x="2011" y="29"/>
                      <a:pt x="1779" y="0"/>
                      <a:pt x="155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43" name="Google Shape;443;p24"/>
              <p:cNvSpPr/>
              <p:nvPr/>
            </p:nvSpPr>
            <p:spPr>
              <a:xfrm>
                <a:off x="2237700" y="2468000"/>
                <a:ext cx="13775" cy="12900"/>
              </a:xfrm>
              <a:custGeom>
                <a:avLst/>
                <a:gdLst/>
                <a:ahLst/>
                <a:cxnLst/>
                <a:rect l="l" t="t" r="r" b="b"/>
                <a:pathLst>
                  <a:path w="551" h="516" extrusionOk="0">
                    <a:moveTo>
                      <a:pt x="230" y="0"/>
                    </a:moveTo>
                    <a:cubicBezTo>
                      <a:pt x="182" y="0"/>
                      <a:pt x="136" y="16"/>
                      <a:pt x="103" y="49"/>
                    </a:cubicBezTo>
                    <a:cubicBezTo>
                      <a:pt x="0" y="114"/>
                      <a:pt x="0" y="287"/>
                      <a:pt x="103" y="406"/>
                    </a:cubicBezTo>
                    <a:cubicBezTo>
                      <a:pt x="157" y="480"/>
                      <a:pt x="237" y="516"/>
                      <a:pt x="315" y="516"/>
                    </a:cubicBezTo>
                    <a:cubicBezTo>
                      <a:pt x="362" y="516"/>
                      <a:pt x="409" y="502"/>
                      <a:pt x="448" y="476"/>
                    </a:cubicBezTo>
                    <a:cubicBezTo>
                      <a:pt x="551" y="389"/>
                      <a:pt x="551" y="238"/>
                      <a:pt x="448" y="114"/>
                    </a:cubicBezTo>
                    <a:cubicBezTo>
                      <a:pt x="395" y="41"/>
                      <a:pt x="309" y="0"/>
                      <a:pt x="230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44" name="Google Shape;444;p24"/>
              <p:cNvSpPr/>
              <p:nvPr/>
            </p:nvSpPr>
            <p:spPr>
              <a:xfrm>
                <a:off x="2241200" y="2470825"/>
                <a:ext cx="5150" cy="5075"/>
              </a:xfrm>
              <a:custGeom>
                <a:avLst/>
                <a:gdLst/>
                <a:ahLst/>
                <a:cxnLst/>
                <a:rect l="l" t="t" r="r" b="b"/>
                <a:pathLst>
                  <a:path w="206" h="203" extrusionOk="0">
                    <a:moveTo>
                      <a:pt x="103" y="0"/>
                    </a:moveTo>
                    <a:cubicBezTo>
                      <a:pt x="59" y="0"/>
                      <a:pt x="12" y="41"/>
                      <a:pt x="0" y="88"/>
                    </a:cubicBezTo>
                    <a:cubicBezTo>
                      <a:pt x="0" y="125"/>
                      <a:pt x="0" y="157"/>
                      <a:pt x="33" y="174"/>
                    </a:cubicBezTo>
                    <a:cubicBezTo>
                      <a:pt x="49" y="190"/>
                      <a:pt x="66" y="190"/>
                      <a:pt x="66" y="190"/>
                    </a:cubicBezTo>
                    <a:cubicBezTo>
                      <a:pt x="84" y="198"/>
                      <a:pt x="102" y="203"/>
                      <a:pt x="117" y="203"/>
                    </a:cubicBezTo>
                    <a:cubicBezTo>
                      <a:pt x="131" y="203"/>
                      <a:pt x="144" y="198"/>
                      <a:pt x="152" y="190"/>
                    </a:cubicBezTo>
                    <a:cubicBezTo>
                      <a:pt x="185" y="174"/>
                      <a:pt x="185" y="141"/>
                      <a:pt x="185" y="125"/>
                    </a:cubicBezTo>
                    <a:cubicBezTo>
                      <a:pt x="205" y="88"/>
                      <a:pt x="185" y="55"/>
                      <a:pt x="152" y="22"/>
                    </a:cubicBezTo>
                    <a:cubicBezTo>
                      <a:pt x="138" y="7"/>
                      <a:pt x="121" y="0"/>
                      <a:pt x="103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45" name="Google Shape;445;p24"/>
              <p:cNvSpPr/>
              <p:nvPr/>
            </p:nvSpPr>
            <p:spPr>
              <a:xfrm>
                <a:off x="2236050" y="2466475"/>
                <a:ext cx="16250" cy="160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640" extrusionOk="0">
                    <a:moveTo>
                      <a:pt x="325" y="126"/>
                    </a:moveTo>
                    <a:cubicBezTo>
                      <a:pt x="374" y="142"/>
                      <a:pt x="428" y="175"/>
                      <a:pt x="461" y="212"/>
                    </a:cubicBezTo>
                    <a:cubicBezTo>
                      <a:pt x="514" y="262"/>
                      <a:pt x="530" y="315"/>
                      <a:pt x="530" y="381"/>
                    </a:cubicBezTo>
                    <a:cubicBezTo>
                      <a:pt x="530" y="418"/>
                      <a:pt x="514" y="467"/>
                      <a:pt x="477" y="483"/>
                    </a:cubicBezTo>
                    <a:cubicBezTo>
                      <a:pt x="453" y="508"/>
                      <a:pt x="422" y="520"/>
                      <a:pt x="388" y="520"/>
                    </a:cubicBezTo>
                    <a:cubicBezTo>
                      <a:pt x="328" y="520"/>
                      <a:pt x="258" y="483"/>
                      <a:pt x="206" y="418"/>
                    </a:cubicBezTo>
                    <a:cubicBezTo>
                      <a:pt x="136" y="331"/>
                      <a:pt x="136" y="212"/>
                      <a:pt x="206" y="159"/>
                    </a:cubicBezTo>
                    <a:cubicBezTo>
                      <a:pt x="222" y="126"/>
                      <a:pt x="255" y="126"/>
                      <a:pt x="288" y="126"/>
                    </a:cubicBezTo>
                    <a:close/>
                    <a:moveTo>
                      <a:pt x="294" y="1"/>
                    </a:moveTo>
                    <a:cubicBezTo>
                      <a:pt x="231" y="1"/>
                      <a:pt x="173" y="19"/>
                      <a:pt x="136" y="56"/>
                    </a:cubicBezTo>
                    <a:cubicBezTo>
                      <a:pt x="17" y="159"/>
                      <a:pt x="1" y="348"/>
                      <a:pt x="120" y="504"/>
                    </a:cubicBezTo>
                    <a:cubicBezTo>
                      <a:pt x="185" y="586"/>
                      <a:pt x="288" y="639"/>
                      <a:pt x="391" y="639"/>
                    </a:cubicBezTo>
                    <a:cubicBezTo>
                      <a:pt x="444" y="639"/>
                      <a:pt x="493" y="623"/>
                      <a:pt x="547" y="586"/>
                    </a:cubicBezTo>
                    <a:cubicBezTo>
                      <a:pt x="617" y="537"/>
                      <a:pt x="649" y="467"/>
                      <a:pt x="649" y="381"/>
                    </a:cubicBezTo>
                    <a:cubicBezTo>
                      <a:pt x="649" y="299"/>
                      <a:pt x="617" y="212"/>
                      <a:pt x="563" y="142"/>
                    </a:cubicBezTo>
                    <a:cubicBezTo>
                      <a:pt x="514" y="73"/>
                      <a:pt x="428" y="23"/>
                      <a:pt x="358" y="7"/>
                    </a:cubicBezTo>
                    <a:cubicBezTo>
                      <a:pt x="336" y="3"/>
                      <a:pt x="315" y="1"/>
                      <a:pt x="294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46" name="Google Shape;446;p24"/>
              <p:cNvSpPr/>
              <p:nvPr/>
            </p:nvSpPr>
            <p:spPr>
              <a:xfrm>
                <a:off x="2275375" y="2496525"/>
                <a:ext cx="15000" cy="11625"/>
              </a:xfrm>
              <a:custGeom>
                <a:avLst/>
                <a:gdLst/>
                <a:ahLst/>
                <a:cxnLst/>
                <a:rect l="l" t="t" r="r" b="b"/>
                <a:pathLst>
                  <a:path w="600" h="465" extrusionOk="0">
                    <a:moveTo>
                      <a:pt x="249" y="1"/>
                    </a:moveTo>
                    <a:cubicBezTo>
                      <a:pt x="161" y="1"/>
                      <a:pt x="84" y="43"/>
                      <a:pt x="50" y="123"/>
                    </a:cubicBezTo>
                    <a:cubicBezTo>
                      <a:pt x="0" y="226"/>
                      <a:pt x="70" y="378"/>
                      <a:pt x="206" y="431"/>
                    </a:cubicBezTo>
                    <a:cubicBezTo>
                      <a:pt x="253" y="454"/>
                      <a:pt x="303" y="465"/>
                      <a:pt x="351" y="465"/>
                    </a:cubicBezTo>
                    <a:cubicBezTo>
                      <a:pt x="438" y="465"/>
                      <a:pt x="515" y="428"/>
                      <a:pt x="546" y="361"/>
                    </a:cubicBezTo>
                    <a:cubicBezTo>
                      <a:pt x="600" y="242"/>
                      <a:pt x="530" y="103"/>
                      <a:pt x="395" y="37"/>
                    </a:cubicBezTo>
                    <a:cubicBezTo>
                      <a:pt x="346" y="13"/>
                      <a:pt x="296" y="1"/>
                      <a:pt x="249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47" name="Google Shape;447;p24"/>
              <p:cNvSpPr/>
              <p:nvPr/>
            </p:nvSpPr>
            <p:spPr>
              <a:xfrm>
                <a:off x="2278750" y="2498575"/>
                <a:ext cx="5175" cy="4825"/>
              </a:xfrm>
              <a:custGeom>
                <a:avLst/>
                <a:gdLst/>
                <a:ahLst/>
                <a:cxnLst/>
                <a:rect l="l" t="t" r="r" b="b"/>
                <a:pathLst>
                  <a:path w="207" h="193" extrusionOk="0">
                    <a:moveTo>
                      <a:pt x="120" y="1"/>
                    </a:moveTo>
                    <a:cubicBezTo>
                      <a:pt x="70" y="1"/>
                      <a:pt x="17" y="40"/>
                      <a:pt x="17" y="90"/>
                    </a:cubicBezTo>
                    <a:cubicBezTo>
                      <a:pt x="1" y="123"/>
                      <a:pt x="17" y="160"/>
                      <a:pt x="54" y="177"/>
                    </a:cubicBezTo>
                    <a:cubicBezTo>
                      <a:pt x="71" y="193"/>
                      <a:pt x="71" y="193"/>
                      <a:pt x="87" y="193"/>
                    </a:cubicBezTo>
                    <a:cubicBezTo>
                      <a:pt x="120" y="193"/>
                      <a:pt x="157" y="193"/>
                      <a:pt x="173" y="177"/>
                    </a:cubicBezTo>
                    <a:cubicBezTo>
                      <a:pt x="206" y="160"/>
                      <a:pt x="206" y="144"/>
                      <a:pt x="206" y="107"/>
                    </a:cubicBezTo>
                    <a:cubicBezTo>
                      <a:pt x="206" y="74"/>
                      <a:pt x="206" y="41"/>
                      <a:pt x="173" y="21"/>
                    </a:cubicBezTo>
                    <a:cubicBezTo>
                      <a:pt x="158" y="7"/>
                      <a:pt x="139" y="1"/>
                      <a:pt x="120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48" name="Google Shape;448;p24"/>
              <p:cNvSpPr/>
              <p:nvPr/>
            </p:nvSpPr>
            <p:spPr>
              <a:xfrm>
                <a:off x="2274550" y="2495125"/>
                <a:ext cx="16650" cy="14750"/>
              </a:xfrm>
              <a:custGeom>
                <a:avLst/>
                <a:gdLst/>
                <a:ahLst/>
                <a:cxnLst/>
                <a:rect l="l" t="t" r="r" b="b"/>
                <a:pathLst>
                  <a:path w="666" h="590" extrusionOk="0">
                    <a:moveTo>
                      <a:pt x="288" y="109"/>
                    </a:moveTo>
                    <a:cubicBezTo>
                      <a:pt x="325" y="109"/>
                      <a:pt x="374" y="126"/>
                      <a:pt x="411" y="142"/>
                    </a:cubicBezTo>
                    <a:cubicBezTo>
                      <a:pt x="460" y="159"/>
                      <a:pt x="493" y="212"/>
                      <a:pt x="530" y="261"/>
                    </a:cubicBezTo>
                    <a:cubicBezTo>
                      <a:pt x="547" y="298"/>
                      <a:pt x="547" y="347"/>
                      <a:pt x="530" y="384"/>
                    </a:cubicBezTo>
                    <a:cubicBezTo>
                      <a:pt x="507" y="436"/>
                      <a:pt x="452" y="463"/>
                      <a:pt x="384" y="463"/>
                    </a:cubicBezTo>
                    <a:cubicBezTo>
                      <a:pt x="344" y="463"/>
                      <a:pt x="299" y="454"/>
                      <a:pt x="255" y="434"/>
                    </a:cubicBezTo>
                    <a:cubicBezTo>
                      <a:pt x="206" y="417"/>
                      <a:pt x="169" y="364"/>
                      <a:pt x="152" y="331"/>
                    </a:cubicBezTo>
                    <a:cubicBezTo>
                      <a:pt x="120" y="282"/>
                      <a:pt x="120" y="228"/>
                      <a:pt x="136" y="195"/>
                    </a:cubicBezTo>
                    <a:cubicBezTo>
                      <a:pt x="152" y="159"/>
                      <a:pt x="185" y="126"/>
                      <a:pt x="239" y="126"/>
                    </a:cubicBezTo>
                    <a:cubicBezTo>
                      <a:pt x="255" y="109"/>
                      <a:pt x="272" y="109"/>
                      <a:pt x="288" y="109"/>
                    </a:cubicBezTo>
                    <a:close/>
                    <a:moveTo>
                      <a:pt x="279" y="0"/>
                    </a:moveTo>
                    <a:cubicBezTo>
                      <a:pt x="259" y="0"/>
                      <a:pt x="240" y="2"/>
                      <a:pt x="222" y="7"/>
                    </a:cubicBezTo>
                    <a:cubicBezTo>
                      <a:pt x="136" y="23"/>
                      <a:pt x="66" y="76"/>
                      <a:pt x="33" y="142"/>
                    </a:cubicBezTo>
                    <a:cubicBezTo>
                      <a:pt x="0" y="212"/>
                      <a:pt x="0" y="298"/>
                      <a:pt x="33" y="364"/>
                    </a:cubicBezTo>
                    <a:cubicBezTo>
                      <a:pt x="66" y="450"/>
                      <a:pt x="136" y="503"/>
                      <a:pt x="206" y="536"/>
                    </a:cubicBezTo>
                    <a:cubicBezTo>
                      <a:pt x="272" y="569"/>
                      <a:pt x="325" y="590"/>
                      <a:pt x="374" y="590"/>
                    </a:cubicBezTo>
                    <a:cubicBezTo>
                      <a:pt x="493" y="590"/>
                      <a:pt x="596" y="536"/>
                      <a:pt x="633" y="434"/>
                    </a:cubicBezTo>
                    <a:cubicBezTo>
                      <a:pt x="666" y="364"/>
                      <a:pt x="666" y="282"/>
                      <a:pt x="633" y="212"/>
                    </a:cubicBezTo>
                    <a:cubicBezTo>
                      <a:pt x="596" y="126"/>
                      <a:pt x="530" y="76"/>
                      <a:pt x="460" y="39"/>
                    </a:cubicBezTo>
                    <a:cubicBezTo>
                      <a:pt x="397" y="15"/>
                      <a:pt x="334" y="0"/>
                      <a:pt x="27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49" name="Google Shape;449;p24"/>
              <p:cNvSpPr/>
              <p:nvPr/>
            </p:nvSpPr>
            <p:spPr>
              <a:xfrm>
                <a:off x="2341275" y="2513600"/>
                <a:ext cx="14100" cy="11175"/>
              </a:xfrm>
              <a:custGeom>
                <a:avLst/>
                <a:gdLst/>
                <a:ahLst/>
                <a:cxnLst/>
                <a:rect l="l" t="t" r="r" b="b"/>
                <a:pathLst>
                  <a:path w="564" h="447" extrusionOk="0">
                    <a:moveTo>
                      <a:pt x="256" y="1"/>
                    </a:moveTo>
                    <a:cubicBezTo>
                      <a:pt x="120" y="1"/>
                      <a:pt x="16" y="97"/>
                      <a:pt x="0" y="208"/>
                    </a:cubicBezTo>
                    <a:cubicBezTo>
                      <a:pt x="0" y="327"/>
                      <a:pt x="120" y="430"/>
                      <a:pt x="271" y="446"/>
                    </a:cubicBezTo>
                    <a:cubicBezTo>
                      <a:pt x="411" y="446"/>
                      <a:pt x="547" y="364"/>
                      <a:pt x="547" y="241"/>
                    </a:cubicBezTo>
                    <a:cubicBezTo>
                      <a:pt x="563" y="105"/>
                      <a:pt x="444" y="3"/>
                      <a:pt x="288" y="3"/>
                    </a:cubicBezTo>
                    <a:cubicBezTo>
                      <a:pt x="277" y="1"/>
                      <a:pt x="266" y="1"/>
                      <a:pt x="25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50" name="Google Shape;450;p24"/>
              <p:cNvSpPr/>
              <p:nvPr/>
            </p:nvSpPr>
            <p:spPr>
              <a:xfrm>
                <a:off x="2343850" y="2516125"/>
                <a:ext cx="5150" cy="5150"/>
              </a:xfrm>
              <a:custGeom>
                <a:avLst/>
                <a:gdLst/>
                <a:ahLst/>
                <a:cxnLst/>
                <a:rect l="l" t="t" r="r" b="b"/>
                <a:pathLst>
                  <a:path w="206" h="206" extrusionOk="0">
                    <a:moveTo>
                      <a:pt x="118" y="1"/>
                    </a:moveTo>
                    <a:cubicBezTo>
                      <a:pt x="70" y="1"/>
                      <a:pt x="17" y="40"/>
                      <a:pt x="17" y="90"/>
                    </a:cubicBezTo>
                    <a:cubicBezTo>
                      <a:pt x="0" y="123"/>
                      <a:pt x="17" y="160"/>
                      <a:pt x="49" y="177"/>
                    </a:cubicBezTo>
                    <a:cubicBezTo>
                      <a:pt x="66" y="193"/>
                      <a:pt x="66" y="193"/>
                      <a:pt x="82" y="193"/>
                    </a:cubicBezTo>
                    <a:cubicBezTo>
                      <a:pt x="101" y="201"/>
                      <a:pt x="118" y="205"/>
                      <a:pt x="133" y="205"/>
                    </a:cubicBezTo>
                    <a:cubicBezTo>
                      <a:pt x="148" y="205"/>
                      <a:pt x="160" y="201"/>
                      <a:pt x="168" y="193"/>
                    </a:cubicBezTo>
                    <a:cubicBezTo>
                      <a:pt x="185" y="177"/>
                      <a:pt x="205" y="140"/>
                      <a:pt x="205" y="123"/>
                    </a:cubicBezTo>
                    <a:cubicBezTo>
                      <a:pt x="205" y="90"/>
                      <a:pt x="185" y="37"/>
                      <a:pt x="168" y="21"/>
                    </a:cubicBezTo>
                    <a:cubicBezTo>
                      <a:pt x="155" y="7"/>
                      <a:pt x="137" y="1"/>
                      <a:pt x="118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51" name="Google Shape;451;p24"/>
              <p:cNvSpPr/>
              <p:nvPr/>
            </p:nvSpPr>
            <p:spPr>
              <a:xfrm>
                <a:off x="2339525" y="2511900"/>
                <a:ext cx="17175" cy="14200"/>
              </a:xfrm>
              <a:custGeom>
                <a:avLst/>
                <a:gdLst/>
                <a:ahLst/>
                <a:cxnLst/>
                <a:rect l="l" t="t" r="r" b="b"/>
                <a:pathLst>
                  <a:path w="687" h="568" extrusionOk="0">
                    <a:moveTo>
                      <a:pt x="358" y="124"/>
                    </a:moveTo>
                    <a:cubicBezTo>
                      <a:pt x="411" y="124"/>
                      <a:pt x="461" y="157"/>
                      <a:pt x="514" y="190"/>
                    </a:cubicBezTo>
                    <a:cubicBezTo>
                      <a:pt x="547" y="227"/>
                      <a:pt x="563" y="259"/>
                      <a:pt x="563" y="292"/>
                    </a:cubicBezTo>
                    <a:cubicBezTo>
                      <a:pt x="563" y="385"/>
                      <a:pt x="480" y="451"/>
                      <a:pt x="376" y="451"/>
                    </a:cubicBezTo>
                    <a:cubicBezTo>
                      <a:pt x="365" y="451"/>
                      <a:pt x="353" y="450"/>
                      <a:pt x="341" y="448"/>
                    </a:cubicBezTo>
                    <a:cubicBezTo>
                      <a:pt x="222" y="448"/>
                      <a:pt x="120" y="362"/>
                      <a:pt x="136" y="276"/>
                    </a:cubicBezTo>
                    <a:cubicBezTo>
                      <a:pt x="136" y="243"/>
                      <a:pt x="153" y="190"/>
                      <a:pt x="190" y="173"/>
                    </a:cubicBezTo>
                    <a:cubicBezTo>
                      <a:pt x="239" y="140"/>
                      <a:pt x="292" y="124"/>
                      <a:pt x="341" y="124"/>
                    </a:cubicBezTo>
                    <a:close/>
                    <a:moveTo>
                      <a:pt x="358" y="1"/>
                    </a:moveTo>
                    <a:cubicBezTo>
                      <a:pt x="276" y="1"/>
                      <a:pt x="190" y="21"/>
                      <a:pt x="120" y="71"/>
                    </a:cubicBezTo>
                    <a:cubicBezTo>
                      <a:pt x="50" y="124"/>
                      <a:pt x="17" y="190"/>
                      <a:pt x="17" y="276"/>
                    </a:cubicBezTo>
                    <a:cubicBezTo>
                      <a:pt x="1" y="432"/>
                      <a:pt x="153" y="567"/>
                      <a:pt x="325" y="567"/>
                    </a:cubicBezTo>
                    <a:lnTo>
                      <a:pt x="358" y="567"/>
                    </a:lnTo>
                    <a:cubicBezTo>
                      <a:pt x="530" y="567"/>
                      <a:pt x="666" y="465"/>
                      <a:pt x="686" y="309"/>
                    </a:cubicBezTo>
                    <a:cubicBezTo>
                      <a:pt x="686" y="227"/>
                      <a:pt x="649" y="157"/>
                      <a:pt x="584" y="103"/>
                    </a:cubicBezTo>
                    <a:cubicBezTo>
                      <a:pt x="530" y="38"/>
                      <a:pt x="444" y="21"/>
                      <a:pt x="358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52" name="Google Shape;452;p24"/>
              <p:cNvSpPr/>
              <p:nvPr/>
            </p:nvSpPr>
            <p:spPr>
              <a:xfrm>
                <a:off x="2387875" y="2507325"/>
                <a:ext cx="15025" cy="11625"/>
              </a:xfrm>
              <a:custGeom>
                <a:avLst/>
                <a:gdLst/>
                <a:ahLst/>
                <a:cxnLst/>
                <a:rect l="l" t="t" r="r" b="b"/>
                <a:pathLst>
                  <a:path w="601" h="465" extrusionOk="0">
                    <a:moveTo>
                      <a:pt x="332" y="1"/>
                    </a:moveTo>
                    <a:cubicBezTo>
                      <a:pt x="291" y="1"/>
                      <a:pt x="247" y="11"/>
                      <a:pt x="206" y="32"/>
                    </a:cubicBezTo>
                    <a:cubicBezTo>
                      <a:pt x="66" y="81"/>
                      <a:pt x="1" y="221"/>
                      <a:pt x="34" y="340"/>
                    </a:cubicBezTo>
                    <a:cubicBezTo>
                      <a:pt x="71" y="423"/>
                      <a:pt x="157" y="465"/>
                      <a:pt x="252" y="465"/>
                    </a:cubicBezTo>
                    <a:cubicBezTo>
                      <a:pt x="292" y="465"/>
                      <a:pt x="334" y="457"/>
                      <a:pt x="374" y="442"/>
                    </a:cubicBezTo>
                    <a:cubicBezTo>
                      <a:pt x="530" y="373"/>
                      <a:pt x="600" y="237"/>
                      <a:pt x="547" y="134"/>
                    </a:cubicBezTo>
                    <a:cubicBezTo>
                      <a:pt x="513" y="52"/>
                      <a:pt x="427" y="1"/>
                      <a:pt x="332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53" name="Google Shape;453;p24"/>
              <p:cNvSpPr/>
              <p:nvPr/>
            </p:nvSpPr>
            <p:spPr>
              <a:xfrm>
                <a:off x="2391275" y="2511325"/>
                <a:ext cx="5150" cy="4925"/>
              </a:xfrm>
              <a:custGeom>
                <a:avLst/>
                <a:gdLst/>
                <a:ahLst/>
                <a:cxnLst/>
                <a:rect l="l" t="t" r="r" b="b"/>
                <a:pathLst>
                  <a:path w="206" h="197" extrusionOk="0">
                    <a:moveTo>
                      <a:pt x="101" y="0"/>
                    </a:moveTo>
                    <a:cubicBezTo>
                      <a:pt x="54" y="0"/>
                      <a:pt x="11" y="30"/>
                      <a:pt x="0" y="77"/>
                    </a:cubicBezTo>
                    <a:cubicBezTo>
                      <a:pt x="0" y="110"/>
                      <a:pt x="17" y="163"/>
                      <a:pt x="54" y="180"/>
                    </a:cubicBezTo>
                    <a:cubicBezTo>
                      <a:pt x="54" y="180"/>
                      <a:pt x="70" y="180"/>
                      <a:pt x="86" y="196"/>
                    </a:cubicBezTo>
                    <a:cubicBezTo>
                      <a:pt x="103" y="196"/>
                      <a:pt x="136" y="196"/>
                      <a:pt x="173" y="180"/>
                    </a:cubicBezTo>
                    <a:cubicBezTo>
                      <a:pt x="189" y="163"/>
                      <a:pt x="205" y="126"/>
                      <a:pt x="205" y="110"/>
                    </a:cubicBezTo>
                    <a:cubicBezTo>
                      <a:pt x="205" y="77"/>
                      <a:pt x="189" y="44"/>
                      <a:pt x="173" y="24"/>
                    </a:cubicBezTo>
                    <a:cubicBezTo>
                      <a:pt x="150" y="8"/>
                      <a:pt x="125" y="0"/>
                      <a:pt x="101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54" name="Google Shape;454;p24"/>
              <p:cNvSpPr/>
              <p:nvPr/>
            </p:nvSpPr>
            <p:spPr>
              <a:xfrm>
                <a:off x="2386950" y="2505900"/>
                <a:ext cx="17575" cy="14650"/>
              </a:xfrm>
              <a:custGeom>
                <a:avLst/>
                <a:gdLst/>
                <a:ahLst/>
                <a:cxnLst/>
                <a:rect l="l" t="t" r="r" b="b"/>
                <a:pathLst>
                  <a:path w="703" h="586" extrusionOk="0">
                    <a:moveTo>
                      <a:pt x="432" y="122"/>
                    </a:moveTo>
                    <a:cubicBezTo>
                      <a:pt x="481" y="138"/>
                      <a:pt x="514" y="175"/>
                      <a:pt x="535" y="208"/>
                    </a:cubicBezTo>
                    <a:cubicBezTo>
                      <a:pt x="567" y="294"/>
                      <a:pt x="498" y="397"/>
                      <a:pt x="395" y="446"/>
                    </a:cubicBezTo>
                    <a:cubicBezTo>
                      <a:pt x="370" y="456"/>
                      <a:pt x="340" y="461"/>
                      <a:pt x="311" y="461"/>
                    </a:cubicBezTo>
                    <a:cubicBezTo>
                      <a:pt x="281" y="461"/>
                      <a:pt x="251" y="456"/>
                      <a:pt x="227" y="446"/>
                    </a:cubicBezTo>
                    <a:cubicBezTo>
                      <a:pt x="190" y="446"/>
                      <a:pt x="157" y="413"/>
                      <a:pt x="140" y="380"/>
                    </a:cubicBezTo>
                    <a:cubicBezTo>
                      <a:pt x="124" y="327"/>
                      <a:pt x="124" y="294"/>
                      <a:pt x="140" y="241"/>
                    </a:cubicBezTo>
                    <a:cubicBezTo>
                      <a:pt x="173" y="191"/>
                      <a:pt x="206" y="159"/>
                      <a:pt x="276" y="138"/>
                    </a:cubicBezTo>
                    <a:cubicBezTo>
                      <a:pt x="309" y="122"/>
                      <a:pt x="346" y="122"/>
                      <a:pt x="378" y="122"/>
                    </a:cubicBezTo>
                    <a:close/>
                    <a:moveTo>
                      <a:pt x="369" y="0"/>
                    </a:moveTo>
                    <a:cubicBezTo>
                      <a:pt x="323" y="0"/>
                      <a:pt x="274" y="10"/>
                      <a:pt x="227" y="19"/>
                    </a:cubicBezTo>
                    <a:cubicBezTo>
                      <a:pt x="140" y="56"/>
                      <a:pt x="71" y="122"/>
                      <a:pt x="38" y="191"/>
                    </a:cubicBezTo>
                    <a:cubicBezTo>
                      <a:pt x="1" y="261"/>
                      <a:pt x="1" y="343"/>
                      <a:pt x="21" y="413"/>
                    </a:cubicBezTo>
                    <a:cubicBezTo>
                      <a:pt x="54" y="483"/>
                      <a:pt x="124" y="549"/>
                      <a:pt x="190" y="569"/>
                    </a:cubicBezTo>
                    <a:cubicBezTo>
                      <a:pt x="227" y="569"/>
                      <a:pt x="259" y="586"/>
                      <a:pt x="292" y="586"/>
                    </a:cubicBezTo>
                    <a:cubicBezTo>
                      <a:pt x="346" y="586"/>
                      <a:pt x="395" y="569"/>
                      <a:pt x="448" y="549"/>
                    </a:cubicBezTo>
                    <a:cubicBezTo>
                      <a:pt x="617" y="483"/>
                      <a:pt x="703" y="311"/>
                      <a:pt x="637" y="159"/>
                    </a:cubicBezTo>
                    <a:cubicBezTo>
                      <a:pt x="617" y="89"/>
                      <a:pt x="551" y="35"/>
                      <a:pt x="465" y="19"/>
                    </a:cubicBezTo>
                    <a:cubicBezTo>
                      <a:pt x="435" y="5"/>
                      <a:pt x="403" y="0"/>
                      <a:pt x="36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55" name="Google Shape;455;p24"/>
              <p:cNvSpPr/>
              <p:nvPr/>
            </p:nvSpPr>
            <p:spPr>
              <a:xfrm>
                <a:off x="2123125" y="2656550"/>
                <a:ext cx="162950" cy="92825"/>
              </a:xfrm>
              <a:custGeom>
                <a:avLst/>
                <a:gdLst/>
                <a:ahLst/>
                <a:cxnLst/>
                <a:rect l="l" t="t" r="r" b="b"/>
                <a:pathLst>
                  <a:path w="6518" h="3713" extrusionOk="0">
                    <a:moveTo>
                      <a:pt x="2087" y="0"/>
                    </a:moveTo>
                    <a:cubicBezTo>
                      <a:pt x="1" y="0"/>
                      <a:pt x="50" y="3183"/>
                      <a:pt x="83" y="3712"/>
                    </a:cubicBezTo>
                    <a:lnTo>
                      <a:pt x="4107" y="3712"/>
                    </a:lnTo>
                    <a:cubicBezTo>
                      <a:pt x="4107" y="3540"/>
                      <a:pt x="4124" y="3129"/>
                      <a:pt x="4070" y="2632"/>
                    </a:cubicBezTo>
                    <a:lnTo>
                      <a:pt x="4070" y="2632"/>
                    </a:lnTo>
                    <a:cubicBezTo>
                      <a:pt x="4215" y="2836"/>
                      <a:pt x="4456" y="2953"/>
                      <a:pt x="4693" y="2953"/>
                    </a:cubicBezTo>
                    <a:cubicBezTo>
                      <a:pt x="4738" y="2953"/>
                      <a:pt x="4782" y="2949"/>
                      <a:pt x="4826" y="2940"/>
                    </a:cubicBezTo>
                    <a:cubicBezTo>
                      <a:pt x="4908" y="2924"/>
                      <a:pt x="4994" y="2891"/>
                      <a:pt x="5064" y="2838"/>
                    </a:cubicBezTo>
                    <a:cubicBezTo>
                      <a:pt x="5421" y="2669"/>
                      <a:pt x="5918" y="2119"/>
                      <a:pt x="6177" y="1832"/>
                    </a:cubicBezTo>
                    <a:cubicBezTo>
                      <a:pt x="6296" y="1708"/>
                      <a:pt x="6431" y="1573"/>
                      <a:pt x="6517" y="1400"/>
                    </a:cubicBezTo>
                    <a:lnTo>
                      <a:pt x="5626" y="1010"/>
                    </a:lnTo>
                    <a:lnTo>
                      <a:pt x="5339" y="887"/>
                    </a:lnTo>
                    <a:cubicBezTo>
                      <a:pt x="5166" y="1060"/>
                      <a:pt x="4620" y="1692"/>
                      <a:pt x="4620" y="1692"/>
                    </a:cubicBezTo>
                    <a:cubicBezTo>
                      <a:pt x="4481" y="1400"/>
                      <a:pt x="4329" y="1162"/>
                      <a:pt x="4124" y="941"/>
                    </a:cubicBezTo>
                    <a:cubicBezTo>
                      <a:pt x="3729" y="530"/>
                      <a:pt x="3368" y="308"/>
                      <a:pt x="3060" y="169"/>
                    </a:cubicBezTo>
                    <a:cubicBezTo>
                      <a:pt x="2686" y="33"/>
                      <a:pt x="2362" y="0"/>
                      <a:pt x="2087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56" name="Google Shape;456;p24"/>
              <p:cNvSpPr/>
              <p:nvPr/>
            </p:nvSpPr>
            <p:spPr>
              <a:xfrm>
                <a:off x="2199625" y="2660750"/>
                <a:ext cx="64175" cy="45175"/>
              </a:xfrm>
              <a:custGeom>
                <a:avLst/>
                <a:gdLst/>
                <a:ahLst/>
                <a:cxnLst/>
                <a:rect l="l" t="t" r="r" b="b"/>
                <a:pathLst>
                  <a:path w="2567" h="1807" extrusionOk="0">
                    <a:moveTo>
                      <a:pt x="0" y="1"/>
                    </a:moveTo>
                    <a:cubicBezTo>
                      <a:pt x="0" y="38"/>
                      <a:pt x="0" y="54"/>
                      <a:pt x="21" y="70"/>
                    </a:cubicBezTo>
                    <a:cubicBezTo>
                      <a:pt x="86" y="276"/>
                      <a:pt x="226" y="432"/>
                      <a:pt x="378" y="567"/>
                    </a:cubicBezTo>
                    <a:cubicBezTo>
                      <a:pt x="719" y="892"/>
                      <a:pt x="1096" y="1200"/>
                      <a:pt x="1335" y="1610"/>
                    </a:cubicBezTo>
                    <a:cubicBezTo>
                      <a:pt x="1371" y="1680"/>
                      <a:pt x="1421" y="1783"/>
                      <a:pt x="1523" y="1799"/>
                    </a:cubicBezTo>
                    <a:cubicBezTo>
                      <a:pt x="1536" y="1804"/>
                      <a:pt x="1550" y="1806"/>
                      <a:pt x="1564" y="1806"/>
                    </a:cubicBezTo>
                    <a:cubicBezTo>
                      <a:pt x="1640" y="1806"/>
                      <a:pt x="1723" y="1736"/>
                      <a:pt x="1782" y="1680"/>
                    </a:cubicBezTo>
                    <a:cubicBezTo>
                      <a:pt x="1901" y="1561"/>
                      <a:pt x="2004" y="1421"/>
                      <a:pt x="2106" y="1302"/>
                    </a:cubicBezTo>
                    <a:cubicBezTo>
                      <a:pt x="2258" y="1130"/>
                      <a:pt x="2398" y="978"/>
                      <a:pt x="2566" y="842"/>
                    </a:cubicBezTo>
                    <a:lnTo>
                      <a:pt x="2279" y="719"/>
                    </a:lnTo>
                    <a:cubicBezTo>
                      <a:pt x="2106" y="892"/>
                      <a:pt x="1560" y="1524"/>
                      <a:pt x="1560" y="1524"/>
                    </a:cubicBezTo>
                    <a:cubicBezTo>
                      <a:pt x="1421" y="1232"/>
                      <a:pt x="1269" y="994"/>
                      <a:pt x="1064" y="773"/>
                    </a:cubicBezTo>
                    <a:cubicBezTo>
                      <a:pt x="669" y="362"/>
                      <a:pt x="308" y="140"/>
                      <a:pt x="0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57" name="Google Shape;457;p24"/>
              <p:cNvSpPr/>
              <p:nvPr/>
            </p:nvSpPr>
            <p:spPr>
              <a:xfrm>
                <a:off x="2153000" y="2682625"/>
                <a:ext cx="65925" cy="66750"/>
              </a:xfrm>
              <a:custGeom>
                <a:avLst/>
                <a:gdLst/>
                <a:ahLst/>
                <a:cxnLst/>
                <a:rect l="l" t="t" r="r" b="b"/>
                <a:pathLst>
                  <a:path w="2637" h="2670" extrusionOk="0">
                    <a:moveTo>
                      <a:pt x="1319" y="0"/>
                    </a:moveTo>
                    <a:cubicBezTo>
                      <a:pt x="1" y="0"/>
                      <a:pt x="17" y="2226"/>
                      <a:pt x="38" y="2669"/>
                    </a:cubicBezTo>
                    <a:lnTo>
                      <a:pt x="2604" y="2669"/>
                    </a:lnTo>
                    <a:cubicBezTo>
                      <a:pt x="2621" y="2226"/>
                      <a:pt x="2637" y="0"/>
                      <a:pt x="1319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58" name="Google Shape;458;p24"/>
              <p:cNvSpPr/>
              <p:nvPr/>
            </p:nvSpPr>
            <p:spPr>
              <a:xfrm>
                <a:off x="2162050" y="2690000"/>
                <a:ext cx="26500" cy="48800"/>
              </a:xfrm>
              <a:custGeom>
                <a:avLst/>
                <a:gdLst/>
                <a:ahLst/>
                <a:cxnLst/>
                <a:rect l="l" t="t" r="r" b="b"/>
                <a:pathLst>
                  <a:path w="1060" h="1952" extrusionOk="0">
                    <a:moveTo>
                      <a:pt x="673" y="1"/>
                    </a:moveTo>
                    <a:cubicBezTo>
                      <a:pt x="599" y="1"/>
                      <a:pt x="528" y="35"/>
                      <a:pt x="476" y="99"/>
                    </a:cubicBezTo>
                    <a:cubicBezTo>
                      <a:pt x="308" y="321"/>
                      <a:pt x="169" y="629"/>
                      <a:pt x="103" y="921"/>
                    </a:cubicBezTo>
                    <a:cubicBezTo>
                      <a:pt x="49" y="1089"/>
                      <a:pt x="17" y="1278"/>
                      <a:pt x="17" y="1450"/>
                    </a:cubicBezTo>
                    <a:cubicBezTo>
                      <a:pt x="0" y="1586"/>
                      <a:pt x="17" y="1742"/>
                      <a:pt x="86" y="1845"/>
                    </a:cubicBezTo>
                    <a:cubicBezTo>
                      <a:pt x="149" y="1917"/>
                      <a:pt x="236" y="1952"/>
                      <a:pt x="321" y="1952"/>
                    </a:cubicBezTo>
                    <a:cubicBezTo>
                      <a:pt x="376" y="1952"/>
                      <a:pt x="430" y="1937"/>
                      <a:pt x="476" y="1910"/>
                    </a:cubicBezTo>
                    <a:cubicBezTo>
                      <a:pt x="616" y="1861"/>
                      <a:pt x="702" y="1742"/>
                      <a:pt x="768" y="1602"/>
                    </a:cubicBezTo>
                    <a:cubicBezTo>
                      <a:pt x="990" y="1245"/>
                      <a:pt x="1060" y="765"/>
                      <a:pt x="973" y="338"/>
                    </a:cubicBezTo>
                    <a:cubicBezTo>
                      <a:pt x="940" y="202"/>
                      <a:pt x="887" y="46"/>
                      <a:pt x="752" y="13"/>
                    </a:cubicBezTo>
                    <a:cubicBezTo>
                      <a:pt x="725" y="5"/>
                      <a:pt x="699" y="1"/>
                      <a:pt x="673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59" name="Google Shape;459;p24"/>
              <p:cNvSpPr/>
              <p:nvPr/>
            </p:nvSpPr>
            <p:spPr>
              <a:xfrm>
                <a:off x="2122200" y="2654800"/>
                <a:ext cx="168175" cy="96325"/>
              </a:xfrm>
              <a:custGeom>
                <a:avLst/>
                <a:gdLst/>
                <a:ahLst/>
                <a:cxnLst/>
                <a:rect l="l" t="t" r="r" b="b"/>
                <a:pathLst>
                  <a:path w="6727" h="3853" extrusionOk="0">
                    <a:moveTo>
                      <a:pt x="2551" y="1183"/>
                    </a:moveTo>
                    <a:cubicBezTo>
                      <a:pt x="2686" y="1183"/>
                      <a:pt x="2810" y="1216"/>
                      <a:pt x="2929" y="1265"/>
                    </a:cubicBezTo>
                    <a:cubicBezTo>
                      <a:pt x="3048" y="1319"/>
                      <a:pt x="3150" y="1405"/>
                      <a:pt x="3237" y="1491"/>
                    </a:cubicBezTo>
                    <a:cubicBezTo>
                      <a:pt x="3405" y="1696"/>
                      <a:pt x="3528" y="1951"/>
                      <a:pt x="3594" y="2210"/>
                    </a:cubicBezTo>
                    <a:cubicBezTo>
                      <a:pt x="3680" y="2481"/>
                      <a:pt x="3713" y="2756"/>
                      <a:pt x="3750" y="3031"/>
                    </a:cubicBezTo>
                    <a:cubicBezTo>
                      <a:pt x="3766" y="3253"/>
                      <a:pt x="3783" y="3491"/>
                      <a:pt x="3766" y="3712"/>
                    </a:cubicBezTo>
                    <a:lnTo>
                      <a:pt x="1319" y="3712"/>
                    </a:lnTo>
                    <a:cubicBezTo>
                      <a:pt x="1319" y="3491"/>
                      <a:pt x="1335" y="3253"/>
                      <a:pt x="1352" y="3031"/>
                    </a:cubicBezTo>
                    <a:cubicBezTo>
                      <a:pt x="1372" y="2756"/>
                      <a:pt x="1422" y="2464"/>
                      <a:pt x="1508" y="2210"/>
                    </a:cubicBezTo>
                    <a:cubicBezTo>
                      <a:pt x="1578" y="1951"/>
                      <a:pt x="1697" y="1696"/>
                      <a:pt x="1865" y="1491"/>
                    </a:cubicBezTo>
                    <a:cubicBezTo>
                      <a:pt x="1951" y="1405"/>
                      <a:pt x="2054" y="1319"/>
                      <a:pt x="2173" y="1265"/>
                    </a:cubicBezTo>
                    <a:cubicBezTo>
                      <a:pt x="2296" y="1216"/>
                      <a:pt x="2415" y="1183"/>
                      <a:pt x="2551" y="1183"/>
                    </a:cubicBezTo>
                    <a:close/>
                    <a:moveTo>
                      <a:pt x="2054" y="0"/>
                    </a:moveTo>
                    <a:cubicBezTo>
                      <a:pt x="1405" y="0"/>
                      <a:pt x="1184" y="206"/>
                      <a:pt x="876" y="547"/>
                    </a:cubicBezTo>
                    <a:cubicBezTo>
                      <a:pt x="1" y="1491"/>
                      <a:pt x="38" y="3355"/>
                      <a:pt x="54" y="3782"/>
                    </a:cubicBezTo>
                    <a:cubicBezTo>
                      <a:pt x="54" y="3815"/>
                      <a:pt x="71" y="3852"/>
                      <a:pt x="120" y="3852"/>
                    </a:cubicBezTo>
                    <a:lnTo>
                      <a:pt x="4124" y="3852"/>
                    </a:lnTo>
                    <a:cubicBezTo>
                      <a:pt x="4177" y="3852"/>
                      <a:pt x="4193" y="3815"/>
                      <a:pt x="4193" y="3782"/>
                    </a:cubicBezTo>
                    <a:lnTo>
                      <a:pt x="4210" y="3782"/>
                    </a:lnTo>
                    <a:cubicBezTo>
                      <a:pt x="4210" y="3626"/>
                      <a:pt x="4226" y="3302"/>
                      <a:pt x="4193" y="2875"/>
                    </a:cubicBezTo>
                    <a:lnTo>
                      <a:pt x="4193" y="2875"/>
                    </a:lnTo>
                    <a:cubicBezTo>
                      <a:pt x="4280" y="2945"/>
                      <a:pt x="4366" y="3010"/>
                      <a:pt x="4399" y="3010"/>
                    </a:cubicBezTo>
                    <a:cubicBezTo>
                      <a:pt x="4506" y="3060"/>
                      <a:pt x="4611" y="3082"/>
                      <a:pt x="4713" y="3082"/>
                    </a:cubicBezTo>
                    <a:cubicBezTo>
                      <a:pt x="5029" y="3082"/>
                      <a:pt x="5315" y="2870"/>
                      <a:pt x="5561" y="2637"/>
                    </a:cubicBezTo>
                    <a:cubicBezTo>
                      <a:pt x="5663" y="2550"/>
                      <a:pt x="6727" y="1524"/>
                      <a:pt x="6587" y="1421"/>
                    </a:cubicBezTo>
                    <a:cubicBezTo>
                      <a:pt x="6582" y="1419"/>
                      <a:pt x="6576" y="1418"/>
                      <a:pt x="6570" y="1418"/>
                    </a:cubicBezTo>
                    <a:cubicBezTo>
                      <a:pt x="6486" y="1418"/>
                      <a:pt x="6363" y="1612"/>
                      <a:pt x="6333" y="1643"/>
                    </a:cubicBezTo>
                    <a:cubicBezTo>
                      <a:pt x="6177" y="1832"/>
                      <a:pt x="5787" y="2242"/>
                      <a:pt x="5614" y="2415"/>
                    </a:cubicBezTo>
                    <a:cubicBezTo>
                      <a:pt x="5366" y="2659"/>
                      <a:pt x="5056" y="2958"/>
                      <a:pt x="4695" y="2958"/>
                    </a:cubicBezTo>
                    <a:cubicBezTo>
                      <a:pt x="4632" y="2958"/>
                      <a:pt x="4567" y="2948"/>
                      <a:pt x="4501" y="2928"/>
                    </a:cubicBezTo>
                    <a:cubicBezTo>
                      <a:pt x="4415" y="2891"/>
                      <a:pt x="4329" y="2842"/>
                      <a:pt x="4263" y="2772"/>
                    </a:cubicBezTo>
                    <a:cubicBezTo>
                      <a:pt x="4226" y="2756"/>
                      <a:pt x="4210" y="2723"/>
                      <a:pt x="4177" y="2686"/>
                    </a:cubicBezTo>
                    <a:cubicBezTo>
                      <a:pt x="4124" y="2259"/>
                      <a:pt x="4041" y="1762"/>
                      <a:pt x="3869" y="1335"/>
                    </a:cubicBezTo>
                    <a:cubicBezTo>
                      <a:pt x="3853" y="1302"/>
                      <a:pt x="3799" y="1286"/>
                      <a:pt x="3766" y="1286"/>
                    </a:cubicBezTo>
                    <a:cubicBezTo>
                      <a:pt x="3733" y="1302"/>
                      <a:pt x="3713" y="1351"/>
                      <a:pt x="3733" y="1388"/>
                    </a:cubicBezTo>
                    <a:cubicBezTo>
                      <a:pt x="4074" y="2259"/>
                      <a:pt x="4074" y="3339"/>
                      <a:pt x="4074" y="3712"/>
                    </a:cubicBezTo>
                    <a:lnTo>
                      <a:pt x="3885" y="3712"/>
                    </a:lnTo>
                    <a:cubicBezTo>
                      <a:pt x="3902" y="3474"/>
                      <a:pt x="3885" y="3253"/>
                      <a:pt x="3869" y="3010"/>
                    </a:cubicBezTo>
                    <a:cubicBezTo>
                      <a:pt x="3853" y="2739"/>
                      <a:pt x="3816" y="2448"/>
                      <a:pt x="3733" y="2173"/>
                    </a:cubicBezTo>
                    <a:cubicBezTo>
                      <a:pt x="3697" y="2037"/>
                      <a:pt x="3647" y="1902"/>
                      <a:pt x="3577" y="1762"/>
                    </a:cubicBezTo>
                    <a:cubicBezTo>
                      <a:pt x="3528" y="1643"/>
                      <a:pt x="3442" y="1507"/>
                      <a:pt x="3339" y="1405"/>
                    </a:cubicBezTo>
                    <a:cubicBezTo>
                      <a:pt x="3253" y="1286"/>
                      <a:pt x="3134" y="1199"/>
                      <a:pt x="2994" y="1130"/>
                    </a:cubicBezTo>
                    <a:cubicBezTo>
                      <a:pt x="2842" y="1060"/>
                      <a:pt x="2707" y="1027"/>
                      <a:pt x="2551" y="1027"/>
                    </a:cubicBezTo>
                    <a:cubicBezTo>
                      <a:pt x="2399" y="1027"/>
                      <a:pt x="2243" y="1060"/>
                      <a:pt x="2107" y="1130"/>
                    </a:cubicBezTo>
                    <a:cubicBezTo>
                      <a:pt x="1968" y="1199"/>
                      <a:pt x="1849" y="1286"/>
                      <a:pt x="1746" y="1405"/>
                    </a:cubicBezTo>
                    <a:cubicBezTo>
                      <a:pt x="1660" y="1507"/>
                      <a:pt x="1557" y="1627"/>
                      <a:pt x="1508" y="1762"/>
                    </a:cubicBezTo>
                    <a:cubicBezTo>
                      <a:pt x="1167" y="2723"/>
                      <a:pt x="1147" y="3712"/>
                      <a:pt x="1147" y="3712"/>
                    </a:cubicBezTo>
                    <a:lnTo>
                      <a:pt x="190" y="3712"/>
                    </a:lnTo>
                    <a:cubicBezTo>
                      <a:pt x="173" y="3216"/>
                      <a:pt x="173" y="1491"/>
                      <a:pt x="978" y="633"/>
                    </a:cubicBezTo>
                    <a:cubicBezTo>
                      <a:pt x="1255" y="340"/>
                      <a:pt x="1436" y="155"/>
                      <a:pt x="1982" y="155"/>
                    </a:cubicBezTo>
                    <a:cubicBezTo>
                      <a:pt x="2011" y="155"/>
                      <a:pt x="2040" y="155"/>
                      <a:pt x="2070" y="157"/>
                    </a:cubicBezTo>
                    <a:cubicBezTo>
                      <a:pt x="2962" y="157"/>
                      <a:pt x="3183" y="325"/>
                      <a:pt x="3508" y="530"/>
                    </a:cubicBezTo>
                    <a:cubicBezTo>
                      <a:pt x="3869" y="772"/>
                      <a:pt x="4161" y="1113"/>
                      <a:pt x="4399" y="1470"/>
                    </a:cubicBezTo>
                    <a:cubicBezTo>
                      <a:pt x="4452" y="1540"/>
                      <a:pt x="4485" y="1610"/>
                      <a:pt x="4518" y="1676"/>
                    </a:cubicBezTo>
                    <a:cubicBezTo>
                      <a:pt x="4555" y="1713"/>
                      <a:pt x="4555" y="1762"/>
                      <a:pt x="4588" y="1799"/>
                    </a:cubicBezTo>
                    <a:cubicBezTo>
                      <a:pt x="4611" y="1821"/>
                      <a:pt x="4631" y="1830"/>
                      <a:pt x="4648" y="1830"/>
                    </a:cubicBezTo>
                    <a:cubicBezTo>
                      <a:pt x="4682" y="1830"/>
                      <a:pt x="4707" y="1797"/>
                      <a:pt x="4739" y="1762"/>
                    </a:cubicBezTo>
                    <a:cubicBezTo>
                      <a:pt x="4826" y="1676"/>
                      <a:pt x="4896" y="1573"/>
                      <a:pt x="4982" y="1470"/>
                    </a:cubicBezTo>
                    <a:cubicBezTo>
                      <a:pt x="5015" y="1421"/>
                      <a:pt x="5290" y="1130"/>
                      <a:pt x="5339" y="1080"/>
                    </a:cubicBezTo>
                    <a:cubicBezTo>
                      <a:pt x="5376" y="1043"/>
                      <a:pt x="5495" y="957"/>
                      <a:pt x="5495" y="908"/>
                    </a:cubicBezTo>
                    <a:cubicBezTo>
                      <a:pt x="5493" y="885"/>
                      <a:pt x="5482" y="875"/>
                      <a:pt x="5466" y="875"/>
                    </a:cubicBezTo>
                    <a:cubicBezTo>
                      <a:pt x="5356" y="875"/>
                      <a:pt x="4977" y="1304"/>
                      <a:pt x="4945" y="1319"/>
                    </a:cubicBezTo>
                    <a:cubicBezTo>
                      <a:pt x="4842" y="1421"/>
                      <a:pt x="4760" y="1524"/>
                      <a:pt x="4674" y="1643"/>
                    </a:cubicBezTo>
                    <a:cubicBezTo>
                      <a:pt x="4312" y="978"/>
                      <a:pt x="3664" y="17"/>
                      <a:pt x="205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60" name="Google Shape;460;p24"/>
              <p:cNvSpPr/>
              <p:nvPr/>
            </p:nvSpPr>
            <p:spPr>
              <a:xfrm>
                <a:off x="2243250" y="2714950"/>
                <a:ext cx="2575" cy="4450"/>
              </a:xfrm>
              <a:custGeom>
                <a:avLst/>
                <a:gdLst/>
                <a:ahLst/>
                <a:cxnLst/>
                <a:rect l="l" t="t" r="r" b="b"/>
                <a:pathLst>
                  <a:path w="103" h="178" extrusionOk="0">
                    <a:moveTo>
                      <a:pt x="32" y="0"/>
                    </a:moveTo>
                    <a:cubicBezTo>
                      <a:pt x="29" y="0"/>
                      <a:pt x="26" y="3"/>
                      <a:pt x="21" y="9"/>
                    </a:cubicBezTo>
                    <a:cubicBezTo>
                      <a:pt x="0" y="25"/>
                      <a:pt x="0" y="42"/>
                      <a:pt x="0" y="58"/>
                    </a:cubicBezTo>
                    <a:cubicBezTo>
                      <a:pt x="21" y="91"/>
                      <a:pt x="37" y="128"/>
                      <a:pt x="37" y="144"/>
                    </a:cubicBezTo>
                    <a:cubicBezTo>
                      <a:pt x="54" y="161"/>
                      <a:pt x="70" y="177"/>
                      <a:pt x="86" y="177"/>
                    </a:cubicBezTo>
                    <a:cubicBezTo>
                      <a:pt x="103" y="161"/>
                      <a:pt x="103" y="144"/>
                      <a:pt x="103" y="128"/>
                    </a:cubicBezTo>
                    <a:cubicBezTo>
                      <a:pt x="103" y="75"/>
                      <a:pt x="86" y="42"/>
                      <a:pt x="54" y="25"/>
                    </a:cubicBezTo>
                    <a:cubicBezTo>
                      <a:pt x="42" y="14"/>
                      <a:pt x="39" y="0"/>
                      <a:pt x="3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61" name="Google Shape;461;p24"/>
              <p:cNvSpPr/>
              <p:nvPr/>
            </p:nvSpPr>
            <p:spPr>
              <a:xfrm>
                <a:off x="2239450" y="2718550"/>
                <a:ext cx="30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68" extrusionOk="0">
                    <a:moveTo>
                      <a:pt x="17" y="0"/>
                    </a:moveTo>
                    <a:cubicBezTo>
                      <a:pt x="0" y="17"/>
                      <a:pt x="0" y="33"/>
                      <a:pt x="0" y="50"/>
                    </a:cubicBezTo>
                    <a:cubicBezTo>
                      <a:pt x="0" y="103"/>
                      <a:pt x="17" y="136"/>
                      <a:pt x="49" y="152"/>
                    </a:cubicBezTo>
                    <a:cubicBezTo>
                      <a:pt x="60" y="163"/>
                      <a:pt x="69" y="168"/>
                      <a:pt x="78" y="168"/>
                    </a:cubicBezTo>
                    <a:cubicBezTo>
                      <a:pt x="86" y="168"/>
                      <a:pt x="95" y="163"/>
                      <a:pt x="103" y="152"/>
                    </a:cubicBezTo>
                    <a:cubicBezTo>
                      <a:pt x="119" y="152"/>
                      <a:pt x="119" y="119"/>
                      <a:pt x="103" y="103"/>
                    </a:cubicBezTo>
                    <a:cubicBezTo>
                      <a:pt x="86" y="87"/>
                      <a:pt x="86" y="50"/>
                      <a:pt x="70" y="33"/>
                    </a:cubicBezTo>
                    <a:cubicBezTo>
                      <a:pt x="49" y="0"/>
                      <a:pt x="33" y="0"/>
                      <a:pt x="1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62" name="Google Shape;462;p24"/>
              <p:cNvSpPr/>
              <p:nvPr/>
            </p:nvSpPr>
            <p:spPr>
              <a:xfrm>
                <a:off x="2253100" y="2655625"/>
                <a:ext cx="53500" cy="50525"/>
              </a:xfrm>
              <a:custGeom>
                <a:avLst/>
                <a:gdLst/>
                <a:ahLst/>
                <a:cxnLst/>
                <a:rect l="l" t="t" r="r" b="b"/>
                <a:pathLst>
                  <a:path w="2140" h="2021" extrusionOk="0">
                    <a:moveTo>
                      <a:pt x="875" y="0"/>
                    </a:moveTo>
                    <a:cubicBezTo>
                      <a:pt x="789" y="0"/>
                      <a:pt x="719" y="37"/>
                      <a:pt x="653" y="70"/>
                    </a:cubicBezTo>
                    <a:cubicBezTo>
                      <a:pt x="583" y="124"/>
                      <a:pt x="497" y="156"/>
                      <a:pt x="448" y="206"/>
                    </a:cubicBezTo>
                    <a:cubicBezTo>
                      <a:pt x="308" y="308"/>
                      <a:pt x="206" y="448"/>
                      <a:pt x="140" y="600"/>
                    </a:cubicBezTo>
                    <a:cubicBezTo>
                      <a:pt x="70" y="756"/>
                      <a:pt x="37" y="908"/>
                      <a:pt x="0" y="1080"/>
                    </a:cubicBezTo>
                    <a:lnTo>
                      <a:pt x="0" y="1166"/>
                    </a:lnTo>
                    <a:cubicBezTo>
                      <a:pt x="17" y="1166"/>
                      <a:pt x="17" y="1183"/>
                      <a:pt x="17" y="1183"/>
                    </a:cubicBezTo>
                    <a:cubicBezTo>
                      <a:pt x="54" y="1696"/>
                      <a:pt x="448" y="2021"/>
                      <a:pt x="1027" y="2021"/>
                    </a:cubicBezTo>
                    <a:cubicBezTo>
                      <a:pt x="1610" y="2004"/>
                      <a:pt x="2140" y="1680"/>
                      <a:pt x="2140" y="1166"/>
                    </a:cubicBezTo>
                    <a:cubicBezTo>
                      <a:pt x="2124" y="678"/>
                      <a:pt x="1722" y="343"/>
                      <a:pt x="1167" y="343"/>
                    </a:cubicBezTo>
                    <a:cubicBezTo>
                      <a:pt x="1139" y="343"/>
                      <a:pt x="1110" y="343"/>
                      <a:pt x="1080" y="345"/>
                    </a:cubicBezTo>
                    <a:cubicBezTo>
                      <a:pt x="1113" y="308"/>
                      <a:pt x="1113" y="243"/>
                      <a:pt x="1113" y="189"/>
                    </a:cubicBezTo>
                    <a:lnTo>
                      <a:pt x="1097" y="173"/>
                    </a:lnTo>
                    <a:cubicBezTo>
                      <a:pt x="1097" y="156"/>
                      <a:pt x="1097" y="124"/>
                      <a:pt x="1080" y="103"/>
                    </a:cubicBezTo>
                    <a:cubicBezTo>
                      <a:pt x="1027" y="37"/>
                      <a:pt x="961" y="0"/>
                      <a:pt x="875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63" name="Google Shape;463;p24"/>
              <p:cNvSpPr/>
              <p:nvPr/>
            </p:nvSpPr>
            <p:spPr>
              <a:xfrm>
                <a:off x="2253100" y="2655625"/>
                <a:ext cx="27850" cy="29175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167" extrusionOk="0">
                    <a:moveTo>
                      <a:pt x="875" y="0"/>
                    </a:moveTo>
                    <a:cubicBezTo>
                      <a:pt x="789" y="0"/>
                      <a:pt x="719" y="37"/>
                      <a:pt x="653" y="70"/>
                    </a:cubicBezTo>
                    <a:cubicBezTo>
                      <a:pt x="583" y="124"/>
                      <a:pt x="497" y="156"/>
                      <a:pt x="448" y="206"/>
                    </a:cubicBezTo>
                    <a:cubicBezTo>
                      <a:pt x="308" y="308"/>
                      <a:pt x="206" y="448"/>
                      <a:pt x="140" y="600"/>
                    </a:cubicBezTo>
                    <a:cubicBezTo>
                      <a:pt x="70" y="756"/>
                      <a:pt x="37" y="908"/>
                      <a:pt x="0" y="1080"/>
                    </a:cubicBezTo>
                    <a:lnTo>
                      <a:pt x="0" y="1166"/>
                    </a:lnTo>
                    <a:cubicBezTo>
                      <a:pt x="54" y="1047"/>
                      <a:pt x="119" y="945"/>
                      <a:pt x="189" y="842"/>
                    </a:cubicBezTo>
                    <a:cubicBezTo>
                      <a:pt x="378" y="567"/>
                      <a:pt x="633" y="329"/>
                      <a:pt x="961" y="226"/>
                    </a:cubicBezTo>
                    <a:cubicBezTo>
                      <a:pt x="1010" y="206"/>
                      <a:pt x="1064" y="206"/>
                      <a:pt x="1113" y="189"/>
                    </a:cubicBezTo>
                    <a:lnTo>
                      <a:pt x="1097" y="173"/>
                    </a:lnTo>
                    <a:cubicBezTo>
                      <a:pt x="1097" y="156"/>
                      <a:pt x="1097" y="124"/>
                      <a:pt x="1080" y="103"/>
                    </a:cubicBezTo>
                    <a:cubicBezTo>
                      <a:pt x="1027" y="37"/>
                      <a:pt x="961" y="0"/>
                      <a:pt x="875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64" name="Google Shape;464;p24"/>
              <p:cNvSpPr/>
              <p:nvPr/>
            </p:nvSpPr>
            <p:spPr>
              <a:xfrm>
                <a:off x="2261200" y="2670875"/>
                <a:ext cx="32975" cy="27825"/>
              </a:xfrm>
              <a:custGeom>
                <a:avLst/>
                <a:gdLst/>
                <a:ahLst/>
                <a:cxnLst/>
                <a:rect l="l" t="t" r="r" b="b"/>
                <a:pathLst>
                  <a:path w="1319" h="1113" extrusionOk="0">
                    <a:moveTo>
                      <a:pt x="695" y="0"/>
                    </a:moveTo>
                    <a:cubicBezTo>
                      <a:pt x="589" y="0"/>
                      <a:pt x="481" y="30"/>
                      <a:pt x="378" y="76"/>
                    </a:cubicBezTo>
                    <a:cubicBezTo>
                      <a:pt x="259" y="146"/>
                      <a:pt x="157" y="232"/>
                      <a:pt x="87" y="351"/>
                    </a:cubicBezTo>
                    <a:cubicBezTo>
                      <a:pt x="21" y="470"/>
                      <a:pt x="1" y="622"/>
                      <a:pt x="54" y="745"/>
                    </a:cubicBezTo>
                    <a:cubicBezTo>
                      <a:pt x="87" y="848"/>
                      <a:pt x="157" y="914"/>
                      <a:pt x="243" y="984"/>
                    </a:cubicBezTo>
                    <a:cubicBezTo>
                      <a:pt x="358" y="1066"/>
                      <a:pt x="498" y="1112"/>
                      <a:pt x="636" y="1112"/>
                    </a:cubicBezTo>
                    <a:cubicBezTo>
                      <a:pt x="724" y="1112"/>
                      <a:pt x="812" y="1093"/>
                      <a:pt x="892" y="1053"/>
                    </a:cubicBezTo>
                    <a:cubicBezTo>
                      <a:pt x="1302" y="848"/>
                      <a:pt x="1319" y="195"/>
                      <a:pt x="859" y="27"/>
                    </a:cubicBezTo>
                    <a:cubicBezTo>
                      <a:pt x="805" y="8"/>
                      <a:pt x="750" y="0"/>
                      <a:pt x="695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65" name="Google Shape;465;p24"/>
              <p:cNvSpPr/>
              <p:nvPr/>
            </p:nvSpPr>
            <p:spPr>
              <a:xfrm>
                <a:off x="2250950" y="2654400"/>
                <a:ext cx="60375" cy="53000"/>
              </a:xfrm>
              <a:custGeom>
                <a:avLst/>
                <a:gdLst/>
                <a:ahLst/>
                <a:cxnLst/>
                <a:rect l="l" t="t" r="r" b="b"/>
                <a:pathLst>
                  <a:path w="2415" h="2120" extrusionOk="0">
                    <a:moveTo>
                      <a:pt x="961" y="136"/>
                    </a:moveTo>
                    <a:cubicBezTo>
                      <a:pt x="994" y="136"/>
                      <a:pt x="1047" y="152"/>
                      <a:pt x="1064" y="173"/>
                    </a:cubicBezTo>
                    <a:lnTo>
                      <a:pt x="1080" y="189"/>
                    </a:lnTo>
                    <a:cubicBezTo>
                      <a:pt x="1080" y="189"/>
                      <a:pt x="1080" y="205"/>
                      <a:pt x="1096" y="205"/>
                    </a:cubicBezTo>
                    <a:cubicBezTo>
                      <a:pt x="1096" y="222"/>
                      <a:pt x="1096" y="238"/>
                      <a:pt x="1113" y="255"/>
                    </a:cubicBezTo>
                    <a:cubicBezTo>
                      <a:pt x="1113" y="292"/>
                      <a:pt x="1096" y="324"/>
                      <a:pt x="1080" y="378"/>
                    </a:cubicBezTo>
                    <a:cubicBezTo>
                      <a:pt x="1064" y="411"/>
                      <a:pt x="1047" y="460"/>
                      <a:pt x="1027" y="497"/>
                    </a:cubicBezTo>
                    <a:cubicBezTo>
                      <a:pt x="977" y="583"/>
                      <a:pt x="924" y="665"/>
                      <a:pt x="858" y="735"/>
                    </a:cubicBezTo>
                    <a:cubicBezTo>
                      <a:pt x="821" y="751"/>
                      <a:pt x="821" y="768"/>
                      <a:pt x="842" y="788"/>
                    </a:cubicBezTo>
                    <a:cubicBezTo>
                      <a:pt x="853" y="800"/>
                      <a:pt x="873" y="812"/>
                      <a:pt x="890" y="812"/>
                    </a:cubicBezTo>
                    <a:cubicBezTo>
                      <a:pt x="897" y="812"/>
                      <a:pt x="903" y="810"/>
                      <a:pt x="908" y="805"/>
                    </a:cubicBezTo>
                    <a:cubicBezTo>
                      <a:pt x="994" y="735"/>
                      <a:pt x="1080" y="665"/>
                      <a:pt x="1129" y="563"/>
                    </a:cubicBezTo>
                    <a:cubicBezTo>
                      <a:pt x="1150" y="530"/>
                      <a:pt x="1166" y="497"/>
                      <a:pt x="1183" y="460"/>
                    </a:cubicBezTo>
                    <a:cubicBezTo>
                      <a:pt x="1355" y="460"/>
                      <a:pt x="1523" y="513"/>
                      <a:pt x="1696" y="583"/>
                    </a:cubicBezTo>
                    <a:cubicBezTo>
                      <a:pt x="1848" y="649"/>
                      <a:pt x="1971" y="751"/>
                      <a:pt x="2053" y="908"/>
                    </a:cubicBezTo>
                    <a:lnTo>
                      <a:pt x="2037" y="908"/>
                    </a:lnTo>
                    <a:cubicBezTo>
                      <a:pt x="1899" y="852"/>
                      <a:pt x="1761" y="822"/>
                      <a:pt x="1622" y="822"/>
                    </a:cubicBezTo>
                    <a:cubicBezTo>
                      <a:pt x="1504" y="822"/>
                      <a:pt x="1386" y="844"/>
                      <a:pt x="1269" y="891"/>
                    </a:cubicBezTo>
                    <a:cubicBezTo>
                      <a:pt x="1216" y="908"/>
                      <a:pt x="1166" y="924"/>
                      <a:pt x="1113" y="973"/>
                    </a:cubicBezTo>
                    <a:cubicBezTo>
                      <a:pt x="1113" y="973"/>
                      <a:pt x="1096" y="994"/>
                      <a:pt x="1096" y="1010"/>
                    </a:cubicBezTo>
                    <a:cubicBezTo>
                      <a:pt x="1113" y="1027"/>
                      <a:pt x="1129" y="1027"/>
                      <a:pt x="1150" y="1027"/>
                    </a:cubicBezTo>
                    <a:cubicBezTo>
                      <a:pt x="1199" y="1010"/>
                      <a:pt x="1252" y="1010"/>
                      <a:pt x="1302" y="994"/>
                    </a:cubicBezTo>
                    <a:cubicBezTo>
                      <a:pt x="1413" y="962"/>
                      <a:pt x="1524" y="944"/>
                      <a:pt x="1635" y="944"/>
                    </a:cubicBezTo>
                    <a:cubicBezTo>
                      <a:pt x="1713" y="944"/>
                      <a:pt x="1791" y="953"/>
                      <a:pt x="1868" y="973"/>
                    </a:cubicBezTo>
                    <a:cubicBezTo>
                      <a:pt x="2156" y="1043"/>
                      <a:pt x="2176" y="1076"/>
                      <a:pt x="2107" y="1384"/>
                    </a:cubicBezTo>
                    <a:cubicBezTo>
                      <a:pt x="2097" y="1444"/>
                      <a:pt x="2093" y="1469"/>
                      <a:pt x="2073" y="1469"/>
                    </a:cubicBezTo>
                    <a:cubicBezTo>
                      <a:pt x="2060" y="1469"/>
                      <a:pt x="2039" y="1457"/>
                      <a:pt x="2004" y="1437"/>
                    </a:cubicBezTo>
                    <a:cubicBezTo>
                      <a:pt x="1852" y="1351"/>
                      <a:pt x="1699" y="1305"/>
                      <a:pt x="1542" y="1305"/>
                    </a:cubicBezTo>
                    <a:cubicBezTo>
                      <a:pt x="1452" y="1305"/>
                      <a:pt x="1361" y="1320"/>
                      <a:pt x="1269" y="1351"/>
                    </a:cubicBezTo>
                    <a:cubicBezTo>
                      <a:pt x="1232" y="1351"/>
                      <a:pt x="1199" y="1367"/>
                      <a:pt x="1199" y="1421"/>
                    </a:cubicBezTo>
                    <a:cubicBezTo>
                      <a:pt x="1207" y="1437"/>
                      <a:pt x="1221" y="1441"/>
                      <a:pt x="1236" y="1441"/>
                    </a:cubicBezTo>
                    <a:cubicBezTo>
                      <a:pt x="1251" y="1441"/>
                      <a:pt x="1269" y="1437"/>
                      <a:pt x="1285" y="1437"/>
                    </a:cubicBezTo>
                    <a:lnTo>
                      <a:pt x="1318" y="1437"/>
                    </a:lnTo>
                    <a:cubicBezTo>
                      <a:pt x="1382" y="1428"/>
                      <a:pt x="1446" y="1422"/>
                      <a:pt x="1510" y="1422"/>
                    </a:cubicBezTo>
                    <a:cubicBezTo>
                      <a:pt x="1668" y="1422"/>
                      <a:pt x="1825" y="1455"/>
                      <a:pt x="1971" y="1540"/>
                    </a:cubicBezTo>
                    <a:cubicBezTo>
                      <a:pt x="2020" y="1573"/>
                      <a:pt x="2004" y="1589"/>
                      <a:pt x="1971" y="1643"/>
                    </a:cubicBezTo>
                    <a:cubicBezTo>
                      <a:pt x="1815" y="1831"/>
                      <a:pt x="1610" y="1934"/>
                      <a:pt x="1355" y="1967"/>
                    </a:cubicBezTo>
                    <a:cubicBezTo>
                      <a:pt x="1272" y="1987"/>
                      <a:pt x="1188" y="1997"/>
                      <a:pt x="1106" y="1997"/>
                    </a:cubicBezTo>
                    <a:cubicBezTo>
                      <a:pt x="899" y="1997"/>
                      <a:pt x="698" y="1935"/>
                      <a:pt x="513" y="1815"/>
                    </a:cubicBezTo>
                    <a:cubicBezTo>
                      <a:pt x="361" y="1729"/>
                      <a:pt x="242" y="1589"/>
                      <a:pt x="205" y="1404"/>
                    </a:cubicBezTo>
                    <a:cubicBezTo>
                      <a:pt x="173" y="1318"/>
                      <a:pt x="156" y="1146"/>
                      <a:pt x="156" y="1146"/>
                    </a:cubicBezTo>
                    <a:cubicBezTo>
                      <a:pt x="156" y="973"/>
                      <a:pt x="226" y="788"/>
                      <a:pt x="308" y="632"/>
                    </a:cubicBezTo>
                    <a:cubicBezTo>
                      <a:pt x="345" y="546"/>
                      <a:pt x="411" y="480"/>
                      <a:pt x="481" y="411"/>
                    </a:cubicBezTo>
                    <a:cubicBezTo>
                      <a:pt x="550" y="341"/>
                      <a:pt x="616" y="275"/>
                      <a:pt x="702" y="222"/>
                    </a:cubicBezTo>
                    <a:cubicBezTo>
                      <a:pt x="788" y="173"/>
                      <a:pt x="875" y="136"/>
                      <a:pt x="961" y="136"/>
                    </a:cubicBezTo>
                    <a:close/>
                    <a:moveTo>
                      <a:pt x="961" y="0"/>
                    </a:moveTo>
                    <a:cubicBezTo>
                      <a:pt x="842" y="0"/>
                      <a:pt x="719" y="49"/>
                      <a:pt x="637" y="103"/>
                    </a:cubicBezTo>
                    <a:cubicBezTo>
                      <a:pt x="534" y="173"/>
                      <a:pt x="464" y="238"/>
                      <a:pt x="378" y="324"/>
                    </a:cubicBezTo>
                    <a:cubicBezTo>
                      <a:pt x="308" y="394"/>
                      <a:pt x="242" y="480"/>
                      <a:pt x="189" y="583"/>
                    </a:cubicBezTo>
                    <a:cubicBezTo>
                      <a:pt x="103" y="751"/>
                      <a:pt x="0" y="973"/>
                      <a:pt x="21" y="1179"/>
                    </a:cubicBezTo>
                    <a:cubicBezTo>
                      <a:pt x="21" y="1454"/>
                      <a:pt x="140" y="1675"/>
                      <a:pt x="378" y="1864"/>
                    </a:cubicBezTo>
                    <a:cubicBezTo>
                      <a:pt x="595" y="2039"/>
                      <a:pt x="842" y="2119"/>
                      <a:pt x="1113" y="2119"/>
                    </a:cubicBezTo>
                    <a:cubicBezTo>
                      <a:pt x="1185" y="2119"/>
                      <a:pt x="1259" y="2114"/>
                      <a:pt x="1335" y="2102"/>
                    </a:cubicBezTo>
                    <a:cubicBezTo>
                      <a:pt x="1610" y="2070"/>
                      <a:pt x="1848" y="1950"/>
                      <a:pt x="2037" y="1745"/>
                    </a:cubicBezTo>
                    <a:cubicBezTo>
                      <a:pt x="2209" y="1573"/>
                      <a:pt x="2414" y="1215"/>
                      <a:pt x="2139" y="805"/>
                    </a:cubicBezTo>
                    <a:cubicBezTo>
                      <a:pt x="2020" y="600"/>
                      <a:pt x="1831" y="480"/>
                      <a:pt x="1593" y="411"/>
                    </a:cubicBezTo>
                    <a:cubicBezTo>
                      <a:pt x="1474" y="378"/>
                      <a:pt x="1355" y="357"/>
                      <a:pt x="1232" y="357"/>
                    </a:cubicBezTo>
                    <a:lnTo>
                      <a:pt x="1232" y="341"/>
                    </a:lnTo>
                    <a:cubicBezTo>
                      <a:pt x="1252" y="308"/>
                      <a:pt x="1252" y="275"/>
                      <a:pt x="1252" y="238"/>
                    </a:cubicBezTo>
                    <a:cubicBezTo>
                      <a:pt x="1232" y="205"/>
                      <a:pt x="1232" y="173"/>
                      <a:pt x="1216" y="136"/>
                    </a:cubicBezTo>
                    <a:lnTo>
                      <a:pt x="1183" y="103"/>
                    </a:lnTo>
                    <a:cubicBezTo>
                      <a:pt x="1183" y="86"/>
                      <a:pt x="1166" y="70"/>
                      <a:pt x="1150" y="49"/>
                    </a:cubicBezTo>
                    <a:cubicBezTo>
                      <a:pt x="1080" y="16"/>
                      <a:pt x="1010" y="0"/>
                      <a:pt x="96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66" name="Google Shape;466;p24"/>
              <p:cNvSpPr/>
              <p:nvPr/>
            </p:nvSpPr>
            <p:spPr>
              <a:xfrm>
                <a:off x="2233900" y="2627325"/>
                <a:ext cx="37175" cy="9850"/>
              </a:xfrm>
              <a:custGeom>
                <a:avLst/>
                <a:gdLst/>
                <a:ahLst/>
                <a:cxnLst/>
                <a:rect l="l" t="t" r="r" b="b"/>
                <a:pathLst>
                  <a:path w="1487" h="394" extrusionOk="0">
                    <a:moveTo>
                      <a:pt x="78" y="1"/>
                    </a:moveTo>
                    <a:cubicBezTo>
                      <a:pt x="48" y="1"/>
                      <a:pt x="11" y="7"/>
                      <a:pt x="0" y="40"/>
                    </a:cubicBezTo>
                    <a:cubicBezTo>
                      <a:pt x="0" y="89"/>
                      <a:pt x="169" y="106"/>
                      <a:pt x="239" y="126"/>
                    </a:cubicBezTo>
                    <a:cubicBezTo>
                      <a:pt x="719" y="143"/>
                      <a:pt x="1093" y="262"/>
                      <a:pt x="1384" y="381"/>
                    </a:cubicBezTo>
                    <a:cubicBezTo>
                      <a:pt x="1392" y="389"/>
                      <a:pt x="1410" y="393"/>
                      <a:pt x="1427" y="393"/>
                    </a:cubicBezTo>
                    <a:cubicBezTo>
                      <a:pt x="1445" y="393"/>
                      <a:pt x="1462" y="389"/>
                      <a:pt x="1470" y="381"/>
                    </a:cubicBezTo>
                    <a:cubicBezTo>
                      <a:pt x="1487" y="364"/>
                      <a:pt x="1454" y="332"/>
                      <a:pt x="1438" y="332"/>
                    </a:cubicBezTo>
                    <a:cubicBezTo>
                      <a:pt x="1249" y="192"/>
                      <a:pt x="990" y="89"/>
                      <a:pt x="666" y="40"/>
                    </a:cubicBezTo>
                    <a:cubicBezTo>
                      <a:pt x="497" y="24"/>
                      <a:pt x="308" y="24"/>
                      <a:pt x="120" y="3"/>
                    </a:cubicBezTo>
                    <a:cubicBezTo>
                      <a:pt x="113" y="3"/>
                      <a:pt x="97" y="1"/>
                      <a:pt x="78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67" name="Google Shape;467;p24"/>
              <p:cNvSpPr/>
              <p:nvPr/>
            </p:nvSpPr>
            <p:spPr>
              <a:xfrm>
                <a:off x="2233900" y="2608475"/>
                <a:ext cx="43650" cy="7725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309" extrusionOk="0">
                    <a:moveTo>
                      <a:pt x="1276" y="1"/>
                    </a:moveTo>
                    <a:cubicBezTo>
                      <a:pt x="923" y="1"/>
                      <a:pt x="581" y="33"/>
                      <a:pt x="239" y="141"/>
                    </a:cubicBezTo>
                    <a:cubicBezTo>
                      <a:pt x="189" y="162"/>
                      <a:pt x="136" y="178"/>
                      <a:pt x="87" y="211"/>
                    </a:cubicBezTo>
                    <a:cubicBezTo>
                      <a:pt x="33" y="227"/>
                      <a:pt x="0" y="264"/>
                      <a:pt x="0" y="281"/>
                    </a:cubicBezTo>
                    <a:cubicBezTo>
                      <a:pt x="10" y="300"/>
                      <a:pt x="25" y="308"/>
                      <a:pt x="36" y="308"/>
                    </a:cubicBezTo>
                    <a:cubicBezTo>
                      <a:pt x="44" y="308"/>
                      <a:pt x="50" y="304"/>
                      <a:pt x="50" y="297"/>
                    </a:cubicBezTo>
                    <a:cubicBezTo>
                      <a:pt x="136" y="297"/>
                      <a:pt x="206" y="264"/>
                      <a:pt x="271" y="244"/>
                    </a:cubicBezTo>
                    <a:cubicBezTo>
                      <a:pt x="579" y="162"/>
                      <a:pt x="887" y="125"/>
                      <a:pt x="1216" y="108"/>
                    </a:cubicBezTo>
                    <a:cubicBezTo>
                      <a:pt x="1351" y="92"/>
                      <a:pt x="1503" y="92"/>
                      <a:pt x="1643" y="92"/>
                    </a:cubicBezTo>
                    <a:cubicBezTo>
                      <a:pt x="1676" y="76"/>
                      <a:pt x="1746" y="76"/>
                      <a:pt x="1746" y="59"/>
                    </a:cubicBezTo>
                    <a:cubicBezTo>
                      <a:pt x="1746" y="22"/>
                      <a:pt x="1606" y="6"/>
                      <a:pt x="1540" y="6"/>
                    </a:cubicBezTo>
                    <a:cubicBezTo>
                      <a:pt x="1451" y="2"/>
                      <a:pt x="1364" y="1"/>
                      <a:pt x="1276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68" name="Google Shape;468;p24"/>
              <p:cNvSpPr/>
              <p:nvPr/>
            </p:nvSpPr>
            <p:spPr>
              <a:xfrm>
                <a:off x="2233900" y="2618375"/>
                <a:ext cx="43650" cy="5350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214" extrusionOk="0">
                    <a:moveTo>
                      <a:pt x="688" y="0"/>
                    </a:moveTo>
                    <a:cubicBezTo>
                      <a:pt x="488" y="0"/>
                      <a:pt x="287" y="20"/>
                      <a:pt x="87" y="74"/>
                    </a:cubicBezTo>
                    <a:cubicBezTo>
                      <a:pt x="50" y="74"/>
                      <a:pt x="0" y="74"/>
                      <a:pt x="0" y="123"/>
                    </a:cubicBezTo>
                    <a:cubicBezTo>
                      <a:pt x="0" y="153"/>
                      <a:pt x="16" y="160"/>
                      <a:pt x="37" y="160"/>
                    </a:cubicBezTo>
                    <a:cubicBezTo>
                      <a:pt x="52" y="160"/>
                      <a:pt x="71" y="156"/>
                      <a:pt x="87" y="156"/>
                    </a:cubicBezTo>
                    <a:cubicBezTo>
                      <a:pt x="189" y="139"/>
                      <a:pt x="292" y="139"/>
                      <a:pt x="395" y="123"/>
                    </a:cubicBezTo>
                    <a:cubicBezTo>
                      <a:pt x="498" y="114"/>
                      <a:pt x="602" y="110"/>
                      <a:pt x="706" y="110"/>
                    </a:cubicBezTo>
                    <a:cubicBezTo>
                      <a:pt x="994" y="110"/>
                      <a:pt x="1284" y="142"/>
                      <a:pt x="1573" y="193"/>
                    </a:cubicBezTo>
                    <a:cubicBezTo>
                      <a:pt x="1616" y="193"/>
                      <a:pt x="1690" y="214"/>
                      <a:pt x="1718" y="214"/>
                    </a:cubicBezTo>
                    <a:cubicBezTo>
                      <a:pt x="1725" y="214"/>
                      <a:pt x="1729" y="213"/>
                      <a:pt x="1729" y="209"/>
                    </a:cubicBezTo>
                    <a:cubicBezTo>
                      <a:pt x="1746" y="176"/>
                      <a:pt x="1659" y="139"/>
                      <a:pt x="1626" y="123"/>
                    </a:cubicBezTo>
                    <a:cubicBezTo>
                      <a:pt x="1438" y="53"/>
                      <a:pt x="1249" y="37"/>
                      <a:pt x="1060" y="20"/>
                    </a:cubicBezTo>
                    <a:cubicBezTo>
                      <a:pt x="936" y="8"/>
                      <a:pt x="812" y="0"/>
                      <a:pt x="68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69" name="Google Shape;469;p24"/>
              <p:cNvSpPr/>
              <p:nvPr/>
            </p:nvSpPr>
            <p:spPr>
              <a:xfrm>
                <a:off x="2153000" y="2439925"/>
                <a:ext cx="55675" cy="104125"/>
              </a:xfrm>
              <a:custGeom>
                <a:avLst/>
                <a:gdLst/>
                <a:ahLst/>
                <a:cxnLst/>
                <a:rect l="l" t="t" r="r" b="b"/>
                <a:pathLst>
                  <a:path w="2227" h="4165" extrusionOk="0">
                    <a:moveTo>
                      <a:pt x="711" y="1"/>
                    </a:moveTo>
                    <a:cubicBezTo>
                      <a:pt x="636" y="1"/>
                      <a:pt x="569" y="13"/>
                      <a:pt x="514" y="26"/>
                    </a:cubicBezTo>
                    <a:cubicBezTo>
                      <a:pt x="292" y="75"/>
                      <a:pt x="1" y="400"/>
                      <a:pt x="120" y="1258"/>
                    </a:cubicBezTo>
                    <a:cubicBezTo>
                      <a:pt x="223" y="2128"/>
                      <a:pt x="1114" y="4165"/>
                      <a:pt x="1114" y="4165"/>
                    </a:cubicBezTo>
                    <a:lnTo>
                      <a:pt x="2226" y="4029"/>
                    </a:lnTo>
                    <a:cubicBezTo>
                      <a:pt x="2173" y="3274"/>
                      <a:pt x="1886" y="1291"/>
                      <a:pt x="1508" y="621"/>
                    </a:cubicBezTo>
                    <a:cubicBezTo>
                      <a:pt x="1237" y="110"/>
                      <a:pt x="938" y="1"/>
                      <a:pt x="71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70" name="Google Shape;470;p24"/>
              <p:cNvSpPr/>
              <p:nvPr/>
            </p:nvSpPr>
            <p:spPr>
              <a:xfrm>
                <a:off x="2153000" y="2439875"/>
                <a:ext cx="55675" cy="104175"/>
              </a:xfrm>
              <a:custGeom>
                <a:avLst/>
                <a:gdLst/>
                <a:ahLst/>
                <a:cxnLst/>
                <a:rect l="l" t="t" r="r" b="b"/>
                <a:pathLst>
                  <a:path w="2227" h="4167" extrusionOk="0">
                    <a:moveTo>
                      <a:pt x="707" y="0"/>
                    </a:moveTo>
                    <a:cubicBezTo>
                      <a:pt x="669" y="0"/>
                      <a:pt x="633" y="3"/>
                      <a:pt x="600" y="7"/>
                    </a:cubicBezTo>
                    <a:cubicBezTo>
                      <a:pt x="567" y="7"/>
                      <a:pt x="551" y="28"/>
                      <a:pt x="514" y="28"/>
                    </a:cubicBezTo>
                    <a:cubicBezTo>
                      <a:pt x="292" y="77"/>
                      <a:pt x="1" y="402"/>
                      <a:pt x="120" y="1260"/>
                    </a:cubicBezTo>
                    <a:cubicBezTo>
                      <a:pt x="223" y="2130"/>
                      <a:pt x="1114" y="4167"/>
                      <a:pt x="1114" y="4167"/>
                    </a:cubicBezTo>
                    <a:lnTo>
                      <a:pt x="1697" y="4097"/>
                    </a:lnTo>
                    <a:lnTo>
                      <a:pt x="2226" y="4031"/>
                    </a:lnTo>
                    <a:cubicBezTo>
                      <a:pt x="2173" y="3276"/>
                      <a:pt x="1886" y="1293"/>
                      <a:pt x="1508" y="623"/>
                    </a:cubicBezTo>
                    <a:cubicBezTo>
                      <a:pt x="1243" y="111"/>
                      <a:pt x="938" y="0"/>
                      <a:pt x="707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71" name="Google Shape;471;p24"/>
              <p:cNvSpPr/>
              <p:nvPr/>
            </p:nvSpPr>
            <p:spPr>
              <a:xfrm>
                <a:off x="2168000" y="2439875"/>
                <a:ext cx="40675" cy="102450"/>
              </a:xfrm>
              <a:custGeom>
                <a:avLst/>
                <a:gdLst/>
                <a:ahLst/>
                <a:cxnLst/>
                <a:rect l="l" t="t" r="r" b="b"/>
                <a:pathLst>
                  <a:path w="1627" h="4098" extrusionOk="0">
                    <a:moveTo>
                      <a:pt x="107" y="0"/>
                    </a:moveTo>
                    <a:cubicBezTo>
                      <a:pt x="69" y="0"/>
                      <a:pt x="33" y="3"/>
                      <a:pt x="0" y="7"/>
                    </a:cubicBezTo>
                    <a:cubicBezTo>
                      <a:pt x="33" y="28"/>
                      <a:pt x="54" y="61"/>
                      <a:pt x="70" y="77"/>
                    </a:cubicBezTo>
                    <a:cubicBezTo>
                      <a:pt x="481" y="591"/>
                      <a:pt x="686" y="1223"/>
                      <a:pt x="875" y="1855"/>
                    </a:cubicBezTo>
                    <a:cubicBezTo>
                      <a:pt x="1010" y="2352"/>
                      <a:pt x="1146" y="2849"/>
                      <a:pt x="1130" y="3362"/>
                    </a:cubicBezTo>
                    <a:cubicBezTo>
                      <a:pt x="1113" y="3584"/>
                      <a:pt x="1080" y="3806"/>
                      <a:pt x="1080" y="4031"/>
                    </a:cubicBezTo>
                    <a:lnTo>
                      <a:pt x="1080" y="4081"/>
                    </a:lnTo>
                    <a:lnTo>
                      <a:pt x="1097" y="4097"/>
                    </a:lnTo>
                    <a:lnTo>
                      <a:pt x="1626" y="4031"/>
                    </a:lnTo>
                    <a:cubicBezTo>
                      <a:pt x="1573" y="3276"/>
                      <a:pt x="1286" y="1293"/>
                      <a:pt x="908" y="623"/>
                    </a:cubicBezTo>
                    <a:cubicBezTo>
                      <a:pt x="643" y="111"/>
                      <a:pt x="338" y="0"/>
                      <a:pt x="10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72" name="Google Shape;472;p24"/>
              <p:cNvSpPr/>
              <p:nvPr/>
            </p:nvSpPr>
            <p:spPr>
              <a:xfrm>
                <a:off x="2153425" y="2438250"/>
                <a:ext cx="57000" cy="106800"/>
              </a:xfrm>
              <a:custGeom>
                <a:avLst/>
                <a:gdLst/>
                <a:ahLst/>
                <a:cxnLst/>
                <a:rect l="l" t="t" r="r" b="b"/>
                <a:pathLst>
                  <a:path w="2280" h="4272" extrusionOk="0">
                    <a:moveTo>
                      <a:pt x="719" y="0"/>
                    </a:moveTo>
                    <a:cubicBezTo>
                      <a:pt x="692" y="0"/>
                      <a:pt x="664" y="2"/>
                      <a:pt x="637" y="7"/>
                    </a:cubicBezTo>
                    <a:cubicBezTo>
                      <a:pt x="583" y="7"/>
                      <a:pt x="534" y="23"/>
                      <a:pt x="481" y="23"/>
                    </a:cubicBezTo>
                    <a:cubicBezTo>
                      <a:pt x="431" y="40"/>
                      <a:pt x="378" y="72"/>
                      <a:pt x="329" y="109"/>
                    </a:cubicBezTo>
                    <a:cubicBezTo>
                      <a:pt x="243" y="159"/>
                      <a:pt x="173" y="261"/>
                      <a:pt x="123" y="348"/>
                    </a:cubicBezTo>
                    <a:cubicBezTo>
                      <a:pt x="37" y="536"/>
                      <a:pt x="0" y="742"/>
                      <a:pt x="0" y="931"/>
                    </a:cubicBezTo>
                    <a:cubicBezTo>
                      <a:pt x="0" y="1136"/>
                      <a:pt x="37" y="1325"/>
                      <a:pt x="70" y="1530"/>
                    </a:cubicBezTo>
                    <a:cubicBezTo>
                      <a:pt x="103" y="1715"/>
                      <a:pt x="156" y="1904"/>
                      <a:pt x="226" y="2093"/>
                    </a:cubicBezTo>
                    <a:cubicBezTo>
                      <a:pt x="345" y="2454"/>
                      <a:pt x="464" y="2811"/>
                      <a:pt x="600" y="3173"/>
                    </a:cubicBezTo>
                    <a:cubicBezTo>
                      <a:pt x="756" y="3530"/>
                      <a:pt x="891" y="3891"/>
                      <a:pt x="1047" y="4248"/>
                    </a:cubicBezTo>
                    <a:cubicBezTo>
                      <a:pt x="1059" y="4260"/>
                      <a:pt x="1071" y="4272"/>
                      <a:pt x="1088" y="4272"/>
                    </a:cubicBezTo>
                    <a:cubicBezTo>
                      <a:pt x="1095" y="4272"/>
                      <a:pt x="1103" y="4270"/>
                      <a:pt x="1113" y="4265"/>
                    </a:cubicBezTo>
                    <a:cubicBezTo>
                      <a:pt x="1129" y="4265"/>
                      <a:pt x="1150" y="4232"/>
                      <a:pt x="1129" y="4216"/>
                    </a:cubicBezTo>
                    <a:cubicBezTo>
                      <a:pt x="994" y="3854"/>
                      <a:pt x="842" y="3497"/>
                      <a:pt x="702" y="3136"/>
                    </a:cubicBezTo>
                    <a:cubicBezTo>
                      <a:pt x="583" y="2778"/>
                      <a:pt x="448" y="2417"/>
                      <a:pt x="329" y="2060"/>
                    </a:cubicBezTo>
                    <a:cubicBezTo>
                      <a:pt x="275" y="1871"/>
                      <a:pt x="226" y="1682"/>
                      <a:pt x="189" y="1493"/>
                    </a:cubicBezTo>
                    <a:cubicBezTo>
                      <a:pt x="156" y="1304"/>
                      <a:pt x="140" y="1120"/>
                      <a:pt x="140" y="931"/>
                    </a:cubicBezTo>
                    <a:cubicBezTo>
                      <a:pt x="140" y="758"/>
                      <a:pt x="156" y="569"/>
                      <a:pt x="243" y="401"/>
                    </a:cubicBezTo>
                    <a:cubicBezTo>
                      <a:pt x="275" y="331"/>
                      <a:pt x="329" y="261"/>
                      <a:pt x="394" y="212"/>
                    </a:cubicBezTo>
                    <a:cubicBezTo>
                      <a:pt x="431" y="175"/>
                      <a:pt x="464" y="159"/>
                      <a:pt x="514" y="159"/>
                    </a:cubicBezTo>
                    <a:cubicBezTo>
                      <a:pt x="550" y="142"/>
                      <a:pt x="600" y="142"/>
                      <a:pt x="637" y="142"/>
                    </a:cubicBezTo>
                    <a:cubicBezTo>
                      <a:pt x="655" y="141"/>
                      <a:pt x="673" y="140"/>
                      <a:pt x="690" y="140"/>
                    </a:cubicBezTo>
                    <a:cubicBezTo>
                      <a:pt x="855" y="140"/>
                      <a:pt x="1006" y="207"/>
                      <a:pt x="1113" y="315"/>
                    </a:cubicBezTo>
                    <a:cubicBezTo>
                      <a:pt x="1253" y="434"/>
                      <a:pt x="1372" y="586"/>
                      <a:pt x="1458" y="742"/>
                    </a:cubicBezTo>
                    <a:cubicBezTo>
                      <a:pt x="1524" y="914"/>
                      <a:pt x="1593" y="1099"/>
                      <a:pt x="1643" y="1271"/>
                    </a:cubicBezTo>
                    <a:cubicBezTo>
                      <a:pt x="1696" y="1460"/>
                      <a:pt x="1745" y="1649"/>
                      <a:pt x="1799" y="1838"/>
                    </a:cubicBezTo>
                    <a:cubicBezTo>
                      <a:pt x="1885" y="2212"/>
                      <a:pt x="1951" y="2590"/>
                      <a:pt x="2004" y="2967"/>
                    </a:cubicBezTo>
                    <a:cubicBezTo>
                      <a:pt x="2053" y="3341"/>
                      <a:pt x="2123" y="3719"/>
                      <a:pt x="2156" y="4096"/>
                    </a:cubicBezTo>
                    <a:cubicBezTo>
                      <a:pt x="2156" y="4129"/>
                      <a:pt x="2177" y="4162"/>
                      <a:pt x="2209" y="4162"/>
                    </a:cubicBezTo>
                    <a:cubicBezTo>
                      <a:pt x="2242" y="4146"/>
                      <a:pt x="2279" y="4129"/>
                      <a:pt x="2279" y="4096"/>
                    </a:cubicBezTo>
                    <a:cubicBezTo>
                      <a:pt x="2259" y="3908"/>
                      <a:pt x="2242" y="3702"/>
                      <a:pt x="2209" y="3513"/>
                    </a:cubicBezTo>
                    <a:cubicBezTo>
                      <a:pt x="2193" y="3325"/>
                      <a:pt x="2156" y="3136"/>
                      <a:pt x="2140" y="2947"/>
                    </a:cubicBezTo>
                    <a:cubicBezTo>
                      <a:pt x="2074" y="2557"/>
                      <a:pt x="2004" y="2179"/>
                      <a:pt x="1918" y="1801"/>
                    </a:cubicBezTo>
                    <a:cubicBezTo>
                      <a:pt x="1885" y="1612"/>
                      <a:pt x="1832" y="1428"/>
                      <a:pt x="1782" y="1239"/>
                    </a:cubicBezTo>
                    <a:cubicBezTo>
                      <a:pt x="1729" y="1050"/>
                      <a:pt x="1663" y="861"/>
                      <a:pt x="1577" y="688"/>
                    </a:cubicBezTo>
                    <a:cubicBezTo>
                      <a:pt x="1474" y="504"/>
                      <a:pt x="1372" y="348"/>
                      <a:pt x="1216" y="212"/>
                    </a:cubicBezTo>
                    <a:cubicBezTo>
                      <a:pt x="1129" y="142"/>
                      <a:pt x="1047" y="93"/>
                      <a:pt x="945" y="40"/>
                    </a:cubicBezTo>
                    <a:cubicBezTo>
                      <a:pt x="870" y="16"/>
                      <a:pt x="794" y="0"/>
                      <a:pt x="71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73" name="Google Shape;473;p24"/>
              <p:cNvSpPr/>
              <p:nvPr/>
            </p:nvSpPr>
            <p:spPr>
              <a:xfrm>
                <a:off x="2165850" y="2462575"/>
                <a:ext cx="7725" cy="2650"/>
              </a:xfrm>
              <a:custGeom>
                <a:avLst/>
                <a:gdLst/>
                <a:ahLst/>
                <a:cxnLst/>
                <a:rect l="l" t="t" r="r" b="b"/>
                <a:pathLst>
                  <a:path w="309" h="106" extrusionOk="0">
                    <a:moveTo>
                      <a:pt x="199" y="0"/>
                    </a:moveTo>
                    <a:cubicBezTo>
                      <a:pt x="138" y="0"/>
                      <a:pt x="77" y="12"/>
                      <a:pt x="17" y="23"/>
                    </a:cubicBezTo>
                    <a:cubicBezTo>
                      <a:pt x="0" y="23"/>
                      <a:pt x="0" y="44"/>
                      <a:pt x="0" y="77"/>
                    </a:cubicBezTo>
                    <a:cubicBezTo>
                      <a:pt x="0" y="93"/>
                      <a:pt x="0" y="93"/>
                      <a:pt x="17" y="93"/>
                    </a:cubicBezTo>
                    <a:cubicBezTo>
                      <a:pt x="60" y="101"/>
                      <a:pt x="103" y="105"/>
                      <a:pt x="146" y="105"/>
                    </a:cubicBezTo>
                    <a:cubicBezTo>
                      <a:pt x="189" y="105"/>
                      <a:pt x="232" y="101"/>
                      <a:pt x="275" y="93"/>
                    </a:cubicBezTo>
                    <a:cubicBezTo>
                      <a:pt x="292" y="77"/>
                      <a:pt x="308" y="77"/>
                      <a:pt x="308" y="60"/>
                    </a:cubicBezTo>
                    <a:cubicBezTo>
                      <a:pt x="292" y="44"/>
                      <a:pt x="292" y="23"/>
                      <a:pt x="275" y="7"/>
                    </a:cubicBezTo>
                    <a:cubicBezTo>
                      <a:pt x="250" y="2"/>
                      <a:pt x="225" y="0"/>
                      <a:pt x="19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74" name="Google Shape;474;p24"/>
              <p:cNvSpPr/>
              <p:nvPr/>
            </p:nvSpPr>
            <p:spPr>
              <a:xfrm>
                <a:off x="2165025" y="2458150"/>
                <a:ext cx="6375" cy="2975"/>
              </a:xfrm>
              <a:custGeom>
                <a:avLst/>
                <a:gdLst/>
                <a:ahLst/>
                <a:cxnLst/>
                <a:rect l="l" t="t" r="r" b="b"/>
                <a:pathLst>
                  <a:path w="255" h="119" extrusionOk="0">
                    <a:moveTo>
                      <a:pt x="119" y="0"/>
                    </a:moveTo>
                    <a:cubicBezTo>
                      <a:pt x="90" y="0"/>
                      <a:pt x="60" y="5"/>
                      <a:pt x="33" y="16"/>
                    </a:cubicBezTo>
                    <a:cubicBezTo>
                      <a:pt x="0" y="32"/>
                      <a:pt x="0" y="48"/>
                      <a:pt x="0" y="65"/>
                    </a:cubicBezTo>
                    <a:cubicBezTo>
                      <a:pt x="0" y="98"/>
                      <a:pt x="17" y="118"/>
                      <a:pt x="33" y="118"/>
                    </a:cubicBezTo>
                    <a:cubicBezTo>
                      <a:pt x="103" y="118"/>
                      <a:pt x="152" y="98"/>
                      <a:pt x="222" y="81"/>
                    </a:cubicBezTo>
                    <a:cubicBezTo>
                      <a:pt x="238" y="81"/>
                      <a:pt x="255" y="65"/>
                      <a:pt x="238" y="48"/>
                    </a:cubicBezTo>
                    <a:cubicBezTo>
                      <a:pt x="238" y="32"/>
                      <a:pt x="222" y="16"/>
                      <a:pt x="206" y="16"/>
                    </a:cubicBezTo>
                    <a:cubicBezTo>
                      <a:pt x="179" y="5"/>
                      <a:pt x="149" y="0"/>
                      <a:pt x="11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75" name="Google Shape;475;p24"/>
              <p:cNvSpPr/>
              <p:nvPr/>
            </p:nvSpPr>
            <p:spPr>
              <a:xfrm>
                <a:off x="2181650" y="2479875"/>
                <a:ext cx="7725" cy="7225"/>
              </a:xfrm>
              <a:custGeom>
                <a:avLst/>
                <a:gdLst/>
                <a:ahLst/>
                <a:cxnLst/>
                <a:rect l="l" t="t" r="r" b="b"/>
                <a:pathLst>
                  <a:path w="309" h="289" extrusionOk="0">
                    <a:moveTo>
                      <a:pt x="276" y="1"/>
                    </a:moveTo>
                    <a:cubicBezTo>
                      <a:pt x="259" y="1"/>
                      <a:pt x="243" y="1"/>
                      <a:pt x="226" y="17"/>
                    </a:cubicBezTo>
                    <a:cubicBezTo>
                      <a:pt x="140" y="70"/>
                      <a:pt x="70" y="136"/>
                      <a:pt x="21" y="206"/>
                    </a:cubicBezTo>
                    <a:cubicBezTo>
                      <a:pt x="0" y="222"/>
                      <a:pt x="0" y="255"/>
                      <a:pt x="21" y="276"/>
                    </a:cubicBezTo>
                    <a:cubicBezTo>
                      <a:pt x="29" y="284"/>
                      <a:pt x="37" y="288"/>
                      <a:pt x="48" y="288"/>
                    </a:cubicBezTo>
                    <a:cubicBezTo>
                      <a:pt x="58" y="288"/>
                      <a:pt x="70" y="284"/>
                      <a:pt x="87" y="276"/>
                    </a:cubicBezTo>
                    <a:cubicBezTo>
                      <a:pt x="140" y="239"/>
                      <a:pt x="189" y="190"/>
                      <a:pt x="243" y="136"/>
                    </a:cubicBezTo>
                    <a:cubicBezTo>
                      <a:pt x="276" y="103"/>
                      <a:pt x="292" y="70"/>
                      <a:pt x="308" y="34"/>
                    </a:cubicBezTo>
                    <a:cubicBezTo>
                      <a:pt x="308" y="1"/>
                      <a:pt x="308" y="1"/>
                      <a:pt x="276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76" name="Google Shape;476;p24"/>
              <p:cNvSpPr/>
              <p:nvPr/>
            </p:nvSpPr>
            <p:spPr>
              <a:xfrm>
                <a:off x="2178675" y="2476500"/>
                <a:ext cx="5575" cy="5550"/>
              </a:xfrm>
              <a:custGeom>
                <a:avLst/>
                <a:gdLst/>
                <a:ahLst/>
                <a:cxnLst/>
                <a:rect l="l" t="t" r="r" b="b"/>
                <a:pathLst>
                  <a:path w="223" h="222" extrusionOk="0">
                    <a:moveTo>
                      <a:pt x="189" y="0"/>
                    </a:moveTo>
                    <a:cubicBezTo>
                      <a:pt x="103" y="49"/>
                      <a:pt x="54" y="103"/>
                      <a:pt x="0" y="185"/>
                    </a:cubicBezTo>
                    <a:cubicBezTo>
                      <a:pt x="0" y="205"/>
                      <a:pt x="17" y="222"/>
                      <a:pt x="37" y="222"/>
                    </a:cubicBezTo>
                    <a:lnTo>
                      <a:pt x="54" y="222"/>
                    </a:lnTo>
                    <a:cubicBezTo>
                      <a:pt x="119" y="169"/>
                      <a:pt x="173" y="103"/>
                      <a:pt x="222" y="33"/>
                    </a:cubicBezTo>
                    <a:lnTo>
                      <a:pt x="222" y="17"/>
                    </a:lnTo>
                    <a:cubicBezTo>
                      <a:pt x="206" y="0"/>
                      <a:pt x="206" y="0"/>
                      <a:pt x="18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77" name="Google Shape;477;p24"/>
              <p:cNvSpPr/>
              <p:nvPr/>
            </p:nvSpPr>
            <p:spPr>
              <a:xfrm>
                <a:off x="2084650" y="2451400"/>
                <a:ext cx="172375" cy="219225"/>
              </a:xfrm>
              <a:custGeom>
                <a:avLst/>
                <a:gdLst/>
                <a:ahLst/>
                <a:cxnLst/>
                <a:rect l="l" t="t" r="r" b="b"/>
                <a:pathLst>
                  <a:path w="6895" h="8769" extrusionOk="0">
                    <a:moveTo>
                      <a:pt x="682" y="0"/>
                    </a:moveTo>
                    <a:cubicBezTo>
                      <a:pt x="502" y="0"/>
                      <a:pt x="365" y="45"/>
                      <a:pt x="271" y="113"/>
                    </a:cubicBezTo>
                    <a:cubicBezTo>
                      <a:pt x="185" y="162"/>
                      <a:pt x="136" y="232"/>
                      <a:pt x="103" y="302"/>
                    </a:cubicBezTo>
                    <a:cubicBezTo>
                      <a:pt x="0" y="507"/>
                      <a:pt x="17" y="1123"/>
                      <a:pt x="325" y="1825"/>
                    </a:cubicBezTo>
                    <a:cubicBezTo>
                      <a:pt x="871" y="2987"/>
                      <a:pt x="1556" y="3841"/>
                      <a:pt x="1848" y="4186"/>
                    </a:cubicBezTo>
                    <a:cubicBezTo>
                      <a:pt x="1470" y="4679"/>
                      <a:pt x="1232" y="5279"/>
                      <a:pt x="1232" y="5948"/>
                    </a:cubicBezTo>
                    <a:cubicBezTo>
                      <a:pt x="1232" y="7504"/>
                      <a:pt x="2497" y="8769"/>
                      <a:pt x="4053" y="8769"/>
                    </a:cubicBezTo>
                    <a:cubicBezTo>
                      <a:pt x="4414" y="8769"/>
                      <a:pt x="4771" y="8703"/>
                      <a:pt x="5079" y="8580"/>
                    </a:cubicBezTo>
                    <a:cubicBezTo>
                      <a:pt x="6139" y="8169"/>
                      <a:pt x="6894" y="7143"/>
                      <a:pt x="6894" y="5948"/>
                    </a:cubicBezTo>
                    <a:cubicBezTo>
                      <a:pt x="6894" y="5127"/>
                      <a:pt x="6414" y="4219"/>
                      <a:pt x="5970" y="3858"/>
                    </a:cubicBezTo>
                    <a:cubicBezTo>
                      <a:pt x="5506" y="3484"/>
                      <a:pt x="5235" y="3345"/>
                      <a:pt x="5010" y="3279"/>
                    </a:cubicBezTo>
                    <a:cubicBezTo>
                      <a:pt x="4960" y="3263"/>
                      <a:pt x="4928" y="3263"/>
                      <a:pt x="4891" y="3242"/>
                    </a:cubicBezTo>
                    <a:cubicBezTo>
                      <a:pt x="4620" y="3176"/>
                      <a:pt x="4344" y="3123"/>
                      <a:pt x="4069" y="3123"/>
                    </a:cubicBezTo>
                    <a:cubicBezTo>
                      <a:pt x="3659" y="3123"/>
                      <a:pt x="3265" y="3209"/>
                      <a:pt x="2924" y="3365"/>
                    </a:cubicBezTo>
                    <a:lnTo>
                      <a:pt x="2907" y="3365"/>
                    </a:lnTo>
                    <a:cubicBezTo>
                      <a:pt x="2805" y="3037"/>
                      <a:pt x="2616" y="2441"/>
                      <a:pt x="2291" y="1756"/>
                    </a:cubicBezTo>
                    <a:cubicBezTo>
                      <a:pt x="1795" y="729"/>
                      <a:pt x="1232" y="60"/>
                      <a:pt x="838" y="10"/>
                    </a:cubicBezTo>
                    <a:cubicBezTo>
                      <a:pt x="783" y="4"/>
                      <a:pt x="731" y="0"/>
                      <a:pt x="682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78" name="Google Shape;478;p24"/>
              <p:cNvSpPr/>
              <p:nvPr/>
            </p:nvSpPr>
            <p:spPr>
              <a:xfrm>
                <a:off x="2091425" y="2451400"/>
                <a:ext cx="66325" cy="91850"/>
              </a:xfrm>
              <a:custGeom>
                <a:avLst/>
                <a:gdLst/>
                <a:ahLst/>
                <a:cxnLst/>
                <a:rect l="l" t="t" r="r" b="b"/>
                <a:pathLst>
                  <a:path w="2653" h="3674" extrusionOk="0">
                    <a:moveTo>
                      <a:pt x="411" y="0"/>
                    </a:moveTo>
                    <a:cubicBezTo>
                      <a:pt x="231" y="0"/>
                      <a:pt x="94" y="45"/>
                      <a:pt x="0" y="113"/>
                    </a:cubicBezTo>
                    <a:cubicBezTo>
                      <a:pt x="37" y="130"/>
                      <a:pt x="86" y="146"/>
                      <a:pt x="140" y="146"/>
                    </a:cubicBezTo>
                    <a:cubicBezTo>
                      <a:pt x="513" y="249"/>
                      <a:pt x="821" y="470"/>
                      <a:pt x="1080" y="745"/>
                    </a:cubicBezTo>
                    <a:cubicBezTo>
                      <a:pt x="1335" y="1021"/>
                      <a:pt x="1524" y="1361"/>
                      <a:pt x="1696" y="1686"/>
                    </a:cubicBezTo>
                    <a:cubicBezTo>
                      <a:pt x="1934" y="2199"/>
                      <a:pt x="2139" y="2712"/>
                      <a:pt x="2312" y="3263"/>
                    </a:cubicBezTo>
                    <a:cubicBezTo>
                      <a:pt x="2345" y="3365"/>
                      <a:pt x="2378" y="3484"/>
                      <a:pt x="2447" y="3587"/>
                    </a:cubicBezTo>
                    <a:cubicBezTo>
                      <a:pt x="2464" y="3620"/>
                      <a:pt x="2501" y="3673"/>
                      <a:pt x="2550" y="3673"/>
                    </a:cubicBezTo>
                    <a:cubicBezTo>
                      <a:pt x="2583" y="3673"/>
                      <a:pt x="2636" y="3636"/>
                      <a:pt x="2636" y="3603"/>
                    </a:cubicBezTo>
                    <a:cubicBezTo>
                      <a:pt x="2653" y="3550"/>
                      <a:pt x="2653" y="3501"/>
                      <a:pt x="2653" y="3468"/>
                    </a:cubicBezTo>
                    <a:lnTo>
                      <a:pt x="2653" y="3365"/>
                    </a:lnTo>
                    <a:lnTo>
                      <a:pt x="2636" y="3365"/>
                    </a:lnTo>
                    <a:cubicBezTo>
                      <a:pt x="2534" y="3037"/>
                      <a:pt x="2345" y="2441"/>
                      <a:pt x="2020" y="1756"/>
                    </a:cubicBezTo>
                    <a:cubicBezTo>
                      <a:pt x="1524" y="729"/>
                      <a:pt x="961" y="60"/>
                      <a:pt x="567" y="10"/>
                    </a:cubicBezTo>
                    <a:cubicBezTo>
                      <a:pt x="512" y="4"/>
                      <a:pt x="460" y="0"/>
                      <a:pt x="41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79" name="Google Shape;479;p24"/>
              <p:cNvSpPr/>
              <p:nvPr/>
            </p:nvSpPr>
            <p:spPr>
              <a:xfrm>
                <a:off x="2115425" y="2594025"/>
                <a:ext cx="141600" cy="76600"/>
              </a:xfrm>
              <a:custGeom>
                <a:avLst/>
                <a:gdLst/>
                <a:ahLst/>
                <a:cxnLst/>
                <a:rect l="l" t="t" r="r" b="b"/>
                <a:pathLst>
                  <a:path w="5664" h="3064" extrusionOk="0">
                    <a:moveTo>
                      <a:pt x="17" y="1"/>
                    </a:moveTo>
                    <a:cubicBezTo>
                      <a:pt x="1" y="87"/>
                      <a:pt x="1" y="157"/>
                      <a:pt x="1" y="243"/>
                    </a:cubicBezTo>
                    <a:cubicBezTo>
                      <a:pt x="1" y="1799"/>
                      <a:pt x="1266" y="3064"/>
                      <a:pt x="2822" y="3064"/>
                    </a:cubicBezTo>
                    <a:cubicBezTo>
                      <a:pt x="2832" y="3064"/>
                      <a:pt x="2842" y="3064"/>
                      <a:pt x="2852" y="3064"/>
                    </a:cubicBezTo>
                    <a:cubicBezTo>
                      <a:pt x="4411" y="3064"/>
                      <a:pt x="5663" y="1805"/>
                      <a:pt x="5663" y="243"/>
                    </a:cubicBezTo>
                    <a:cubicBezTo>
                      <a:pt x="5663" y="173"/>
                      <a:pt x="5663" y="87"/>
                      <a:pt x="5647" y="21"/>
                    </a:cubicBezTo>
                    <a:cubicBezTo>
                      <a:pt x="5524" y="1475"/>
                      <a:pt x="4292" y="2485"/>
                      <a:pt x="2822" y="2485"/>
                    </a:cubicBezTo>
                    <a:cubicBezTo>
                      <a:pt x="1335" y="2485"/>
                      <a:pt x="136" y="1458"/>
                      <a:pt x="17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80" name="Google Shape;480;p24"/>
              <p:cNvSpPr/>
              <p:nvPr/>
            </p:nvSpPr>
            <p:spPr>
              <a:xfrm>
                <a:off x="2159475" y="2544025"/>
                <a:ext cx="70150" cy="34325"/>
              </a:xfrm>
              <a:custGeom>
                <a:avLst/>
                <a:gdLst/>
                <a:ahLst/>
                <a:cxnLst/>
                <a:rect l="l" t="t" r="r" b="b"/>
                <a:pathLst>
                  <a:path w="2806" h="1373" extrusionOk="0">
                    <a:moveTo>
                      <a:pt x="1" y="666"/>
                    </a:moveTo>
                    <a:lnTo>
                      <a:pt x="1" y="687"/>
                    </a:lnTo>
                    <a:cubicBezTo>
                      <a:pt x="2" y="688"/>
                      <a:pt x="3" y="690"/>
                      <a:pt x="4" y="692"/>
                    </a:cubicBezTo>
                    <a:lnTo>
                      <a:pt x="4" y="692"/>
                    </a:lnTo>
                    <a:cubicBezTo>
                      <a:pt x="3" y="683"/>
                      <a:pt x="2" y="675"/>
                      <a:pt x="1" y="666"/>
                    </a:cubicBezTo>
                    <a:close/>
                    <a:moveTo>
                      <a:pt x="2633" y="1"/>
                    </a:moveTo>
                    <a:cubicBezTo>
                      <a:pt x="2616" y="120"/>
                      <a:pt x="2583" y="256"/>
                      <a:pt x="2530" y="379"/>
                    </a:cubicBezTo>
                    <a:cubicBezTo>
                      <a:pt x="2464" y="481"/>
                      <a:pt x="2362" y="584"/>
                      <a:pt x="2222" y="600"/>
                    </a:cubicBezTo>
                    <a:cubicBezTo>
                      <a:pt x="2189" y="617"/>
                      <a:pt x="2119" y="617"/>
                      <a:pt x="2103" y="650"/>
                    </a:cubicBezTo>
                    <a:cubicBezTo>
                      <a:pt x="2086" y="666"/>
                      <a:pt x="2086" y="687"/>
                      <a:pt x="2086" y="703"/>
                    </a:cubicBezTo>
                    <a:cubicBezTo>
                      <a:pt x="2054" y="871"/>
                      <a:pt x="1898" y="974"/>
                      <a:pt x="1746" y="1044"/>
                    </a:cubicBezTo>
                    <a:cubicBezTo>
                      <a:pt x="1590" y="1130"/>
                      <a:pt x="1421" y="1179"/>
                      <a:pt x="1265" y="1179"/>
                    </a:cubicBezTo>
                    <a:cubicBezTo>
                      <a:pt x="1093" y="1179"/>
                      <a:pt x="924" y="1147"/>
                      <a:pt x="768" y="1060"/>
                    </a:cubicBezTo>
                    <a:cubicBezTo>
                      <a:pt x="736" y="1044"/>
                      <a:pt x="703" y="1011"/>
                      <a:pt x="666" y="1011"/>
                    </a:cubicBezTo>
                    <a:cubicBezTo>
                      <a:pt x="616" y="1011"/>
                      <a:pt x="579" y="1011"/>
                      <a:pt x="547" y="1028"/>
                    </a:cubicBezTo>
                    <a:cubicBezTo>
                      <a:pt x="524" y="1035"/>
                      <a:pt x="501" y="1038"/>
                      <a:pt x="478" y="1038"/>
                    </a:cubicBezTo>
                    <a:cubicBezTo>
                      <a:pt x="393" y="1038"/>
                      <a:pt x="303" y="996"/>
                      <a:pt x="222" y="941"/>
                    </a:cubicBezTo>
                    <a:cubicBezTo>
                      <a:pt x="138" y="873"/>
                      <a:pt x="69" y="773"/>
                      <a:pt x="4" y="692"/>
                    </a:cubicBezTo>
                    <a:lnTo>
                      <a:pt x="4" y="692"/>
                    </a:lnTo>
                    <a:cubicBezTo>
                      <a:pt x="24" y="806"/>
                      <a:pt x="72" y="916"/>
                      <a:pt x="152" y="1011"/>
                    </a:cubicBezTo>
                    <a:cubicBezTo>
                      <a:pt x="222" y="1097"/>
                      <a:pt x="341" y="1163"/>
                      <a:pt x="460" y="1163"/>
                    </a:cubicBezTo>
                    <a:lnTo>
                      <a:pt x="616" y="1163"/>
                    </a:lnTo>
                    <a:cubicBezTo>
                      <a:pt x="649" y="1179"/>
                      <a:pt x="703" y="1200"/>
                      <a:pt x="736" y="1233"/>
                    </a:cubicBezTo>
                    <a:cubicBezTo>
                      <a:pt x="899" y="1321"/>
                      <a:pt x="1100" y="1373"/>
                      <a:pt x="1290" y="1373"/>
                    </a:cubicBezTo>
                    <a:cubicBezTo>
                      <a:pt x="1358" y="1373"/>
                      <a:pt x="1424" y="1366"/>
                      <a:pt x="1487" y="1352"/>
                    </a:cubicBezTo>
                    <a:cubicBezTo>
                      <a:pt x="1746" y="1282"/>
                      <a:pt x="1984" y="1147"/>
                      <a:pt x="2156" y="958"/>
                    </a:cubicBezTo>
                    <a:cubicBezTo>
                      <a:pt x="2206" y="892"/>
                      <a:pt x="2259" y="839"/>
                      <a:pt x="2308" y="789"/>
                    </a:cubicBezTo>
                    <a:cubicBezTo>
                      <a:pt x="2345" y="752"/>
                      <a:pt x="2394" y="736"/>
                      <a:pt x="2427" y="703"/>
                    </a:cubicBezTo>
                    <a:cubicBezTo>
                      <a:pt x="2653" y="547"/>
                      <a:pt x="2805" y="239"/>
                      <a:pt x="263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81" name="Google Shape;481;p24"/>
              <p:cNvSpPr/>
              <p:nvPr/>
            </p:nvSpPr>
            <p:spPr>
              <a:xfrm>
                <a:off x="2209875" y="2533350"/>
                <a:ext cx="47150" cy="132550"/>
              </a:xfrm>
              <a:custGeom>
                <a:avLst/>
                <a:gdLst/>
                <a:ahLst/>
                <a:cxnLst/>
                <a:rect l="l" t="t" r="r" b="b"/>
                <a:pathLst>
                  <a:path w="1886" h="5302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670" y="531"/>
                      <a:pt x="1232" y="1401"/>
                      <a:pt x="1438" y="2206"/>
                    </a:cubicBezTo>
                    <a:cubicBezTo>
                      <a:pt x="1491" y="2481"/>
                      <a:pt x="1524" y="2756"/>
                      <a:pt x="1524" y="3027"/>
                    </a:cubicBezTo>
                    <a:cubicBezTo>
                      <a:pt x="1508" y="3557"/>
                      <a:pt x="1302" y="4070"/>
                      <a:pt x="978" y="4501"/>
                    </a:cubicBezTo>
                    <a:cubicBezTo>
                      <a:pt x="719" y="4809"/>
                      <a:pt x="395" y="5064"/>
                      <a:pt x="70" y="5302"/>
                    </a:cubicBezTo>
                    <a:cubicBezTo>
                      <a:pt x="1130" y="4891"/>
                      <a:pt x="1885" y="3865"/>
                      <a:pt x="1885" y="2670"/>
                    </a:cubicBezTo>
                    <a:cubicBezTo>
                      <a:pt x="1885" y="1849"/>
                      <a:pt x="1405" y="941"/>
                      <a:pt x="961" y="580"/>
                    </a:cubicBezTo>
                    <a:cubicBezTo>
                      <a:pt x="497" y="206"/>
                      <a:pt x="226" y="67"/>
                      <a:pt x="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82" name="Google Shape;482;p24"/>
              <p:cNvSpPr/>
              <p:nvPr/>
            </p:nvSpPr>
            <p:spPr>
              <a:xfrm>
                <a:off x="2098875" y="2468350"/>
                <a:ext cx="48200" cy="78400"/>
              </a:xfrm>
              <a:custGeom>
                <a:avLst/>
                <a:gdLst/>
                <a:ahLst/>
                <a:cxnLst/>
                <a:rect l="l" t="t" r="r" b="b"/>
                <a:pathLst>
                  <a:path w="1928" h="3136" extrusionOk="0">
                    <a:moveTo>
                      <a:pt x="226" y="1"/>
                    </a:moveTo>
                    <a:cubicBezTo>
                      <a:pt x="91" y="1"/>
                      <a:pt x="1" y="103"/>
                      <a:pt x="10" y="326"/>
                    </a:cubicBezTo>
                    <a:cubicBezTo>
                      <a:pt x="27" y="716"/>
                      <a:pt x="355" y="1316"/>
                      <a:pt x="642" y="1780"/>
                    </a:cubicBezTo>
                    <a:cubicBezTo>
                      <a:pt x="906" y="2220"/>
                      <a:pt x="1498" y="3136"/>
                      <a:pt x="1760" y="3136"/>
                    </a:cubicBezTo>
                    <a:cubicBezTo>
                      <a:pt x="1771" y="3136"/>
                      <a:pt x="1782" y="3134"/>
                      <a:pt x="1792" y="3131"/>
                    </a:cubicBezTo>
                    <a:cubicBezTo>
                      <a:pt x="1928" y="3077"/>
                      <a:pt x="1809" y="2720"/>
                      <a:pt x="1669" y="2379"/>
                    </a:cubicBezTo>
                    <a:cubicBezTo>
                      <a:pt x="1533" y="2034"/>
                      <a:pt x="885" y="445"/>
                      <a:pt x="593" y="170"/>
                    </a:cubicBezTo>
                    <a:cubicBezTo>
                      <a:pt x="460" y="60"/>
                      <a:pt x="330" y="1"/>
                      <a:pt x="22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83" name="Google Shape;483;p24"/>
              <p:cNvSpPr/>
              <p:nvPr/>
            </p:nvSpPr>
            <p:spPr>
              <a:xfrm>
                <a:off x="2083725" y="2450350"/>
                <a:ext cx="175450" cy="222025"/>
              </a:xfrm>
              <a:custGeom>
                <a:avLst/>
                <a:gdLst/>
                <a:ahLst/>
                <a:cxnLst/>
                <a:rect l="l" t="t" r="r" b="b"/>
                <a:pathLst>
                  <a:path w="7018" h="8881" extrusionOk="0">
                    <a:moveTo>
                      <a:pt x="735" y="102"/>
                    </a:moveTo>
                    <a:cubicBezTo>
                      <a:pt x="858" y="122"/>
                      <a:pt x="940" y="155"/>
                      <a:pt x="1043" y="204"/>
                    </a:cubicBezTo>
                    <a:cubicBezTo>
                      <a:pt x="1335" y="360"/>
                      <a:pt x="1524" y="599"/>
                      <a:pt x="1696" y="874"/>
                    </a:cubicBezTo>
                    <a:cubicBezTo>
                      <a:pt x="1951" y="1268"/>
                      <a:pt x="2193" y="1695"/>
                      <a:pt x="2361" y="2138"/>
                    </a:cubicBezTo>
                    <a:cubicBezTo>
                      <a:pt x="2550" y="2565"/>
                      <a:pt x="2723" y="2997"/>
                      <a:pt x="2874" y="3424"/>
                    </a:cubicBezTo>
                    <a:cubicBezTo>
                      <a:pt x="2891" y="3473"/>
                      <a:pt x="2911" y="3543"/>
                      <a:pt x="2928" y="3592"/>
                    </a:cubicBezTo>
                    <a:cubicBezTo>
                      <a:pt x="2944" y="3629"/>
                      <a:pt x="2944" y="3662"/>
                      <a:pt x="2994" y="3662"/>
                    </a:cubicBezTo>
                    <a:cubicBezTo>
                      <a:pt x="3047" y="3645"/>
                      <a:pt x="3031" y="3612"/>
                      <a:pt x="3031" y="3576"/>
                    </a:cubicBezTo>
                    <a:cubicBezTo>
                      <a:pt x="3031" y="3526"/>
                      <a:pt x="2977" y="3473"/>
                      <a:pt x="3014" y="3440"/>
                    </a:cubicBezTo>
                    <a:cubicBezTo>
                      <a:pt x="3047" y="3407"/>
                      <a:pt x="3096" y="3387"/>
                      <a:pt x="3150" y="3370"/>
                    </a:cubicBezTo>
                    <a:cubicBezTo>
                      <a:pt x="3458" y="3268"/>
                      <a:pt x="3766" y="3202"/>
                      <a:pt x="4143" y="3202"/>
                    </a:cubicBezTo>
                    <a:cubicBezTo>
                      <a:pt x="4328" y="3202"/>
                      <a:pt x="4570" y="3251"/>
                      <a:pt x="4792" y="3305"/>
                    </a:cubicBezTo>
                    <a:cubicBezTo>
                      <a:pt x="5424" y="3473"/>
                      <a:pt x="5732" y="3732"/>
                      <a:pt x="6040" y="4040"/>
                    </a:cubicBezTo>
                    <a:cubicBezTo>
                      <a:pt x="6262" y="4261"/>
                      <a:pt x="6435" y="4516"/>
                      <a:pt x="6554" y="4791"/>
                    </a:cubicBezTo>
                    <a:cubicBezTo>
                      <a:pt x="6775" y="5255"/>
                      <a:pt x="6862" y="5731"/>
                      <a:pt x="6812" y="6228"/>
                    </a:cubicBezTo>
                    <a:cubicBezTo>
                      <a:pt x="6710" y="7411"/>
                      <a:pt x="5819" y="8417"/>
                      <a:pt x="4657" y="8659"/>
                    </a:cubicBezTo>
                    <a:cubicBezTo>
                      <a:pt x="4467" y="8697"/>
                      <a:pt x="4277" y="8715"/>
                      <a:pt x="4090" y="8715"/>
                    </a:cubicBezTo>
                    <a:cubicBezTo>
                      <a:pt x="3183" y="8715"/>
                      <a:pt x="2340" y="8279"/>
                      <a:pt x="1815" y="7513"/>
                    </a:cubicBezTo>
                    <a:cubicBezTo>
                      <a:pt x="1454" y="6979"/>
                      <a:pt x="1302" y="6401"/>
                      <a:pt x="1335" y="5768"/>
                    </a:cubicBezTo>
                    <a:cubicBezTo>
                      <a:pt x="1372" y="5255"/>
                      <a:pt x="1540" y="4791"/>
                      <a:pt x="1832" y="4364"/>
                    </a:cubicBezTo>
                    <a:cubicBezTo>
                      <a:pt x="1852" y="4343"/>
                      <a:pt x="1868" y="4321"/>
                      <a:pt x="1890" y="4321"/>
                    </a:cubicBezTo>
                    <a:cubicBezTo>
                      <a:pt x="1902" y="4321"/>
                      <a:pt x="1916" y="4328"/>
                      <a:pt x="1934" y="4347"/>
                    </a:cubicBezTo>
                    <a:cubicBezTo>
                      <a:pt x="1944" y="4357"/>
                      <a:pt x="1953" y="4366"/>
                      <a:pt x="1963" y="4366"/>
                    </a:cubicBezTo>
                    <a:cubicBezTo>
                      <a:pt x="1971" y="4366"/>
                      <a:pt x="1979" y="4361"/>
                      <a:pt x="1988" y="4347"/>
                    </a:cubicBezTo>
                    <a:cubicBezTo>
                      <a:pt x="2004" y="4347"/>
                      <a:pt x="1988" y="4331"/>
                      <a:pt x="1967" y="4311"/>
                    </a:cubicBezTo>
                    <a:cubicBezTo>
                      <a:pt x="1474" y="3629"/>
                      <a:pt x="977" y="2927"/>
                      <a:pt x="583" y="2155"/>
                    </a:cubicBezTo>
                    <a:cubicBezTo>
                      <a:pt x="464" y="1933"/>
                      <a:pt x="325" y="1695"/>
                      <a:pt x="259" y="1436"/>
                    </a:cubicBezTo>
                    <a:cubicBezTo>
                      <a:pt x="189" y="1251"/>
                      <a:pt x="140" y="1063"/>
                      <a:pt x="119" y="857"/>
                    </a:cubicBezTo>
                    <a:cubicBezTo>
                      <a:pt x="103" y="701"/>
                      <a:pt x="140" y="533"/>
                      <a:pt x="206" y="377"/>
                    </a:cubicBezTo>
                    <a:cubicBezTo>
                      <a:pt x="292" y="172"/>
                      <a:pt x="481" y="102"/>
                      <a:pt x="735" y="102"/>
                    </a:cubicBezTo>
                    <a:close/>
                    <a:moveTo>
                      <a:pt x="708" y="0"/>
                    </a:moveTo>
                    <a:cubicBezTo>
                      <a:pt x="649" y="0"/>
                      <a:pt x="590" y="7"/>
                      <a:pt x="530" y="20"/>
                    </a:cubicBezTo>
                    <a:cubicBezTo>
                      <a:pt x="345" y="52"/>
                      <a:pt x="189" y="139"/>
                      <a:pt x="103" y="328"/>
                    </a:cubicBezTo>
                    <a:cubicBezTo>
                      <a:pt x="54" y="463"/>
                      <a:pt x="17" y="615"/>
                      <a:pt x="17" y="755"/>
                    </a:cubicBezTo>
                    <a:cubicBezTo>
                      <a:pt x="0" y="976"/>
                      <a:pt x="70" y="1182"/>
                      <a:pt x="119" y="1387"/>
                    </a:cubicBezTo>
                    <a:cubicBezTo>
                      <a:pt x="206" y="1679"/>
                      <a:pt x="345" y="1933"/>
                      <a:pt x="497" y="2208"/>
                    </a:cubicBezTo>
                    <a:cubicBezTo>
                      <a:pt x="858" y="2894"/>
                      <a:pt x="1269" y="3526"/>
                      <a:pt x="1729" y="4142"/>
                    </a:cubicBezTo>
                    <a:cubicBezTo>
                      <a:pt x="1782" y="4191"/>
                      <a:pt x="1782" y="4228"/>
                      <a:pt x="1745" y="4278"/>
                    </a:cubicBezTo>
                    <a:cubicBezTo>
                      <a:pt x="1285" y="4926"/>
                      <a:pt x="1097" y="5645"/>
                      <a:pt x="1216" y="6433"/>
                    </a:cubicBezTo>
                    <a:cubicBezTo>
                      <a:pt x="1437" y="7854"/>
                      <a:pt x="2653" y="8881"/>
                      <a:pt x="4073" y="8881"/>
                    </a:cubicBezTo>
                    <a:cubicBezTo>
                      <a:pt x="4484" y="8881"/>
                      <a:pt x="4862" y="8811"/>
                      <a:pt x="5236" y="8642"/>
                    </a:cubicBezTo>
                    <a:cubicBezTo>
                      <a:pt x="6246" y="8162"/>
                      <a:pt x="6829" y="7374"/>
                      <a:pt x="6964" y="6245"/>
                    </a:cubicBezTo>
                    <a:cubicBezTo>
                      <a:pt x="7018" y="5682"/>
                      <a:pt x="6894" y="5115"/>
                      <a:pt x="6623" y="4602"/>
                    </a:cubicBezTo>
                    <a:cubicBezTo>
                      <a:pt x="6484" y="4364"/>
                      <a:pt x="6315" y="4142"/>
                      <a:pt x="6127" y="3937"/>
                    </a:cubicBezTo>
                    <a:cubicBezTo>
                      <a:pt x="5646" y="3440"/>
                      <a:pt x="5305" y="3337"/>
                      <a:pt x="4808" y="3181"/>
                    </a:cubicBezTo>
                    <a:cubicBezTo>
                      <a:pt x="4533" y="3116"/>
                      <a:pt x="4262" y="3099"/>
                      <a:pt x="3987" y="3099"/>
                    </a:cubicBezTo>
                    <a:cubicBezTo>
                      <a:pt x="3646" y="3116"/>
                      <a:pt x="3322" y="3165"/>
                      <a:pt x="2994" y="3284"/>
                    </a:cubicBezTo>
                    <a:cubicBezTo>
                      <a:pt x="2980" y="3293"/>
                      <a:pt x="2969" y="3298"/>
                      <a:pt x="2960" y="3298"/>
                    </a:cubicBezTo>
                    <a:cubicBezTo>
                      <a:pt x="2950" y="3298"/>
                      <a:pt x="2944" y="3289"/>
                      <a:pt x="2944" y="3268"/>
                    </a:cubicBezTo>
                    <a:cubicBezTo>
                      <a:pt x="2911" y="3181"/>
                      <a:pt x="2891" y="3099"/>
                      <a:pt x="2858" y="3013"/>
                    </a:cubicBezTo>
                    <a:cubicBezTo>
                      <a:pt x="2686" y="2516"/>
                      <a:pt x="2464" y="2036"/>
                      <a:pt x="2242" y="1559"/>
                    </a:cubicBezTo>
                    <a:cubicBezTo>
                      <a:pt x="2090" y="1215"/>
                      <a:pt x="1885" y="907"/>
                      <a:pt x="1659" y="599"/>
                    </a:cubicBezTo>
                    <a:cubicBezTo>
                      <a:pt x="1491" y="377"/>
                      <a:pt x="1285" y="188"/>
                      <a:pt x="1027" y="69"/>
                    </a:cubicBezTo>
                    <a:cubicBezTo>
                      <a:pt x="927" y="23"/>
                      <a:pt x="819" y="0"/>
                      <a:pt x="70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84" name="Google Shape;484;p24"/>
              <p:cNvSpPr/>
              <p:nvPr/>
            </p:nvSpPr>
            <p:spPr>
              <a:xfrm>
                <a:off x="2097475" y="2466625"/>
                <a:ext cx="49200" cy="81325"/>
              </a:xfrm>
              <a:custGeom>
                <a:avLst/>
                <a:gdLst/>
                <a:ahLst/>
                <a:cxnLst/>
                <a:rect l="l" t="t" r="r" b="b"/>
                <a:pathLst>
                  <a:path w="1968" h="3253" extrusionOk="0">
                    <a:moveTo>
                      <a:pt x="308" y="120"/>
                    </a:moveTo>
                    <a:cubicBezTo>
                      <a:pt x="411" y="120"/>
                      <a:pt x="477" y="190"/>
                      <a:pt x="547" y="256"/>
                    </a:cubicBezTo>
                    <a:cubicBezTo>
                      <a:pt x="752" y="461"/>
                      <a:pt x="904" y="683"/>
                      <a:pt x="1006" y="941"/>
                    </a:cubicBezTo>
                    <a:cubicBezTo>
                      <a:pt x="1282" y="1590"/>
                      <a:pt x="1557" y="2206"/>
                      <a:pt x="1811" y="2859"/>
                    </a:cubicBezTo>
                    <a:cubicBezTo>
                      <a:pt x="1828" y="2908"/>
                      <a:pt x="1848" y="2978"/>
                      <a:pt x="1865" y="3044"/>
                    </a:cubicBezTo>
                    <a:cubicBezTo>
                      <a:pt x="1865" y="3081"/>
                      <a:pt x="1865" y="3113"/>
                      <a:pt x="1828" y="3130"/>
                    </a:cubicBezTo>
                    <a:cubicBezTo>
                      <a:pt x="1818" y="3135"/>
                      <a:pt x="1808" y="3137"/>
                      <a:pt x="1799" y="3137"/>
                    </a:cubicBezTo>
                    <a:cubicBezTo>
                      <a:pt x="1777" y="3137"/>
                      <a:pt x="1757" y="3125"/>
                      <a:pt x="1746" y="3113"/>
                    </a:cubicBezTo>
                    <a:cubicBezTo>
                      <a:pt x="1643" y="3027"/>
                      <a:pt x="1557" y="2941"/>
                      <a:pt x="1470" y="2838"/>
                    </a:cubicBezTo>
                    <a:cubicBezTo>
                      <a:pt x="1146" y="2448"/>
                      <a:pt x="887" y="2017"/>
                      <a:pt x="616" y="1574"/>
                    </a:cubicBezTo>
                    <a:cubicBezTo>
                      <a:pt x="444" y="1282"/>
                      <a:pt x="288" y="991"/>
                      <a:pt x="185" y="666"/>
                    </a:cubicBezTo>
                    <a:cubicBezTo>
                      <a:pt x="152" y="600"/>
                      <a:pt x="136" y="531"/>
                      <a:pt x="119" y="461"/>
                    </a:cubicBezTo>
                    <a:cubicBezTo>
                      <a:pt x="103" y="358"/>
                      <a:pt x="136" y="256"/>
                      <a:pt x="185" y="169"/>
                    </a:cubicBezTo>
                    <a:cubicBezTo>
                      <a:pt x="222" y="136"/>
                      <a:pt x="255" y="120"/>
                      <a:pt x="308" y="120"/>
                    </a:cubicBezTo>
                    <a:close/>
                    <a:moveTo>
                      <a:pt x="341" y="1"/>
                    </a:moveTo>
                    <a:cubicBezTo>
                      <a:pt x="239" y="1"/>
                      <a:pt x="169" y="34"/>
                      <a:pt x="119" y="87"/>
                    </a:cubicBezTo>
                    <a:cubicBezTo>
                      <a:pt x="50" y="190"/>
                      <a:pt x="0" y="293"/>
                      <a:pt x="17" y="428"/>
                    </a:cubicBezTo>
                    <a:cubicBezTo>
                      <a:pt x="33" y="580"/>
                      <a:pt x="83" y="720"/>
                      <a:pt x="136" y="855"/>
                    </a:cubicBezTo>
                    <a:cubicBezTo>
                      <a:pt x="271" y="1216"/>
                      <a:pt x="477" y="1557"/>
                      <a:pt x="666" y="1882"/>
                    </a:cubicBezTo>
                    <a:cubicBezTo>
                      <a:pt x="887" y="2259"/>
                      <a:pt x="1130" y="2617"/>
                      <a:pt x="1401" y="2941"/>
                    </a:cubicBezTo>
                    <a:cubicBezTo>
                      <a:pt x="1487" y="3044"/>
                      <a:pt x="1589" y="3130"/>
                      <a:pt x="1692" y="3216"/>
                    </a:cubicBezTo>
                    <a:cubicBezTo>
                      <a:pt x="1736" y="3237"/>
                      <a:pt x="1777" y="3252"/>
                      <a:pt x="1820" y="3252"/>
                    </a:cubicBezTo>
                    <a:cubicBezTo>
                      <a:pt x="1845" y="3252"/>
                      <a:pt x="1871" y="3246"/>
                      <a:pt x="1897" y="3232"/>
                    </a:cubicBezTo>
                    <a:cubicBezTo>
                      <a:pt x="1967" y="3200"/>
                      <a:pt x="1967" y="3130"/>
                      <a:pt x="1967" y="3064"/>
                    </a:cubicBezTo>
                    <a:cubicBezTo>
                      <a:pt x="1967" y="2961"/>
                      <a:pt x="1930" y="2875"/>
                      <a:pt x="1897" y="2789"/>
                    </a:cubicBezTo>
                    <a:cubicBezTo>
                      <a:pt x="1659" y="2157"/>
                      <a:pt x="1384" y="1541"/>
                      <a:pt x="1130" y="925"/>
                    </a:cubicBezTo>
                    <a:cubicBezTo>
                      <a:pt x="1006" y="650"/>
                      <a:pt x="854" y="395"/>
                      <a:pt x="633" y="169"/>
                    </a:cubicBezTo>
                    <a:cubicBezTo>
                      <a:pt x="547" y="87"/>
                      <a:pt x="444" y="17"/>
                      <a:pt x="341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85" name="Google Shape;485;p24"/>
              <p:cNvSpPr/>
              <p:nvPr/>
            </p:nvSpPr>
            <p:spPr>
              <a:xfrm>
                <a:off x="2158550" y="2542700"/>
                <a:ext cx="68075" cy="32025"/>
              </a:xfrm>
              <a:custGeom>
                <a:avLst/>
                <a:gdLst/>
                <a:ahLst/>
                <a:cxnLst/>
                <a:rect l="l" t="t" r="r" b="b"/>
                <a:pathLst>
                  <a:path w="2723" h="1281" extrusionOk="0">
                    <a:moveTo>
                      <a:pt x="1951" y="411"/>
                    </a:moveTo>
                    <a:cubicBezTo>
                      <a:pt x="2021" y="411"/>
                      <a:pt x="2091" y="481"/>
                      <a:pt x="2107" y="551"/>
                    </a:cubicBezTo>
                    <a:cubicBezTo>
                      <a:pt x="2107" y="567"/>
                      <a:pt x="2123" y="600"/>
                      <a:pt x="2107" y="617"/>
                    </a:cubicBezTo>
                    <a:cubicBezTo>
                      <a:pt x="2096" y="623"/>
                      <a:pt x="2086" y="626"/>
                      <a:pt x="2077" y="626"/>
                    </a:cubicBezTo>
                    <a:cubicBezTo>
                      <a:pt x="2059" y="626"/>
                      <a:pt x="2043" y="617"/>
                      <a:pt x="2021" y="617"/>
                    </a:cubicBezTo>
                    <a:cubicBezTo>
                      <a:pt x="1972" y="584"/>
                      <a:pt x="1935" y="551"/>
                      <a:pt x="1918" y="497"/>
                    </a:cubicBezTo>
                    <a:cubicBezTo>
                      <a:pt x="1885" y="465"/>
                      <a:pt x="1918" y="432"/>
                      <a:pt x="1951" y="411"/>
                    </a:cubicBezTo>
                    <a:close/>
                    <a:moveTo>
                      <a:pt x="771" y="666"/>
                    </a:moveTo>
                    <a:cubicBezTo>
                      <a:pt x="777" y="666"/>
                      <a:pt x="783" y="667"/>
                      <a:pt x="789" y="670"/>
                    </a:cubicBezTo>
                    <a:cubicBezTo>
                      <a:pt x="842" y="686"/>
                      <a:pt x="859" y="719"/>
                      <a:pt x="859" y="756"/>
                    </a:cubicBezTo>
                    <a:cubicBezTo>
                      <a:pt x="859" y="822"/>
                      <a:pt x="822" y="875"/>
                      <a:pt x="773" y="924"/>
                    </a:cubicBezTo>
                    <a:cubicBezTo>
                      <a:pt x="760" y="939"/>
                      <a:pt x="749" y="945"/>
                      <a:pt x="739" y="945"/>
                    </a:cubicBezTo>
                    <a:cubicBezTo>
                      <a:pt x="724" y="945"/>
                      <a:pt x="713" y="930"/>
                      <a:pt x="703" y="908"/>
                    </a:cubicBezTo>
                    <a:cubicBezTo>
                      <a:pt x="686" y="859"/>
                      <a:pt x="686" y="773"/>
                      <a:pt x="703" y="719"/>
                    </a:cubicBezTo>
                    <a:cubicBezTo>
                      <a:pt x="716" y="692"/>
                      <a:pt x="743" y="666"/>
                      <a:pt x="771" y="666"/>
                    </a:cubicBezTo>
                    <a:close/>
                    <a:moveTo>
                      <a:pt x="2620" y="1"/>
                    </a:moveTo>
                    <a:cubicBezTo>
                      <a:pt x="2604" y="1"/>
                      <a:pt x="2604" y="38"/>
                      <a:pt x="2604" y="54"/>
                    </a:cubicBezTo>
                    <a:lnTo>
                      <a:pt x="2604" y="87"/>
                    </a:lnTo>
                    <a:cubicBezTo>
                      <a:pt x="2604" y="292"/>
                      <a:pt x="2464" y="514"/>
                      <a:pt x="2279" y="584"/>
                    </a:cubicBezTo>
                    <a:cubicBezTo>
                      <a:pt x="2264" y="590"/>
                      <a:pt x="2252" y="594"/>
                      <a:pt x="2244" y="594"/>
                    </a:cubicBezTo>
                    <a:cubicBezTo>
                      <a:pt x="2232" y="594"/>
                      <a:pt x="2226" y="586"/>
                      <a:pt x="2226" y="567"/>
                    </a:cubicBezTo>
                    <a:cubicBezTo>
                      <a:pt x="2226" y="432"/>
                      <a:pt x="2123" y="329"/>
                      <a:pt x="1988" y="309"/>
                    </a:cubicBezTo>
                    <a:cubicBezTo>
                      <a:pt x="1978" y="307"/>
                      <a:pt x="1968" y="307"/>
                      <a:pt x="1959" y="307"/>
                    </a:cubicBezTo>
                    <a:cubicBezTo>
                      <a:pt x="1835" y="307"/>
                      <a:pt x="1749" y="405"/>
                      <a:pt x="1799" y="534"/>
                    </a:cubicBezTo>
                    <a:cubicBezTo>
                      <a:pt x="1832" y="637"/>
                      <a:pt x="1918" y="703"/>
                      <a:pt x="2021" y="740"/>
                    </a:cubicBezTo>
                    <a:cubicBezTo>
                      <a:pt x="2074" y="756"/>
                      <a:pt x="2074" y="773"/>
                      <a:pt x="2054" y="805"/>
                    </a:cubicBezTo>
                    <a:cubicBezTo>
                      <a:pt x="2004" y="892"/>
                      <a:pt x="1935" y="961"/>
                      <a:pt x="1848" y="1011"/>
                    </a:cubicBezTo>
                    <a:cubicBezTo>
                      <a:pt x="1680" y="1113"/>
                      <a:pt x="1475" y="1167"/>
                      <a:pt x="1269" y="1167"/>
                    </a:cubicBezTo>
                    <a:cubicBezTo>
                      <a:pt x="1113" y="1167"/>
                      <a:pt x="961" y="1130"/>
                      <a:pt x="822" y="1048"/>
                    </a:cubicBezTo>
                    <a:cubicBezTo>
                      <a:pt x="908" y="961"/>
                      <a:pt x="961" y="875"/>
                      <a:pt x="961" y="756"/>
                    </a:cubicBezTo>
                    <a:cubicBezTo>
                      <a:pt x="961" y="637"/>
                      <a:pt x="908" y="567"/>
                      <a:pt x="805" y="551"/>
                    </a:cubicBezTo>
                    <a:cubicBezTo>
                      <a:pt x="795" y="549"/>
                      <a:pt x="785" y="548"/>
                      <a:pt x="775" y="548"/>
                    </a:cubicBezTo>
                    <a:cubicBezTo>
                      <a:pt x="686" y="548"/>
                      <a:pt x="613" y="612"/>
                      <a:pt x="584" y="719"/>
                    </a:cubicBezTo>
                    <a:cubicBezTo>
                      <a:pt x="567" y="789"/>
                      <a:pt x="567" y="875"/>
                      <a:pt x="600" y="961"/>
                    </a:cubicBezTo>
                    <a:cubicBezTo>
                      <a:pt x="637" y="1011"/>
                      <a:pt x="616" y="1011"/>
                      <a:pt x="567" y="1011"/>
                    </a:cubicBezTo>
                    <a:cubicBezTo>
                      <a:pt x="553" y="1012"/>
                      <a:pt x="539" y="1012"/>
                      <a:pt x="525" y="1012"/>
                    </a:cubicBezTo>
                    <a:cubicBezTo>
                      <a:pt x="338" y="1012"/>
                      <a:pt x="182" y="912"/>
                      <a:pt x="87" y="740"/>
                    </a:cubicBezTo>
                    <a:cubicBezTo>
                      <a:pt x="87" y="703"/>
                      <a:pt x="87" y="670"/>
                      <a:pt x="38" y="670"/>
                    </a:cubicBezTo>
                    <a:cubicBezTo>
                      <a:pt x="1" y="686"/>
                      <a:pt x="38" y="719"/>
                      <a:pt x="38" y="740"/>
                    </a:cubicBezTo>
                    <a:cubicBezTo>
                      <a:pt x="67" y="971"/>
                      <a:pt x="284" y="1135"/>
                      <a:pt x="514" y="1135"/>
                    </a:cubicBezTo>
                    <a:cubicBezTo>
                      <a:pt x="537" y="1135"/>
                      <a:pt x="561" y="1133"/>
                      <a:pt x="584" y="1130"/>
                    </a:cubicBezTo>
                    <a:cubicBezTo>
                      <a:pt x="621" y="1123"/>
                      <a:pt x="656" y="1115"/>
                      <a:pt x="688" y="1115"/>
                    </a:cubicBezTo>
                    <a:cubicBezTo>
                      <a:pt x="730" y="1115"/>
                      <a:pt x="768" y="1127"/>
                      <a:pt x="805" y="1167"/>
                    </a:cubicBezTo>
                    <a:cubicBezTo>
                      <a:pt x="822" y="1183"/>
                      <a:pt x="859" y="1200"/>
                      <a:pt x="892" y="1216"/>
                    </a:cubicBezTo>
                    <a:cubicBezTo>
                      <a:pt x="1029" y="1259"/>
                      <a:pt x="1162" y="1281"/>
                      <a:pt x="1294" y="1281"/>
                    </a:cubicBezTo>
                    <a:cubicBezTo>
                      <a:pt x="1426" y="1281"/>
                      <a:pt x="1559" y="1259"/>
                      <a:pt x="1696" y="1216"/>
                    </a:cubicBezTo>
                    <a:cubicBezTo>
                      <a:pt x="1918" y="1130"/>
                      <a:pt x="2107" y="1011"/>
                      <a:pt x="2193" y="773"/>
                    </a:cubicBezTo>
                    <a:cubicBezTo>
                      <a:pt x="2193" y="740"/>
                      <a:pt x="2226" y="740"/>
                      <a:pt x="2243" y="719"/>
                    </a:cubicBezTo>
                    <a:cubicBezTo>
                      <a:pt x="2518" y="653"/>
                      <a:pt x="2637" y="465"/>
                      <a:pt x="2707" y="206"/>
                    </a:cubicBezTo>
                    <a:cubicBezTo>
                      <a:pt x="2723" y="140"/>
                      <a:pt x="2707" y="87"/>
                      <a:pt x="2670" y="38"/>
                    </a:cubicBezTo>
                    <a:cubicBezTo>
                      <a:pt x="2670" y="21"/>
                      <a:pt x="2653" y="1"/>
                      <a:pt x="262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86" name="Google Shape;486;p24"/>
              <p:cNvSpPr/>
              <p:nvPr/>
            </p:nvSpPr>
            <p:spPr>
              <a:xfrm>
                <a:off x="2187300" y="2542400"/>
                <a:ext cx="3000" cy="977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391" extrusionOk="0">
                    <a:moveTo>
                      <a:pt x="41" y="0"/>
                    </a:moveTo>
                    <a:cubicBezTo>
                      <a:pt x="33" y="0"/>
                      <a:pt x="25" y="4"/>
                      <a:pt x="17" y="13"/>
                    </a:cubicBezTo>
                    <a:cubicBezTo>
                      <a:pt x="17" y="33"/>
                      <a:pt x="0" y="50"/>
                      <a:pt x="0" y="66"/>
                    </a:cubicBezTo>
                    <a:cubicBezTo>
                      <a:pt x="0" y="169"/>
                      <a:pt x="0" y="255"/>
                      <a:pt x="17" y="341"/>
                    </a:cubicBezTo>
                    <a:cubicBezTo>
                      <a:pt x="17" y="374"/>
                      <a:pt x="33" y="390"/>
                      <a:pt x="66" y="390"/>
                    </a:cubicBezTo>
                    <a:cubicBezTo>
                      <a:pt x="82" y="390"/>
                      <a:pt x="103" y="374"/>
                      <a:pt x="103" y="341"/>
                    </a:cubicBezTo>
                    <a:cubicBezTo>
                      <a:pt x="119" y="271"/>
                      <a:pt x="103" y="201"/>
                      <a:pt x="103" y="136"/>
                    </a:cubicBezTo>
                    <a:cubicBezTo>
                      <a:pt x="103" y="82"/>
                      <a:pt x="82" y="50"/>
                      <a:pt x="66" y="13"/>
                    </a:cubicBezTo>
                    <a:cubicBezTo>
                      <a:pt x="58" y="4"/>
                      <a:pt x="50" y="0"/>
                      <a:pt x="4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87" name="Google Shape;487;p24"/>
              <p:cNvSpPr/>
              <p:nvPr/>
            </p:nvSpPr>
            <p:spPr>
              <a:xfrm>
                <a:off x="2191925" y="2540275"/>
                <a:ext cx="3100" cy="9750"/>
              </a:xfrm>
              <a:custGeom>
                <a:avLst/>
                <a:gdLst/>
                <a:ahLst/>
                <a:cxnLst/>
                <a:rect l="l" t="t" r="r" b="b"/>
                <a:pathLst>
                  <a:path w="124" h="390" extrusionOk="0">
                    <a:moveTo>
                      <a:pt x="62" y="0"/>
                    </a:moveTo>
                    <a:cubicBezTo>
                      <a:pt x="53" y="0"/>
                      <a:pt x="45" y="5"/>
                      <a:pt x="37" y="15"/>
                    </a:cubicBezTo>
                    <a:cubicBezTo>
                      <a:pt x="21" y="32"/>
                      <a:pt x="21" y="48"/>
                      <a:pt x="21" y="65"/>
                    </a:cubicBezTo>
                    <a:cubicBezTo>
                      <a:pt x="0" y="167"/>
                      <a:pt x="21" y="254"/>
                      <a:pt x="37" y="340"/>
                    </a:cubicBezTo>
                    <a:cubicBezTo>
                      <a:pt x="37" y="373"/>
                      <a:pt x="53" y="389"/>
                      <a:pt x="70" y="389"/>
                    </a:cubicBezTo>
                    <a:cubicBezTo>
                      <a:pt x="103" y="389"/>
                      <a:pt x="103" y="373"/>
                      <a:pt x="123" y="340"/>
                    </a:cubicBezTo>
                    <a:lnTo>
                      <a:pt x="123" y="135"/>
                    </a:lnTo>
                    <a:cubicBezTo>
                      <a:pt x="103" y="81"/>
                      <a:pt x="103" y="48"/>
                      <a:pt x="86" y="15"/>
                    </a:cubicBezTo>
                    <a:cubicBezTo>
                      <a:pt x="78" y="5"/>
                      <a:pt x="70" y="0"/>
                      <a:pt x="6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88" name="Google Shape;488;p24"/>
              <p:cNvSpPr/>
              <p:nvPr/>
            </p:nvSpPr>
            <p:spPr>
              <a:xfrm>
                <a:off x="2095325" y="2460575"/>
                <a:ext cx="4750" cy="7225"/>
              </a:xfrm>
              <a:custGeom>
                <a:avLst/>
                <a:gdLst/>
                <a:ahLst/>
                <a:cxnLst/>
                <a:rect l="l" t="t" r="r" b="b"/>
                <a:pathLst>
                  <a:path w="190" h="289" extrusionOk="0">
                    <a:moveTo>
                      <a:pt x="169" y="1"/>
                    </a:moveTo>
                    <a:cubicBezTo>
                      <a:pt x="152" y="1"/>
                      <a:pt x="136" y="1"/>
                      <a:pt x="119" y="21"/>
                    </a:cubicBezTo>
                    <a:cubicBezTo>
                      <a:pt x="49" y="87"/>
                      <a:pt x="17" y="157"/>
                      <a:pt x="0" y="243"/>
                    </a:cubicBezTo>
                    <a:cubicBezTo>
                      <a:pt x="0" y="259"/>
                      <a:pt x="17" y="276"/>
                      <a:pt x="33" y="276"/>
                    </a:cubicBezTo>
                    <a:cubicBezTo>
                      <a:pt x="33" y="284"/>
                      <a:pt x="37" y="288"/>
                      <a:pt x="43" y="288"/>
                    </a:cubicBezTo>
                    <a:cubicBezTo>
                      <a:pt x="49" y="288"/>
                      <a:pt x="58" y="284"/>
                      <a:pt x="66" y="276"/>
                    </a:cubicBezTo>
                    <a:cubicBezTo>
                      <a:pt x="119" y="206"/>
                      <a:pt x="152" y="124"/>
                      <a:pt x="189" y="54"/>
                    </a:cubicBezTo>
                    <a:cubicBezTo>
                      <a:pt x="189" y="38"/>
                      <a:pt x="189" y="21"/>
                      <a:pt x="16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89" name="Google Shape;489;p24"/>
              <p:cNvSpPr/>
              <p:nvPr/>
            </p:nvSpPr>
            <p:spPr>
              <a:xfrm>
                <a:off x="2091000" y="2460425"/>
                <a:ext cx="3925" cy="5825"/>
              </a:xfrm>
              <a:custGeom>
                <a:avLst/>
                <a:gdLst/>
                <a:ahLst/>
                <a:cxnLst/>
                <a:rect l="l" t="t" r="r" b="b"/>
                <a:pathLst>
                  <a:path w="157" h="233" extrusionOk="0">
                    <a:moveTo>
                      <a:pt x="122" y="0"/>
                    </a:moveTo>
                    <a:cubicBezTo>
                      <a:pt x="110" y="0"/>
                      <a:pt x="99" y="13"/>
                      <a:pt x="87" y="27"/>
                    </a:cubicBezTo>
                    <a:cubicBezTo>
                      <a:pt x="54" y="60"/>
                      <a:pt x="17" y="109"/>
                      <a:pt x="1" y="179"/>
                    </a:cubicBezTo>
                    <a:cubicBezTo>
                      <a:pt x="1" y="196"/>
                      <a:pt x="17" y="212"/>
                      <a:pt x="34" y="233"/>
                    </a:cubicBezTo>
                    <a:cubicBezTo>
                      <a:pt x="54" y="233"/>
                      <a:pt x="71" y="233"/>
                      <a:pt x="87" y="212"/>
                    </a:cubicBezTo>
                    <a:cubicBezTo>
                      <a:pt x="120" y="163"/>
                      <a:pt x="136" y="109"/>
                      <a:pt x="157" y="44"/>
                    </a:cubicBezTo>
                    <a:cubicBezTo>
                      <a:pt x="157" y="27"/>
                      <a:pt x="157" y="7"/>
                      <a:pt x="136" y="7"/>
                    </a:cubicBezTo>
                    <a:cubicBezTo>
                      <a:pt x="132" y="2"/>
                      <a:pt x="127" y="0"/>
                      <a:pt x="12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90" name="Google Shape;490;p24"/>
              <p:cNvSpPr/>
              <p:nvPr/>
            </p:nvSpPr>
            <p:spPr>
              <a:xfrm>
                <a:off x="2108150" y="2628000"/>
                <a:ext cx="37175" cy="14825"/>
              </a:xfrm>
              <a:custGeom>
                <a:avLst/>
                <a:gdLst/>
                <a:ahLst/>
                <a:cxnLst/>
                <a:rect l="l" t="t" r="r" b="b"/>
                <a:pathLst>
                  <a:path w="1487" h="593" extrusionOk="0">
                    <a:moveTo>
                      <a:pt x="1428" y="1"/>
                    </a:moveTo>
                    <a:cubicBezTo>
                      <a:pt x="1402" y="1"/>
                      <a:pt x="1370" y="13"/>
                      <a:pt x="1351" y="13"/>
                    </a:cubicBezTo>
                    <a:cubicBezTo>
                      <a:pt x="1179" y="46"/>
                      <a:pt x="1011" y="62"/>
                      <a:pt x="838" y="116"/>
                    </a:cubicBezTo>
                    <a:cubicBezTo>
                      <a:pt x="514" y="202"/>
                      <a:pt x="255" y="337"/>
                      <a:pt x="50" y="510"/>
                    </a:cubicBezTo>
                    <a:cubicBezTo>
                      <a:pt x="33" y="526"/>
                      <a:pt x="0" y="576"/>
                      <a:pt x="17" y="592"/>
                    </a:cubicBezTo>
                    <a:cubicBezTo>
                      <a:pt x="33" y="592"/>
                      <a:pt x="87" y="576"/>
                      <a:pt x="120" y="559"/>
                    </a:cubicBezTo>
                    <a:cubicBezTo>
                      <a:pt x="427" y="387"/>
                      <a:pt x="785" y="218"/>
                      <a:pt x="1265" y="132"/>
                    </a:cubicBezTo>
                    <a:cubicBezTo>
                      <a:pt x="1335" y="116"/>
                      <a:pt x="1487" y="79"/>
                      <a:pt x="1470" y="30"/>
                    </a:cubicBezTo>
                    <a:cubicBezTo>
                      <a:pt x="1464" y="7"/>
                      <a:pt x="1447" y="1"/>
                      <a:pt x="1428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91" name="Google Shape;491;p24"/>
              <p:cNvSpPr/>
              <p:nvPr/>
            </p:nvSpPr>
            <p:spPr>
              <a:xfrm>
                <a:off x="2099125" y="2611900"/>
                <a:ext cx="44575" cy="4850"/>
              </a:xfrm>
              <a:custGeom>
                <a:avLst/>
                <a:gdLst/>
                <a:ahLst/>
                <a:cxnLst/>
                <a:rect l="l" t="t" r="r" b="b"/>
                <a:pathLst>
                  <a:path w="1783" h="194" extrusionOk="0">
                    <a:moveTo>
                      <a:pt x="927" y="1"/>
                    </a:moveTo>
                    <a:cubicBezTo>
                      <a:pt x="692" y="1"/>
                      <a:pt x="458" y="27"/>
                      <a:pt x="222" y="74"/>
                    </a:cubicBezTo>
                    <a:cubicBezTo>
                      <a:pt x="156" y="90"/>
                      <a:pt x="0" y="107"/>
                      <a:pt x="17" y="160"/>
                    </a:cubicBezTo>
                    <a:cubicBezTo>
                      <a:pt x="17" y="166"/>
                      <a:pt x="24" y="168"/>
                      <a:pt x="36" y="168"/>
                    </a:cubicBezTo>
                    <a:cubicBezTo>
                      <a:pt x="59" y="168"/>
                      <a:pt x="97" y="160"/>
                      <a:pt x="119" y="160"/>
                    </a:cubicBezTo>
                    <a:cubicBezTo>
                      <a:pt x="259" y="160"/>
                      <a:pt x="411" y="144"/>
                      <a:pt x="550" y="127"/>
                    </a:cubicBezTo>
                    <a:cubicBezTo>
                      <a:pt x="675" y="120"/>
                      <a:pt x="796" y="115"/>
                      <a:pt x="917" y="115"/>
                    </a:cubicBezTo>
                    <a:cubicBezTo>
                      <a:pt x="1113" y="115"/>
                      <a:pt x="1307" y="127"/>
                      <a:pt x="1507" y="160"/>
                    </a:cubicBezTo>
                    <a:cubicBezTo>
                      <a:pt x="1577" y="177"/>
                      <a:pt x="1643" y="193"/>
                      <a:pt x="1729" y="193"/>
                    </a:cubicBezTo>
                    <a:cubicBezTo>
                      <a:pt x="1729" y="193"/>
                      <a:pt x="1762" y="193"/>
                      <a:pt x="1762" y="177"/>
                    </a:cubicBezTo>
                    <a:cubicBezTo>
                      <a:pt x="1782" y="144"/>
                      <a:pt x="1745" y="107"/>
                      <a:pt x="1696" y="107"/>
                    </a:cubicBezTo>
                    <a:cubicBezTo>
                      <a:pt x="1626" y="90"/>
                      <a:pt x="1577" y="58"/>
                      <a:pt x="1507" y="58"/>
                    </a:cubicBezTo>
                    <a:cubicBezTo>
                      <a:pt x="1314" y="19"/>
                      <a:pt x="1120" y="1"/>
                      <a:pt x="92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92" name="Google Shape;492;p24"/>
              <p:cNvSpPr/>
              <p:nvPr/>
            </p:nvSpPr>
            <p:spPr>
              <a:xfrm>
                <a:off x="2101275" y="2620250"/>
                <a:ext cx="42825" cy="9025"/>
              </a:xfrm>
              <a:custGeom>
                <a:avLst/>
                <a:gdLst/>
                <a:ahLst/>
                <a:cxnLst/>
                <a:rect l="l" t="t" r="r" b="b"/>
                <a:pathLst>
                  <a:path w="1713" h="361" extrusionOk="0">
                    <a:moveTo>
                      <a:pt x="1367" y="0"/>
                    </a:moveTo>
                    <a:cubicBezTo>
                      <a:pt x="1125" y="0"/>
                      <a:pt x="888" y="33"/>
                      <a:pt x="649" y="81"/>
                    </a:cubicBezTo>
                    <a:cubicBezTo>
                      <a:pt x="464" y="134"/>
                      <a:pt x="275" y="167"/>
                      <a:pt x="103" y="270"/>
                    </a:cubicBezTo>
                    <a:cubicBezTo>
                      <a:pt x="70" y="286"/>
                      <a:pt x="0" y="340"/>
                      <a:pt x="0" y="356"/>
                    </a:cubicBezTo>
                    <a:cubicBezTo>
                      <a:pt x="3" y="359"/>
                      <a:pt x="10" y="360"/>
                      <a:pt x="18" y="360"/>
                    </a:cubicBezTo>
                    <a:cubicBezTo>
                      <a:pt x="54" y="360"/>
                      <a:pt x="130" y="336"/>
                      <a:pt x="173" y="323"/>
                    </a:cubicBezTo>
                    <a:cubicBezTo>
                      <a:pt x="546" y="204"/>
                      <a:pt x="941" y="118"/>
                      <a:pt x="1335" y="118"/>
                    </a:cubicBezTo>
                    <a:cubicBezTo>
                      <a:pt x="1437" y="118"/>
                      <a:pt x="1540" y="118"/>
                      <a:pt x="1643" y="101"/>
                    </a:cubicBezTo>
                    <a:cubicBezTo>
                      <a:pt x="1655" y="101"/>
                      <a:pt x="1668" y="104"/>
                      <a:pt x="1680" y="104"/>
                    </a:cubicBezTo>
                    <a:cubicBezTo>
                      <a:pt x="1698" y="104"/>
                      <a:pt x="1713" y="97"/>
                      <a:pt x="1713" y="64"/>
                    </a:cubicBezTo>
                    <a:cubicBezTo>
                      <a:pt x="1713" y="15"/>
                      <a:pt x="1659" y="32"/>
                      <a:pt x="1643" y="15"/>
                    </a:cubicBezTo>
                    <a:cubicBezTo>
                      <a:pt x="1550" y="5"/>
                      <a:pt x="1458" y="0"/>
                      <a:pt x="136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93" name="Google Shape;493;p24"/>
              <p:cNvSpPr/>
              <p:nvPr/>
            </p:nvSpPr>
            <p:spPr>
              <a:xfrm>
                <a:off x="2159025" y="2569600"/>
                <a:ext cx="18250" cy="10700"/>
              </a:xfrm>
              <a:custGeom>
                <a:avLst/>
                <a:gdLst/>
                <a:ahLst/>
                <a:cxnLst/>
                <a:rect l="l" t="t" r="r" b="b"/>
                <a:pathLst>
                  <a:path w="730" h="428" extrusionOk="0">
                    <a:moveTo>
                      <a:pt x="492" y="0"/>
                    </a:moveTo>
                    <a:cubicBezTo>
                      <a:pt x="280" y="0"/>
                      <a:pt x="1" y="136"/>
                      <a:pt x="35" y="280"/>
                    </a:cubicBezTo>
                    <a:cubicBezTo>
                      <a:pt x="49" y="376"/>
                      <a:pt x="185" y="428"/>
                      <a:pt x="331" y="428"/>
                    </a:cubicBezTo>
                    <a:cubicBezTo>
                      <a:pt x="521" y="428"/>
                      <a:pt x="730" y="342"/>
                      <a:pt x="721" y="156"/>
                    </a:cubicBezTo>
                    <a:cubicBezTo>
                      <a:pt x="713" y="45"/>
                      <a:pt x="614" y="0"/>
                      <a:pt x="492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94" name="Google Shape;494;p24"/>
              <p:cNvSpPr/>
              <p:nvPr/>
            </p:nvSpPr>
            <p:spPr>
              <a:xfrm>
                <a:off x="2158150" y="2568200"/>
                <a:ext cx="20550" cy="13100"/>
              </a:xfrm>
              <a:custGeom>
                <a:avLst/>
                <a:gdLst/>
                <a:ahLst/>
                <a:cxnLst/>
                <a:rect l="l" t="t" r="r" b="b"/>
                <a:pathLst>
                  <a:path w="822" h="524" extrusionOk="0">
                    <a:moveTo>
                      <a:pt x="580" y="104"/>
                    </a:moveTo>
                    <a:cubicBezTo>
                      <a:pt x="641" y="104"/>
                      <a:pt x="706" y="129"/>
                      <a:pt x="719" y="196"/>
                    </a:cubicBezTo>
                    <a:cubicBezTo>
                      <a:pt x="735" y="282"/>
                      <a:pt x="583" y="368"/>
                      <a:pt x="513" y="385"/>
                    </a:cubicBezTo>
                    <a:cubicBezTo>
                      <a:pt x="453" y="404"/>
                      <a:pt x="393" y="412"/>
                      <a:pt x="333" y="412"/>
                    </a:cubicBezTo>
                    <a:cubicBezTo>
                      <a:pt x="290" y="412"/>
                      <a:pt x="248" y="408"/>
                      <a:pt x="205" y="401"/>
                    </a:cubicBezTo>
                    <a:cubicBezTo>
                      <a:pt x="156" y="401"/>
                      <a:pt x="119" y="385"/>
                      <a:pt x="119" y="336"/>
                    </a:cubicBezTo>
                    <a:cubicBezTo>
                      <a:pt x="103" y="233"/>
                      <a:pt x="275" y="163"/>
                      <a:pt x="308" y="147"/>
                    </a:cubicBezTo>
                    <a:cubicBezTo>
                      <a:pt x="378" y="130"/>
                      <a:pt x="448" y="110"/>
                      <a:pt x="530" y="110"/>
                    </a:cubicBezTo>
                    <a:cubicBezTo>
                      <a:pt x="545" y="106"/>
                      <a:pt x="562" y="104"/>
                      <a:pt x="580" y="104"/>
                    </a:cubicBezTo>
                    <a:close/>
                    <a:moveTo>
                      <a:pt x="542" y="0"/>
                    </a:moveTo>
                    <a:cubicBezTo>
                      <a:pt x="527" y="0"/>
                      <a:pt x="512" y="2"/>
                      <a:pt x="497" y="7"/>
                    </a:cubicBezTo>
                    <a:cubicBezTo>
                      <a:pt x="427" y="7"/>
                      <a:pt x="361" y="28"/>
                      <a:pt x="308" y="44"/>
                    </a:cubicBezTo>
                    <a:cubicBezTo>
                      <a:pt x="222" y="77"/>
                      <a:pt x="0" y="180"/>
                      <a:pt x="17" y="352"/>
                    </a:cubicBezTo>
                    <a:cubicBezTo>
                      <a:pt x="17" y="438"/>
                      <a:pt x="103" y="504"/>
                      <a:pt x="189" y="504"/>
                    </a:cubicBezTo>
                    <a:cubicBezTo>
                      <a:pt x="234" y="518"/>
                      <a:pt x="279" y="524"/>
                      <a:pt x="324" y="524"/>
                    </a:cubicBezTo>
                    <a:cubicBezTo>
                      <a:pt x="399" y="524"/>
                      <a:pt x="474" y="508"/>
                      <a:pt x="550" y="488"/>
                    </a:cubicBezTo>
                    <a:cubicBezTo>
                      <a:pt x="616" y="471"/>
                      <a:pt x="669" y="455"/>
                      <a:pt x="719" y="401"/>
                    </a:cubicBezTo>
                    <a:cubicBezTo>
                      <a:pt x="756" y="368"/>
                      <a:pt x="789" y="336"/>
                      <a:pt x="805" y="299"/>
                    </a:cubicBezTo>
                    <a:cubicBezTo>
                      <a:pt x="821" y="233"/>
                      <a:pt x="821" y="163"/>
                      <a:pt x="789" y="110"/>
                    </a:cubicBezTo>
                    <a:cubicBezTo>
                      <a:pt x="756" y="77"/>
                      <a:pt x="702" y="44"/>
                      <a:pt x="653" y="28"/>
                    </a:cubicBezTo>
                    <a:cubicBezTo>
                      <a:pt x="615" y="13"/>
                      <a:pt x="579" y="0"/>
                      <a:pt x="54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95" name="Google Shape;495;p24"/>
              <p:cNvSpPr/>
              <p:nvPr/>
            </p:nvSpPr>
            <p:spPr>
              <a:xfrm>
                <a:off x="2223200" y="2561700"/>
                <a:ext cx="20200" cy="11675"/>
              </a:xfrm>
              <a:custGeom>
                <a:avLst/>
                <a:gdLst/>
                <a:ahLst/>
                <a:cxnLst/>
                <a:rect l="l" t="t" r="r" b="b"/>
                <a:pathLst>
                  <a:path w="808" h="467" extrusionOk="0">
                    <a:moveTo>
                      <a:pt x="266" y="1"/>
                    </a:moveTo>
                    <a:cubicBezTo>
                      <a:pt x="164" y="1"/>
                      <a:pt x="77" y="31"/>
                      <a:pt x="51" y="99"/>
                    </a:cubicBezTo>
                    <a:cubicBezTo>
                      <a:pt x="0" y="247"/>
                      <a:pt x="282" y="466"/>
                      <a:pt x="500" y="466"/>
                    </a:cubicBezTo>
                    <a:cubicBezTo>
                      <a:pt x="583" y="466"/>
                      <a:pt x="657" y="434"/>
                      <a:pt x="699" y="353"/>
                    </a:cubicBezTo>
                    <a:cubicBezTo>
                      <a:pt x="808" y="152"/>
                      <a:pt x="496" y="1"/>
                      <a:pt x="266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96" name="Google Shape;496;p24"/>
              <p:cNvSpPr/>
              <p:nvPr/>
            </p:nvSpPr>
            <p:spPr>
              <a:xfrm>
                <a:off x="2222300" y="2560725"/>
                <a:ext cx="20975" cy="13475"/>
              </a:xfrm>
              <a:custGeom>
                <a:avLst/>
                <a:gdLst/>
                <a:ahLst/>
                <a:cxnLst/>
                <a:rect l="l" t="t" r="r" b="b"/>
                <a:pathLst>
                  <a:path w="839" h="539" extrusionOk="0">
                    <a:moveTo>
                      <a:pt x="288" y="83"/>
                    </a:moveTo>
                    <a:cubicBezTo>
                      <a:pt x="336" y="83"/>
                      <a:pt x="380" y="93"/>
                      <a:pt x="395" y="101"/>
                    </a:cubicBezTo>
                    <a:cubicBezTo>
                      <a:pt x="464" y="121"/>
                      <a:pt x="551" y="138"/>
                      <a:pt x="600" y="171"/>
                    </a:cubicBezTo>
                    <a:cubicBezTo>
                      <a:pt x="670" y="203"/>
                      <a:pt x="756" y="290"/>
                      <a:pt x="719" y="360"/>
                    </a:cubicBezTo>
                    <a:cubicBezTo>
                      <a:pt x="700" y="410"/>
                      <a:pt x="633" y="425"/>
                      <a:pt x="571" y="425"/>
                    </a:cubicBezTo>
                    <a:cubicBezTo>
                      <a:pt x="527" y="425"/>
                      <a:pt x="485" y="417"/>
                      <a:pt x="464" y="409"/>
                    </a:cubicBezTo>
                    <a:cubicBezTo>
                      <a:pt x="362" y="392"/>
                      <a:pt x="259" y="343"/>
                      <a:pt x="173" y="273"/>
                    </a:cubicBezTo>
                    <a:cubicBezTo>
                      <a:pt x="140" y="240"/>
                      <a:pt x="120" y="203"/>
                      <a:pt x="140" y="154"/>
                    </a:cubicBezTo>
                    <a:cubicBezTo>
                      <a:pt x="167" y="98"/>
                      <a:pt x="231" y="83"/>
                      <a:pt x="288" y="83"/>
                    </a:cubicBezTo>
                    <a:close/>
                    <a:moveTo>
                      <a:pt x="305" y="1"/>
                    </a:moveTo>
                    <a:cubicBezTo>
                      <a:pt x="207" y="1"/>
                      <a:pt x="94" y="26"/>
                      <a:pt x="54" y="121"/>
                    </a:cubicBezTo>
                    <a:cubicBezTo>
                      <a:pt x="0" y="203"/>
                      <a:pt x="54" y="290"/>
                      <a:pt x="103" y="343"/>
                    </a:cubicBezTo>
                    <a:cubicBezTo>
                      <a:pt x="206" y="429"/>
                      <a:pt x="308" y="479"/>
                      <a:pt x="428" y="511"/>
                    </a:cubicBezTo>
                    <a:cubicBezTo>
                      <a:pt x="477" y="526"/>
                      <a:pt x="527" y="539"/>
                      <a:pt x="576" y="539"/>
                    </a:cubicBezTo>
                    <a:cubicBezTo>
                      <a:pt x="595" y="539"/>
                      <a:pt x="614" y="537"/>
                      <a:pt x="633" y="532"/>
                    </a:cubicBezTo>
                    <a:cubicBezTo>
                      <a:pt x="670" y="511"/>
                      <a:pt x="719" y="495"/>
                      <a:pt x="756" y="479"/>
                    </a:cubicBezTo>
                    <a:cubicBezTo>
                      <a:pt x="805" y="446"/>
                      <a:pt x="838" y="376"/>
                      <a:pt x="822" y="306"/>
                    </a:cubicBezTo>
                    <a:cubicBezTo>
                      <a:pt x="805" y="257"/>
                      <a:pt x="789" y="224"/>
                      <a:pt x="756" y="171"/>
                    </a:cubicBezTo>
                    <a:cubicBezTo>
                      <a:pt x="719" y="138"/>
                      <a:pt x="686" y="84"/>
                      <a:pt x="633" y="68"/>
                    </a:cubicBezTo>
                    <a:cubicBezTo>
                      <a:pt x="567" y="52"/>
                      <a:pt x="514" y="35"/>
                      <a:pt x="448" y="19"/>
                    </a:cubicBezTo>
                    <a:cubicBezTo>
                      <a:pt x="421" y="11"/>
                      <a:pt x="366" y="1"/>
                      <a:pt x="305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97" name="Google Shape;497;p24"/>
              <p:cNvSpPr/>
              <p:nvPr/>
            </p:nvSpPr>
            <p:spPr>
              <a:xfrm>
                <a:off x="2147875" y="2620100"/>
                <a:ext cx="20550" cy="14950"/>
              </a:xfrm>
              <a:custGeom>
                <a:avLst/>
                <a:gdLst/>
                <a:ahLst/>
                <a:cxnLst/>
                <a:rect l="l" t="t" r="r" b="b"/>
                <a:pathLst>
                  <a:path w="822" h="598" extrusionOk="0">
                    <a:moveTo>
                      <a:pt x="444" y="1"/>
                    </a:moveTo>
                    <a:cubicBezTo>
                      <a:pt x="389" y="1"/>
                      <a:pt x="337" y="14"/>
                      <a:pt x="292" y="38"/>
                    </a:cubicBezTo>
                    <a:cubicBezTo>
                      <a:pt x="173" y="87"/>
                      <a:pt x="1" y="173"/>
                      <a:pt x="70" y="395"/>
                    </a:cubicBezTo>
                    <a:cubicBezTo>
                      <a:pt x="120" y="497"/>
                      <a:pt x="206" y="551"/>
                      <a:pt x="292" y="584"/>
                    </a:cubicBezTo>
                    <a:cubicBezTo>
                      <a:pt x="333" y="593"/>
                      <a:pt x="373" y="598"/>
                      <a:pt x="413" y="598"/>
                    </a:cubicBezTo>
                    <a:cubicBezTo>
                      <a:pt x="525" y="598"/>
                      <a:pt x="631" y="561"/>
                      <a:pt x="719" y="497"/>
                    </a:cubicBezTo>
                    <a:cubicBezTo>
                      <a:pt x="772" y="448"/>
                      <a:pt x="822" y="378"/>
                      <a:pt x="822" y="292"/>
                    </a:cubicBezTo>
                    <a:cubicBezTo>
                      <a:pt x="805" y="189"/>
                      <a:pt x="736" y="124"/>
                      <a:pt x="670" y="70"/>
                    </a:cubicBezTo>
                    <a:cubicBezTo>
                      <a:pt x="592" y="22"/>
                      <a:pt x="515" y="1"/>
                      <a:pt x="444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98" name="Google Shape;498;p24"/>
              <p:cNvSpPr/>
              <p:nvPr/>
            </p:nvSpPr>
            <p:spPr>
              <a:xfrm>
                <a:off x="2235125" y="2611450"/>
                <a:ext cx="16350" cy="13350"/>
              </a:xfrm>
              <a:custGeom>
                <a:avLst/>
                <a:gdLst/>
                <a:ahLst/>
                <a:cxnLst/>
                <a:rect l="l" t="t" r="r" b="b"/>
                <a:pathLst>
                  <a:path w="654" h="534" extrusionOk="0">
                    <a:moveTo>
                      <a:pt x="335" y="1"/>
                    </a:moveTo>
                    <a:cubicBezTo>
                      <a:pt x="295" y="1"/>
                      <a:pt x="258" y="9"/>
                      <a:pt x="222" y="22"/>
                    </a:cubicBezTo>
                    <a:cubicBezTo>
                      <a:pt x="140" y="59"/>
                      <a:pt x="1" y="145"/>
                      <a:pt x="71" y="351"/>
                    </a:cubicBezTo>
                    <a:cubicBezTo>
                      <a:pt x="103" y="453"/>
                      <a:pt x="190" y="503"/>
                      <a:pt x="259" y="519"/>
                    </a:cubicBezTo>
                    <a:cubicBezTo>
                      <a:pt x="291" y="529"/>
                      <a:pt x="322" y="533"/>
                      <a:pt x="352" y="533"/>
                    </a:cubicBezTo>
                    <a:cubicBezTo>
                      <a:pt x="439" y="533"/>
                      <a:pt x="520" y="497"/>
                      <a:pt x="584" y="433"/>
                    </a:cubicBezTo>
                    <a:cubicBezTo>
                      <a:pt x="617" y="384"/>
                      <a:pt x="654" y="330"/>
                      <a:pt x="633" y="248"/>
                    </a:cubicBezTo>
                    <a:cubicBezTo>
                      <a:pt x="617" y="162"/>
                      <a:pt x="551" y="108"/>
                      <a:pt x="514" y="59"/>
                    </a:cubicBezTo>
                    <a:cubicBezTo>
                      <a:pt x="453" y="18"/>
                      <a:pt x="392" y="1"/>
                      <a:pt x="335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499" name="Google Shape;499;p24"/>
              <p:cNvSpPr/>
              <p:nvPr/>
            </p:nvSpPr>
            <p:spPr>
              <a:xfrm>
                <a:off x="2157325" y="2629125"/>
                <a:ext cx="3000" cy="2600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04" extrusionOk="0">
                    <a:moveTo>
                      <a:pt x="50" y="1"/>
                    </a:moveTo>
                    <a:cubicBezTo>
                      <a:pt x="17" y="1"/>
                      <a:pt x="0" y="34"/>
                      <a:pt x="0" y="71"/>
                    </a:cubicBezTo>
                    <a:cubicBezTo>
                      <a:pt x="17" y="87"/>
                      <a:pt x="33" y="104"/>
                      <a:pt x="70" y="104"/>
                    </a:cubicBezTo>
                    <a:cubicBezTo>
                      <a:pt x="103" y="87"/>
                      <a:pt x="119" y="71"/>
                      <a:pt x="103" y="34"/>
                    </a:cubicBezTo>
                    <a:cubicBezTo>
                      <a:pt x="103" y="1"/>
                      <a:pt x="70" y="1"/>
                      <a:pt x="5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00" name="Google Shape;500;p24"/>
              <p:cNvSpPr/>
              <p:nvPr/>
            </p:nvSpPr>
            <p:spPr>
              <a:xfrm>
                <a:off x="2153925" y="2624825"/>
                <a:ext cx="2600" cy="2600"/>
              </a:xfrm>
              <a:custGeom>
                <a:avLst/>
                <a:gdLst/>
                <a:ahLst/>
                <a:cxnLst/>
                <a:rect l="l" t="t" r="r" b="b"/>
                <a:pathLst>
                  <a:path w="104" h="104" extrusionOk="0">
                    <a:moveTo>
                      <a:pt x="50" y="0"/>
                    </a:moveTo>
                    <a:cubicBezTo>
                      <a:pt x="17" y="0"/>
                      <a:pt x="1" y="37"/>
                      <a:pt x="1" y="70"/>
                    </a:cubicBezTo>
                    <a:cubicBezTo>
                      <a:pt x="1" y="87"/>
                      <a:pt x="34" y="103"/>
                      <a:pt x="66" y="103"/>
                    </a:cubicBezTo>
                    <a:cubicBezTo>
                      <a:pt x="83" y="103"/>
                      <a:pt x="103" y="87"/>
                      <a:pt x="103" y="54"/>
                    </a:cubicBezTo>
                    <a:cubicBezTo>
                      <a:pt x="103" y="21"/>
                      <a:pt x="83" y="0"/>
                      <a:pt x="5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01" name="Google Shape;501;p24"/>
              <p:cNvSpPr/>
              <p:nvPr/>
            </p:nvSpPr>
            <p:spPr>
              <a:xfrm>
                <a:off x="2159475" y="2623600"/>
                <a:ext cx="3000" cy="3000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20" extrusionOk="0">
                    <a:moveTo>
                      <a:pt x="50" y="0"/>
                    </a:moveTo>
                    <a:cubicBezTo>
                      <a:pt x="17" y="17"/>
                      <a:pt x="1" y="33"/>
                      <a:pt x="17" y="70"/>
                    </a:cubicBezTo>
                    <a:cubicBezTo>
                      <a:pt x="17" y="103"/>
                      <a:pt x="33" y="119"/>
                      <a:pt x="66" y="119"/>
                    </a:cubicBezTo>
                    <a:cubicBezTo>
                      <a:pt x="103" y="119"/>
                      <a:pt x="120" y="86"/>
                      <a:pt x="103" y="49"/>
                    </a:cubicBezTo>
                    <a:cubicBezTo>
                      <a:pt x="103" y="17"/>
                      <a:pt x="87" y="0"/>
                      <a:pt x="5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02" name="Google Shape;502;p24"/>
              <p:cNvSpPr/>
              <p:nvPr/>
            </p:nvSpPr>
            <p:spPr>
              <a:xfrm>
                <a:off x="2243750" y="2619125"/>
                <a:ext cx="3000" cy="2750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10" extrusionOk="0">
                    <a:moveTo>
                      <a:pt x="66" y="0"/>
                    </a:moveTo>
                    <a:cubicBezTo>
                      <a:pt x="60" y="0"/>
                      <a:pt x="54" y="2"/>
                      <a:pt x="50" y="7"/>
                    </a:cubicBezTo>
                    <a:cubicBezTo>
                      <a:pt x="17" y="7"/>
                      <a:pt x="1" y="44"/>
                      <a:pt x="1" y="77"/>
                    </a:cubicBezTo>
                    <a:cubicBezTo>
                      <a:pt x="17" y="93"/>
                      <a:pt x="34" y="109"/>
                      <a:pt x="66" y="109"/>
                    </a:cubicBezTo>
                    <a:cubicBezTo>
                      <a:pt x="103" y="109"/>
                      <a:pt x="120" y="77"/>
                      <a:pt x="103" y="44"/>
                    </a:cubicBezTo>
                    <a:cubicBezTo>
                      <a:pt x="103" y="16"/>
                      <a:pt x="83" y="0"/>
                      <a:pt x="6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03" name="Google Shape;503;p24"/>
              <p:cNvSpPr/>
              <p:nvPr/>
            </p:nvSpPr>
            <p:spPr>
              <a:xfrm>
                <a:off x="2245800" y="2614875"/>
                <a:ext cx="2600" cy="2800"/>
              </a:xfrm>
              <a:custGeom>
                <a:avLst/>
                <a:gdLst/>
                <a:ahLst/>
                <a:cxnLst/>
                <a:rect l="l" t="t" r="r" b="b"/>
                <a:pathLst>
                  <a:path w="104" h="112" extrusionOk="0">
                    <a:moveTo>
                      <a:pt x="71" y="0"/>
                    </a:moveTo>
                    <a:cubicBezTo>
                      <a:pt x="65" y="0"/>
                      <a:pt x="59" y="3"/>
                      <a:pt x="54" y="8"/>
                    </a:cubicBezTo>
                    <a:cubicBezTo>
                      <a:pt x="21" y="8"/>
                      <a:pt x="1" y="41"/>
                      <a:pt x="1" y="74"/>
                    </a:cubicBezTo>
                    <a:cubicBezTo>
                      <a:pt x="21" y="91"/>
                      <a:pt x="54" y="111"/>
                      <a:pt x="71" y="111"/>
                    </a:cubicBezTo>
                    <a:cubicBezTo>
                      <a:pt x="87" y="111"/>
                      <a:pt x="103" y="74"/>
                      <a:pt x="103" y="41"/>
                    </a:cubicBezTo>
                    <a:cubicBezTo>
                      <a:pt x="103" y="18"/>
                      <a:pt x="86" y="0"/>
                      <a:pt x="7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04" name="Google Shape;504;p24"/>
              <p:cNvSpPr/>
              <p:nvPr/>
            </p:nvSpPr>
            <p:spPr>
              <a:xfrm>
                <a:off x="2239850" y="2615725"/>
                <a:ext cx="2600" cy="2500"/>
              </a:xfrm>
              <a:custGeom>
                <a:avLst/>
                <a:gdLst/>
                <a:ahLst/>
                <a:cxnLst/>
                <a:rect l="l" t="t" r="r" b="b"/>
                <a:pathLst>
                  <a:path w="104" h="100" extrusionOk="0">
                    <a:moveTo>
                      <a:pt x="59" y="1"/>
                    </a:moveTo>
                    <a:cubicBezTo>
                      <a:pt x="52" y="1"/>
                      <a:pt x="43" y="3"/>
                      <a:pt x="33" y="7"/>
                    </a:cubicBezTo>
                    <a:cubicBezTo>
                      <a:pt x="17" y="7"/>
                      <a:pt x="1" y="24"/>
                      <a:pt x="1" y="57"/>
                    </a:cubicBezTo>
                    <a:cubicBezTo>
                      <a:pt x="13" y="84"/>
                      <a:pt x="25" y="100"/>
                      <a:pt x="39" y="100"/>
                    </a:cubicBezTo>
                    <a:cubicBezTo>
                      <a:pt x="43" y="100"/>
                      <a:pt x="49" y="98"/>
                      <a:pt x="54" y="93"/>
                    </a:cubicBezTo>
                    <a:cubicBezTo>
                      <a:pt x="87" y="93"/>
                      <a:pt x="103" y="57"/>
                      <a:pt x="103" y="40"/>
                    </a:cubicBezTo>
                    <a:cubicBezTo>
                      <a:pt x="91" y="16"/>
                      <a:pt x="79" y="1"/>
                      <a:pt x="5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05" name="Google Shape;505;p24"/>
              <p:cNvSpPr/>
              <p:nvPr/>
            </p:nvSpPr>
            <p:spPr>
              <a:xfrm>
                <a:off x="2192425" y="2607875"/>
                <a:ext cx="22600" cy="13850"/>
              </a:xfrm>
              <a:custGeom>
                <a:avLst/>
                <a:gdLst/>
                <a:ahLst/>
                <a:cxnLst/>
                <a:rect l="l" t="t" r="r" b="b"/>
                <a:pathLst>
                  <a:path w="904" h="554" extrusionOk="0">
                    <a:moveTo>
                      <a:pt x="641" y="0"/>
                    </a:moveTo>
                    <a:cubicBezTo>
                      <a:pt x="519" y="0"/>
                      <a:pt x="386" y="32"/>
                      <a:pt x="272" y="83"/>
                    </a:cubicBezTo>
                    <a:cubicBezTo>
                      <a:pt x="185" y="116"/>
                      <a:pt x="120" y="165"/>
                      <a:pt x="66" y="235"/>
                    </a:cubicBezTo>
                    <a:cubicBezTo>
                      <a:pt x="1" y="321"/>
                      <a:pt x="83" y="391"/>
                      <a:pt x="153" y="440"/>
                    </a:cubicBezTo>
                    <a:cubicBezTo>
                      <a:pt x="222" y="473"/>
                      <a:pt x="309" y="527"/>
                      <a:pt x="391" y="543"/>
                    </a:cubicBezTo>
                    <a:cubicBezTo>
                      <a:pt x="426" y="550"/>
                      <a:pt x="465" y="554"/>
                      <a:pt x="503" y="554"/>
                    </a:cubicBezTo>
                    <a:cubicBezTo>
                      <a:pt x="556" y="554"/>
                      <a:pt x="608" y="546"/>
                      <a:pt x="649" y="527"/>
                    </a:cubicBezTo>
                    <a:cubicBezTo>
                      <a:pt x="752" y="473"/>
                      <a:pt x="822" y="371"/>
                      <a:pt x="871" y="268"/>
                    </a:cubicBezTo>
                    <a:cubicBezTo>
                      <a:pt x="888" y="235"/>
                      <a:pt x="888" y="186"/>
                      <a:pt x="904" y="149"/>
                    </a:cubicBezTo>
                    <a:cubicBezTo>
                      <a:pt x="904" y="116"/>
                      <a:pt x="888" y="63"/>
                      <a:pt x="855" y="46"/>
                    </a:cubicBezTo>
                    <a:cubicBezTo>
                      <a:pt x="838" y="13"/>
                      <a:pt x="801" y="13"/>
                      <a:pt x="768" y="13"/>
                    </a:cubicBezTo>
                    <a:cubicBezTo>
                      <a:pt x="728" y="5"/>
                      <a:pt x="685" y="0"/>
                      <a:pt x="641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06" name="Google Shape;506;p24"/>
              <p:cNvSpPr/>
              <p:nvPr/>
            </p:nvSpPr>
            <p:spPr>
              <a:xfrm>
                <a:off x="2191925" y="2594625"/>
                <a:ext cx="21875" cy="18400"/>
              </a:xfrm>
              <a:custGeom>
                <a:avLst/>
                <a:gdLst/>
                <a:ahLst/>
                <a:cxnLst/>
                <a:rect l="l" t="t" r="r" b="b"/>
                <a:pathLst>
                  <a:path w="875" h="736" extrusionOk="0">
                    <a:moveTo>
                      <a:pt x="473" y="1"/>
                    </a:moveTo>
                    <a:cubicBezTo>
                      <a:pt x="391" y="1"/>
                      <a:pt x="307" y="28"/>
                      <a:pt x="242" y="79"/>
                    </a:cubicBezTo>
                    <a:cubicBezTo>
                      <a:pt x="123" y="166"/>
                      <a:pt x="70" y="285"/>
                      <a:pt x="37" y="424"/>
                    </a:cubicBezTo>
                    <a:cubicBezTo>
                      <a:pt x="21" y="510"/>
                      <a:pt x="0" y="646"/>
                      <a:pt x="37" y="716"/>
                    </a:cubicBezTo>
                    <a:cubicBezTo>
                      <a:pt x="44" y="730"/>
                      <a:pt x="56" y="735"/>
                      <a:pt x="70" y="735"/>
                    </a:cubicBezTo>
                    <a:cubicBezTo>
                      <a:pt x="124" y="735"/>
                      <a:pt x="217" y="659"/>
                      <a:pt x="259" y="646"/>
                    </a:cubicBezTo>
                    <a:cubicBezTo>
                      <a:pt x="388" y="587"/>
                      <a:pt x="532" y="553"/>
                      <a:pt x="676" y="553"/>
                    </a:cubicBezTo>
                    <a:cubicBezTo>
                      <a:pt x="743" y="553"/>
                      <a:pt x="809" y="561"/>
                      <a:pt x="875" y="576"/>
                    </a:cubicBezTo>
                    <a:cubicBezTo>
                      <a:pt x="875" y="510"/>
                      <a:pt x="858" y="441"/>
                      <a:pt x="842" y="387"/>
                    </a:cubicBezTo>
                    <a:cubicBezTo>
                      <a:pt x="821" y="305"/>
                      <a:pt x="788" y="219"/>
                      <a:pt x="739" y="149"/>
                    </a:cubicBezTo>
                    <a:cubicBezTo>
                      <a:pt x="702" y="100"/>
                      <a:pt x="653" y="63"/>
                      <a:pt x="616" y="30"/>
                    </a:cubicBezTo>
                    <a:cubicBezTo>
                      <a:pt x="572" y="10"/>
                      <a:pt x="523" y="1"/>
                      <a:pt x="47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07" name="Google Shape;507;p24"/>
              <p:cNvSpPr/>
              <p:nvPr/>
            </p:nvSpPr>
            <p:spPr>
              <a:xfrm>
                <a:off x="2197550" y="2611575"/>
                <a:ext cx="8975" cy="5575"/>
              </a:xfrm>
              <a:custGeom>
                <a:avLst/>
                <a:gdLst/>
                <a:ahLst/>
                <a:cxnLst/>
                <a:rect l="l" t="t" r="r" b="b"/>
                <a:pathLst>
                  <a:path w="359" h="223" extrusionOk="0">
                    <a:moveTo>
                      <a:pt x="255" y="1"/>
                    </a:moveTo>
                    <a:cubicBezTo>
                      <a:pt x="206" y="1"/>
                      <a:pt x="136" y="17"/>
                      <a:pt x="104" y="38"/>
                    </a:cubicBezTo>
                    <a:cubicBezTo>
                      <a:pt x="67" y="54"/>
                      <a:pt x="34" y="71"/>
                      <a:pt x="17" y="103"/>
                    </a:cubicBezTo>
                    <a:cubicBezTo>
                      <a:pt x="1" y="140"/>
                      <a:pt x="1" y="190"/>
                      <a:pt x="34" y="206"/>
                    </a:cubicBezTo>
                    <a:cubicBezTo>
                      <a:pt x="50" y="223"/>
                      <a:pt x="67" y="223"/>
                      <a:pt x="83" y="223"/>
                    </a:cubicBezTo>
                    <a:cubicBezTo>
                      <a:pt x="136" y="223"/>
                      <a:pt x="186" y="206"/>
                      <a:pt x="239" y="190"/>
                    </a:cubicBezTo>
                    <a:cubicBezTo>
                      <a:pt x="272" y="173"/>
                      <a:pt x="309" y="157"/>
                      <a:pt x="342" y="120"/>
                    </a:cubicBezTo>
                    <a:cubicBezTo>
                      <a:pt x="358" y="103"/>
                      <a:pt x="358" y="54"/>
                      <a:pt x="342" y="17"/>
                    </a:cubicBezTo>
                    <a:cubicBezTo>
                      <a:pt x="325" y="1"/>
                      <a:pt x="288" y="1"/>
                      <a:pt x="255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08" name="Google Shape;508;p24"/>
              <p:cNvSpPr/>
              <p:nvPr/>
            </p:nvSpPr>
            <p:spPr>
              <a:xfrm>
                <a:off x="2191500" y="2606850"/>
                <a:ext cx="24875" cy="15950"/>
              </a:xfrm>
              <a:custGeom>
                <a:avLst/>
                <a:gdLst/>
                <a:ahLst/>
                <a:cxnLst/>
                <a:rect l="l" t="t" r="r" b="b"/>
                <a:pathLst>
                  <a:path w="995" h="638" extrusionOk="0">
                    <a:moveTo>
                      <a:pt x="805" y="104"/>
                    </a:moveTo>
                    <a:cubicBezTo>
                      <a:pt x="875" y="124"/>
                      <a:pt x="875" y="141"/>
                      <a:pt x="875" y="190"/>
                    </a:cubicBezTo>
                    <a:cubicBezTo>
                      <a:pt x="859" y="260"/>
                      <a:pt x="822" y="329"/>
                      <a:pt x="789" y="379"/>
                    </a:cubicBezTo>
                    <a:cubicBezTo>
                      <a:pt x="773" y="395"/>
                      <a:pt x="756" y="432"/>
                      <a:pt x="719" y="448"/>
                    </a:cubicBezTo>
                    <a:cubicBezTo>
                      <a:pt x="686" y="498"/>
                      <a:pt x="617" y="535"/>
                      <a:pt x="551" y="535"/>
                    </a:cubicBezTo>
                    <a:cubicBezTo>
                      <a:pt x="481" y="535"/>
                      <a:pt x="395" y="514"/>
                      <a:pt x="325" y="481"/>
                    </a:cubicBezTo>
                    <a:cubicBezTo>
                      <a:pt x="276" y="465"/>
                      <a:pt x="222" y="432"/>
                      <a:pt x="173" y="395"/>
                    </a:cubicBezTo>
                    <a:cubicBezTo>
                      <a:pt x="120" y="362"/>
                      <a:pt x="120" y="329"/>
                      <a:pt x="157" y="292"/>
                    </a:cubicBezTo>
                    <a:cubicBezTo>
                      <a:pt x="222" y="227"/>
                      <a:pt x="309" y="173"/>
                      <a:pt x="411" y="157"/>
                    </a:cubicBezTo>
                    <a:cubicBezTo>
                      <a:pt x="465" y="141"/>
                      <a:pt x="514" y="124"/>
                      <a:pt x="567" y="124"/>
                    </a:cubicBezTo>
                    <a:cubicBezTo>
                      <a:pt x="654" y="104"/>
                      <a:pt x="719" y="104"/>
                      <a:pt x="805" y="104"/>
                    </a:cubicBezTo>
                    <a:close/>
                    <a:moveTo>
                      <a:pt x="822" y="1"/>
                    </a:moveTo>
                    <a:cubicBezTo>
                      <a:pt x="736" y="1"/>
                      <a:pt x="584" y="1"/>
                      <a:pt x="428" y="38"/>
                    </a:cubicBezTo>
                    <a:cubicBezTo>
                      <a:pt x="292" y="54"/>
                      <a:pt x="173" y="124"/>
                      <a:pt x="87" y="206"/>
                    </a:cubicBezTo>
                    <a:cubicBezTo>
                      <a:pt x="1" y="292"/>
                      <a:pt x="1" y="395"/>
                      <a:pt x="87" y="465"/>
                    </a:cubicBezTo>
                    <a:cubicBezTo>
                      <a:pt x="206" y="568"/>
                      <a:pt x="346" y="637"/>
                      <a:pt x="497" y="637"/>
                    </a:cubicBezTo>
                    <a:cubicBezTo>
                      <a:pt x="600" y="637"/>
                      <a:pt x="703" y="617"/>
                      <a:pt x="789" y="551"/>
                    </a:cubicBezTo>
                    <a:cubicBezTo>
                      <a:pt x="875" y="465"/>
                      <a:pt x="941" y="346"/>
                      <a:pt x="978" y="227"/>
                    </a:cubicBezTo>
                    <a:cubicBezTo>
                      <a:pt x="994" y="87"/>
                      <a:pt x="961" y="21"/>
                      <a:pt x="822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09" name="Google Shape;509;p24"/>
              <p:cNvSpPr/>
              <p:nvPr/>
            </p:nvSpPr>
            <p:spPr>
              <a:xfrm>
                <a:off x="2197050" y="2602475"/>
                <a:ext cx="11200" cy="4000"/>
              </a:xfrm>
              <a:custGeom>
                <a:avLst/>
                <a:gdLst/>
                <a:ahLst/>
                <a:cxnLst/>
                <a:rect l="l" t="t" r="r" b="b"/>
                <a:pathLst>
                  <a:path w="448" h="160" extrusionOk="0">
                    <a:moveTo>
                      <a:pt x="258" y="0"/>
                    </a:moveTo>
                    <a:cubicBezTo>
                      <a:pt x="241" y="0"/>
                      <a:pt x="223" y="2"/>
                      <a:pt x="206" y="8"/>
                    </a:cubicBezTo>
                    <a:cubicBezTo>
                      <a:pt x="140" y="8"/>
                      <a:pt x="87" y="24"/>
                      <a:pt x="37" y="57"/>
                    </a:cubicBezTo>
                    <a:cubicBezTo>
                      <a:pt x="37" y="73"/>
                      <a:pt x="21" y="94"/>
                      <a:pt x="21" y="110"/>
                    </a:cubicBezTo>
                    <a:cubicBezTo>
                      <a:pt x="0" y="127"/>
                      <a:pt x="21" y="160"/>
                      <a:pt x="37" y="160"/>
                    </a:cubicBezTo>
                    <a:cubicBezTo>
                      <a:pt x="70" y="160"/>
                      <a:pt x="87" y="143"/>
                      <a:pt x="103" y="143"/>
                    </a:cubicBezTo>
                    <a:cubicBezTo>
                      <a:pt x="156" y="127"/>
                      <a:pt x="206" y="110"/>
                      <a:pt x="259" y="110"/>
                    </a:cubicBezTo>
                    <a:lnTo>
                      <a:pt x="378" y="110"/>
                    </a:lnTo>
                    <a:cubicBezTo>
                      <a:pt x="432" y="110"/>
                      <a:pt x="448" y="94"/>
                      <a:pt x="448" y="73"/>
                    </a:cubicBezTo>
                    <a:cubicBezTo>
                      <a:pt x="448" y="40"/>
                      <a:pt x="432" y="24"/>
                      <a:pt x="395" y="8"/>
                    </a:cubicBezTo>
                    <a:lnTo>
                      <a:pt x="362" y="8"/>
                    </a:lnTo>
                    <a:cubicBezTo>
                      <a:pt x="326" y="8"/>
                      <a:pt x="292" y="0"/>
                      <a:pt x="25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10" name="Google Shape;510;p24"/>
              <p:cNvSpPr/>
              <p:nvPr/>
            </p:nvSpPr>
            <p:spPr>
              <a:xfrm>
                <a:off x="2185550" y="2623600"/>
                <a:ext cx="17575" cy="14175"/>
              </a:xfrm>
              <a:custGeom>
                <a:avLst/>
                <a:gdLst/>
                <a:ahLst/>
                <a:cxnLst/>
                <a:rect l="l" t="t" r="r" b="b"/>
                <a:pathLst>
                  <a:path w="703" h="567" extrusionOk="0">
                    <a:moveTo>
                      <a:pt x="33" y="0"/>
                    </a:moveTo>
                    <a:cubicBezTo>
                      <a:pt x="17" y="103"/>
                      <a:pt x="0" y="206"/>
                      <a:pt x="17" y="308"/>
                    </a:cubicBezTo>
                    <a:cubicBezTo>
                      <a:pt x="17" y="357"/>
                      <a:pt x="33" y="394"/>
                      <a:pt x="50" y="444"/>
                    </a:cubicBezTo>
                    <a:cubicBezTo>
                      <a:pt x="70" y="481"/>
                      <a:pt x="120" y="513"/>
                      <a:pt x="152" y="546"/>
                    </a:cubicBezTo>
                    <a:cubicBezTo>
                      <a:pt x="185" y="560"/>
                      <a:pt x="217" y="566"/>
                      <a:pt x="249" y="566"/>
                    </a:cubicBezTo>
                    <a:cubicBezTo>
                      <a:pt x="301" y="566"/>
                      <a:pt x="351" y="550"/>
                      <a:pt x="395" y="530"/>
                    </a:cubicBezTo>
                    <a:cubicBezTo>
                      <a:pt x="460" y="513"/>
                      <a:pt x="530" y="460"/>
                      <a:pt x="563" y="411"/>
                    </a:cubicBezTo>
                    <a:cubicBezTo>
                      <a:pt x="633" y="341"/>
                      <a:pt x="666" y="275"/>
                      <a:pt x="703" y="206"/>
                    </a:cubicBezTo>
                    <a:lnTo>
                      <a:pt x="33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11" name="Google Shape;511;p24"/>
              <p:cNvSpPr/>
              <p:nvPr/>
            </p:nvSpPr>
            <p:spPr>
              <a:xfrm>
                <a:off x="2180425" y="2616800"/>
                <a:ext cx="32825" cy="23025"/>
              </a:xfrm>
              <a:custGeom>
                <a:avLst/>
                <a:gdLst/>
                <a:ahLst/>
                <a:cxnLst/>
                <a:rect l="l" t="t" r="r" b="b"/>
                <a:pathLst>
                  <a:path w="1313" h="921" extrusionOk="0">
                    <a:moveTo>
                      <a:pt x="275" y="375"/>
                    </a:moveTo>
                    <a:cubicBezTo>
                      <a:pt x="325" y="408"/>
                      <a:pt x="394" y="424"/>
                      <a:pt x="444" y="461"/>
                    </a:cubicBezTo>
                    <a:lnTo>
                      <a:pt x="444" y="580"/>
                    </a:lnTo>
                    <a:cubicBezTo>
                      <a:pt x="433" y="612"/>
                      <a:pt x="459" y="639"/>
                      <a:pt x="487" y="639"/>
                    </a:cubicBezTo>
                    <a:cubicBezTo>
                      <a:pt x="503" y="639"/>
                      <a:pt x="518" y="632"/>
                      <a:pt x="530" y="613"/>
                    </a:cubicBezTo>
                    <a:cubicBezTo>
                      <a:pt x="530" y="613"/>
                      <a:pt x="546" y="547"/>
                      <a:pt x="563" y="478"/>
                    </a:cubicBezTo>
                    <a:cubicBezTo>
                      <a:pt x="633" y="510"/>
                      <a:pt x="719" y="527"/>
                      <a:pt x="805" y="527"/>
                    </a:cubicBezTo>
                    <a:cubicBezTo>
                      <a:pt x="789" y="613"/>
                      <a:pt x="735" y="716"/>
                      <a:pt x="633" y="769"/>
                    </a:cubicBezTo>
                    <a:cubicBezTo>
                      <a:pt x="604" y="788"/>
                      <a:pt x="562" y="796"/>
                      <a:pt x="519" y="796"/>
                    </a:cubicBezTo>
                    <a:cubicBezTo>
                      <a:pt x="488" y="796"/>
                      <a:pt x="456" y="792"/>
                      <a:pt x="427" y="785"/>
                    </a:cubicBezTo>
                    <a:cubicBezTo>
                      <a:pt x="394" y="769"/>
                      <a:pt x="378" y="753"/>
                      <a:pt x="341" y="716"/>
                    </a:cubicBezTo>
                    <a:cubicBezTo>
                      <a:pt x="325" y="699"/>
                      <a:pt x="308" y="666"/>
                      <a:pt x="308" y="613"/>
                    </a:cubicBezTo>
                    <a:cubicBezTo>
                      <a:pt x="292" y="547"/>
                      <a:pt x="275" y="445"/>
                      <a:pt x="275" y="375"/>
                    </a:cubicBezTo>
                    <a:close/>
                    <a:moveTo>
                      <a:pt x="62" y="0"/>
                    </a:moveTo>
                    <a:cubicBezTo>
                      <a:pt x="35" y="0"/>
                      <a:pt x="0" y="24"/>
                      <a:pt x="0" y="50"/>
                    </a:cubicBezTo>
                    <a:cubicBezTo>
                      <a:pt x="17" y="153"/>
                      <a:pt x="86" y="239"/>
                      <a:pt x="173" y="305"/>
                    </a:cubicBezTo>
                    <a:lnTo>
                      <a:pt x="173" y="321"/>
                    </a:lnTo>
                    <a:cubicBezTo>
                      <a:pt x="152" y="424"/>
                      <a:pt x="152" y="527"/>
                      <a:pt x="189" y="650"/>
                    </a:cubicBezTo>
                    <a:cubicBezTo>
                      <a:pt x="205" y="699"/>
                      <a:pt x="222" y="753"/>
                      <a:pt x="238" y="785"/>
                    </a:cubicBezTo>
                    <a:cubicBezTo>
                      <a:pt x="292" y="835"/>
                      <a:pt x="341" y="888"/>
                      <a:pt x="394" y="905"/>
                    </a:cubicBezTo>
                    <a:cubicBezTo>
                      <a:pt x="427" y="921"/>
                      <a:pt x="460" y="921"/>
                      <a:pt x="497" y="921"/>
                    </a:cubicBezTo>
                    <a:cubicBezTo>
                      <a:pt x="563" y="921"/>
                      <a:pt x="616" y="905"/>
                      <a:pt x="686" y="872"/>
                    </a:cubicBezTo>
                    <a:cubicBezTo>
                      <a:pt x="768" y="818"/>
                      <a:pt x="821" y="753"/>
                      <a:pt x="854" y="699"/>
                    </a:cubicBezTo>
                    <a:cubicBezTo>
                      <a:pt x="891" y="650"/>
                      <a:pt x="924" y="597"/>
                      <a:pt x="957" y="547"/>
                    </a:cubicBezTo>
                    <a:cubicBezTo>
                      <a:pt x="1076" y="527"/>
                      <a:pt x="1179" y="494"/>
                      <a:pt x="1265" y="424"/>
                    </a:cubicBezTo>
                    <a:cubicBezTo>
                      <a:pt x="1312" y="410"/>
                      <a:pt x="1288" y="356"/>
                      <a:pt x="1248" y="356"/>
                    </a:cubicBezTo>
                    <a:cubicBezTo>
                      <a:pt x="1243" y="356"/>
                      <a:pt x="1237" y="357"/>
                      <a:pt x="1232" y="358"/>
                    </a:cubicBezTo>
                    <a:cubicBezTo>
                      <a:pt x="1157" y="381"/>
                      <a:pt x="1069" y="392"/>
                      <a:pt x="976" y="392"/>
                    </a:cubicBezTo>
                    <a:cubicBezTo>
                      <a:pt x="642" y="392"/>
                      <a:pt x="234" y="254"/>
                      <a:pt x="86" y="14"/>
                    </a:cubicBezTo>
                    <a:cubicBezTo>
                      <a:pt x="82" y="4"/>
                      <a:pt x="72" y="0"/>
                      <a:pt x="6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12" name="Google Shape;512;p24"/>
              <p:cNvSpPr/>
              <p:nvPr/>
            </p:nvSpPr>
            <p:spPr>
              <a:xfrm>
                <a:off x="2182975" y="2640225"/>
                <a:ext cx="6900" cy="5150"/>
              </a:xfrm>
              <a:custGeom>
                <a:avLst/>
                <a:gdLst/>
                <a:ahLst/>
                <a:cxnLst/>
                <a:rect l="l" t="t" r="r" b="b"/>
                <a:pathLst>
                  <a:path w="276" h="206" extrusionOk="0">
                    <a:moveTo>
                      <a:pt x="173" y="0"/>
                    </a:moveTo>
                    <a:cubicBezTo>
                      <a:pt x="120" y="0"/>
                      <a:pt x="34" y="21"/>
                      <a:pt x="17" y="54"/>
                    </a:cubicBezTo>
                    <a:cubicBezTo>
                      <a:pt x="1" y="70"/>
                      <a:pt x="1" y="103"/>
                      <a:pt x="17" y="140"/>
                    </a:cubicBezTo>
                    <a:cubicBezTo>
                      <a:pt x="50" y="173"/>
                      <a:pt x="103" y="206"/>
                      <a:pt x="153" y="206"/>
                    </a:cubicBezTo>
                    <a:cubicBezTo>
                      <a:pt x="206" y="206"/>
                      <a:pt x="255" y="173"/>
                      <a:pt x="255" y="124"/>
                    </a:cubicBezTo>
                    <a:cubicBezTo>
                      <a:pt x="276" y="70"/>
                      <a:pt x="223" y="21"/>
                      <a:pt x="17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13" name="Google Shape;513;p24"/>
              <p:cNvSpPr/>
              <p:nvPr/>
            </p:nvSpPr>
            <p:spPr>
              <a:xfrm>
                <a:off x="2150050" y="2581175"/>
                <a:ext cx="35525" cy="34475"/>
              </a:xfrm>
              <a:custGeom>
                <a:avLst/>
                <a:gdLst/>
                <a:ahLst/>
                <a:cxnLst/>
                <a:rect l="l" t="t" r="r" b="b"/>
                <a:pathLst>
                  <a:path w="1421" h="1379" extrusionOk="0">
                    <a:moveTo>
                      <a:pt x="646" y="1"/>
                    </a:moveTo>
                    <a:cubicBezTo>
                      <a:pt x="280" y="1"/>
                      <a:pt x="1" y="387"/>
                      <a:pt x="53" y="773"/>
                    </a:cubicBezTo>
                    <a:cubicBezTo>
                      <a:pt x="83" y="1121"/>
                      <a:pt x="375" y="1379"/>
                      <a:pt x="716" y="1379"/>
                    </a:cubicBezTo>
                    <a:cubicBezTo>
                      <a:pt x="745" y="1379"/>
                      <a:pt x="775" y="1377"/>
                      <a:pt x="805" y="1373"/>
                    </a:cubicBezTo>
                    <a:cubicBezTo>
                      <a:pt x="1182" y="1319"/>
                      <a:pt x="1420" y="925"/>
                      <a:pt x="1367" y="617"/>
                    </a:cubicBezTo>
                    <a:cubicBezTo>
                      <a:pt x="1334" y="330"/>
                      <a:pt x="1162" y="1"/>
                      <a:pt x="669" y="1"/>
                    </a:cubicBezTo>
                    <a:cubicBezTo>
                      <a:pt x="661" y="1"/>
                      <a:pt x="654" y="1"/>
                      <a:pt x="646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14" name="Google Shape;514;p24"/>
              <p:cNvSpPr/>
              <p:nvPr/>
            </p:nvSpPr>
            <p:spPr>
              <a:xfrm>
                <a:off x="2147475" y="2580325"/>
                <a:ext cx="39850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1594" h="1461" extrusionOk="0">
                    <a:moveTo>
                      <a:pt x="951" y="411"/>
                    </a:moveTo>
                    <a:cubicBezTo>
                      <a:pt x="1097" y="411"/>
                      <a:pt x="1090" y="641"/>
                      <a:pt x="950" y="641"/>
                    </a:cubicBezTo>
                    <a:cubicBezTo>
                      <a:pt x="937" y="641"/>
                      <a:pt x="923" y="639"/>
                      <a:pt x="908" y="635"/>
                    </a:cubicBezTo>
                    <a:cubicBezTo>
                      <a:pt x="752" y="618"/>
                      <a:pt x="788" y="413"/>
                      <a:pt x="924" y="413"/>
                    </a:cubicBezTo>
                    <a:cubicBezTo>
                      <a:pt x="934" y="411"/>
                      <a:pt x="943" y="411"/>
                      <a:pt x="951" y="411"/>
                    </a:cubicBezTo>
                    <a:close/>
                    <a:moveTo>
                      <a:pt x="719" y="117"/>
                    </a:moveTo>
                    <a:cubicBezTo>
                      <a:pt x="740" y="117"/>
                      <a:pt x="748" y="142"/>
                      <a:pt x="735" y="159"/>
                    </a:cubicBezTo>
                    <a:cubicBezTo>
                      <a:pt x="719" y="241"/>
                      <a:pt x="669" y="413"/>
                      <a:pt x="669" y="446"/>
                    </a:cubicBezTo>
                    <a:cubicBezTo>
                      <a:pt x="669" y="549"/>
                      <a:pt x="669" y="651"/>
                      <a:pt x="686" y="738"/>
                    </a:cubicBezTo>
                    <a:cubicBezTo>
                      <a:pt x="686" y="840"/>
                      <a:pt x="719" y="943"/>
                      <a:pt x="735" y="1029"/>
                    </a:cubicBezTo>
                    <a:cubicBezTo>
                      <a:pt x="752" y="1082"/>
                      <a:pt x="891" y="1370"/>
                      <a:pt x="891" y="1370"/>
                    </a:cubicBezTo>
                    <a:cubicBezTo>
                      <a:pt x="891" y="1370"/>
                      <a:pt x="882" y="1371"/>
                      <a:pt x="864" y="1371"/>
                    </a:cubicBezTo>
                    <a:cubicBezTo>
                      <a:pt x="799" y="1371"/>
                      <a:pt x="622" y="1358"/>
                      <a:pt x="444" y="1234"/>
                    </a:cubicBezTo>
                    <a:cubicBezTo>
                      <a:pt x="324" y="1148"/>
                      <a:pt x="222" y="959"/>
                      <a:pt x="222" y="791"/>
                    </a:cubicBezTo>
                    <a:cubicBezTo>
                      <a:pt x="205" y="635"/>
                      <a:pt x="238" y="467"/>
                      <a:pt x="341" y="327"/>
                    </a:cubicBezTo>
                    <a:cubicBezTo>
                      <a:pt x="411" y="261"/>
                      <a:pt x="546" y="138"/>
                      <a:pt x="702" y="122"/>
                    </a:cubicBezTo>
                    <a:cubicBezTo>
                      <a:pt x="708" y="119"/>
                      <a:pt x="714" y="117"/>
                      <a:pt x="719" y="117"/>
                    </a:cubicBezTo>
                    <a:close/>
                    <a:moveTo>
                      <a:pt x="849" y="1"/>
                    </a:moveTo>
                    <a:cubicBezTo>
                      <a:pt x="795" y="1"/>
                      <a:pt x="741" y="7"/>
                      <a:pt x="686" y="19"/>
                    </a:cubicBezTo>
                    <a:cubicBezTo>
                      <a:pt x="259" y="89"/>
                      <a:pt x="0" y="532"/>
                      <a:pt x="136" y="959"/>
                    </a:cubicBezTo>
                    <a:cubicBezTo>
                      <a:pt x="230" y="1262"/>
                      <a:pt x="500" y="1460"/>
                      <a:pt x="799" y="1460"/>
                    </a:cubicBezTo>
                    <a:cubicBezTo>
                      <a:pt x="824" y="1460"/>
                      <a:pt x="849" y="1459"/>
                      <a:pt x="875" y="1456"/>
                    </a:cubicBezTo>
                    <a:cubicBezTo>
                      <a:pt x="1232" y="1407"/>
                      <a:pt x="1593" y="1148"/>
                      <a:pt x="1523" y="651"/>
                    </a:cubicBezTo>
                    <a:cubicBezTo>
                      <a:pt x="1463" y="227"/>
                      <a:pt x="1178" y="1"/>
                      <a:pt x="84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15" name="Google Shape;515;p24"/>
              <p:cNvSpPr/>
              <p:nvPr/>
            </p:nvSpPr>
            <p:spPr>
              <a:xfrm>
                <a:off x="2213800" y="2572675"/>
                <a:ext cx="35100" cy="34375"/>
              </a:xfrm>
              <a:custGeom>
                <a:avLst/>
                <a:gdLst/>
                <a:ahLst/>
                <a:cxnLst/>
                <a:rect l="l" t="t" r="r" b="b"/>
                <a:pathLst>
                  <a:path w="1404" h="1375" extrusionOk="0">
                    <a:moveTo>
                      <a:pt x="642" y="0"/>
                    </a:moveTo>
                    <a:cubicBezTo>
                      <a:pt x="280" y="0"/>
                      <a:pt x="0" y="386"/>
                      <a:pt x="33" y="773"/>
                    </a:cubicBezTo>
                    <a:cubicBezTo>
                      <a:pt x="81" y="1115"/>
                      <a:pt x="372" y="1375"/>
                      <a:pt x="711" y="1375"/>
                    </a:cubicBezTo>
                    <a:cubicBezTo>
                      <a:pt x="741" y="1375"/>
                      <a:pt x="773" y="1372"/>
                      <a:pt x="804" y="1368"/>
                    </a:cubicBezTo>
                    <a:cubicBezTo>
                      <a:pt x="1178" y="1319"/>
                      <a:pt x="1404" y="924"/>
                      <a:pt x="1367" y="617"/>
                    </a:cubicBezTo>
                    <a:cubicBezTo>
                      <a:pt x="1318" y="325"/>
                      <a:pt x="1162" y="1"/>
                      <a:pt x="665" y="1"/>
                    </a:cubicBezTo>
                    <a:cubicBezTo>
                      <a:pt x="657" y="0"/>
                      <a:pt x="650" y="0"/>
                      <a:pt x="642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16" name="Google Shape;516;p24"/>
              <p:cNvSpPr/>
              <p:nvPr/>
            </p:nvSpPr>
            <p:spPr>
              <a:xfrm>
                <a:off x="2211225" y="2571800"/>
                <a:ext cx="39750" cy="36500"/>
              </a:xfrm>
              <a:custGeom>
                <a:avLst/>
                <a:gdLst/>
                <a:ahLst/>
                <a:cxnLst/>
                <a:rect l="l" t="t" r="r" b="b"/>
                <a:pathLst>
                  <a:path w="1590" h="1460" extrusionOk="0">
                    <a:moveTo>
                      <a:pt x="942" y="396"/>
                    </a:moveTo>
                    <a:cubicBezTo>
                      <a:pt x="1097" y="396"/>
                      <a:pt x="1075" y="640"/>
                      <a:pt x="930" y="640"/>
                    </a:cubicBezTo>
                    <a:cubicBezTo>
                      <a:pt x="918" y="640"/>
                      <a:pt x="905" y="639"/>
                      <a:pt x="891" y="635"/>
                    </a:cubicBezTo>
                    <a:cubicBezTo>
                      <a:pt x="751" y="602"/>
                      <a:pt x="788" y="413"/>
                      <a:pt x="924" y="397"/>
                    </a:cubicBezTo>
                    <a:cubicBezTo>
                      <a:pt x="930" y="396"/>
                      <a:pt x="936" y="396"/>
                      <a:pt x="942" y="396"/>
                    </a:cubicBezTo>
                    <a:close/>
                    <a:moveTo>
                      <a:pt x="702" y="105"/>
                    </a:moveTo>
                    <a:cubicBezTo>
                      <a:pt x="719" y="105"/>
                      <a:pt x="735" y="138"/>
                      <a:pt x="735" y="155"/>
                    </a:cubicBezTo>
                    <a:cubicBezTo>
                      <a:pt x="719" y="241"/>
                      <a:pt x="665" y="413"/>
                      <a:pt x="665" y="446"/>
                    </a:cubicBezTo>
                    <a:lnTo>
                      <a:pt x="665" y="738"/>
                    </a:lnTo>
                    <a:cubicBezTo>
                      <a:pt x="686" y="840"/>
                      <a:pt x="702" y="943"/>
                      <a:pt x="735" y="1029"/>
                    </a:cubicBezTo>
                    <a:cubicBezTo>
                      <a:pt x="751" y="1079"/>
                      <a:pt x="891" y="1370"/>
                      <a:pt x="891" y="1370"/>
                    </a:cubicBezTo>
                    <a:cubicBezTo>
                      <a:pt x="891" y="1370"/>
                      <a:pt x="884" y="1371"/>
                      <a:pt x="871" y="1371"/>
                    </a:cubicBezTo>
                    <a:cubicBezTo>
                      <a:pt x="811" y="1371"/>
                      <a:pt x="626" y="1359"/>
                      <a:pt x="443" y="1235"/>
                    </a:cubicBezTo>
                    <a:cubicBezTo>
                      <a:pt x="308" y="1148"/>
                      <a:pt x="222" y="959"/>
                      <a:pt x="205" y="787"/>
                    </a:cubicBezTo>
                    <a:cubicBezTo>
                      <a:pt x="189" y="619"/>
                      <a:pt x="238" y="463"/>
                      <a:pt x="341" y="327"/>
                    </a:cubicBezTo>
                    <a:cubicBezTo>
                      <a:pt x="394" y="257"/>
                      <a:pt x="530" y="138"/>
                      <a:pt x="702" y="105"/>
                    </a:cubicBezTo>
                    <a:close/>
                    <a:moveTo>
                      <a:pt x="849" y="1"/>
                    </a:moveTo>
                    <a:cubicBezTo>
                      <a:pt x="796" y="1"/>
                      <a:pt x="741" y="7"/>
                      <a:pt x="686" y="19"/>
                    </a:cubicBezTo>
                    <a:cubicBezTo>
                      <a:pt x="255" y="89"/>
                      <a:pt x="0" y="532"/>
                      <a:pt x="136" y="943"/>
                    </a:cubicBezTo>
                    <a:cubicBezTo>
                      <a:pt x="216" y="1246"/>
                      <a:pt x="504" y="1460"/>
                      <a:pt x="807" y="1460"/>
                    </a:cubicBezTo>
                    <a:cubicBezTo>
                      <a:pt x="828" y="1460"/>
                      <a:pt x="849" y="1458"/>
                      <a:pt x="871" y="1456"/>
                    </a:cubicBezTo>
                    <a:cubicBezTo>
                      <a:pt x="1232" y="1403"/>
                      <a:pt x="1589" y="1148"/>
                      <a:pt x="1523" y="652"/>
                    </a:cubicBezTo>
                    <a:cubicBezTo>
                      <a:pt x="1463" y="225"/>
                      <a:pt x="1176" y="1"/>
                      <a:pt x="84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17" name="Google Shape;517;p24"/>
              <p:cNvSpPr/>
              <p:nvPr/>
            </p:nvSpPr>
            <p:spPr>
              <a:xfrm>
                <a:off x="2140175" y="2675750"/>
                <a:ext cx="58650" cy="62950"/>
              </a:xfrm>
              <a:custGeom>
                <a:avLst/>
                <a:gdLst/>
                <a:ahLst/>
                <a:cxnLst/>
                <a:rect l="l" t="t" r="r" b="b"/>
                <a:pathLst>
                  <a:path w="2346" h="2518" extrusionOk="0">
                    <a:moveTo>
                      <a:pt x="650" y="0"/>
                    </a:moveTo>
                    <a:cubicBezTo>
                      <a:pt x="566" y="0"/>
                      <a:pt x="480" y="23"/>
                      <a:pt x="411" y="70"/>
                    </a:cubicBezTo>
                    <a:cubicBezTo>
                      <a:pt x="309" y="140"/>
                      <a:pt x="222" y="259"/>
                      <a:pt x="173" y="378"/>
                    </a:cubicBezTo>
                    <a:cubicBezTo>
                      <a:pt x="1" y="735"/>
                      <a:pt x="1" y="1166"/>
                      <a:pt x="38" y="1556"/>
                    </a:cubicBezTo>
                    <a:cubicBezTo>
                      <a:pt x="54" y="1745"/>
                      <a:pt x="70" y="1934"/>
                      <a:pt x="157" y="2107"/>
                    </a:cubicBezTo>
                    <a:cubicBezTo>
                      <a:pt x="222" y="2275"/>
                      <a:pt x="362" y="2431"/>
                      <a:pt x="530" y="2480"/>
                    </a:cubicBezTo>
                    <a:cubicBezTo>
                      <a:pt x="633" y="2517"/>
                      <a:pt x="756" y="2517"/>
                      <a:pt x="859" y="2517"/>
                    </a:cubicBezTo>
                    <a:cubicBezTo>
                      <a:pt x="1200" y="2501"/>
                      <a:pt x="1540" y="2447"/>
                      <a:pt x="1848" y="2295"/>
                    </a:cubicBezTo>
                    <a:cubicBezTo>
                      <a:pt x="1967" y="2242"/>
                      <a:pt x="2091" y="2193"/>
                      <a:pt x="2210" y="2107"/>
                    </a:cubicBezTo>
                    <a:cubicBezTo>
                      <a:pt x="2345" y="2037"/>
                      <a:pt x="2275" y="1745"/>
                      <a:pt x="2259" y="1593"/>
                    </a:cubicBezTo>
                    <a:cubicBezTo>
                      <a:pt x="2226" y="1351"/>
                      <a:pt x="2156" y="1216"/>
                      <a:pt x="2091" y="1113"/>
                    </a:cubicBezTo>
                    <a:cubicBezTo>
                      <a:pt x="2021" y="1027"/>
                      <a:pt x="1935" y="994"/>
                      <a:pt x="1885" y="977"/>
                    </a:cubicBezTo>
                    <a:cubicBezTo>
                      <a:pt x="1827" y="957"/>
                      <a:pt x="1766" y="949"/>
                      <a:pt x="1705" y="949"/>
                    </a:cubicBezTo>
                    <a:cubicBezTo>
                      <a:pt x="1554" y="949"/>
                      <a:pt x="1401" y="1002"/>
                      <a:pt x="1269" y="1064"/>
                    </a:cubicBezTo>
                    <a:cubicBezTo>
                      <a:pt x="1249" y="961"/>
                      <a:pt x="1249" y="838"/>
                      <a:pt x="1232" y="735"/>
                    </a:cubicBezTo>
                    <a:cubicBezTo>
                      <a:pt x="1216" y="567"/>
                      <a:pt x="1167" y="394"/>
                      <a:pt x="1146" y="222"/>
                    </a:cubicBezTo>
                    <a:cubicBezTo>
                      <a:pt x="1130" y="205"/>
                      <a:pt x="1130" y="189"/>
                      <a:pt x="1113" y="173"/>
                    </a:cubicBezTo>
                    <a:cubicBezTo>
                      <a:pt x="1064" y="70"/>
                      <a:pt x="875" y="37"/>
                      <a:pt x="773" y="17"/>
                    </a:cubicBezTo>
                    <a:cubicBezTo>
                      <a:pt x="733" y="6"/>
                      <a:pt x="692" y="0"/>
                      <a:pt x="650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18" name="Google Shape;518;p24"/>
              <p:cNvSpPr/>
              <p:nvPr/>
            </p:nvSpPr>
            <p:spPr>
              <a:xfrm>
                <a:off x="2162875" y="2680450"/>
                <a:ext cx="29575" cy="28450"/>
              </a:xfrm>
              <a:custGeom>
                <a:avLst/>
                <a:gdLst/>
                <a:ahLst/>
                <a:cxnLst/>
                <a:rect l="l" t="t" r="r" b="b"/>
                <a:pathLst>
                  <a:path w="1183" h="1138" extrusionOk="0">
                    <a:moveTo>
                      <a:pt x="174" y="0"/>
                    </a:moveTo>
                    <a:cubicBezTo>
                      <a:pt x="125" y="0"/>
                      <a:pt x="82" y="51"/>
                      <a:pt x="70" y="104"/>
                    </a:cubicBezTo>
                    <a:cubicBezTo>
                      <a:pt x="53" y="157"/>
                      <a:pt x="53" y="223"/>
                      <a:pt x="70" y="276"/>
                    </a:cubicBezTo>
                    <a:cubicBezTo>
                      <a:pt x="70" y="412"/>
                      <a:pt x="86" y="547"/>
                      <a:pt x="70" y="687"/>
                    </a:cubicBezTo>
                    <a:cubicBezTo>
                      <a:pt x="53" y="806"/>
                      <a:pt x="0" y="925"/>
                      <a:pt x="16" y="1044"/>
                    </a:cubicBezTo>
                    <a:cubicBezTo>
                      <a:pt x="16" y="1081"/>
                      <a:pt x="16" y="1114"/>
                      <a:pt x="53" y="1130"/>
                    </a:cubicBezTo>
                    <a:cubicBezTo>
                      <a:pt x="59" y="1136"/>
                      <a:pt x="66" y="1137"/>
                      <a:pt x="74" y="1137"/>
                    </a:cubicBezTo>
                    <a:cubicBezTo>
                      <a:pt x="90" y="1137"/>
                      <a:pt x="108" y="1130"/>
                      <a:pt x="119" y="1130"/>
                    </a:cubicBezTo>
                    <a:cubicBezTo>
                      <a:pt x="292" y="1060"/>
                      <a:pt x="464" y="1011"/>
                      <a:pt x="632" y="995"/>
                    </a:cubicBezTo>
                    <a:cubicBezTo>
                      <a:pt x="805" y="978"/>
                      <a:pt x="977" y="995"/>
                      <a:pt x="1146" y="941"/>
                    </a:cubicBezTo>
                    <a:cubicBezTo>
                      <a:pt x="1162" y="941"/>
                      <a:pt x="1162" y="925"/>
                      <a:pt x="1183" y="925"/>
                    </a:cubicBezTo>
                    <a:cubicBezTo>
                      <a:pt x="1113" y="839"/>
                      <a:pt x="1027" y="806"/>
                      <a:pt x="977" y="789"/>
                    </a:cubicBezTo>
                    <a:cubicBezTo>
                      <a:pt x="919" y="769"/>
                      <a:pt x="858" y="761"/>
                      <a:pt x="797" y="761"/>
                    </a:cubicBezTo>
                    <a:cubicBezTo>
                      <a:pt x="646" y="761"/>
                      <a:pt x="493" y="814"/>
                      <a:pt x="361" y="876"/>
                    </a:cubicBezTo>
                    <a:cubicBezTo>
                      <a:pt x="341" y="773"/>
                      <a:pt x="341" y="650"/>
                      <a:pt x="324" y="547"/>
                    </a:cubicBezTo>
                    <a:cubicBezTo>
                      <a:pt x="308" y="379"/>
                      <a:pt x="222" y="17"/>
                      <a:pt x="222" y="17"/>
                    </a:cubicBezTo>
                    <a:cubicBezTo>
                      <a:pt x="206" y="5"/>
                      <a:pt x="190" y="0"/>
                      <a:pt x="17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19" name="Google Shape;519;p24"/>
              <p:cNvSpPr/>
              <p:nvPr/>
            </p:nvSpPr>
            <p:spPr>
              <a:xfrm>
                <a:off x="2157325" y="2679475"/>
                <a:ext cx="28250" cy="29650"/>
              </a:xfrm>
              <a:custGeom>
                <a:avLst/>
                <a:gdLst/>
                <a:ahLst/>
                <a:cxnLst/>
                <a:rect l="l" t="t" r="r" b="b"/>
                <a:pathLst>
                  <a:path w="1130" h="1186" extrusionOk="0">
                    <a:moveTo>
                      <a:pt x="437" y="1"/>
                    </a:moveTo>
                    <a:cubicBezTo>
                      <a:pt x="429" y="1"/>
                      <a:pt x="420" y="3"/>
                      <a:pt x="411" y="7"/>
                    </a:cubicBezTo>
                    <a:cubicBezTo>
                      <a:pt x="394" y="7"/>
                      <a:pt x="378" y="40"/>
                      <a:pt x="378" y="73"/>
                    </a:cubicBezTo>
                    <a:cubicBezTo>
                      <a:pt x="460" y="364"/>
                      <a:pt x="497" y="623"/>
                      <a:pt x="481" y="878"/>
                    </a:cubicBezTo>
                    <a:cubicBezTo>
                      <a:pt x="358" y="931"/>
                      <a:pt x="119" y="1017"/>
                      <a:pt x="33" y="1083"/>
                    </a:cubicBezTo>
                    <a:cubicBezTo>
                      <a:pt x="0" y="1099"/>
                      <a:pt x="0" y="1136"/>
                      <a:pt x="17" y="1169"/>
                    </a:cubicBezTo>
                    <a:cubicBezTo>
                      <a:pt x="33" y="1169"/>
                      <a:pt x="50" y="1186"/>
                      <a:pt x="70" y="1186"/>
                    </a:cubicBezTo>
                    <a:cubicBezTo>
                      <a:pt x="70" y="1186"/>
                      <a:pt x="87" y="1186"/>
                      <a:pt x="103" y="1169"/>
                    </a:cubicBezTo>
                    <a:cubicBezTo>
                      <a:pt x="275" y="1034"/>
                      <a:pt x="941" y="861"/>
                      <a:pt x="1060" y="828"/>
                    </a:cubicBezTo>
                    <a:lnTo>
                      <a:pt x="1097" y="828"/>
                    </a:lnTo>
                    <a:cubicBezTo>
                      <a:pt x="1113" y="812"/>
                      <a:pt x="1129" y="791"/>
                      <a:pt x="1129" y="759"/>
                    </a:cubicBezTo>
                    <a:cubicBezTo>
                      <a:pt x="1129" y="735"/>
                      <a:pt x="1112" y="719"/>
                      <a:pt x="1088" y="719"/>
                    </a:cubicBezTo>
                    <a:cubicBezTo>
                      <a:pt x="1079" y="719"/>
                      <a:pt x="1070" y="721"/>
                      <a:pt x="1060" y="726"/>
                    </a:cubicBezTo>
                    <a:lnTo>
                      <a:pt x="1043" y="726"/>
                    </a:lnTo>
                    <a:cubicBezTo>
                      <a:pt x="973" y="742"/>
                      <a:pt x="686" y="812"/>
                      <a:pt x="583" y="845"/>
                    </a:cubicBezTo>
                    <a:cubicBezTo>
                      <a:pt x="600" y="586"/>
                      <a:pt x="563" y="332"/>
                      <a:pt x="481" y="40"/>
                    </a:cubicBezTo>
                    <a:cubicBezTo>
                      <a:pt x="481" y="16"/>
                      <a:pt x="461" y="1"/>
                      <a:pt x="43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20" name="Google Shape;520;p24"/>
              <p:cNvSpPr/>
              <p:nvPr/>
            </p:nvSpPr>
            <p:spPr>
              <a:xfrm>
                <a:off x="2162875" y="2729225"/>
                <a:ext cx="4325" cy="2350"/>
              </a:xfrm>
              <a:custGeom>
                <a:avLst/>
                <a:gdLst/>
                <a:ahLst/>
                <a:cxnLst/>
                <a:rect l="l" t="t" r="r" b="b"/>
                <a:pathLst>
                  <a:path w="173" h="94" extrusionOk="0">
                    <a:moveTo>
                      <a:pt x="53" y="0"/>
                    </a:moveTo>
                    <a:cubicBezTo>
                      <a:pt x="33" y="0"/>
                      <a:pt x="16" y="0"/>
                      <a:pt x="0" y="17"/>
                    </a:cubicBezTo>
                    <a:cubicBezTo>
                      <a:pt x="0" y="33"/>
                      <a:pt x="16" y="54"/>
                      <a:pt x="33" y="70"/>
                    </a:cubicBezTo>
                    <a:cubicBezTo>
                      <a:pt x="59" y="82"/>
                      <a:pt x="83" y="93"/>
                      <a:pt x="107" y="93"/>
                    </a:cubicBezTo>
                    <a:cubicBezTo>
                      <a:pt x="116" y="93"/>
                      <a:pt x="126" y="91"/>
                      <a:pt x="136" y="87"/>
                    </a:cubicBezTo>
                    <a:cubicBezTo>
                      <a:pt x="156" y="87"/>
                      <a:pt x="172" y="87"/>
                      <a:pt x="172" y="70"/>
                    </a:cubicBezTo>
                    <a:cubicBezTo>
                      <a:pt x="172" y="33"/>
                      <a:pt x="156" y="33"/>
                      <a:pt x="136" y="33"/>
                    </a:cubicBezTo>
                    <a:cubicBezTo>
                      <a:pt x="119" y="17"/>
                      <a:pt x="86" y="0"/>
                      <a:pt x="5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21" name="Google Shape;521;p24"/>
              <p:cNvSpPr/>
              <p:nvPr/>
            </p:nvSpPr>
            <p:spPr>
              <a:xfrm>
                <a:off x="2161125" y="2724500"/>
                <a:ext cx="4750" cy="2175"/>
              </a:xfrm>
              <a:custGeom>
                <a:avLst/>
                <a:gdLst/>
                <a:ahLst/>
                <a:cxnLst/>
                <a:rect l="l" t="t" r="r" b="b"/>
                <a:pathLst>
                  <a:path w="190" h="87" extrusionOk="0">
                    <a:moveTo>
                      <a:pt x="37" y="1"/>
                    </a:moveTo>
                    <a:cubicBezTo>
                      <a:pt x="21" y="17"/>
                      <a:pt x="0" y="17"/>
                      <a:pt x="0" y="37"/>
                    </a:cubicBezTo>
                    <a:cubicBezTo>
                      <a:pt x="0" y="54"/>
                      <a:pt x="37" y="70"/>
                      <a:pt x="54" y="70"/>
                    </a:cubicBezTo>
                    <a:cubicBezTo>
                      <a:pt x="70" y="87"/>
                      <a:pt x="103" y="87"/>
                      <a:pt x="140" y="87"/>
                    </a:cubicBezTo>
                    <a:cubicBezTo>
                      <a:pt x="156" y="87"/>
                      <a:pt x="173" y="87"/>
                      <a:pt x="189" y="70"/>
                    </a:cubicBezTo>
                    <a:cubicBezTo>
                      <a:pt x="189" y="54"/>
                      <a:pt x="173" y="37"/>
                      <a:pt x="156" y="17"/>
                    </a:cubicBezTo>
                    <a:cubicBezTo>
                      <a:pt x="123" y="1"/>
                      <a:pt x="86" y="1"/>
                      <a:pt x="3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22" name="Google Shape;522;p24"/>
              <p:cNvSpPr/>
              <p:nvPr/>
            </p:nvSpPr>
            <p:spPr>
              <a:xfrm>
                <a:off x="2156900" y="2694625"/>
                <a:ext cx="2600" cy="4400"/>
              </a:xfrm>
              <a:custGeom>
                <a:avLst/>
                <a:gdLst/>
                <a:ahLst/>
                <a:cxnLst/>
                <a:rect l="l" t="t" r="r" b="b"/>
                <a:pathLst>
                  <a:path w="104" h="176" extrusionOk="0">
                    <a:moveTo>
                      <a:pt x="17" y="1"/>
                    </a:moveTo>
                    <a:cubicBezTo>
                      <a:pt x="1" y="17"/>
                      <a:pt x="1" y="34"/>
                      <a:pt x="1" y="50"/>
                    </a:cubicBezTo>
                    <a:cubicBezTo>
                      <a:pt x="1" y="103"/>
                      <a:pt x="17" y="136"/>
                      <a:pt x="50" y="153"/>
                    </a:cubicBezTo>
                    <a:cubicBezTo>
                      <a:pt x="50" y="164"/>
                      <a:pt x="58" y="176"/>
                      <a:pt x="70" y="176"/>
                    </a:cubicBezTo>
                    <a:cubicBezTo>
                      <a:pt x="75" y="176"/>
                      <a:pt x="81" y="174"/>
                      <a:pt x="87" y="169"/>
                    </a:cubicBezTo>
                    <a:cubicBezTo>
                      <a:pt x="104" y="153"/>
                      <a:pt x="104" y="136"/>
                      <a:pt x="87" y="120"/>
                    </a:cubicBezTo>
                    <a:cubicBezTo>
                      <a:pt x="87" y="83"/>
                      <a:pt x="67" y="66"/>
                      <a:pt x="67" y="34"/>
                    </a:cubicBezTo>
                    <a:cubicBezTo>
                      <a:pt x="50" y="17"/>
                      <a:pt x="34" y="1"/>
                      <a:pt x="1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23" name="Google Shape;523;p24"/>
              <p:cNvSpPr/>
              <p:nvPr/>
            </p:nvSpPr>
            <p:spPr>
              <a:xfrm>
                <a:off x="2159475" y="2690550"/>
                <a:ext cx="3000" cy="427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71" extrusionOk="0">
                    <a:moveTo>
                      <a:pt x="28" y="1"/>
                    </a:moveTo>
                    <a:cubicBezTo>
                      <a:pt x="25" y="1"/>
                      <a:pt x="22" y="3"/>
                      <a:pt x="17" y="8"/>
                    </a:cubicBezTo>
                    <a:cubicBezTo>
                      <a:pt x="1" y="24"/>
                      <a:pt x="1" y="40"/>
                      <a:pt x="1" y="61"/>
                    </a:cubicBezTo>
                    <a:cubicBezTo>
                      <a:pt x="17" y="94"/>
                      <a:pt x="33" y="110"/>
                      <a:pt x="50" y="143"/>
                    </a:cubicBezTo>
                    <a:cubicBezTo>
                      <a:pt x="50" y="158"/>
                      <a:pt x="58" y="170"/>
                      <a:pt x="70" y="170"/>
                    </a:cubicBezTo>
                    <a:cubicBezTo>
                      <a:pt x="75" y="170"/>
                      <a:pt x="81" y="168"/>
                      <a:pt x="87" y="164"/>
                    </a:cubicBezTo>
                    <a:cubicBezTo>
                      <a:pt x="120" y="164"/>
                      <a:pt x="120" y="143"/>
                      <a:pt x="103" y="110"/>
                    </a:cubicBezTo>
                    <a:cubicBezTo>
                      <a:pt x="103" y="77"/>
                      <a:pt x="87" y="40"/>
                      <a:pt x="50" y="24"/>
                    </a:cubicBezTo>
                    <a:cubicBezTo>
                      <a:pt x="38" y="12"/>
                      <a:pt x="35" y="1"/>
                      <a:pt x="28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24" name="Google Shape;524;p24"/>
              <p:cNvSpPr/>
              <p:nvPr/>
            </p:nvSpPr>
            <p:spPr>
              <a:xfrm>
                <a:off x="2138025" y="2677900"/>
                <a:ext cx="58625" cy="62025"/>
              </a:xfrm>
              <a:custGeom>
                <a:avLst/>
                <a:gdLst/>
                <a:ahLst/>
                <a:cxnLst/>
                <a:rect l="l" t="t" r="r" b="b"/>
                <a:pathLst>
                  <a:path w="2345" h="2481" extrusionOk="0">
                    <a:moveTo>
                      <a:pt x="431" y="0"/>
                    </a:moveTo>
                    <a:cubicBezTo>
                      <a:pt x="395" y="0"/>
                      <a:pt x="362" y="0"/>
                      <a:pt x="362" y="33"/>
                    </a:cubicBezTo>
                    <a:cubicBezTo>
                      <a:pt x="21" y="633"/>
                      <a:pt x="0" y="1368"/>
                      <a:pt x="124" y="1832"/>
                    </a:cubicBezTo>
                    <a:cubicBezTo>
                      <a:pt x="173" y="1984"/>
                      <a:pt x="243" y="2209"/>
                      <a:pt x="431" y="2345"/>
                    </a:cubicBezTo>
                    <a:cubicBezTo>
                      <a:pt x="567" y="2448"/>
                      <a:pt x="739" y="2480"/>
                      <a:pt x="859" y="2480"/>
                    </a:cubicBezTo>
                    <a:cubicBezTo>
                      <a:pt x="1027" y="2480"/>
                      <a:pt x="1183" y="2464"/>
                      <a:pt x="1318" y="2431"/>
                    </a:cubicBezTo>
                    <a:cubicBezTo>
                      <a:pt x="1594" y="2361"/>
                      <a:pt x="2037" y="2189"/>
                      <a:pt x="2312" y="2070"/>
                    </a:cubicBezTo>
                    <a:cubicBezTo>
                      <a:pt x="2329" y="2053"/>
                      <a:pt x="2345" y="2021"/>
                      <a:pt x="2329" y="2004"/>
                    </a:cubicBezTo>
                    <a:cubicBezTo>
                      <a:pt x="2329" y="1977"/>
                      <a:pt x="2311" y="1961"/>
                      <a:pt x="2286" y="1961"/>
                    </a:cubicBezTo>
                    <a:cubicBezTo>
                      <a:pt x="2278" y="1961"/>
                      <a:pt x="2268" y="1963"/>
                      <a:pt x="2259" y="1967"/>
                    </a:cubicBezTo>
                    <a:cubicBezTo>
                      <a:pt x="2004" y="2086"/>
                      <a:pt x="1561" y="2259"/>
                      <a:pt x="1286" y="2329"/>
                    </a:cubicBezTo>
                    <a:cubicBezTo>
                      <a:pt x="1166" y="2345"/>
                      <a:pt x="1010" y="2378"/>
                      <a:pt x="875" y="2378"/>
                    </a:cubicBezTo>
                    <a:cubicBezTo>
                      <a:pt x="772" y="2378"/>
                      <a:pt x="616" y="2345"/>
                      <a:pt x="481" y="2259"/>
                    </a:cubicBezTo>
                    <a:cubicBezTo>
                      <a:pt x="378" y="2156"/>
                      <a:pt x="292" y="2021"/>
                      <a:pt x="226" y="1799"/>
                    </a:cubicBezTo>
                    <a:cubicBezTo>
                      <a:pt x="103" y="1368"/>
                      <a:pt x="124" y="649"/>
                      <a:pt x="448" y="87"/>
                    </a:cubicBezTo>
                    <a:cubicBezTo>
                      <a:pt x="464" y="54"/>
                      <a:pt x="448" y="17"/>
                      <a:pt x="43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25" name="Google Shape;525;p24"/>
              <p:cNvSpPr/>
              <p:nvPr/>
            </p:nvSpPr>
            <p:spPr>
              <a:xfrm>
                <a:off x="2176525" y="2680850"/>
                <a:ext cx="52275" cy="48525"/>
              </a:xfrm>
              <a:custGeom>
                <a:avLst/>
                <a:gdLst/>
                <a:ahLst/>
                <a:cxnLst/>
                <a:rect l="l" t="t" r="r" b="b"/>
                <a:pathLst>
                  <a:path w="2091" h="1941" extrusionOk="0">
                    <a:moveTo>
                      <a:pt x="1037" y="0"/>
                    </a:moveTo>
                    <a:cubicBezTo>
                      <a:pt x="952" y="0"/>
                      <a:pt x="863" y="15"/>
                      <a:pt x="789" y="38"/>
                    </a:cubicBezTo>
                    <a:cubicBezTo>
                      <a:pt x="686" y="55"/>
                      <a:pt x="567" y="121"/>
                      <a:pt x="448" y="207"/>
                    </a:cubicBezTo>
                    <a:cubicBezTo>
                      <a:pt x="205" y="396"/>
                      <a:pt x="0" y="704"/>
                      <a:pt x="70" y="1081"/>
                    </a:cubicBezTo>
                    <a:cubicBezTo>
                      <a:pt x="103" y="1250"/>
                      <a:pt x="156" y="1406"/>
                      <a:pt x="259" y="1558"/>
                    </a:cubicBezTo>
                    <a:cubicBezTo>
                      <a:pt x="345" y="1697"/>
                      <a:pt x="481" y="1816"/>
                      <a:pt x="637" y="1886"/>
                    </a:cubicBezTo>
                    <a:cubicBezTo>
                      <a:pt x="735" y="1925"/>
                      <a:pt x="841" y="1941"/>
                      <a:pt x="949" y="1941"/>
                    </a:cubicBezTo>
                    <a:cubicBezTo>
                      <a:pt x="1026" y="1941"/>
                      <a:pt x="1104" y="1933"/>
                      <a:pt x="1183" y="1919"/>
                    </a:cubicBezTo>
                    <a:cubicBezTo>
                      <a:pt x="1232" y="1919"/>
                      <a:pt x="1285" y="1903"/>
                      <a:pt x="1355" y="1886"/>
                    </a:cubicBezTo>
                    <a:cubicBezTo>
                      <a:pt x="1610" y="1783"/>
                      <a:pt x="1934" y="1595"/>
                      <a:pt x="2037" y="1287"/>
                    </a:cubicBezTo>
                    <a:cubicBezTo>
                      <a:pt x="2090" y="1114"/>
                      <a:pt x="2074" y="925"/>
                      <a:pt x="2020" y="757"/>
                    </a:cubicBezTo>
                    <a:cubicBezTo>
                      <a:pt x="2004" y="720"/>
                      <a:pt x="1988" y="671"/>
                      <a:pt x="1951" y="617"/>
                    </a:cubicBezTo>
                    <a:cubicBezTo>
                      <a:pt x="1885" y="482"/>
                      <a:pt x="1766" y="363"/>
                      <a:pt x="1643" y="293"/>
                    </a:cubicBezTo>
                    <a:cubicBezTo>
                      <a:pt x="1577" y="260"/>
                      <a:pt x="1507" y="223"/>
                      <a:pt x="1437" y="190"/>
                    </a:cubicBezTo>
                    <a:cubicBezTo>
                      <a:pt x="1335" y="121"/>
                      <a:pt x="1302" y="55"/>
                      <a:pt x="1183" y="18"/>
                    </a:cubicBezTo>
                    <a:cubicBezTo>
                      <a:pt x="1138" y="6"/>
                      <a:pt x="1088" y="0"/>
                      <a:pt x="1037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26" name="Google Shape;526;p24"/>
              <p:cNvSpPr/>
              <p:nvPr/>
            </p:nvSpPr>
            <p:spPr>
              <a:xfrm>
                <a:off x="2187700" y="2680850"/>
                <a:ext cx="41100" cy="47175"/>
              </a:xfrm>
              <a:custGeom>
                <a:avLst/>
                <a:gdLst/>
                <a:ahLst/>
                <a:cxnLst/>
                <a:rect l="l" t="t" r="r" b="b"/>
                <a:pathLst>
                  <a:path w="1644" h="1887" extrusionOk="0">
                    <a:moveTo>
                      <a:pt x="590" y="0"/>
                    </a:moveTo>
                    <a:cubicBezTo>
                      <a:pt x="505" y="0"/>
                      <a:pt x="416" y="15"/>
                      <a:pt x="342" y="38"/>
                    </a:cubicBezTo>
                    <a:cubicBezTo>
                      <a:pt x="239" y="55"/>
                      <a:pt x="120" y="121"/>
                      <a:pt x="1" y="207"/>
                    </a:cubicBezTo>
                    <a:cubicBezTo>
                      <a:pt x="103" y="157"/>
                      <a:pt x="222" y="121"/>
                      <a:pt x="309" y="104"/>
                    </a:cubicBezTo>
                    <a:cubicBezTo>
                      <a:pt x="329" y="97"/>
                      <a:pt x="353" y="93"/>
                      <a:pt x="379" y="93"/>
                    </a:cubicBezTo>
                    <a:cubicBezTo>
                      <a:pt x="416" y="93"/>
                      <a:pt x="457" y="101"/>
                      <a:pt x="498" y="121"/>
                    </a:cubicBezTo>
                    <a:cubicBezTo>
                      <a:pt x="547" y="141"/>
                      <a:pt x="600" y="207"/>
                      <a:pt x="600" y="277"/>
                    </a:cubicBezTo>
                    <a:cubicBezTo>
                      <a:pt x="613" y="276"/>
                      <a:pt x="626" y="275"/>
                      <a:pt x="638" y="275"/>
                    </a:cubicBezTo>
                    <a:cubicBezTo>
                      <a:pt x="831" y="275"/>
                      <a:pt x="1018" y="390"/>
                      <a:pt x="1130" y="552"/>
                    </a:cubicBezTo>
                    <a:cubicBezTo>
                      <a:pt x="1265" y="720"/>
                      <a:pt x="1319" y="942"/>
                      <a:pt x="1335" y="1147"/>
                    </a:cubicBezTo>
                    <a:cubicBezTo>
                      <a:pt x="1335" y="1233"/>
                      <a:pt x="1335" y="1319"/>
                      <a:pt x="1298" y="1406"/>
                    </a:cubicBezTo>
                    <a:cubicBezTo>
                      <a:pt x="1282" y="1476"/>
                      <a:pt x="1233" y="1541"/>
                      <a:pt x="1179" y="1595"/>
                    </a:cubicBezTo>
                    <a:cubicBezTo>
                      <a:pt x="1113" y="1697"/>
                      <a:pt x="1011" y="1800"/>
                      <a:pt x="908" y="1886"/>
                    </a:cubicBezTo>
                    <a:cubicBezTo>
                      <a:pt x="1163" y="1783"/>
                      <a:pt x="1487" y="1595"/>
                      <a:pt x="1590" y="1287"/>
                    </a:cubicBezTo>
                    <a:cubicBezTo>
                      <a:pt x="1643" y="1114"/>
                      <a:pt x="1627" y="925"/>
                      <a:pt x="1573" y="757"/>
                    </a:cubicBezTo>
                    <a:cubicBezTo>
                      <a:pt x="1557" y="720"/>
                      <a:pt x="1541" y="671"/>
                      <a:pt x="1504" y="617"/>
                    </a:cubicBezTo>
                    <a:cubicBezTo>
                      <a:pt x="1438" y="482"/>
                      <a:pt x="1319" y="363"/>
                      <a:pt x="1196" y="293"/>
                    </a:cubicBezTo>
                    <a:cubicBezTo>
                      <a:pt x="1130" y="260"/>
                      <a:pt x="1060" y="223"/>
                      <a:pt x="990" y="190"/>
                    </a:cubicBezTo>
                    <a:cubicBezTo>
                      <a:pt x="888" y="121"/>
                      <a:pt x="855" y="55"/>
                      <a:pt x="736" y="18"/>
                    </a:cubicBezTo>
                    <a:cubicBezTo>
                      <a:pt x="691" y="6"/>
                      <a:pt x="641" y="0"/>
                      <a:pt x="59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27" name="Google Shape;527;p24"/>
              <p:cNvSpPr/>
              <p:nvPr/>
            </p:nvSpPr>
            <p:spPr>
              <a:xfrm>
                <a:off x="2176525" y="2679650"/>
                <a:ext cx="5310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2124" h="2048" extrusionOk="0">
                    <a:moveTo>
                      <a:pt x="1080" y="103"/>
                    </a:moveTo>
                    <a:cubicBezTo>
                      <a:pt x="1113" y="103"/>
                      <a:pt x="1150" y="119"/>
                      <a:pt x="1166" y="119"/>
                    </a:cubicBezTo>
                    <a:cubicBezTo>
                      <a:pt x="1199" y="136"/>
                      <a:pt x="1216" y="136"/>
                      <a:pt x="1253" y="152"/>
                    </a:cubicBezTo>
                    <a:cubicBezTo>
                      <a:pt x="1285" y="169"/>
                      <a:pt x="1302" y="189"/>
                      <a:pt x="1335" y="222"/>
                    </a:cubicBezTo>
                    <a:lnTo>
                      <a:pt x="1253" y="222"/>
                    </a:lnTo>
                    <a:cubicBezTo>
                      <a:pt x="1166" y="222"/>
                      <a:pt x="1064" y="238"/>
                      <a:pt x="977" y="255"/>
                    </a:cubicBezTo>
                    <a:cubicBezTo>
                      <a:pt x="891" y="271"/>
                      <a:pt x="805" y="308"/>
                      <a:pt x="739" y="357"/>
                    </a:cubicBezTo>
                    <a:cubicBezTo>
                      <a:pt x="653" y="394"/>
                      <a:pt x="583" y="460"/>
                      <a:pt x="534" y="530"/>
                    </a:cubicBezTo>
                    <a:cubicBezTo>
                      <a:pt x="513" y="546"/>
                      <a:pt x="513" y="563"/>
                      <a:pt x="534" y="579"/>
                    </a:cubicBezTo>
                    <a:cubicBezTo>
                      <a:pt x="542" y="589"/>
                      <a:pt x="550" y="595"/>
                      <a:pt x="559" y="595"/>
                    </a:cubicBezTo>
                    <a:cubicBezTo>
                      <a:pt x="567" y="595"/>
                      <a:pt x="575" y="589"/>
                      <a:pt x="583" y="579"/>
                    </a:cubicBezTo>
                    <a:cubicBezTo>
                      <a:pt x="653" y="530"/>
                      <a:pt x="702" y="476"/>
                      <a:pt x="789" y="444"/>
                    </a:cubicBezTo>
                    <a:cubicBezTo>
                      <a:pt x="858" y="411"/>
                      <a:pt x="924" y="374"/>
                      <a:pt x="1010" y="357"/>
                    </a:cubicBezTo>
                    <a:cubicBezTo>
                      <a:pt x="1096" y="341"/>
                      <a:pt x="1166" y="325"/>
                      <a:pt x="1253" y="325"/>
                    </a:cubicBezTo>
                    <a:cubicBezTo>
                      <a:pt x="1318" y="308"/>
                      <a:pt x="1404" y="308"/>
                      <a:pt x="1474" y="308"/>
                    </a:cubicBezTo>
                    <a:cubicBezTo>
                      <a:pt x="1507" y="325"/>
                      <a:pt x="1540" y="341"/>
                      <a:pt x="1577" y="357"/>
                    </a:cubicBezTo>
                    <a:cubicBezTo>
                      <a:pt x="1696" y="411"/>
                      <a:pt x="1782" y="497"/>
                      <a:pt x="1848" y="600"/>
                    </a:cubicBezTo>
                    <a:cubicBezTo>
                      <a:pt x="1868" y="616"/>
                      <a:pt x="1885" y="633"/>
                      <a:pt x="1885" y="649"/>
                    </a:cubicBezTo>
                    <a:cubicBezTo>
                      <a:pt x="1766" y="682"/>
                      <a:pt x="1626" y="719"/>
                      <a:pt x="1507" y="752"/>
                    </a:cubicBezTo>
                    <a:cubicBezTo>
                      <a:pt x="1421" y="768"/>
                      <a:pt x="1355" y="784"/>
                      <a:pt x="1285" y="805"/>
                    </a:cubicBezTo>
                    <a:cubicBezTo>
                      <a:pt x="1216" y="805"/>
                      <a:pt x="1129" y="821"/>
                      <a:pt x="1064" y="838"/>
                    </a:cubicBezTo>
                    <a:cubicBezTo>
                      <a:pt x="1047" y="838"/>
                      <a:pt x="1027" y="854"/>
                      <a:pt x="1027" y="871"/>
                    </a:cubicBezTo>
                    <a:cubicBezTo>
                      <a:pt x="1027" y="887"/>
                      <a:pt x="1047" y="908"/>
                      <a:pt x="1064" y="908"/>
                    </a:cubicBezTo>
                    <a:cubicBezTo>
                      <a:pt x="1129" y="924"/>
                      <a:pt x="1216" y="924"/>
                      <a:pt x="1302" y="924"/>
                    </a:cubicBezTo>
                    <a:cubicBezTo>
                      <a:pt x="1372" y="924"/>
                      <a:pt x="1458" y="908"/>
                      <a:pt x="1540" y="887"/>
                    </a:cubicBezTo>
                    <a:cubicBezTo>
                      <a:pt x="1610" y="871"/>
                      <a:pt x="1680" y="838"/>
                      <a:pt x="1766" y="805"/>
                    </a:cubicBezTo>
                    <a:cubicBezTo>
                      <a:pt x="1815" y="784"/>
                      <a:pt x="1885" y="752"/>
                      <a:pt x="1934" y="719"/>
                    </a:cubicBezTo>
                    <a:cubicBezTo>
                      <a:pt x="1971" y="784"/>
                      <a:pt x="1988" y="854"/>
                      <a:pt x="2004" y="924"/>
                    </a:cubicBezTo>
                    <a:cubicBezTo>
                      <a:pt x="2020" y="973"/>
                      <a:pt x="2020" y="1043"/>
                      <a:pt x="2020" y="1092"/>
                    </a:cubicBezTo>
                    <a:cubicBezTo>
                      <a:pt x="1885" y="1129"/>
                      <a:pt x="1745" y="1162"/>
                      <a:pt x="1610" y="1195"/>
                    </a:cubicBezTo>
                    <a:cubicBezTo>
                      <a:pt x="1540" y="1216"/>
                      <a:pt x="1474" y="1232"/>
                      <a:pt x="1388" y="1248"/>
                    </a:cubicBezTo>
                    <a:cubicBezTo>
                      <a:pt x="1318" y="1265"/>
                      <a:pt x="1253" y="1281"/>
                      <a:pt x="1166" y="1281"/>
                    </a:cubicBezTo>
                    <a:cubicBezTo>
                      <a:pt x="1150" y="1281"/>
                      <a:pt x="1129" y="1298"/>
                      <a:pt x="1129" y="1335"/>
                    </a:cubicBezTo>
                    <a:cubicBezTo>
                      <a:pt x="1150" y="1335"/>
                      <a:pt x="1150" y="1351"/>
                      <a:pt x="1166" y="1351"/>
                    </a:cubicBezTo>
                    <a:cubicBezTo>
                      <a:pt x="1227" y="1363"/>
                      <a:pt x="1278" y="1374"/>
                      <a:pt x="1333" y="1374"/>
                    </a:cubicBezTo>
                    <a:cubicBezTo>
                      <a:pt x="1356" y="1374"/>
                      <a:pt x="1379" y="1372"/>
                      <a:pt x="1404" y="1367"/>
                    </a:cubicBezTo>
                    <a:cubicBezTo>
                      <a:pt x="1491" y="1367"/>
                      <a:pt x="1560" y="1351"/>
                      <a:pt x="1643" y="1335"/>
                    </a:cubicBezTo>
                    <a:cubicBezTo>
                      <a:pt x="1729" y="1318"/>
                      <a:pt x="1799" y="1298"/>
                      <a:pt x="1868" y="1265"/>
                    </a:cubicBezTo>
                    <a:cubicBezTo>
                      <a:pt x="1918" y="1248"/>
                      <a:pt x="1971" y="1216"/>
                      <a:pt x="2020" y="1195"/>
                    </a:cubicBezTo>
                    <a:lnTo>
                      <a:pt x="2020" y="1195"/>
                    </a:lnTo>
                    <a:cubicBezTo>
                      <a:pt x="2020" y="1216"/>
                      <a:pt x="2004" y="1248"/>
                      <a:pt x="2004" y="1281"/>
                    </a:cubicBezTo>
                    <a:cubicBezTo>
                      <a:pt x="1988" y="1335"/>
                      <a:pt x="1971" y="1384"/>
                      <a:pt x="1934" y="1437"/>
                    </a:cubicBezTo>
                    <a:cubicBezTo>
                      <a:pt x="1901" y="1487"/>
                      <a:pt x="1868" y="1540"/>
                      <a:pt x="1815" y="1589"/>
                    </a:cubicBezTo>
                    <a:cubicBezTo>
                      <a:pt x="1643" y="1745"/>
                      <a:pt x="1404" y="1864"/>
                      <a:pt x="1183" y="1914"/>
                    </a:cubicBezTo>
                    <a:cubicBezTo>
                      <a:pt x="1115" y="1924"/>
                      <a:pt x="1050" y="1929"/>
                      <a:pt x="988" y="1929"/>
                    </a:cubicBezTo>
                    <a:cubicBezTo>
                      <a:pt x="925" y="1929"/>
                      <a:pt x="864" y="1924"/>
                      <a:pt x="805" y="1914"/>
                    </a:cubicBezTo>
                    <a:cubicBezTo>
                      <a:pt x="686" y="1897"/>
                      <a:pt x="583" y="1848"/>
                      <a:pt x="497" y="1778"/>
                    </a:cubicBezTo>
                    <a:cubicBezTo>
                      <a:pt x="394" y="1692"/>
                      <a:pt x="329" y="1606"/>
                      <a:pt x="275" y="1503"/>
                    </a:cubicBezTo>
                    <a:cubicBezTo>
                      <a:pt x="205" y="1384"/>
                      <a:pt x="173" y="1265"/>
                      <a:pt x="156" y="1146"/>
                    </a:cubicBezTo>
                    <a:cubicBezTo>
                      <a:pt x="123" y="1043"/>
                      <a:pt x="123" y="924"/>
                      <a:pt x="156" y="805"/>
                    </a:cubicBezTo>
                    <a:cubicBezTo>
                      <a:pt x="173" y="682"/>
                      <a:pt x="242" y="579"/>
                      <a:pt x="308" y="476"/>
                    </a:cubicBezTo>
                    <a:cubicBezTo>
                      <a:pt x="378" y="394"/>
                      <a:pt x="481" y="308"/>
                      <a:pt x="567" y="238"/>
                    </a:cubicBezTo>
                    <a:cubicBezTo>
                      <a:pt x="616" y="205"/>
                      <a:pt x="686" y="169"/>
                      <a:pt x="739" y="152"/>
                    </a:cubicBezTo>
                    <a:cubicBezTo>
                      <a:pt x="789" y="136"/>
                      <a:pt x="842" y="119"/>
                      <a:pt x="908" y="103"/>
                    </a:cubicBezTo>
                    <a:close/>
                    <a:moveTo>
                      <a:pt x="891" y="0"/>
                    </a:moveTo>
                    <a:cubicBezTo>
                      <a:pt x="821" y="17"/>
                      <a:pt x="756" y="17"/>
                      <a:pt x="702" y="49"/>
                    </a:cubicBezTo>
                    <a:cubicBezTo>
                      <a:pt x="637" y="66"/>
                      <a:pt x="567" y="103"/>
                      <a:pt x="513" y="136"/>
                    </a:cubicBezTo>
                    <a:cubicBezTo>
                      <a:pt x="394" y="205"/>
                      <a:pt x="292" y="308"/>
                      <a:pt x="205" y="411"/>
                    </a:cubicBezTo>
                    <a:cubicBezTo>
                      <a:pt x="140" y="513"/>
                      <a:pt x="70" y="633"/>
                      <a:pt x="37" y="768"/>
                    </a:cubicBezTo>
                    <a:cubicBezTo>
                      <a:pt x="0" y="908"/>
                      <a:pt x="0" y="1043"/>
                      <a:pt x="21" y="1179"/>
                    </a:cubicBezTo>
                    <a:cubicBezTo>
                      <a:pt x="54" y="1318"/>
                      <a:pt x="86" y="1437"/>
                      <a:pt x="156" y="1556"/>
                    </a:cubicBezTo>
                    <a:cubicBezTo>
                      <a:pt x="226" y="1675"/>
                      <a:pt x="308" y="1778"/>
                      <a:pt x="411" y="1864"/>
                    </a:cubicBezTo>
                    <a:cubicBezTo>
                      <a:pt x="513" y="1951"/>
                      <a:pt x="653" y="2016"/>
                      <a:pt x="789" y="2037"/>
                    </a:cubicBezTo>
                    <a:cubicBezTo>
                      <a:pt x="843" y="2043"/>
                      <a:pt x="898" y="2047"/>
                      <a:pt x="953" y="2047"/>
                    </a:cubicBezTo>
                    <a:cubicBezTo>
                      <a:pt x="1035" y="2047"/>
                      <a:pt x="1118" y="2038"/>
                      <a:pt x="1199" y="2016"/>
                    </a:cubicBezTo>
                    <a:cubicBezTo>
                      <a:pt x="1335" y="2000"/>
                      <a:pt x="1458" y="1951"/>
                      <a:pt x="1577" y="1897"/>
                    </a:cubicBezTo>
                    <a:cubicBezTo>
                      <a:pt x="1696" y="1831"/>
                      <a:pt x="1799" y="1745"/>
                      <a:pt x="1901" y="1659"/>
                    </a:cubicBezTo>
                    <a:cubicBezTo>
                      <a:pt x="1934" y="1606"/>
                      <a:pt x="1988" y="1556"/>
                      <a:pt x="2020" y="1487"/>
                    </a:cubicBezTo>
                    <a:cubicBezTo>
                      <a:pt x="2053" y="1437"/>
                      <a:pt x="2074" y="1367"/>
                      <a:pt x="2090" y="1298"/>
                    </a:cubicBezTo>
                    <a:cubicBezTo>
                      <a:pt x="2123" y="1162"/>
                      <a:pt x="2123" y="1027"/>
                      <a:pt x="2090" y="908"/>
                    </a:cubicBezTo>
                    <a:cubicBezTo>
                      <a:pt x="2074" y="768"/>
                      <a:pt x="2004" y="649"/>
                      <a:pt x="1918" y="530"/>
                    </a:cubicBezTo>
                    <a:cubicBezTo>
                      <a:pt x="1848" y="427"/>
                      <a:pt x="1745" y="325"/>
                      <a:pt x="1626" y="271"/>
                    </a:cubicBezTo>
                    <a:cubicBezTo>
                      <a:pt x="1560" y="238"/>
                      <a:pt x="1507" y="222"/>
                      <a:pt x="1458" y="189"/>
                    </a:cubicBezTo>
                    <a:cubicBezTo>
                      <a:pt x="1404" y="152"/>
                      <a:pt x="1372" y="103"/>
                      <a:pt x="1302" y="66"/>
                    </a:cubicBezTo>
                    <a:cubicBezTo>
                      <a:pt x="1269" y="49"/>
                      <a:pt x="1232" y="33"/>
                      <a:pt x="1199" y="17"/>
                    </a:cubicBezTo>
                    <a:cubicBezTo>
                      <a:pt x="1166" y="17"/>
                      <a:pt x="1129" y="0"/>
                      <a:pt x="109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28" name="Google Shape;528;p24"/>
              <p:cNvSpPr/>
              <p:nvPr/>
            </p:nvSpPr>
            <p:spPr>
              <a:xfrm>
                <a:off x="2194475" y="2702725"/>
                <a:ext cx="4750" cy="12450"/>
              </a:xfrm>
              <a:custGeom>
                <a:avLst/>
                <a:gdLst/>
                <a:ahLst/>
                <a:cxnLst/>
                <a:rect l="l" t="t" r="r" b="b"/>
                <a:pathLst>
                  <a:path w="190" h="498" extrusionOk="0">
                    <a:moveTo>
                      <a:pt x="55" y="0"/>
                    </a:moveTo>
                    <a:cubicBezTo>
                      <a:pt x="45" y="0"/>
                      <a:pt x="33" y="6"/>
                      <a:pt x="21" y="17"/>
                    </a:cubicBezTo>
                    <a:cubicBezTo>
                      <a:pt x="1" y="17"/>
                      <a:pt x="1" y="34"/>
                      <a:pt x="1" y="50"/>
                    </a:cubicBezTo>
                    <a:cubicBezTo>
                      <a:pt x="1" y="190"/>
                      <a:pt x="38" y="342"/>
                      <a:pt x="124" y="461"/>
                    </a:cubicBezTo>
                    <a:cubicBezTo>
                      <a:pt x="124" y="477"/>
                      <a:pt x="140" y="498"/>
                      <a:pt x="173" y="498"/>
                    </a:cubicBezTo>
                    <a:cubicBezTo>
                      <a:pt x="190" y="477"/>
                      <a:pt x="190" y="461"/>
                      <a:pt x="190" y="444"/>
                    </a:cubicBezTo>
                    <a:cubicBezTo>
                      <a:pt x="173" y="395"/>
                      <a:pt x="157" y="342"/>
                      <a:pt x="157" y="293"/>
                    </a:cubicBezTo>
                    <a:cubicBezTo>
                      <a:pt x="140" y="206"/>
                      <a:pt x="124" y="137"/>
                      <a:pt x="103" y="50"/>
                    </a:cubicBezTo>
                    <a:cubicBezTo>
                      <a:pt x="93" y="18"/>
                      <a:pt x="75" y="0"/>
                      <a:pt x="5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29" name="Google Shape;529;p24"/>
              <p:cNvSpPr/>
              <p:nvPr/>
            </p:nvSpPr>
            <p:spPr>
              <a:xfrm>
                <a:off x="2188925" y="2704375"/>
                <a:ext cx="4350" cy="10975"/>
              </a:xfrm>
              <a:custGeom>
                <a:avLst/>
                <a:gdLst/>
                <a:ahLst/>
                <a:cxnLst/>
                <a:rect l="l" t="t" r="r" b="b"/>
                <a:pathLst>
                  <a:path w="174" h="439" extrusionOk="0">
                    <a:moveTo>
                      <a:pt x="71" y="1"/>
                    </a:moveTo>
                    <a:cubicBezTo>
                      <a:pt x="38" y="1"/>
                      <a:pt x="17" y="21"/>
                      <a:pt x="17" y="38"/>
                    </a:cubicBezTo>
                    <a:cubicBezTo>
                      <a:pt x="1" y="173"/>
                      <a:pt x="38" y="292"/>
                      <a:pt x="87" y="395"/>
                    </a:cubicBezTo>
                    <a:cubicBezTo>
                      <a:pt x="111" y="422"/>
                      <a:pt x="129" y="438"/>
                      <a:pt x="143" y="438"/>
                    </a:cubicBezTo>
                    <a:cubicBezTo>
                      <a:pt x="148" y="438"/>
                      <a:pt x="153" y="436"/>
                      <a:pt x="157" y="432"/>
                    </a:cubicBezTo>
                    <a:cubicBezTo>
                      <a:pt x="173" y="432"/>
                      <a:pt x="173" y="395"/>
                      <a:pt x="173" y="378"/>
                    </a:cubicBezTo>
                    <a:cubicBezTo>
                      <a:pt x="157" y="259"/>
                      <a:pt x="120" y="140"/>
                      <a:pt x="104" y="38"/>
                    </a:cubicBezTo>
                    <a:cubicBezTo>
                      <a:pt x="87" y="21"/>
                      <a:pt x="87" y="1"/>
                      <a:pt x="71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071442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bg>
      <p:bgPr>
        <a:solidFill>
          <a:schemeClr val="lt1"/>
        </a:solidFill>
        <a:effectLst/>
      </p:bgPr>
    </p:bg>
    <p:spTree>
      <p:nvGrpSpPr>
        <p:cNvPr id="1" name="Shape 5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Google Shape;531;p25"/>
          <p:cNvSpPr/>
          <p:nvPr/>
        </p:nvSpPr>
        <p:spPr>
          <a:xfrm>
            <a:off x="361400" y="294400"/>
            <a:ext cx="11469200" cy="6269200"/>
          </a:xfrm>
          <a:prstGeom prst="rect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532" name="Google Shape;532;p25"/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33" name="Google Shape;533;p25"/>
          <p:cNvGrpSpPr/>
          <p:nvPr/>
        </p:nvGrpSpPr>
        <p:grpSpPr>
          <a:xfrm>
            <a:off x="8779139" y="2229607"/>
            <a:ext cx="344588" cy="302676"/>
            <a:chOff x="4675300" y="2715925"/>
            <a:chExt cx="105650" cy="92800"/>
          </a:xfrm>
        </p:grpSpPr>
        <p:sp>
          <p:nvSpPr>
            <p:cNvPr id="534" name="Google Shape;534;p25"/>
            <p:cNvSpPr/>
            <p:nvPr/>
          </p:nvSpPr>
          <p:spPr>
            <a:xfrm>
              <a:off x="4675300" y="2715925"/>
              <a:ext cx="105650" cy="92750"/>
            </a:xfrm>
            <a:custGeom>
              <a:avLst/>
              <a:gdLst/>
              <a:ahLst/>
              <a:cxnLst/>
              <a:rect l="l" t="t" r="r" b="b"/>
              <a:pathLst>
                <a:path w="4226" h="3710" extrusionOk="0">
                  <a:moveTo>
                    <a:pt x="2266" y="0"/>
                  </a:moveTo>
                  <a:cubicBezTo>
                    <a:pt x="1946" y="0"/>
                    <a:pt x="1621" y="77"/>
                    <a:pt x="1319" y="241"/>
                  </a:cubicBezTo>
                  <a:cubicBezTo>
                    <a:pt x="378" y="754"/>
                    <a:pt x="1" y="2138"/>
                    <a:pt x="822" y="2943"/>
                  </a:cubicBezTo>
                  <a:cubicBezTo>
                    <a:pt x="1104" y="3226"/>
                    <a:pt x="1501" y="3361"/>
                    <a:pt x="1894" y="3361"/>
                  </a:cubicBezTo>
                  <a:cubicBezTo>
                    <a:pt x="2575" y="3361"/>
                    <a:pt x="3247" y="2955"/>
                    <a:pt x="3302" y="2208"/>
                  </a:cubicBezTo>
                  <a:cubicBezTo>
                    <a:pt x="3359" y="1449"/>
                    <a:pt x="2816" y="922"/>
                    <a:pt x="2268" y="922"/>
                  </a:cubicBezTo>
                  <a:cubicBezTo>
                    <a:pt x="1990" y="922"/>
                    <a:pt x="1710" y="1059"/>
                    <a:pt x="1508" y="1370"/>
                  </a:cubicBezTo>
                  <a:cubicBezTo>
                    <a:pt x="1265" y="1744"/>
                    <a:pt x="1389" y="2430"/>
                    <a:pt x="1902" y="2500"/>
                  </a:cubicBezTo>
                  <a:cubicBezTo>
                    <a:pt x="1910" y="2501"/>
                    <a:pt x="1920" y="2501"/>
                    <a:pt x="1931" y="2501"/>
                  </a:cubicBezTo>
                  <a:cubicBezTo>
                    <a:pt x="2099" y="2501"/>
                    <a:pt x="2551" y="2383"/>
                    <a:pt x="2312" y="2175"/>
                  </a:cubicBezTo>
                  <a:cubicBezTo>
                    <a:pt x="2281" y="2149"/>
                    <a:pt x="2247" y="2141"/>
                    <a:pt x="2211" y="2141"/>
                  </a:cubicBezTo>
                  <a:cubicBezTo>
                    <a:pt x="2141" y="2141"/>
                    <a:pt x="2063" y="2173"/>
                    <a:pt x="1985" y="2173"/>
                  </a:cubicBezTo>
                  <a:cubicBezTo>
                    <a:pt x="1945" y="2173"/>
                    <a:pt x="1904" y="2164"/>
                    <a:pt x="1865" y="2138"/>
                  </a:cubicBezTo>
                  <a:cubicBezTo>
                    <a:pt x="1465" y="1894"/>
                    <a:pt x="1899" y="1384"/>
                    <a:pt x="2289" y="1384"/>
                  </a:cubicBezTo>
                  <a:cubicBezTo>
                    <a:pt x="2332" y="1384"/>
                    <a:pt x="2374" y="1390"/>
                    <a:pt x="2415" y="1403"/>
                  </a:cubicBezTo>
                  <a:cubicBezTo>
                    <a:pt x="2703" y="1522"/>
                    <a:pt x="2875" y="1830"/>
                    <a:pt x="2859" y="2138"/>
                  </a:cubicBezTo>
                  <a:cubicBezTo>
                    <a:pt x="2829" y="2638"/>
                    <a:pt x="2358" y="2881"/>
                    <a:pt x="1912" y="2881"/>
                  </a:cubicBezTo>
                  <a:cubicBezTo>
                    <a:pt x="1867" y="2881"/>
                    <a:pt x="1822" y="2878"/>
                    <a:pt x="1779" y="2873"/>
                  </a:cubicBezTo>
                  <a:cubicBezTo>
                    <a:pt x="1302" y="2808"/>
                    <a:pt x="957" y="2463"/>
                    <a:pt x="908" y="2003"/>
                  </a:cubicBezTo>
                  <a:cubicBezTo>
                    <a:pt x="781" y="1122"/>
                    <a:pt x="1552" y="520"/>
                    <a:pt x="2330" y="520"/>
                  </a:cubicBezTo>
                  <a:cubicBezTo>
                    <a:pt x="2611" y="520"/>
                    <a:pt x="2893" y="599"/>
                    <a:pt x="3134" y="771"/>
                  </a:cubicBezTo>
                  <a:cubicBezTo>
                    <a:pt x="4123" y="1473"/>
                    <a:pt x="3766" y="3062"/>
                    <a:pt x="2653" y="3423"/>
                  </a:cubicBezTo>
                  <a:cubicBezTo>
                    <a:pt x="2534" y="3456"/>
                    <a:pt x="2497" y="3575"/>
                    <a:pt x="2567" y="3662"/>
                  </a:cubicBezTo>
                  <a:cubicBezTo>
                    <a:pt x="2603" y="3698"/>
                    <a:pt x="2645" y="3709"/>
                    <a:pt x="2688" y="3709"/>
                  </a:cubicBezTo>
                  <a:cubicBezTo>
                    <a:pt x="2748" y="3709"/>
                    <a:pt x="2809" y="3688"/>
                    <a:pt x="2859" y="3678"/>
                  </a:cubicBezTo>
                  <a:cubicBezTo>
                    <a:pt x="3166" y="3612"/>
                    <a:pt x="3474" y="3386"/>
                    <a:pt x="3696" y="3148"/>
                  </a:cubicBezTo>
                  <a:cubicBezTo>
                    <a:pt x="4058" y="2738"/>
                    <a:pt x="4226" y="2155"/>
                    <a:pt x="4160" y="1609"/>
                  </a:cubicBezTo>
                  <a:cubicBezTo>
                    <a:pt x="4033" y="621"/>
                    <a:pt x="3174" y="0"/>
                    <a:pt x="2266" y="0"/>
                  </a:cubicBezTo>
                  <a:close/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5" name="Google Shape;535;p25"/>
            <p:cNvSpPr/>
            <p:nvPr/>
          </p:nvSpPr>
          <p:spPr>
            <a:xfrm>
              <a:off x="4675300" y="2715925"/>
              <a:ext cx="105650" cy="92800"/>
            </a:xfrm>
            <a:custGeom>
              <a:avLst/>
              <a:gdLst/>
              <a:ahLst/>
              <a:cxnLst/>
              <a:rect l="l" t="t" r="r" b="b"/>
              <a:pathLst>
                <a:path w="4226" h="3712" extrusionOk="0">
                  <a:moveTo>
                    <a:pt x="2263" y="0"/>
                  </a:moveTo>
                  <a:cubicBezTo>
                    <a:pt x="1945" y="0"/>
                    <a:pt x="1620" y="77"/>
                    <a:pt x="1319" y="241"/>
                  </a:cubicBezTo>
                  <a:cubicBezTo>
                    <a:pt x="378" y="771"/>
                    <a:pt x="1" y="2142"/>
                    <a:pt x="822" y="2963"/>
                  </a:cubicBezTo>
                  <a:cubicBezTo>
                    <a:pt x="1102" y="3236"/>
                    <a:pt x="1493" y="3367"/>
                    <a:pt x="1883" y="3367"/>
                  </a:cubicBezTo>
                  <a:cubicBezTo>
                    <a:pt x="2568" y="3367"/>
                    <a:pt x="3247" y="2962"/>
                    <a:pt x="3302" y="2208"/>
                  </a:cubicBezTo>
                  <a:cubicBezTo>
                    <a:pt x="3359" y="1449"/>
                    <a:pt x="2816" y="922"/>
                    <a:pt x="2268" y="922"/>
                  </a:cubicBezTo>
                  <a:cubicBezTo>
                    <a:pt x="1990" y="922"/>
                    <a:pt x="1710" y="1058"/>
                    <a:pt x="1508" y="1370"/>
                  </a:cubicBezTo>
                  <a:cubicBezTo>
                    <a:pt x="1265" y="1748"/>
                    <a:pt x="1389" y="2434"/>
                    <a:pt x="1902" y="2499"/>
                  </a:cubicBezTo>
                  <a:cubicBezTo>
                    <a:pt x="1910" y="2500"/>
                    <a:pt x="1920" y="2501"/>
                    <a:pt x="1931" y="2501"/>
                  </a:cubicBezTo>
                  <a:cubicBezTo>
                    <a:pt x="2099" y="2501"/>
                    <a:pt x="2551" y="2383"/>
                    <a:pt x="2312" y="2175"/>
                  </a:cubicBezTo>
                  <a:cubicBezTo>
                    <a:pt x="2282" y="2150"/>
                    <a:pt x="2249" y="2141"/>
                    <a:pt x="2215" y="2141"/>
                  </a:cubicBezTo>
                  <a:cubicBezTo>
                    <a:pt x="2138" y="2141"/>
                    <a:pt x="2052" y="2183"/>
                    <a:pt x="1966" y="2183"/>
                  </a:cubicBezTo>
                  <a:cubicBezTo>
                    <a:pt x="1932" y="2183"/>
                    <a:pt x="1898" y="2177"/>
                    <a:pt x="1865" y="2158"/>
                  </a:cubicBezTo>
                  <a:cubicBezTo>
                    <a:pt x="1471" y="1900"/>
                    <a:pt x="1887" y="1398"/>
                    <a:pt x="2272" y="1398"/>
                  </a:cubicBezTo>
                  <a:cubicBezTo>
                    <a:pt x="2321" y="1398"/>
                    <a:pt x="2369" y="1406"/>
                    <a:pt x="2415" y="1423"/>
                  </a:cubicBezTo>
                  <a:cubicBezTo>
                    <a:pt x="2703" y="1526"/>
                    <a:pt x="2875" y="1850"/>
                    <a:pt x="2859" y="2142"/>
                  </a:cubicBezTo>
                  <a:cubicBezTo>
                    <a:pt x="2828" y="2641"/>
                    <a:pt x="2352" y="2883"/>
                    <a:pt x="1903" y="2883"/>
                  </a:cubicBezTo>
                  <a:cubicBezTo>
                    <a:pt x="1861" y="2883"/>
                    <a:pt x="1820" y="2881"/>
                    <a:pt x="1779" y="2877"/>
                  </a:cubicBezTo>
                  <a:cubicBezTo>
                    <a:pt x="1302" y="2807"/>
                    <a:pt x="957" y="2466"/>
                    <a:pt x="908" y="2002"/>
                  </a:cubicBezTo>
                  <a:cubicBezTo>
                    <a:pt x="781" y="1133"/>
                    <a:pt x="1558" y="523"/>
                    <a:pt x="2339" y="523"/>
                  </a:cubicBezTo>
                  <a:cubicBezTo>
                    <a:pt x="2617" y="523"/>
                    <a:pt x="2896" y="600"/>
                    <a:pt x="3134" y="771"/>
                  </a:cubicBezTo>
                  <a:cubicBezTo>
                    <a:pt x="4123" y="1489"/>
                    <a:pt x="3766" y="3066"/>
                    <a:pt x="2653" y="3423"/>
                  </a:cubicBezTo>
                  <a:cubicBezTo>
                    <a:pt x="2534" y="3460"/>
                    <a:pt x="2497" y="3579"/>
                    <a:pt x="2567" y="3665"/>
                  </a:cubicBezTo>
                  <a:cubicBezTo>
                    <a:pt x="2604" y="3700"/>
                    <a:pt x="2646" y="3711"/>
                    <a:pt x="2690" y="3711"/>
                  </a:cubicBezTo>
                  <a:cubicBezTo>
                    <a:pt x="2749" y="3711"/>
                    <a:pt x="2809" y="3691"/>
                    <a:pt x="2859" y="3682"/>
                  </a:cubicBezTo>
                  <a:cubicBezTo>
                    <a:pt x="3166" y="3612"/>
                    <a:pt x="3474" y="3407"/>
                    <a:pt x="3696" y="3169"/>
                  </a:cubicBezTo>
                  <a:cubicBezTo>
                    <a:pt x="4058" y="2742"/>
                    <a:pt x="4226" y="2158"/>
                    <a:pt x="4160" y="1612"/>
                  </a:cubicBezTo>
                  <a:cubicBezTo>
                    <a:pt x="4032" y="624"/>
                    <a:pt x="3173" y="0"/>
                    <a:pt x="2263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36" name="Google Shape;536;p25"/>
          <p:cNvGrpSpPr/>
          <p:nvPr/>
        </p:nvGrpSpPr>
        <p:grpSpPr>
          <a:xfrm>
            <a:off x="8532603" y="4973683"/>
            <a:ext cx="302759" cy="292240"/>
            <a:chOff x="5049175" y="2811525"/>
            <a:chExt cx="92825" cy="89600"/>
          </a:xfrm>
        </p:grpSpPr>
        <p:sp>
          <p:nvSpPr>
            <p:cNvPr id="537" name="Google Shape;537;p25"/>
            <p:cNvSpPr/>
            <p:nvPr/>
          </p:nvSpPr>
          <p:spPr>
            <a:xfrm>
              <a:off x="5049175" y="2811525"/>
              <a:ext cx="92825" cy="89375"/>
            </a:xfrm>
            <a:custGeom>
              <a:avLst/>
              <a:gdLst/>
              <a:ahLst/>
              <a:cxnLst/>
              <a:rect l="l" t="t" r="r" b="b"/>
              <a:pathLst>
                <a:path w="3713" h="3575" extrusionOk="0">
                  <a:moveTo>
                    <a:pt x="1450" y="1"/>
                  </a:moveTo>
                  <a:cubicBezTo>
                    <a:pt x="1414" y="1"/>
                    <a:pt x="1380" y="9"/>
                    <a:pt x="1351" y="26"/>
                  </a:cubicBezTo>
                  <a:cubicBezTo>
                    <a:pt x="1232" y="96"/>
                    <a:pt x="1179" y="232"/>
                    <a:pt x="1146" y="367"/>
                  </a:cubicBezTo>
                  <a:cubicBezTo>
                    <a:pt x="1092" y="642"/>
                    <a:pt x="1060" y="934"/>
                    <a:pt x="1043" y="1225"/>
                  </a:cubicBezTo>
                  <a:cubicBezTo>
                    <a:pt x="821" y="1258"/>
                    <a:pt x="616" y="1275"/>
                    <a:pt x="394" y="1308"/>
                  </a:cubicBezTo>
                  <a:cubicBezTo>
                    <a:pt x="308" y="1308"/>
                    <a:pt x="222" y="1328"/>
                    <a:pt x="136" y="1377"/>
                  </a:cubicBezTo>
                  <a:cubicBezTo>
                    <a:pt x="49" y="1410"/>
                    <a:pt x="0" y="1496"/>
                    <a:pt x="0" y="1583"/>
                  </a:cubicBezTo>
                  <a:cubicBezTo>
                    <a:pt x="0" y="1702"/>
                    <a:pt x="103" y="1772"/>
                    <a:pt x="206" y="1841"/>
                  </a:cubicBezTo>
                  <a:cubicBezTo>
                    <a:pt x="477" y="1993"/>
                    <a:pt x="752" y="2166"/>
                    <a:pt x="1043" y="2301"/>
                  </a:cubicBezTo>
                  <a:cubicBezTo>
                    <a:pt x="1043" y="2437"/>
                    <a:pt x="1060" y="2576"/>
                    <a:pt x="1060" y="2712"/>
                  </a:cubicBezTo>
                  <a:cubicBezTo>
                    <a:pt x="1076" y="2971"/>
                    <a:pt x="1092" y="3242"/>
                    <a:pt x="1179" y="3484"/>
                  </a:cubicBezTo>
                  <a:cubicBezTo>
                    <a:pt x="1179" y="3517"/>
                    <a:pt x="1195" y="3550"/>
                    <a:pt x="1232" y="3566"/>
                  </a:cubicBezTo>
                  <a:cubicBezTo>
                    <a:pt x="1246" y="3572"/>
                    <a:pt x="1260" y="3574"/>
                    <a:pt x="1273" y="3574"/>
                  </a:cubicBezTo>
                  <a:cubicBezTo>
                    <a:pt x="1309" y="3574"/>
                    <a:pt x="1344" y="3557"/>
                    <a:pt x="1368" y="3533"/>
                  </a:cubicBezTo>
                  <a:cubicBezTo>
                    <a:pt x="1659" y="3328"/>
                    <a:pt x="1864" y="3053"/>
                    <a:pt x="2070" y="2765"/>
                  </a:cubicBezTo>
                  <a:cubicBezTo>
                    <a:pt x="2205" y="2815"/>
                    <a:pt x="2361" y="2868"/>
                    <a:pt x="2497" y="2917"/>
                  </a:cubicBezTo>
                  <a:cubicBezTo>
                    <a:pt x="2642" y="2960"/>
                    <a:pt x="2935" y="3097"/>
                    <a:pt x="3153" y="3097"/>
                  </a:cubicBezTo>
                  <a:cubicBezTo>
                    <a:pt x="3293" y="3097"/>
                    <a:pt x="3401" y="3041"/>
                    <a:pt x="3421" y="2868"/>
                  </a:cubicBezTo>
                  <a:cubicBezTo>
                    <a:pt x="3437" y="2679"/>
                    <a:pt x="3248" y="2457"/>
                    <a:pt x="3146" y="2301"/>
                  </a:cubicBezTo>
                  <a:cubicBezTo>
                    <a:pt x="3043" y="2129"/>
                    <a:pt x="2940" y="1960"/>
                    <a:pt x="2838" y="1772"/>
                  </a:cubicBezTo>
                  <a:cubicBezTo>
                    <a:pt x="3453" y="1328"/>
                    <a:pt x="3626" y="1102"/>
                    <a:pt x="3659" y="1037"/>
                  </a:cubicBezTo>
                  <a:cubicBezTo>
                    <a:pt x="3712" y="967"/>
                    <a:pt x="3712" y="881"/>
                    <a:pt x="3642" y="815"/>
                  </a:cubicBezTo>
                  <a:cubicBezTo>
                    <a:pt x="3610" y="778"/>
                    <a:pt x="3556" y="778"/>
                    <a:pt x="3507" y="778"/>
                  </a:cubicBezTo>
                  <a:cubicBezTo>
                    <a:pt x="3463" y="773"/>
                    <a:pt x="3419" y="771"/>
                    <a:pt x="3376" y="771"/>
                  </a:cubicBezTo>
                  <a:cubicBezTo>
                    <a:pt x="3132" y="771"/>
                    <a:pt x="2899" y="841"/>
                    <a:pt x="2669" y="897"/>
                  </a:cubicBezTo>
                  <a:cubicBezTo>
                    <a:pt x="2550" y="918"/>
                    <a:pt x="2447" y="950"/>
                    <a:pt x="2324" y="967"/>
                  </a:cubicBezTo>
                  <a:cubicBezTo>
                    <a:pt x="2189" y="761"/>
                    <a:pt x="2037" y="540"/>
                    <a:pt x="1881" y="318"/>
                  </a:cubicBezTo>
                  <a:cubicBezTo>
                    <a:pt x="1811" y="232"/>
                    <a:pt x="1762" y="129"/>
                    <a:pt x="1659" y="76"/>
                  </a:cubicBezTo>
                  <a:cubicBezTo>
                    <a:pt x="1602" y="32"/>
                    <a:pt x="1522" y="1"/>
                    <a:pt x="1450" y="1"/>
                  </a:cubicBezTo>
                  <a:close/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8" name="Google Shape;538;p25"/>
            <p:cNvSpPr/>
            <p:nvPr/>
          </p:nvSpPr>
          <p:spPr>
            <a:xfrm>
              <a:off x="5049175" y="2811750"/>
              <a:ext cx="92825" cy="89375"/>
            </a:xfrm>
            <a:custGeom>
              <a:avLst/>
              <a:gdLst/>
              <a:ahLst/>
              <a:cxnLst/>
              <a:rect l="l" t="t" r="r" b="b"/>
              <a:pathLst>
                <a:path w="3713" h="3575" extrusionOk="0">
                  <a:moveTo>
                    <a:pt x="1449" y="1"/>
                  </a:moveTo>
                  <a:cubicBezTo>
                    <a:pt x="1413" y="1"/>
                    <a:pt x="1379" y="6"/>
                    <a:pt x="1351" y="17"/>
                  </a:cubicBezTo>
                  <a:cubicBezTo>
                    <a:pt x="1232" y="87"/>
                    <a:pt x="1179" y="222"/>
                    <a:pt x="1146" y="362"/>
                  </a:cubicBezTo>
                  <a:cubicBezTo>
                    <a:pt x="1092" y="633"/>
                    <a:pt x="1060" y="925"/>
                    <a:pt x="1043" y="1216"/>
                  </a:cubicBezTo>
                  <a:cubicBezTo>
                    <a:pt x="821" y="1249"/>
                    <a:pt x="616" y="1286"/>
                    <a:pt x="394" y="1302"/>
                  </a:cubicBezTo>
                  <a:cubicBezTo>
                    <a:pt x="308" y="1319"/>
                    <a:pt x="222" y="1319"/>
                    <a:pt x="136" y="1372"/>
                  </a:cubicBezTo>
                  <a:cubicBezTo>
                    <a:pt x="49" y="1405"/>
                    <a:pt x="0" y="1491"/>
                    <a:pt x="0" y="1577"/>
                  </a:cubicBezTo>
                  <a:cubicBezTo>
                    <a:pt x="0" y="1697"/>
                    <a:pt x="103" y="1762"/>
                    <a:pt x="206" y="1832"/>
                  </a:cubicBezTo>
                  <a:cubicBezTo>
                    <a:pt x="477" y="2005"/>
                    <a:pt x="752" y="2156"/>
                    <a:pt x="1043" y="2296"/>
                  </a:cubicBezTo>
                  <a:cubicBezTo>
                    <a:pt x="1043" y="2432"/>
                    <a:pt x="1060" y="2567"/>
                    <a:pt x="1060" y="2707"/>
                  </a:cubicBezTo>
                  <a:cubicBezTo>
                    <a:pt x="1076" y="2978"/>
                    <a:pt x="1092" y="3236"/>
                    <a:pt x="1179" y="3475"/>
                  </a:cubicBezTo>
                  <a:cubicBezTo>
                    <a:pt x="1179" y="3507"/>
                    <a:pt x="1195" y="3561"/>
                    <a:pt x="1232" y="3561"/>
                  </a:cubicBezTo>
                  <a:cubicBezTo>
                    <a:pt x="1246" y="3570"/>
                    <a:pt x="1261" y="3574"/>
                    <a:pt x="1276" y="3574"/>
                  </a:cubicBezTo>
                  <a:cubicBezTo>
                    <a:pt x="1311" y="3574"/>
                    <a:pt x="1344" y="3551"/>
                    <a:pt x="1368" y="3528"/>
                  </a:cubicBezTo>
                  <a:cubicBezTo>
                    <a:pt x="1659" y="3323"/>
                    <a:pt x="1864" y="3047"/>
                    <a:pt x="2070" y="2756"/>
                  </a:cubicBezTo>
                  <a:cubicBezTo>
                    <a:pt x="2205" y="2809"/>
                    <a:pt x="2361" y="2859"/>
                    <a:pt x="2497" y="2912"/>
                  </a:cubicBezTo>
                  <a:cubicBezTo>
                    <a:pt x="2643" y="2962"/>
                    <a:pt x="2938" y="3105"/>
                    <a:pt x="3157" y="3105"/>
                  </a:cubicBezTo>
                  <a:cubicBezTo>
                    <a:pt x="3295" y="3105"/>
                    <a:pt x="3402" y="3048"/>
                    <a:pt x="3421" y="2875"/>
                  </a:cubicBezTo>
                  <a:cubicBezTo>
                    <a:pt x="3437" y="2670"/>
                    <a:pt x="3248" y="2448"/>
                    <a:pt x="3146" y="2296"/>
                  </a:cubicBezTo>
                  <a:cubicBezTo>
                    <a:pt x="3043" y="2124"/>
                    <a:pt x="2940" y="1951"/>
                    <a:pt x="2838" y="1783"/>
                  </a:cubicBezTo>
                  <a:cubicBezTo>
                    <a:pt x="3453" y="1319"/>
                    <a:pt x="3626" y="1097"/>
                    <a:pt x="3659" y="1027"/>
                  </a:cubicBezTo>
                  <a:cubicBezTo>
                    <a:pt x="3712" y="962"/>
                    <a:pt x="3712" y="875"/>
                    <a:pt x="3642" y="822"/>
                  </a:cubicBezTo>
                  <a:cubicBezTo>
                    <a:pt x="3610" y="773"/>
                    <a:pt x="3556" y="773"/>
                    <a:pt x="3507" y="773"/>
                  </a:cubicBezTo>
                  <a:cubicBezTo>
                    <a:pt x="3476" y="771"/>
                    <a:pt x="3446" y="770"/>
                    <a:pt x="3415" y="770"/>
                  </a:cubicBezTo>
                  <a:cubicBezTo>
                    <a:pt x="3157" y="770"/>
                    <a:pt x="2912" y="829"/>
                    <a:pt x="2669" y="892"/>
                  </a:cubicBezTo>
                  <a:cubicBezTo>
                    <a:pt x="2550" y="925"/>
                    <a:pt x="2447" y="941"/>
                    <a:pt x="2324" y="978"/>
                  </a:cubicBezTo>
                  <a:cubicBezTo>
                    <a:pt x="2189" y="756"/>
                    <a:pt x="2037" y="530"/>
                    <a:pt x="1881" y="325"/>
                  </a:cubicBezTo>
                  <a:cubicBezTo>
                    <a:pt x="1811" y="222"/>
                    <a:pt x="1762" y="140"/>
                    <a:pt x="1659" y="71"/>
                  </a:cubicBezTo>
                  <a:cubicBezTo>
                    <a:pt x="1601" y="24"/>
                    <a:pt x="1521" y="1"/>
                    <a:pt x="144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39" name="Google Shape;539;p25"/>
          <p:cNvGrpSpPr/>
          <p:nvPr/>
        </p:nvGrpSpPr>
        <p:grpSpPr>
          <a:xfrm>
            <a:off x="10792585" y="4822531"/>
            <a:ext cx="439419" cy="443415"/>
            <a:chOff x="4166750" y="2901000"/>
            <a:chExt cx="134725" cy="135950"/>
          </a:xfrm>
        </p:grpSpPr>
        <p:sp>
          <p:nvSpPr>
            <p:cNvPr id="540" name="Google Shape;540;p25"/>
            <p:cNvSpPr/>
            <p:nvPr/>
          </p:nvSpPr>
          <p:spPr>
            <a:xfrm>
              <a:off x="4166750" y="2901025"/>
              <a:ext cx="134725" cy="135850"/>
            </a:xfrm>
            <a:custGeom>
              <a:avLst/>
              <a:gdLst/>
              <a:ahLst/>
              <a:cxnLst/>
              <a:rect l="l" t="t" r="r" b="b"/>
              <a:pathLst>
                <a:path w="5389" h="5434" extrusionOk="0">
                  <a:moveTo>
                    <a:pt x="3355" y="0"/>
                  </a:moveTo>
                  <a:cubicBezTo>
                    <a:pt x="3076" y="0"/>
                    <a:pt x="2453" y="1121"/>
                    <a:pt x="2173" y="1649"/>
                  </a:cubicBezTo>
                  <a:cubicBezTo>
                    <a:pt x="2013" y="1424"/>
                    <a:pt x="1414" y="657"/>
                    <a:pt x="1178" y="657"/>
                  </a:cubicBezTo>
                  <a:cubicBezTo>
                    <a:pt x="1160" y="657"/>
                    <a:pt x="1144" y="662"/>
                    <a:pt x="1130" y="672"/>
                  </a:cubicBezTo>
                  <a:cubicBezTo>
                    <a:pt x="925" y="791"/>
                    <a:pt x="1303" y="1731"/>
                    <a:pt x="1557" y="2195"/>
                  </a:cubicBezTo>
                  <a:cubicBezTo>
                    <a:pt x="1156" y="1979"/>
                    <a:pt x="724" y="1761"/>
                    <a:pt x="265" y="1761"/>
                  </a:cubicBezTo>
                  <a:cubicBezTo>
                    <a:pt x="217" y="1761"/>
                    <a:pt x="169" y="1763"/>
                    <a:pt x="120" y="1768"/>
                  </a:cubicBezTo>
                  <a:cubicBezTo>
                    <a:pt x="87" y="1768"/>
                    <a:pt x="34" y="1784"/>
                    <a:pt x="17" y="1817"/>
                  </a:cubicBezTo>
                  <a:cubicBezTo>
                    <a:pt x="1" y="1854"/>
                    <a:pt x="1" y="1887"/>
                    <a:pt x="17" y="1920"/>
                  </a:cubicBezTo>
                  <a:cubicBezTo>
                    <a:pt x="71" y="2076"/>
                    <a:pt x="206" y="2211"/>
                    <a:pt x="325" y="2331"/>
                  </a:cubicBezTo>
                  <a:cubicBezTo>
                    <a:pt x="650" y="2639"/>
                    <a:pt x="995" y="2930"/>
                    <a:pt x="1352" y="3205"/>
                  </a:cubicBezTo>
                  <a:cubicBezTo>
                    <a:pt x="1011" y="3271"/>
                    <a:pt x="687" y="3394"/>
                    <a:pt x="395" y="3579"/>
                  </a:cubicBezTo>
                  <a:cubicBezTo>
                    <a:pt x="325" y="3616"/>
                    <a:pt x="239" y="3681"/>
                    <a:pt x="239" y="3768"/>
                  </a:cubicBezTo>
                  <a:cubicBezTo>
                    <a:pt x="239" y="3870"/>
                    <a:pt x="395" y="3924"/>
                    <a:pt x="498" y="3940"/>
                  </a:cubicBezTo>
                  <a:cubicBezTo>
                    <a:pt x="838" y="3977"/>
                    <a:pt x="1171" y="3997"/>
                    <a:pt x="1508" y="3997"/>
                  </a:cubicBezTo>
                  <a:cubicBezTo>
                    <a:pt x="1627" y="3997"/>
                    <a:pt x="1745" y="3995"/>
                    <a:pt x="1865" y="3989"/>
                  </a:cubicBezTo>
                  <a:lnTo>
                    <a:pt x="1865" y="3989"/>
                  </a:lnTo>
                  <a:cubicBezTo>
                    <a:pt x="1730" y="4367"/>
                    <a:pt x="1627" y="4761"/>
                    <a:pt x="1524" y="5139"/>
                  </a:cubicBezTo>
                  <a:cubicBezTo>
                    <a:pt x="1508" y="5205"/>
                    <a:pt x="1487" y="5291"/>
                    <a:pt x="1524" y="5344"/>
                  </a:cubicBezTo>
                  <a:cubicBezTo>
                    <a:pt x="1562" y="5407"/>
                    <a:pt x="1631" y="5434"/>
                    <a:pt x="1692" y="5434"/>
                  </a:cubicBezTo>
                  <a:cubicBezTo>
                    <a:pt x="1711" y="5434"/>
                    <a:pt x="1730" y="5431"/>
                    <a:pt x="1746" y="5427"/>
                  </a:cubicBezTo>
                  <a:cubicBezTo>
                    <a:pt x="1832" y="5394"/>
                    <a:pt x="1898" y="5344"/>
                    <a:pt x="1951" y="5275"/>
                  </a:cubicBezTo>
                  <a:cubicBezTo>
                    <a:pt x="2292" y="4967"/>
                    <a:pt x="2600" y="4589"/>
                    <a:pt x="2842" y="4195"/>
                  </a:cubicBezTo>
                  <a:cubicBezTo>
                    <a:pt x="3064" y="4556"/>
                    <a:pt x="3356" y="4880"/>
                    <a:pt x="3680" y="5156"/>
                  </a:cubicBezTo>
                  <a:cubicBezTo>
                    <a:pt x="3772" y="5235"/>
                    <a:pt x="3875" y="5335"/>
                    <a:pt x="3982" y="5335"/>
                  </a:cubicBezTo>
                  <a:cubicBezTo>
                    <a:pt x="4012" y="5335"/>
                    <a:pt x="4043" y="5327"/>
                    <a:pt x="4074" y="5307"/>
                  </a:cubicBezTo>
                  <a:cubicBezTo>
                    <a:pt x="4210" y="5221"/>
                    <a:pt x="3832" y="4215"/>
                    <a:pt x="3627" y="3681"/>
                  </a:cubicBezTo>
                  <a:lnTo>
                    <a:pt x="3627" y="3681"/>
                  </a:lnTo>
                  <a:cubicBezTo>
                    <a:pt x="3972" y="3784"/>
                    <a:pt x="4329" y="3854"/>
                    <a:pt x="4707" y="3924"/>
                  </a:cubicBezTo>
                  <a:cubicBezTo>
                    <a:pt x="4785" y="3931"/>
                    <a:pt x="4911" y="3954"/>
                    <a:pt x="5031" y="3954"/>
                  </a:cubicBezTo>
                  <a:cubicBezTo>
                    <a:pt x="5171" y="3954"/>
                    <a:pt x="5301" y="3924"/>
                    <a:pt x="5339" y="3805"/>
                  </a:cubicBezTo>
                  <a:cubicBezTo>
                    <a:pt x="5388" y="3599"/>
                    <a:pt x="4415" y="2930"/>
                    <a:pt x="4021" y="2606"/>
                  </a:cubicBezTo>
                  <a:cubicBezTo>
                    <a:pt x="4382" y="2298"/>
                    <a:pt x="4690" y="1936"/>
                    <a:pt x="4928" y="1526"/>
                  </a:cubicBezTo>
                  <a:cubicBezTo>
                    <a:pt x="4945" y="1476"/>
                    <a:pt x="4978" y="1423"/>
                    <a:pt x="4961" y="1374"/>
                  </a:cubicBezTo>
                  <a:cubicBezTo>
                    <a:pt x="4951" y="1303"/>
                    <a:pt x="4881" y="1280"/>
                    <a:pt x="4800" y="1280"/>
                  </a:cubicBezTo>
                  <a:cubicBezTo>
                    <a:pt x="4745" y="1280"/>
                    <a:pt x="4685" y="1291"/>
                    <a:pt x="4637" y="1304"/>
                  </a:cubicBezTo>
                  <a:cubicBezTo>
                    <a:pt x="4210" y="1476"/>
                    <a:pt x="3799" y="1628"/>
                    <a:pt x="3372" y="1784"/>
                  </a:cubicBezTo>
                  <a:cubicBezTo>
                    <a:pt x="3475" y="1115"/>
                    <a:pt x="3627" y="109"/>
                    <a:pt x="3388" y="6"/>
                  </a:cubicBezTo>
                  <a:cubicBezTo>
                    <a:pt x="3378" y="2"/>
                    <a:pt x="3367" y="0"/>
                    <a:pt x="3355" y="0"/>
                  </a:cubicBezTo>
                  <a:close/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1" name="Google Shape;541;p25"/>
            <p:cNvSpPr/>
            <p:nvPr/>
          </p:nvSpPr>
          <p:spPr>
            <a:xfrm>
              <a:off x="4166750" y="2901000"/>
              <a:ext cx="134725" cy="135950"/>
            </a:xfrm>
            <a:custGeom>
              <a:avLst/>
              <a:gdLst/>
              <a:ahLst/>
              <a:cxnLst/>
              <a:rect l="l" t="t" r="r" b="b"/>
              <a:pathLst>
                <a:path w="5389" h="5438" extrusionOk="0">
                  <a:moveTo>
                    <a:pt x="3355" y="1"/>
                  </a:moveTo>
                  <a:cubicBezTo>
                    <a:pt x="3076" y="1"/>
                    <a:pt x="2453" y="1126"/>
                    <a:pt x="2173" y="1650"/>
                  </a:cubicBezTo>
                  <a:cubicBezTo>
                    <a:pt x="2013" y="1429"/>
                    <a:pt x="1416" y="661"/>
                    <a:pt x="1179" y="661"/>
                  </a:cubicBezTo>
                  <a:cubicBezTo>
                    <a:pt x="1160" y="661"/>
                    <a:pt x="1144" y="666"/>
                    <a:pt x="1130" y="676"/>
                  </a:cubicBezTo>
                  <a:cubicBezTo>
                    <a:pt x="925" y="796"/>
                    <a:pt x="1303" y="1736"/>
                    <a:pt x="1557" y="2196"/>
                  </a:cubicBezTo>
                  <a:cubicBezTo>
                    <a:pt x="1153" y="1979"/>
                    <a:pt x="719" y="1762"/>
                    <a:pt x="257" y="1762"/>
                  </a:cubicBezTo>
                  <a:cubicBezTo>
                    <a:pt x="212" y="1762"/>
                    <a:pt x="166" y="1764"/>
                    <a:pt x="120" y="1769"/>
                  </a:cubicBezTo>
                  <a:cubicBezTo>
                    <a:pt x="87" y="1769"/>
                    <a:pt x="34" y="1785"/>
                    <a:pt x="17" y="1822"/>
                  </a:cubicBezTo>
                  <a:cubicBezTo>
                    <a:pt x="1" y="1855"/>
                    <a:pt x="1" y="1888"/>
                    <a:pt x="17" y="1925"/>
                  </a:cubicBezTo>
                  <a:cubicBezTo>
                    <a:pt x="71" y="2077"/>
                    <a:pt x="206" y="2216"/>
                    <a:pt x="325" y="2335"/>
                  </a:cubicBezTo>
                  <a:cubicBezTo>
                    <a:pt x="650" y="2643"/>
                    <a:pt x="995" y="2935"/>
                    <a:pt x="1352" y="3206"/>
                  </a:cubicBezTo>
                  <a:cubicBezTo>
                    <a:pt x="1011" y="3276"/>
                    <a:pt x="687" y="3411"/>
                    <a:pt x="395" y="3584"/>
                  </a:cubicBezTo>
                  <a:cubicBezTo>
                    <a:pt x="325" y="3616"/>
                    <a:pt x="239" y="3686"/>
                    <a:pt x="239" y="3772"/>
                  </a:cubicBezTo>
                  <a:cubicBezTo>
                    <a:pt x="239" y="3892"/>
                    <a:pt x="395" y="3924"/>
                    <a:pt x="498" y="3941"/>
                  </a:cubicBezTo>
                  <a:cubicBezTo>
                    <a:pt x="844" y="3981"/>
                    <a:pt x="1184" y="4000"/>
                    <a:pt x="1527" y="4000"/>
                  </a:cubicBezTo>
                  <a:cubicBezTo>
                    <a:pt x="1639" y="4000"/>
                    <a:pt x="1752" y="3998"/>
                    <a:pt x="1865" y="3994"/>
                  </a:cubicBezTo>
                  <a:lnTo>
                    <a:pt x="1865" y="3994"/>
                  </a:lnTo>
                  <a:cubicBezTo>
                    <a:pt x="1730" y="4388"/>
                    <a:pt x="1627" y="4762"/>
                    <a:pt x="1524" y="5140"/>
                  </a:cubicBezTo>
                  <a:cubicBezTo>
                    <a:pt x="1508" y="5226"/>
                    <a:pt x="1487" y="5296"/>
                    <a:pt x="1524" y="5362"/>
                  </a:cubicBezTo>
                  <a:cubicBezTo>
                    <a:pt x="1562" y="5415"/>
                    <a:pt x="1631" y="5437"/>
                    <a:pt x="1693" y="5437"/>
                  </a:cubicBezTo>
                  <a:cubicBezTo>
                    <a:pt x="1712" y="5437"/>
                    <a:pt x="1730" y="5435"/>
                    <a:pt x="1746" y="5431"/>
                  </a:cubicBezTo>
                  <a:cubicBezTo>
                    <a:pt x="1832" y="5415"/>
                    <a:pt x="1898" y="5345"/>
                    <a:pt x="1951" y="5296"/>
                  </a:cubicBezTo>
                  <a:cubicBezTo>
                    <a:pt x="2292" y="4967"/>
                    <a:pt x="2600" y="4610"/>
                    <a:pt x="2842" y="4199"/>
                  </a:cubicBezTo>
                  <a:cubicBezTo>
                    <a:pt x="3064" y="4577"/>
                    <a:pt x="3356" y="4902"/>
                    <a:pt x="3680" y="5173"/>
                  </a:cubicBezTo>
                  <a:cubicBezTo>
                    <a:pt x="3773" y="5240"/>
                    <a:pt x="3875" y="5339"/>
                    <a:pt x="3982" y="5339"/>
                  </a:cubicBezTo>
                  <a:cubicBezTo>
                    <a:pt x="4013" y="5339"/>
                    <a:pt x="4043" y="5331"/>
                    <a:pt x="4074" y="5312"/>
                  </a:cubicBezTo>
                  <a:cubicBezTo>
                    <a:pt x="4210" y="5226"/>
                    <a:pt x="3832" y="4216"/>
                    <a:pt x="3627" y="3686"/>
                  </a:cubicBezTo>
                  <a:lnTo>
                    <a:pt x="3627" y="3686"/>
                  </a:lnTo>
                  <a:cubicBezTo>
                    <a:pt x="3972" y="3789"/>
                    <a:pt x="4329" y="3859"/>
                    <a:pt x="4707" y="3924"/>
                  </a:cubicBezTo>
                  <a:cubicBezTo>
                    <a:pt x="4785" y="3932"/>
                    <a:pt x="4911" y="3955"/>
                    <a:pt x="5031" y="3955"/>
                  </a:cubicBezTo>
                  <a:cubicBezTo>
                    <a:pt x="5171" y="3955"/>
                    <a:pt x="5301" y="3924"/>
                    <a:pt x="5339" y="3805"/>
                  </a:cubicBezTo>
                  <a:cubicBezTo>
                    <a:pt x="5388" y="3600"/>
                    <a:pt x="4415" y="2935"/>
                    <a:pt x="4021" y="2606"/>
                  </a:cubicBezTo>
                  <a:cubicBezTo>
                    <a:pt x="4382" y="2298"/>
                    <a:pt x="4690" y="1941"/>
                    <a:pt x="4928" y="1531"/>
                  </a:cubicBezTo>
                  <a:cubicBezTo>
                    <a:pt x="4945" y="1477"/>
                    <a:pt x="4978" y="1428"/>
                    <a:pt x="4961" y="1374"/>
                  </a:cubicBezTo>
                  <a:cubicBezTo>
                    <a:pt x="4951" y="1305"/>
                    <a:pt x="4883" y="1282"/>
                    <a:pt x="4804" y="1282"/>
                  </a:cubicBezTo>
                  <a:cubicBezTo>
                    <a:pt x="4748" y="1282"/>
                    <a:pt x="4686" y="1293"/>
                    <a:pt x="4637" y="1309"/>
                  </a:cubicBezTo>
                  <a:cubicBezTo>
                    <a:pt x="4210" y="1477"/>
                    <a:pt x="3799" y="1633"/>
                    <a:pt x="3372" y="1785"/>
                  </a:cubicBezTo>
                  <a:cubicBezTo>
                    <a:pt x="3475" y="1120"/>
                    <a:pt x="3627" y="126"/>
                    <a:pt x="3388" y="7"/>
                  </a:cubicBezTo>
                  <a:cubicBezTo>
                    <a:pt x="3378" y="3"/>
                    <a:pt x="3367" y="1"/>
                    <a:pt x="33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42" name="Google Shape;542;p25"/>
          <p:cNvGrpSpPr/>
          <p:nvPr/>
        </p:nvGrpSpPr>
        <p:grpSpPr>
          <a:xfrm>
            <a:off x="10431513" y="1731291"/>
            <a:ext cx="690481" cy="378183"/>
            <a:chOff x="5136825" y="3314325"/>
            <a:chExt cx="211700" cy="115950"/>
          </a:xfrm>
        </p:grpSpPr>
        <p:sp>
          <p:nvSpPr>
            <p:cNvPr id="543" name="Google Shape;543;p25"/>
            <p:cNvSpPr/>
            <p:nvPr/>
          </p:nvSpPr>
          <p:spPr>
            <a:xfrm>
              <a:off x="5138075" y="3314325"/>
              <a:ext cx="210450" cy="115950"/>
            </a:xfrm>
            <a:custGeom>
              <a:avLst/>
              <a:gdLst/>
              <a:ahLst/>
              <a:cxnLst/>
              <a:rect l="l" t="t" r="r" b="b"/>
              <a:pathLst>
                <a:path w="8418" h="4638" extrusionOk="0">
                  <a:moveTo>
                    <a:pt x="4046" y="1"/>
                  </a:moveTo>
                  <a:cubicBezTo>
                    <a:pt x="3342" y="1"/>
                    <a:pt x="2703" y="246"/>
                    <a:pt x="2328" y="683"/>
                  </a:cubicBezTo>
                  <a:cubicBezTo>
                    <a:pt x="2261" y="681"/>
                    <a:pt x="2194" y="680"/>
                    <a:pt x="2129" y="680"/>
                  </a:cubicBezTo>
                  <a:cubicBezTo>
                    <a:pt x="1054" y="680"/>
                    <a:pt x="284" y="934"/>
                    <a:pt x="156" y="1418"/>
                  </a:cubicBezTo>
                  <a:cubicBezTo>
                    <a:pt x="0" y="2034"/>
                    <a:pt x="875" y="2790"/>
                    <a:pt x="2279" y="3389"/>
                  </a:cubicBezTo>
                  <a:lnTo>
                    <a:pt x="2279" y="3730"/>
                  </a:lnTo>
                  <a:cubicBezTo>
                    <a:pt x="2295" y="3833"/>
                    <a:pt x="2361" y="3935"/>
                    <a:pt x="2484" y="3968"/>
                  </a:cubicBezTo>
                  <a:lnTo>
                    <a:pt x="5051" y="4637"/>
                  </a:lnTo>
                  <a:lnTo>
                    <a:pt x="5116" y="4637"/>
                  </a:lnTo>
                  <a:cubicBezTo>
                    <a:pt x="5203" y="4637"/>
                    <a:pt x="5289" y="4584"/>
                    <a:pt x="5338" y="4498"/>
                  </a:cubicBezTo>
                  <a:lnTo>
                    <a:pt x="5511" y="4210"/>
                  </a:lnTo>
                  <a:cubicBezTo>
                    <a:pt x="5802" y="4243"/>
                    <a:pt x="6077" y="4260"/>
                    <a:pt x="6332" y="4260"/>
                  </a:cubicBezTo>
                  <a:cubicBezTo>
                    <a:pt x="6504" y="4260"/>
                    <a:pt x="6673" y="4243"/>
                    <a:pt x="6829" y="4243"/>
                  </a:cubicBezTo>
                  <a:cubicBezTo>
                    <a:pt x="7666" y="4173"/>
                    <a:pt x="8180" y="3919"/>
                    <a:pt x="8299" y="3541"/>
                  </a:cubicBezTo>
                  <a:cubicBezTo>
                    <a:pt x="8299" y="3525"/>
                    <a:pt x="8315" y="3525"/>
                    <a:pt x="8315" y="3508"/>
                  </a:cubicBezTo>
                  <a:cubicBezTo>
                    <a:pt x="8418" y="3114"/>
                    <a:pt x="8077" y="2634"/>
                    <a:pt x="7358" y="2157"/>
                  </a:cubicBezTo>
                  <a:cubicBezTo>
                    <a:pt x="7169" y="2034"/>
                    <a:pt x="6981" y="1931"/>
                    <a:pt x="6759" y="1812"/>
                  </a:cubicBezTo>
                  <a:cubicBezTo>
                    <a:pt x="6590" y="1045"/>
                    <a:pt x="5835" y="359"/>
                    <a:pt x="4845" y="104"/>
                  </a:cubicBezTo>
                  <a:cubicBezTo>
                    <a:pt x="4577" y="34"/>
                    <a:pt x="4307" y="1"/>
                    <a:pt x="4046" y="1"/>
                  </a:cubicBezTo>
                  <a:close/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grpSp>
          <p:nvGrpSpPr>
            <p:cNvPr id="544" name="Google Shape;544;p25"/>
            <p:cNvGrpSpPr/>
            <p:nvPr/>
          </p:nvGrpSpPr>
          <p:grpSpPr>
            <a:xfrm>
              <a:off x="5136825" y="3314400"/>
              <a:ext cx="211700" cy="115875"/>
              <a:chOff x="5136825" y="3314400"/>
              <a:chExt cx="211700" cy="115875"/>
            </a:xfrm>
          </p:grpSpPr>
          <p:sp>
            <p:nvSpPr>
              <p:cNvPr id="545" name="Google Shape;545;p25"/>
              <p:cNvSpPr/>
              <p:nvPr/>
            </p:nvSpPr>
            <p:spPr>
              <a:xfrm>
                <a:off x="5196275" y="3383625"/>
                <a:ext cx="860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3442" h="1810" extrusionOk="0">
                    <a:moveTo>
                      <a:pt x="0" y="1"/>
                    </a:moveTo>
                    <a:lnTo>
                      <a:pt x="17" y="958"/>
                    </a:lnTo>
                    <a:cubicBezTo>
                      <a:pt x="17" y="1044"/>
                      <a:pt x="87" y="1130"/>
                      <a:pt x="173" y="1147"/>
                    </a:cubicBezTo>
                    <a:lnTo>
                      <a:pt x="2739" y="1799"/>
                    </a:lnTo>
                    <a:cubicBezTo>
                      <a:pt x="2757" y="1806"/>
                      <a:pt x="2775" y="1809"/>
                      <a:pt x="2792" y="1809"/>
                    </a:cubicBezTo>
                    <a:cubicBezTo>
                      <a:pt x="2858" y="1809"/>
                      <a:pt x="2919" y="1765"/>
                      <a:pt x="2961" y="1713"/>
                    </a:cubicBezTo>
                    <a:lnTo>
                      <a:pt x="3441" y="892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46" name="Google Shape;546;p25"/>
              <p:cNvSpPr/>
              <p:nvPr/>
            </p:nvSpPr>
            <p:spPr>
              <a:xfrm>
                <a:off x="5216400" y="3389600"/>
                <a:ext cx="42300" cy="34700"/>
              </a:xfrm>
              <a:custGeom>
                <a:avLst/>
                <a:gdLst/>
                <a:ahLst/>
                <a:cxnLst/>
                <a:rect l="l" t="t" r="r" b="b"/>
                <a:pathLst>
                  <a:path w="1692" h="1388" extrusionOk="0">
                    <a:moveTo>
                      <a:pt x="136" y="0"/>
                    </a:moveTo>
                    <a:lnTo>
                      <a:pt x="17" y="924"/>
                    </a:lnTo>
                    <a:cubicBezTo>
                      <a:pt x="0" y="1010"/>
                      <a:pt x="17" y="1080"/>
                      <a:pt x="70" y="1080"/>
                    </a:cubicBezTo>
                    <a:lnTo>
                      <a:pt x="1232" y="1388"/>
                    </a:lnTo>
                    <a:cubicBezTo>
                      <a:pt x="1265" y="1388"/>
                      <a:pt x="1318" y="1355"/>
                      <a:pt x="1351" y="1269"/>
                    </a:cubicBezTo>
                    <a:lnTo>
                      <a:pt x="1692" y="394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47" name="Google Shape;547;p25"/>
              <p:cNvSpPr/>
              <p:nvPr/>
            </p:nvSpPr>
            <p:spPr>
              <a:xfrm>
                <a:off x="5194525" y="3382175"/>
                <a:ext cx="89025" cy="48100"/>
              </a:xfrm>
              <a:custGeom>
                <a:avLst/>
                <a:gdLst/>
                <a:ahLst/>
                <a:cxnLst/>
                <a:rect l="l" t="t" r="r" b="b"/>
                <a:pathLst>
                  <a:path w="3561" h="1924" extrusionOk="0">
                    <a:moveTo>
                      <a:pt x="124" y="145"/>
                    </a:moveTo>
                    <a:lnTo>
                      <a:pt x="3409" y="983"/>
                    </a:lnTo>
                    <a:lnTo>
                      <a:pt x="2977" y="1734"/>
                    </a:lnTo>
                    <a:cubicBezTo>
                      <a:pt x="2950" y="1778"/>
                      <a:pt x="2898" y="1808"/>
                      <a:pt x="2853" y="1808"/>
                    </a:cubicBezTo>
                    <a:cubicBezTo>
                      <a:pt x="2843" y="1808"/>
                      <a:pt x="2834" y="1807"/>
                      <a:pt x="2826" y="1804"/>
                    </a:cubicBezTo>
                    <a:lnTo>
                      <a:pt x="243" y="1139"/>
                    </a:lnTo>
                    <a:cubicBezTo>
                      <a:pt x="189" y="1139"/>
                      <a:pt x="140" y="1069"/>
                      <a:pt x="140" y="1016"/>
                    </a:cubicBezTo>
                    <a:lnTo>
                      <a:pt x="124" y="145"/>
                    </a:lnTo>
                    <a:close/>
                    <a:moveTo>
                      <a:pt x="67" y="0"/>
                    </a:moveTo>
                    <a:cubicBezTo>
                      <a:pt x="52" y="0"/>
                      <a:pt x="37" y="10"/>
                      <a:pt x="37" y="10"/>
                    </a:cubicBezTo>
                    <a:cubicBezTo>
                      <a:pt x="21" y="26"/>
                      <a:pt x="0" y="42"/>
                      <a:pt x="0" y="59"/>
                    </a:cubicBezTo>
                    <a:lnTo>
                      <a:pt x="21" y="1016"/>
                    </a:lnTo>
                    <a:cubicBezTo>
                      <a:pt x="37" y="1139"/>
                      <a:pt x="103" y="1241"/>
                      <a:pt x="226" y="1258"/>
                    </a:cubicBezTo>
                    <a:lnTo>
                      <a:pt x="2793" y="1923"/>
                    </a:lnTo>
                    <a:lnTo>
                      <a:pt x="2858" y="1923"/>
                    </a:lnTo>
                    <a:cubicBezTo>
                      <a:pt x="2945" y="1923"/>
                      <a:pt x="3031" y="1874"/>
                      <a:pt x="3080" y="1804"/>
                    </a:cubicBezTo>
                    <a:lnTo>
                      <a:pt x="3561" y="966"/>
                    </a:lnTo>
                    <a:lnTo>
                      <a:pt x="3561" y="913"/>
                    </a:lnTo>
                    <a:cubicBezTo>
                      <a:pt x="3544" y="897"/>
                      <a:pt x="3544" y="880"/>
                      <a:pt x="3528" y="880"/>
                    </a:cubicBezTo>
                    <a:lnTo>
                      <a:pt x="87" y="10"/>
                    </a:lnTo>
                    <a:cubicBezTo>
                      <a:pt x="81" y="3"/>
                      <a:pt x="74" y="0"/>
                      <a:pt x="6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48" name="Google Shape;548;p25"/>
              <p:cNvSpPr/>
              <p:nvPr/>
            </p:nvSpPr>
            <p:spPr>
              <a:xfrm>
                <a:off x="5138575" y="3332725"/>
                <a:ext cx="208725" cy="86675"/>
              </a:xfrm>
              <a:custGeom>
                <a:avLst/>
                <a:gdLst/>
                <a:ahLst/>
                <a:cxnLst/>
                <a:rect l="l" t="t" r="r" b="b"/>
                <a:pathLst>
                  <a:path w="8349" h="3467" extrusionOk="0">
                    <a:moveTo>
                      <a:pt x="2000" y="0"/>
                    </a:moveTo>
                    <a:cubicBezTo>
                      <a:pt x="1007" y="17"/>
                      <a:pt x="309" y="259"/>
                      <a:pt x="185" y="702"/>
                    </a:cubicBezTo>
                    <a:cubicBezTo>
                      <a:pt x="1" y="1474"/>
                      <a:pt x="1643" y="2550"/>
                      <a:pt x="3865" y="3133"/>
                    </a:cubicBezTo>
                    <a:cubicBezTo>
                      <a:pt x="4750" y="3359"/>
                      <a:pt x="5596" y="3467"/>
                      <a:pt x="6304" y="3467"/>
                    </a:cubicBezTo>
                    <a:cubicBezTo>
                      <a:pt x="7364" y="3467"/>
                      <a:pt x="8116" y="3225"/>
                      <a:pt x="8229" y="2772"/>
                    </a:cubicBezTo>
                    <a:cubicBezTo>
                      <a:pt x="8348" y="2328"/>
                      <a:pt x="7852" y="1782"/>
                      <a:pt x="6981" y="1285"/>
                    </a:cubicBezTo>
                    <a:cubicBezTo>
                      <a:pt x="6345" y="924"/>
                      <a:pt x="5507" y="583"/>
                      <a:pt x="4567" y="345"/>
                    </a:cubicBezTo>
                    <a:cubicBezTo>
                      <a:pt x="3626" y="103"/>
                      <a:pt x="2735" y="0"/>
                      <a:pt x="200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49" name="Google Shape;549;p25"/>
              <p:cNvSpPr/>
              <p:nvPr/>
            </p:nvSpPr>
            <p:spPr>
              <a:xfrm>
                <a:off x="5183025" y="3332725"/>
                <a:ext cx="130500" cy="55250"/>
              </a:xfrm>
              <a:custGeom>
                <a:avLst/>
                <a:gdLst/>
                <a:ahLst/>
                <a:cxnLst/>
                <a:rect l="l" t="t" r="r" b="b"/>
                <a:pathLst>
                  <a:path w="5220" h="2210" extrusionOk="0">
                    <a:moveTo>
                      <a:pt x="222" y="0"/>
                    </a:moveTo>
                    <a:cubicBezTo>
                      <a:pt x="206" y="37"/>
                      <a:pt x="189" y="70"/>
                      <a:pt x="173" y="103"/>
                    </a:cubicBezTo>
                    <a:cubicBezTo>
                      <a:pt x="1" y="394"/>
                      <a:pt x="70" y="756"/>
                      <a:pt x="309" y="994"/>
                    </a:cubicBezTo>
                    <a:cubicBezTo>
                      <a:pt x="617" y="1302"/>
                      <a:pt x="1232" y="1713"/>
                      <a:pt x="2362" y="2004"/>
                    </a:cubicBezTo>
                    <a:cubicBezTo>
                      <a:pt x="2958" y="2156"/>
                      <a:pt x="3443" y="2210"/>
                      <a:pt x="3829" y="2210"/>
                    </a:cubicBezTo>
                    <a:cubicBezTo>
                      <a:pt x="4184" y="2210"/>
                      <a:pt x="4456" y="2164"/>
                      <a:pt x="4653" y="2107"/>
                    </a:cubicBezTo>
                    <a:cubicBezTo>
                      <a:pt x="4977" y="2020"/>
                      <a:pt x="5220" y="1729"/>
                      <a:pt x="5220" y="1388"/>
                    </a:cubicBezTo>
                    <a:cubicBezTo>
                      <a:pt x="5220" y="1351"/>
                      <a:pt x="5220" y="1318"/>
                      <a:pt x="5203" y="1285"/>
                    </a:cubicBezTo>
                    <a:cubicBezTo>
                      <a:pt x="4567" y="924"/>
                      <a:pt x="3729" y="583"/>
                      <a:pt x="2789" y="345"/>
                    </a:cubicBezTo>
                    <a:cubicBezTo>
                      <a:pt x="1848" y="103"/>
                      <a:pt x="957" y="0"/>
                      <a:pt x="22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50" name="Google Shape;550;p25"/>
              <p:cNvSpPr/>
              <p:nvPr/>
            </p:nvSpPr>
            <p:spPr>
              <a:xfrm>
                <a:off x="5136825" y="3331375"/>
                <a:ext cx="211700" cy="89550"/>
              </a:xfrm>
              <a:custGeom>
                <a:avLst/>
                <a:gdLst/>
                <a:ahLst/>
                <a:cxnLst/>
                <a:rect l="l" t="t" r="r" b="b"/>
                <a:pathLst>
                  <a:path w="8468" h="3582" extrusionOk="0">
                    <a:moveTo>
                      <a:pt x="2189" y="124"/>
                    </a:moveTo>
                    <a:cubicBezTo>
                      <a:pt x="2892" y="124"/>
                      <a:pt x="3746" y="227"/>
                      <a:pt x="4620" y="465"/>
                    </a:cubicBezTo>
                    <a:cubicBezTo>
                      <a:pt x="5696" y="740"/>
                      <a:pt x="6657" y="1134"/>
                      <a:pt x="7339" y="1578"/>
                    </a:cubicBezTo>
                    <a:cubicBezTo>
                      <a:pt x="8008" y="2021"/>
                      <a:pt x="8332" y="2469"/>
                      <a:pt x="8246" y="2809"/>
                    </a:cubicBezTo>
                    <a:lnTo>
                      <a:pt x="8246" y="2826"/>
                    </a:lnTo>
                    <a:cubicBezTo>
                      <a:pt x="8165" y="3024"/>
                      <a:pt x="7683" y="3135"/>
                      <a:pt x="6964" y="3135"/>
                    </a:cubicBezTo>
                    <a:cubicBezTo>
                      <a:pt x="6194" y="3135"/>
                      <a:pt x="5152" y="3008"/>
                      <a:pt x="4037" y="2723"/>
                    </a:cubicBezTo>
                    <a:cubicBezTo>
                      <a:pt x="1849" y="2161"/>
                      <a:pt x="206" y="1200"/>
                      <a:pt x="325" y="773"/>
                    </a:cubicBezTo>
                    <a:cubicBezTo>
                      <a:pt x="428" y="346"/>
                      <a:pt x="1163" y="124"/>
                      <a:pt x="2189" y="124"/>
                    </a:cubicBezTo>
                    <a:close/>
                    <a:moveTo>
                      <a:pt x="379" y="1167"/>
                    </a:moveTo>
                    <a:lnTo>
                      <a:pt x="379" y="1167"/>
                    </a:lnTo>
                    <a:cubicBezTo>
                      <a:pt x="871" y="1713"/>
                      <a:pt x="2329" y="2399"/>
                      <a:pt x="4021" y="2842"/>
                    </a:cubicBezTo>
                    <a:cubicBezTo>
                      <a:pt x="5101" y="3117"/>
                      <a:pt x="6144" y="3253"/>
                      <a:pt x="6928" y="3253"/>
                    </a:cubicBezTo>
                    <a:cubicBezTo>
                      <a:pt x="7375" y="3253"/>
                      <a:pt x="7749" y="3220"/>
                      <a:pt x="7991" y="3134"/>
                    </a:cubicBezTo>
                    <a:lnTo>
                      <a:pt x="7991" y="3134"/>
                    </a:lnTo>
                    <a:cubicBezTo>
                      <a:pt x="7749" y="3290"/>
                      <a:pt x="7375" y="3409"/>
                      <a:pt x="6879" y="3442"/>
                    </a:cubicBezTo>
                    <a:cubicBezTo>
                      <a:pt x="6724" y="3455"/>
                      <a:pt x="6562" y="3461"/>
                      <a:pt x="6394" y="3461"/>
                    </a:cubicBezTo>
                    <a:cubicBezTo>
                      <a:pt x="5664" y="3461"/>
                      <a:pt x="4812" y="3341"/>
                      <a:pt x="3935" y="3117"/>
                    </a:cubicBezTo>
                    <a:cubicBezTo>
                      <a:pt x="2157" y="2674"/>
                      <a:pt x="719" y="1853"/>
                      <a:pt x="379" y="1167"/>
                    </a:cubicBezTo>
                    <a:close/>
                    <a:moveTo>
                      <a:pt x="2163" y="1"/>
                    </a:moveTo>
                    <a:cubicBezTo>
                      <a:pt x="1084" y="1"/>
                      <a:pt x="330" y="256"/>
                      <a:pt x="206" y="740"/>
                    </a:cubicBezTo>
                    <a:cubicBezTo>
                      <a:pt x="1" y="1561"/>
                      <a:pt x="1627" y="2658"/>
                      <a:pt x="3918" y="3237"/>
                    </a:cubicBezTo>
                    <a:cubicBezTo>
                      <a:pt x="4793" y="3458"/>
                      <a:pt x="5647" y="3581"/>
                      <a:pt x="6382" y="3581"/>
                    </a:cubicBezTo>
                    <a:cubicBezTo>
                      <a:pt x="6554" y="3581"/>
                      <a:pt x="6723" y="3581"/>
                      <a:pt x="6879" y="3561"/>
                    </a:cubicBezTo>
                    <a:cubicBezTo>
                      <a:pt x="7716" y="3495"/>
                      <a:pt x="8230" y="3237"/>
                      <a:pt x="8349" y="2863"/>
                    </a:cubicBezTo>
                    <a:cubicBezTo>
                      <a:pt x="8349" y="2863"/>
                      <a:pt x="8365" y="2842"/>
                      <a:pt x="8365" y="2826"/>
                    </a:cubicBezTo>
                    <a:cubicBezTo>
                      <a:pt x="8468" y="2432"/>
                      <a:pt x="8127" y="1955"/>
                      <a:pt x="7408" y="1491"/>
                    </a:cubicBezTo>
                    <a:cubicBezTo>
                      <a:pt x="6706" y="1032"/>
                      <a:pt x="5733" y="621"/>
                      <a:pt x="4653" y="346"/>
                    </a:cubicBezTo>
                    <a:cubicBezTo>
                      <a:pt x="3739" y="113"/>
                      <a:pt x="2880" y="1"/>
                      <a:pt x="2163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51" name="Google Shape;551;p25"/>
              <p:cNvSpPr/>
              <p:nvPr/>
            </p:nvSpPr>
            <p:spPr>
              <a:xfrm>
                <a:off x="5190725" y="3315975"/>
                <a:ext cx="115500" cy="65025"/>
              </a:xfrm>
              <a:custGeom>
                <a:avLst/>
                <a:gdLst/>
                <a:ahLst/>
                <a:cxnLst/>
                <a:rect l="l" t="t" r="r" b="b"/>
                <a:pathLst>
                  <a:path w="4620" h="2601" extrusionOk="0">
                    <a:moveTo>
                      <a:pt x="2050" y="1"/>
                    </a:moveTo>
                    <a:cubicBezTo>
                      <a:pt x="2005" y="1"/>
                      <a:pt x="1961" y="2"/>
                      <a:pt x="1918" y="5"/>
                    </a:cubicBezTo>
                    <a:cubicBezTo>
                      <a:pt x="1573" y="5"/>
                      <a:pt x="1249" y="54"/>
                      <a:pt x="957" y="173"/>
                    </a:cubicBezTo>
                    <a:cubicBezTo>
                      <a:pt x="584" y="329"/>
                      <a:pt x="276" y="584"/>
                      <a:pt x="103" y="913"/>
                    </a:cubicBezTo>
                    <a:cubicBezTo>
                      <a:pt x="1" y="1081"/>
                      <a:pt x="33" y="1323"/>
                      <a:pt x="189" y="1459"/>
                    </a:cubicBezTo>
                    <a:cubicBezTo>
                      <a:pt x="460" y="1713"/>
                      <a:pt x="1027" y="2124"/>
                      <a:pt x="2123" y="2399"/>
                    </a:cubicBezTo>
                    <a:cubicBezTo>
                      <a:pt x="2702" y="2551"/>
                      <a:pt x="3166" y="2600"/>
                      <a:pt x="3528" y="2600"/>
                    </a:cubicBezTo>
                    <a:cubicBezTo>
                      <a:pt x="3860" y="2600"/>
                      <a:pt x="4107" y="2559"/>
                      <a:pt x="4279" y="2518"/>
                    </a:cubicBezTo>
                    <a:cubicBezTo>
                      <a:pt x="4484" y="2452"/>
                      <a:pt x="4620" y="2280"/>
                      <a:pt x="4620" y="2058"/>
                    </a:cubicBezTo>
                    <a:cubicBezTo>
                      <a:pt x="4620" y="1220"/>
                      <a:pt x="3848" y="379"/>
                      <a:pt x="2719" y="91"/>
                    </a:cubicBezTo>
                    <a:cubicBezTo>
                      <a:pt x="2494" y="33"/>
                      <a:pt x="2266" y="1"/>
                      <a:pt x="2050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52" name="Google Shape;552;p25"/>
              <p:cNvSpPr/>
              <p:nvPr/>
            </p:nvSpPr>
            <p:spPr>
              <a:xfrm>
                <a:off x="5215050" y="3326900"/>
                <a:ext cx="45825" cy="31850"/>
              </a:xfrm>
              <a:custGeom>
                <a:avLst/>
                <a:gdLst/>
                <a:ahLst/>
                <a:cxnLst/>
                <a:rect l="l" t="t" r="r" b="b"/>
                <a:pathLst>
                  <a:path w="1833" h="1274" extrusionOk="0">
                    <a:moveTo>
                      <a:pt x="1391" y="1"/>
                    </a:moveTo>
                    <a:cubicBezTo>
                      <a:pt x="1104" y="1"/>
                      <a:pt x="749" y="165"/>
                      <a:pt x="567" y="250"/>
                    </a:cubicBezTo>
                    <a:cubicBezTo>
                      <a:pt x="362" y="352"/>
                      <a:pt x="173" y="476"/>
                      <a:pt x="71" y="681"/>
                    </a:cubicBezTo>
                    <a:cubicBezTo>
                      <a:pt x="38" y="730"/>
                      <a:pt x="1" y="783"/>
                      <a:pt x="1" y="849"/>
                    </a:cubicBezTo>
                    <a:cubicBezTo>
                      <a:pt x="1" y="1022"/>
                      <a:pt x="124" y="1174"/>
                      <a:pt x="276" y="1227"/>
                    </a:cubicBezTo>
                    <a:cubicBezTo>
                      <a:pt x="360" y="1261"/>
                      <a:pt x="444" y="1274"/>
                      <a:pt x="525" y="1274"/>
                    </a:cubicBezTo>
                    <a:cubicBezTo>
                      <a:pt x="610" y="1274"/>
                      <a:pt x="693" y="1260"/>
                      <a:pt x="773" y="1243"/>
                    </a:cubicBezTo>
                    <a:cubicBezTo>
                      <a:pt x="1027" y="1174"/>
                      <a:pt x="1270" y="1071"/>
                      <a:pt x="1475" y="919"/>
                    </a:cubicBezTo>
                    <a:cubicBezTo>
                      <a:pt x="1577" y="833"/>
                      <a:pt x="1680" y="747"/>
                      <a:pt x="1746" y="627"/>
                    </a:cubicBezTo>
                    <a:cubicBezTo>
                      <a:pt x="1816" y="508"/>
                      <a:pt x="1832" y="352"/>
                      <a:pt x="1783" y="233"/>
                    </a:cubicBezTo>
                    <a:cubicBezTo>
                      <a:pt x="1712" y="60"/>
                      <a:pt x="1564" y="1"/>
                      <a:pt x="1391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53" name="Google Shape;553;p25"/>
              <p:cNvSpPr/>
              <p:nvPr/>
            </p:nvSpPr>
            <p:spPr>
              <a:xfrm>
                <a:off x="5188975" y="3314400"/>
                <a:ext cx="119000" cy="68025"/>
              </a:xfrm>
              <a:custGeom>
                <a:avLst/>
                <a:gdLst/>
                <a:ahLst/>
                <a:cxnLst/>
                <a:rect l="l" t="t" r="r" b="b"/>
                <a:pathLst>
                  <a:path w="4760" h="2721" extrusionOk="0">
                    <a:moveTo>
                      <a:pt x="2021" y="117"/>
                    </a:moveTo>
                    <a:cubicBezTo>
                      <a:pt x="2259" y="117"/>
                      <a:pt x="2518" y="154"/>
                      <a:pt x="2772" y="220"/>
                    </a:cubicBezTo>
                    <a:cubicBezTo>
                      <a:pt x="3852" y="495"/>
                      <a:pt x="4637" y="1300"/>
                      <a:pt x="4637" y="2121"/>
                    </a:cubicBezTo>
                    <a:cubicBezTo>
                      <a:pt x="4637" y="2310"/>
                      <a:pt x="4518" y="2462"/>
                      <a:pt x="4329" y="2515"/>
                    </a:cubicBezTo>
                    <a:cubicBezTo>
                      <a:pt x="4151" y="2564"/>
                      <a:pt x="3907" y="2604"/>
                      <a:pt x="3585" y="2604"/>
                    </a:cubicBezTo>
                    <a:cubicBezTo>
                      <a:pt x="3228" y="2604"/>
                      <a:pt x="2775" y="2555"/>
                      <a:pt x="2210" y="2413"/>
                    </a:cubicBezTo>
                    <a:cubicBezTo>
                      <a:pt x="1146" y="2138"/>
                      <a:pt x="584" y="1760"/>
                      <a:pt x="292" y="1489"/>
                    </a:cubicBezTo>
                    <a:cubicBezTo>
                      <a:pt x="173" y="1349"/>
                      <a:pt x="140" y="1160"/>
                      <a:pt x="222" y="992"/>
                    </a:cubicBezTo>
                    <a:cubicBezTo>
                      <a:pt x="530" y="442"/>
                      <a:pt x="1216" y="117"/>
                      <a:pt x="2021" y="117"/>
                    </a:cubicBezTo>
                    <a:close/>
                    <a:moveTo>
                      <a:pt x="2027" y="0"/>
                    </a:moveTo>
                    <a:cubicBezTo>
                      <a:pt x="1191" y="0"/>
                      <a:pt x="450" y="350"/>
                      <a:pt x="120" y="939"/>
                    </a:cubicBezTo>
                    <a:cubicBezTo>
                      <a:pt x="1" y="1144"/>
                      <a:pt x="54" y="1403"/>
                      <a:pt x="222" y="1571"/>
                    </a:cubicBezTo>
                    <a:cubicBezTo>
                      <a:pt x="514" y="1846"/>
                      <a:pt x="1097" y="2240"/>
                      <a:pt x="2173" y="2532"/>
                    </a:cubicBezTo>
                    <a:cubicBezTo>
                      <a:pt x="2756" y="2667"/>
                      <a:pt x="3220" y="2721"/>
                      <a:pt x="3594" y="2721"/>
                    </a:cubicBezTo>
                    <a:cubicBezTo>
                      <a:pt x="3918" y="2721"/>
                      <a:pt x="4177" y="2684"/>
                      <a:pt x="4366" y="2634"/>
                    </a:cubicBezTo>
                    <a:cubicBezTo>
                      <a:pt x="4604" y="2565"/>
                      <a:pt x="4760" y="2359"/>
                      <a:pt x="4760" y="2121"/>
                    </a:cubicBezTo>
                    <a:cubicBezTo>
                      <a:pt x="4760" y="1247"/>
                      <a:pt x="3939" y="392"/>
                      <a:pt x="2809" y="101"/>
                    </a:cubicBezTo>
                    <a:cubicBezTo>
                      <a:pt x="2546" y="33"/>
                      <a:pt x="2282" y="0"/>
                      <a:pt x="202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54" name="Google Shape;554;p25"/>
              <p:cNvSpPr/>
              <p:nvPr/>
            </p:nvSpPr>
            <p:spPr>
              <a:xfrm>
                <a:off x="5200575" y="3324975"/>
                <a:ext cx="57300" cy="20200"/>
              </a:xfrm>
              <a:custGeom>
                <a:avLst/>
                <a:gdLst/>
                <a:ahLst/>
                <a:cxnLst/>
                <a:rect l="l" t="t" r="r" b="b"/>
                <a:pathLst>
                  <a:path w="2292" h="808" extrusionOk="0">
                    <a:moveTo>
                      <a:pt x="1544" y="0"/>
                    </a:moveTo>
                    <a:cubicBezTo>
                      <a:pt x="866" y="0"/>
                      <a:pt x="273" y="259"/>
                      <a:pt x="17" y="721"/>
                    </a:cubicBezTo>
                    <a:cubicBezTo>
                      <a:pt x="1" y="737"/>
                      <a:pt x="17" y="774"/>
                      <a:pt x="50" y="791"/>
                    </a:cubicBezTo>
                    <a:cubicBezTo>
                      <a:pt x="50" y="807"/>
                      <a:pt x="66" y="807"/>
                      <a:pt x="66" y="807"/>
                    </a:cubicBezTo>
                    <a:cubicBezTo>
                      <a:pt x="87" y="807"/>
                      <a:pt x="120" y="791"/>
                      <a:pt x="120" y="774"/>
                    </a:cubicBezTo>
                    <a:cubicBezTo>
                      <a:pt x="351" y="349"/>
                      <a:pt x="910" y="109"/>
                      <a:pt x="1549" y="109"/>
                    </a:cubicBezTo>
                    <a:cubicBezTo>
                      <a:pt x="1762" y="109"/>
                      <a:pt x="1984" y="136"/>
                      <a:pt x="2206" y="191"/>
                    </a:cubicBezTo>
                    <a:cubicBezTo>
                      <a:pt x="2216" y="196"/>
                      <a:pt x="2225" y="198"/>
                      <a:pt x="2234" y="198"/>
                    </a:cubicBezTo>
                    <a:cubicBezTo>
                      <a:pt x="2258" y="198"/>
                      <a:pt x="2276" y="182"/>
                      <a:pt x="2276" y="158"/>
                    </a:cubicBezTo>
                    <a:cubicBezTo>
                      <a:pt x="2292" y="121"/>
                      <a:pt x="2276" y="89"/>
                      <a:pt x="2243" y="89"/>
                    </a:cubicBezTo>
                    <a:cubicBezTo>
                      <a:pt x="2007" y="29"/>
                      <a:pt x="1771" y="0"/>
                      <a:pt x="154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55" name="Google Shape;555;p25"/>
              <p:cNvSpPr/>
              <p:nvPr/>
            </p:nvSpPr>
            <p:spPr>
              <a:xfrm>
                <a:off x="5201000" y="3372350"/>
                <a:ext cx="15000" cy="11775"/>
              </a:xfrm>
              <a:custGeom>
                <a:avLst/>
                <a:gdLst/>
                <a:ahLst/>
                <a:cxnLst/>
                <a:rect l="l" t="t" r="r" b="b"/>
                <a:pathLst>
                  <a:path w="600" h="471" extrusionOk="0">
                    <a:moveTo>
                      <a:pt x="265" y="1"/>
                    </a:moveTo>
                    <a:cubicBezTo>
                      <a:pt x="170" y="1"/>
                      <a:pt x="86" y="40"/>
                      <a:pt x="49" y="111"/>
                    </a:cubicBezTo>
                    <a:cubicBezTo>
                      <a:pt x="0" y="230"/>
                      <a:pt x="70" y="366"/>
                      <a:pt x="205" y="435"/>
                    </a:cubicBezTo>
                    <a:cubicBezTo>
                      <a:pt x="252" y="459"/>
                      <a:pt x="300" y="471"/>
                      <a:pt x="346" y="471"/>
                    </a:cubicBezTo>
                    <a:cubicBezTo>
                      <a:pt x="435" y="471"/>
                      <a:pt x="514" y="428"/>
                      <a:pt x="546" y="349"/>
                    </a:cubicBezTo>
                    <a:cubicBezTo>
                      <a:pt x="600" y="247"/>
                      <a:pt x="530" y="95"/>
                      <a:pt x="394" y="25"/>
                    </a:cubicBezTo>
                    <a:cubicBezTo>
                      <a:pt x="351" y="8"/>
                      <a:pt x="307" y="1"/>
                      <a:pt x="265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56" name="Google Shape;556;p25"/>
              <p:cNvSpPr/>
              <p:nvPr/>
            </p:nvSpPr>
            <p:spPr>
              <a:xfrm>
                <a:off x="5204800" y="3374350"/>
                <a:ext cx="5150" cy="5000"/>
              </a:xfrm>
              <a:custGeom>
                <a:avLst/>
                <a:gdLst/>
                <a:ahLst/>
                <a:cxnLst/>
                <a:rect l="l" t="t" r="r" b="b"/>
                <a:pathLst>
                  <a:path w="206" h="200" extrusionOk="0">
                    <a:moveTo>
                      <a:pt x="108" y="0"/>
                    </a:moveTo>
                    <a:cubicBezTo>
                      <a:pt x="63" y="0"/>
                      <a:pt x="15" y="33"/>
                      <a:pt x="0" y="80"/>
                    </a:cubicBezTo>
                    <a:cubicBezTo>
                      <a:pt x="0" y="117"/>
                      <a:pt x="0" y="150"/>
                      <a:pt x="37" y="183"/>
                    </a:cubicBezTo>
                    <a:cubicBezTo>
                      <a:pt x="53" y="183"/>
                      <a:pt x="70" y="183"/>
                      <a:pt x="70" y="199"/>
                    </a:cubicBezTo>
                    <a:cubicBezTo>
                      <a:pt x="103" y="199"/>
                      <a:pt x="140" y="199"/>
                      <a:pt x="156" y="183"/>
                    </a:cubicBezTo>
                    <a:cubicBezTo>
                      <a:pt x="189" y="167"/>
                      <a:pt x="189" y="134"/>
                      <a:pt x="189" y="117"/>
                    </a:cubicBezTo>
                    <a:cubicBezTo>
                      <a:pt x="205" y="80"/>
                      <a:pt x="189" y="48"/>
                      <a:pt x="156" y="15"/>
                    </a:cubicBezTo>
                    <a:cubicBezTo>
                      <a:pt x="142" y="5"/>
                      <a:pt x="125" y="0"/>
                      <a:pt x="108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57" name="Google Shape;557;p25"/>
              <p:cNvSpPr/>
              <p:nvPr/>
            </p:nvSpPr>
            <p:spPr>
              <a:xfrm>
                <a:off x="5200175" y="3370775"/>
                <a:ext cx="16650" cy="14625"/>
              </a:xfrm>
              <a:custGeom>
                <a:avLst/>
                <a:gdLst/>
                <a:ahLst/>
                <a:cxnLst/>
                <a:rect l="l" t="t" r="r" b="b"/>
                <a:pathLst>
                  <a:path w="666" h="585" extrusionOk="0">
                    <a:moveTo>
                      <a:pt x="288" y="121"/>
                    </a:moveTo>
                    <a:cubicBezTo>
                      <a:pt x="341" y="121"/>
                      <a:pt x="374" y="121"/>
                      <a:pt x="411" y="137"/>
                    </a:cubicBezTo>
                    <a:cubicBezTo>
                      <a:pt x="460" y="174"/>
                      <a:pt x="514" y="207"/>
                      <a:pt x="530" y="260"/>
                    </a:cubicBezTo>
                    <a:cubicBezTo>
                      <a:pt x="546" y="310"/>
                      <a:pt x="546" y="342"/>
                      <a:pt x="530" y="396"/>
                    </a:cubicBezTo>
                    <a:cubicBezTo>
                      <a:pt x="506" y="442"/>
                      <a:pt x="446" y="472"/>
                      <a:pt x="379" y="472"/>
                    </a:cubicBezTo>
                    <a:cubicBezTo>
                      <a:pt x="344" y="472"/>
                      <a:pt x="307" y="463"/>
                      <a:pt x="271" y="445"/>
                    </a:cubicBezTo>
                    <a:cubicBezTo>
                      <a:pt x="206" y="412"/>
                      <a:pt x="169" y="379"/>
                      <a:pt x="152" y="326"/>
                    </a:cubicBezTo>
                    <a:cubicBezTo>
                      <a:pt x="119" y="277"/>
                      <a:pt x="119" y="240"/>
                      <a:pt x="136" y="207"/>
                    </a:cubicBezTo>
                    <a:cubicBezTo>
                      <a:pt x="152" y="158"/>
                      <a:pt x="206" y="137"/>
                      <a:pt x="238" y="121"/>
                    </a:cubicBezTo>
                    <a:close/>
                    <a:moveTo>
                      <a:pt x="305" y="0"/>
                    </a:moveTo>
                    <a:cubicBezTo>
                      <a:pt x="275" y="0"/>
                      <a:pt x="247" y="6"/>
                      <a:pt x="222" y="18"/>
                    </a:cubicBezTo>
                    <a:cubicBezTo>
                      <a:pt x="136" y="34"/>
                      <a:pt x="66" y="88"/>
                      <a:pt x="33" y="158"/>
                    </a:cubicBezTo>
                    <a:cubicBezTo>
                      <a:pt x="0" y="223"/>
                      <a:pt x="0" y="293"/>
                      <a:pt x="33" y="379"/>
                    </a:cubicBezTo>
                    <a:cubicBezTo>
                      <a:pt x="66" y="445"/>
                      <a:pt x="136" y="515"/>
                      <a:pt x="222" y="548"/>
                    </a:cubicBezTo>
                    <a:cubicBezTo>
                      <a:pt x="271" y="585"/>
                      <a:pt x="325" y="585"/>
                      <a:pt x="374" y="585"/>
                    </a:cubicBezTo>
                    <a:cubicBezTo>
                      <a:pt x="493" y="585"/>
                      <a:pt x="596" y="531"/>
                      <a:pt x="633" y="445"/>
                    </a:cubicBezTo>
                    <a:cubicBezTo>
                      <a:pt x="666" y="363"/>
                      <a:pt x="666" y="293"/>
                      <a:pt x="633" y="207"/>
                    </a:cubicBezTo>
                    <a:cubicBezTo>
                      <a:pt x="596" y="137"/>
                      <a:pt x="546" y="71"/>
                      <a:pt x="460" y="34"/>
                    </a:cubicBezTo>
                    <a:cubicBezTo>
                      <a:pt x="407" y="14"/>
                      <a:pt x="354" y="0"/>
                      <a:pt x="30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58" name="Google Shape;558;p25"/>
              <p:cNvSpPr/>
              <p:nvPr/>
            </p:nvSpPr>
            <p:spPr>
              <a:xfrm>
                <a:off x="5266900" y="3389175"/>
                <a:ext cx="14075" cy="11250"/>
              </a:xfrm>
              <a:custGeom>
                <a:avLst/>
                <a:gdLst/>
                <a:ahLst/>
                <a:cxnLst/>
                <a:rect l="l" t="t" r="r" b="b"/>
                <a:pathLst>
                  <a:path w="563" h="450" extrusionOk="0">
                    <a:moveTo>
                      <a:pt x="288" y="1"/>
                    </a:moveTo>
                    <a:cubicBezTo>
                      <a:pt x="136" y="1"/>
                      <a:pt x="17" y="87"/>
                      <a:pt x="0" y="206"/>
                    </a:cubicBezTo>
                    <a:cubicBezTo>
                      <a:pt x="0" y="346"/>
                      <a:pt x="119" y="448"/>
                      <a:pt x="271" y="448"/>
                    </a:cubicBezTo>
                    <a:cubicBezTo>
                      <a:pt x="282" y="449"/>
                      <a:pt x="293" y="450"/>
                      <a:pt x="304" y="450"/>
                    </a:cubicBezTo>
                    <a:cubicBezTo>
                      <a:pt x="444" y="450"/>
                      <a:pt x="546" y="353"/>
                      <a:pt x="546" y="243"/>
                    </a:cubicBezTo>
                    <a:cubicBezTo>
                      <a:pt x="563" y="120"/>
                      <a:pt x="444" y="17"/>
                      <a:pt x="288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59" name="Google Shape;559;p25"/>
              <p:cNvSpPr/>
              <p:nvPr/>
            </p:nvSpPr>
            <p:spPr>
              <a:xfrm>
                <a:off x="5269450" y="3392025"/>
                <a:ext cx="5175" cy="4875"/>
              </a:xfrm>
              <a:custGeom>
                <a:avLst/>
                <a:gdLst/>
                <a:ahLst/>
                <a:cxnLst/>
                <a:rect l="l" t="t" r="r" b="b"/>
                <a:pathLst>
                  <a:path w="207" h="195" extrusionOk="0">
                    <a:moveTo>
                      <a:pt x="109" y="0"/>
                    </a:moveTo>
                    <a:cubicBezTo>
                      <a:pt x="63" y="0"/>
                      <a:pt x="17" y="34"/>
                      <a:pt x="17" y="92"/>
                    </a:cubicBezTo>
                    <a:cubicBezTo>
                      <a:pt x="1" y="129"/>
                      <a:pt x="17" y="162"/>
                      <a:pt x="50" y="178"/>
                    </a:cubicBezTo>
                    <a:cubicBezTo>
                      <a:pt x="67" y="178"/>
                      <a:pt x="67" y="195"/>
                      <a:pt x="83" y="195"/>
                    </a:cubicBezTo>
                    <a:cubicBezTo>
                      <a:pt x="120" y="195"/>
                      <a:pt x="153" y="195"/>
                      <a:pt x="169" y="178"/>
                    </a:cubicBezTo>
                    <a:cubicBezTo>
                      <a:pt x="206" y="162"/>
                      <a:pt x="206" y="145"/>
                      <a:pt x="206" y="108"/>
                    </a:cubicBezTo>
                    <a:cubicBezTo>
                      <a:pt x="206" y="76"/>
                      <a:pt x="206" y="43"/>
                      <a:pt x="169" y="26"/>
                    </a:cubicBezTo>
                    <a:cubicBezTo>
                      <a:pt x="153" y="9"/>
                      <a:pt x="131" y="0"/>
                      <a:pt x="109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60" name="Google Shape;560;p25"/>
              <p:cNvSpPr/>
              <p:nvPr/>
            </p:nvSpPr>
            <p:spPr>
              <a:xfrm>
                <a:off x="5265150" y="3387950"/>
                <a:ext cx="17175" cy="14075"/>
              </a:xfrm>
              <a:custGeom>
                <a:avLst/>
                <a:gdLst/>
                <a:ahLst/>
                <a:cxnLst/>
                <a:rect l="l" t="t" r="r" b="b"/>
                <a:pathLst>
                  <a:path w="687" h="563" extrusionOk="0">
                    <a:moveTo>
                      <a:pt x="358" y="119"/>
                    </a:moveTo>
                    <a:cubicBezTo>
                      <a:pt x="411" y="119"/>
                      <a:pt x="481" y="136"/>
                      <a:pt x="514" y="169"/>
                    </a:cubicBezTo>
                    <a:cubicBezTo>
                      <a:pt x="547" y="206"/>
                      <a:pt x="563" y="255"/>
                      <a:pt x="563" y="292"/>
                    </a:cubicBezTo>
                    <a:cubicBezTo>
                      <a:pt x="563" y="374"/>
                      <a:pt x="460" y="444"/>
                      <a:pt x="341" y="444"/>
                    </a:cubicBezTo>
                    <a:cubicBezTo>
                      <a:pt x="222" y="427"/>
                      <a:pt x="136" y="358"/>
                      <a:pt x="136" y="271"/>
                    </a:cubicBezTo>
                    <a:cubicBezTo>
                      <a:pt x="136" y="222"/>
                      <a:pt x="152" y="189"/>
                      <a:pt x="206" y="152"/>
                    </a:cubicBezTo>
                    <a:cubicBezTo>
                      <a:pt x="239" y="136"/>
                      <a:pt x="292" y="119"/>
                      <a:pt x="341" y="119"/>
                    </a:cubicBezTo>
                    <a:close/>
                    <a:moveTo>
                      <a:pt x="358" y="0"/>
                    </a:moveTo>
                    <a:cubicBezTo>
                      <a:pt x="276" y="0"/>
                      <a:pt x="189" y="17"/>
                      <a:pt x="136" y="66"/>
                    </a:cubicBezTo>
                    <a:cubicBezTo>
                      <a:pt x="50" y="119"/>
                      <a:pt x="17" y="189"/>
                      <a:pt x="17" y="255"/>
                    </a:cubicBezTo>
                    <a:cubicBezTo>
                      <a:pt x="1" y="411"/>
                      <a:pt x="152" y="546"/>
                      <a:pt x="341" y="563"/>
                    </a:cubicBezTo>
                    <a:lnTo>
                      <a:pt x="358" y="563"/>
                    </a:lnTo>
                    <a:cubicBezTo>
                      <a:pt x="530" y="563"/>
                      <a:pt x="666" y="444"/>
                      <a:pt x="686" y="292"/>
                    </a:cubicBezTo>
                    <a:cubicBezTo>
                      <a:pt x="686" y="222"/>
                      <a:pt x="649" y="136"/>
                      <a:pt x="600" y="87"/>
                    </a:cubicBezTo>
                    <a:cubicBezTo>
                      <a:pt x="530" y="33"/>
                      <a:pt x="444" y="0"/>
                      <a:pt x="35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61" name="Google Shape;561;p25"/>
              <p:cNvSpPr/>
              <p:nvPr/>
            </p:nvSpPr>
            <p:spPr>
              <a:xfrm>
                <a:off x="5313500" y="3383075"/>
                <a:ext cx="15000" cy="11625"/>
              </a:xfrm>
              <a:custGeom>
                <a:avLst/>
                <a:gdLst/>
                <a:ahLst/>
                <a:cxnLst/>
                <a:rect l="l" t="t" r="r" b="b"/>
                <a:pathLst>
                  <a:path w="600" h="465" extrusionOk="0">
                    <a:moveTo>
                      <a:pt x="339" y="1"/>
                    </a:moveTo>
                    <a:cubicBezTo>
                      <a:pt x="297" y="1"/>
                      <a:pt x="251" y="8"/>
                      <a:pt x="206" y="23"/>
                    </a:cubicBezTo>
                    <a:cubicBezTo>
                      <a:pt x="66" y="93"/>
                      <a:pt x="1" y="228"/>
                      <a:pt x="50" y="331"/>
                    </a:cubicBezTo>
                    <a:cubicBezTo>
                      <a:pt x="75" y="414"/>
                      <a:pt x="157" y="465"/>
                      <a:pt x="249" y="465"/>
                    </a:cubicBezTo>
                    <a:cubicBezTo>
                      <a:pt x="290" y="465"/>
                      <a:pt x="333" y="455"/>
                      <a:pt x="374" y="434"/>
                    </a:cubicBezTo>
                    <a:cubicBezTo>
                      <a:pt x="530" y="384"/>
                      <a:pt x="600" y="245"/>
                      <a:pt x="547" y="126"/>
                    </a:cubicBezTo>
                    <a:cubicBezTo>
                      <a:pt x="524" y="42"/>
                      <a:pt x="440" y="1"/>
                      <a:pt x="339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62" name="Google Shape;562;p25"/>
              <p:cNvSpPr/>
              <p:nvPr/>
            </p:nvSpPr>
            <p:spPr>
              <a:xfrm>
                <a:off x="5316900" y="3387000"/>
                <a:ext cx="5150" cy="5075"/>
              </a:xfrm>
              <a:custGeom>
                <a:avLst/>
                <a:gdLst/>
                <a:ahLst/>
                <a:cxnLst/>
                <a:rect l="l" t="t" r="r" b="b"/>
                <a:pathLst>
                  <a:path w="206" h="203" extrusionOk="0">
                    <a:moveTo>
                      <a:pt x="111" y="0"/>
                    </a:moveTo>
                    <a:cubicBezTo>
                      <a:pt x="59" y="0"/>
                      <a:pt x="12" y="41"/>
                      <a:pt x="0" y="88"/>
                    </a:cubicBezTo>
                    <a:cubicBezTo>
                      <a:pt x="0" y="125"/>
                      <a:pt x="16" y="157"/>
                      <a:pt x="53" y="174"/>
                    </a:cubicBezTo>
                    <a:cubicBezTo>
                      <a:pt x="53" y="190"/>
                      <a:pt x="70" y="190"/>
                      <a:pt x="86" y="190"/>
                    </a:cubicBezTo>
                    <a:cubicBezTo>
                      <a:pt x="103" y="198"/>
                      <a:pt x="120" y="203"/>
                      <a:pt x="136" y="203"/>
                    </a:cubicBezTo>
                    <a:cubicBezTo>
                      <a:pt x="151" y="203"/>
                      <a:pt x="164" y="198"/>
                      <a:pt x="172" y="190"/>
                    </a:cubicBezTo>
                    <a:cubicBezTo>
                      <a:pt x="189" y="174"/>
                      <a:pt x="205" y="141"/>
                      <a:pt x="205" y="104"/>
                    </a:cubicBezTo>
                    <a:cubicBezTo>
                      <a:pt x="205" y="71"/>
                      <a:pt x="189" y="38"/>
                      <a:pt x="172" y="22"/>
                    </a:cubicBezTo>
                    <a:cubicBezTo>
                      <a:pt x="152" y="7"/>
                      <a:pt x="131" y="0"/>
                      <a:pt x="111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63" name="Google Shape;563;p25"/>
              <p:cNvSpPr/>
              <p:nvPr/>
            </p:nvSpPr>
            <p:spPr>
              <a:xfrm>
                <a:off x="5312575" y="3381625"/>
                <a:ext cx="17575" cy="14450"/>
              </a:xfrm>
              <a:custGeom>
                <a:avLst/>
                <a:gdLst/>
                <a:ahLst/>
                <a:cxnLst/>
                <a:rect l="l" t="t" r="r" b="b"/>
                <a:pathLst>
                  <a:path w="703" h="578" extrusionOk="0">
                    <a:moveTo>
                      <a:pt x="378" y="114"/>
                    </a:moveTo>
                    <a:cubicBezTo>
                      <a:pt x="395" y="114"/>
                      <a:pt x="411" y="114"/>
                      <a:pt x="432" y="134"/>
                    </a:cubicBezTo>
                    <a:cubicBezTo>
                      <a:pt x="481" y="151"/>
                      <a:pt x="514" y="167"/>
                      <a:pt x="534" y="200"/>
                    </a:cubicBezTo>
                    <a:cubicBezTo>
                      <a:pt x="567" y="286"/>
                      <a:pt x="514" y="389"/>
                      <a:pt x="395" y="442"/>
                    </a:cubicBezTo>
                    <a:cubicBezTo>
                      <a:pt x="360" y="454"/>
                      <a:pt x="315" y="465"/>
                      <a:pt x="274" y="465"/>
                    </a:cubicBezTo>
                    <a:cubicBezTo>
                      <a:pt x="257" y="465"/>
                      <a:pt x="241" y="463"/>
                      <a:pt x="226" y="459"/>
                    </a:cubicBezTo>
                    <a:cubicBezTo>
                      <a:pt x="189" y="442"/>
                      <a:pt x="157" y="405"/>
                      <a:pt x="140" y="372"/>
                    </a:cubicBezTo>
                    <a:cubicBezTo>
                      <a:pt x="124" y="340"/>
                      <a:pt x="124" y="286"/>
                      <a:pt x="140" y="253"/>
                    </a:cubicBezTo>
                    <a:cubicBezTo>
                      <a:pt x="173" y="200"/>
                      <a:pt x="226" y="167"/>
                      <a:pt x="276" y="134"/>
                    </a:cubicBezTo>
                    <a:cubicBezTo>
                      <a:pt x="309" y="134"/>
                      <a:pt x="345" y="114"/>
                      <a:pt x="378" y="114"/>
                    </a:cubicBezTo>
                    <a:close/>
                    <a:moveTo>
                      <a:pt x="374" y="1"/>
                    </a:moveTo>
                    <a:cubicBezTo>
                      <a:pt x="326" y="1"/>
                      <a:pt x="276" y="9"/>
                      <a:pt x="226" y="32"/>
                    </a:cubicBezTo>
                    <a:cubicBezTo>
                      <a:pt x="140" y="64"/>
                      <a:pt x="87" y="114"/>
                      <a:pt x="38" y="184"/>
                    </a:cubicBezTo>
                    <a:cubicBezTo>
                      <a:pt x="1" y="270"/>
                      <a:pt x="1" y="356"/>
                      <a:pt x="21" y="422"/>
                    </a:cubicBezTo>
                    <a:cubicBezTo>
                      <a:pt x="54" y="492"/>
                      <a:pt x="124" y="545"/>
                      <a:pt x="206" y="561"/>
                    </a:cubicBezTo>
                    <a:cubicBezTo>
                      <a:pt x="226" y="578"/>
                      <a:pt x="259" y="578"/>
                      <a:pt x="292" y="578"/>
                    </a:cubicBezTo>
                    <a:cubicBezTo>
                      <a:pt x="345" y="578"/>
                      <a:pt x="395" y="578"/>
                      <a:pt x="448" y="561"/>
                    </a:cubicBezTo>
                    <a:cubicBezTo>
                      <a:pt x="616" y="475"/>
                      <a:pt x="703" y="303"/>
                      <a:pt x="653" y="167"/>
                    </a:cubicBezTo>
                    <a:cubicBezTo>
                      <a:pt x="616" y="97"/>
                      <a:pt x="551" y="32"/>
                      <a:pt x="465" y="11"/>
                    </a:cubicBezTo>
                    <a:cubicBezTo>
                      <a:pt x="437" y="5"/>
                      <a:pt x="406" y="1"/>
                      <a:pt x="374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  <p:grpSp>
        <p:nvGrpSpPr>
          <p:cNvPr id="564" name="Google Shape;564;p25"/>
          <p:cNvGrpSpPr/>
          <p:nvPr/>
        </p:nvGrpSpPr>
        <p:grpSpPr>
          <a:xfrm rot="498883">
            <a:off x="9240419" y="4398991"/>
            <a:ext cx="1380151" cy="1714068"/>
            <a:chOff x="242025" y="2397350"/>
            <a:chExt cx="283125" cy="351625"/>
          </a:xfrm>
        </p:grpSpPr>
        <p:sp>
          <p:nvSpPr>
            <p:cNvPr id="565" name="Google Shape;565;p25"/>
            <p:cNvSpPr/>
            <p:nvPr/>
          </p:nvSpPr>
          <p:spPr>
            <a:xfrm>
              <a:off x="242825" y="2397375"/>
              <a:ext cx="282325" cy="351600"/>
            </a:xfrm>
            <a:custGeom>
              <a:avLst/>
              <a:gdLst/>
              <a:ahLst/>
              <a:cxnLst/>
              <a:rect l="l" t="t" r="r" b="b"/>
              <a:pathLst>
                <a:path w="11293" h="14064" extrusionOk="0">
                  <a:moveTo>
                    <a:pt x="2140" y="10709"/>
                  </a:moveTo>
                  <a:lnTo>
                    <a:pt x="2140" y="10709"/>
                  </a:lnTo>
                  <a:cubicBezTo>
                    <a:pt x="2157" y="10725"/>
                    <a:pt x="2173" y="10725"/>
                    <a:pt x="2173" y="10742"/>
                  </a:cubicBezTo>
                  <a:cubicBezTo>
                    <a:pt x="2432" y="10898"/>
                    <a:pt x="2719" y="10967"/>
                    <a:pt x="2994" y="10967"/>
                  </a:cubicBezTo>
                  <a:cubicBezTo>
                    <a:pt x="3080" y="10967"/>
                    <a:pt x="3183" y="10947"/>
                    <a:pt x="3269" y="10930"/>
                  </a:cubicBezTo>
                  <a:cubicBezTo>
                    <a:pt x="3356" y="11017"/>
                    <a:pt x="3421" y="11087"/>
                    <a:pt x="3508" y="11152"/>
                  </a:cubicBezTo>
                  <a:cubicBezTo>
                    <a:pt x="3335" y="11189"/>
                    <a:pt x="3183" y="11275"/>
                    <a:pt x="3064" y="11378"/>
                  </a:cubicBezTo>
                  <a:cubicBezTo>
                    <a:pt x="2822" y="11546"/>
                    <a:pt x="2567" y="12043"/>
                    <a:pt x="2243" y="12097"/>
                  </a:cubicBezTo>
                  <a:cubicBezTo>
                    <a:pt x="2224" y="12099"/>
                    <a:pt x="2207" y="12100"/>
                    <a:pt x="2191" y="12100"/>
                  </a:cubicBezTo>
                  <a:cubicBezTo>
                    <a:pt x="1803" y="12100"/>
                    <a:pt x="2089" y="11554"/>
                    <a:pt x="2140" y="11341"/>
                  </a:cubicBezTo>
                  <a:cubicBezTo>
                    <a:pt x="2189" y="11136"/>
                    <a:pt x="2206" y="10914"/>
                    <a:pt x="2140" y="10709"/>
                  </a:cubicBezTo>
                  <a:close/>
                  <a:moveTo>
                    <a:pt x="5647" y="0"/>
                  </a:moveTo>
                  <a:cubicBezTo>
                    <a:pt x="5577" y="0"/>
                    <a:pt x="5528" y="16"/>
                    <a:pt x="5474" y="33"/>
                  </a:cubicBezTo>
                  <a:cubicBezTo>
                    <a:pt x="5409" y="49"/>
                    <a:pt x="5355" y="66"/>
                    <a:pt x="5306" y="119"/>
                  </a:cubicBezTo>
                  <a:cubicBezTo>
                    <a:pt x="5203" y="189"/>
                    <a:pt x="5134" y="292"/>
                    <a:pt x="5080" y="394"/>
                  </a:cubicBezTo>
                  <a:cubicBezTo>
                    <a:pt x="4978" y="599"/>
                    <a:pt x="4945" y="821"/>
                    <a:pt x="4945" y="1043"/>
                  </a:cubicBezTo>
                  <a:cubicBezTo>
                    <a:pt x="4945" y="1265"/>
                    <a:pt x="4961" y="1486"/>
                    <a:pt x="5014" y="1708"/>
                  </a:cubicBezTo>
                  <a:cubicBezTo>
                    <a:pt x="5064" y="1934"/>
                    <a:pt x="5117" y="2139"/>
                    <a:pt x="5183" y="2345"/>
                  </a:cubicBezTo>
                  <a:cubicBezTo>
                    <a:pt x="5306" y="2755"/>
                    <a:pt x="5458" y="3166"/>
                    <a:pt x="5614" y="3576"/>
                  </a:cubicBezTo>
                  <a:cubicBezTo>
                    <a:pt x="5680" y="3728"/>
                    <a:pt x="5749" y="3901"/>
                    <a:pt x="5819" y="4069"/>
                  </a:cubicBezTo>
                  <a:cubicBezTo>
                    <a:pt x="5593" y="4106"/>
                    <a:pt x="5372" y="4155"/>
                    <a:pt x="5166" y="4242"/>
                  </a:cubicBezTo>
                  <a:cubicBezTo>
                    <a:pt x="5158" y="4246"/>
                    <a:pt x="5150" y="4248"/>
                    <a:pt x="5143" y="4248"/>
                  </a:cubicBezTo>
                  <a:cubicBezTo>
                    <a:pt x="5125" y="4248"/>
                    <a:pt x="5113" y="4233"/>
                    <a:pt x="5101" y="4209"/>
                  </a:cubicBezTo>
                  <a:cubicBezTo>
                    <a:pt x="5080" y="4123"/>
                    <a:pt x="5047" y="4020"/>
                    <a:pt x="5014" y="3934"/>
                  </a:cubicBezTo>
                  <a:cubicBezTo>
                    <a:pt x="4809" y="3371"/>
                    <a:pt x="4567" y="2837"/>
                    <a:pt x="4312" y="2291"/>
                  </a:cubicBezTo>
                  <a:cubicBezTo>
                    <a:pt x="4140" y="1913"/>
                    <a:pt x="3918" y="1556"/>
                    <a:pt x="3664" y="1215"/>
                  </a:cubicBezTo>
                  <a:cubicBezTo>
                    <a:pt x="3475" y="957"/>
                    <a:pt x="3232" y="768"/>
                    <a:pt x="2961" y="632"/>
                  </a:cubicBezTo>
                  <a:cubicBezTo>
                    <a:pt x="2833" y="574"/>
                    <a:pt x="2711" y="540"/>
                    <a:pt x="2587" y="540"/>
                  </a:cubicBezTo>
                  <a:cubicBezTo>
                    <a:pt x="2530" y="540"/>
                    <a:pt x="2471" y="547"/>
                    <a:pt x="2411" y="563"/>
                  </a:cubicBezTo>
                  <a:cubicBezTo>
                    <a:pt x="2189" y="599"/>
                    <a:pt x="2021" y="702"/>
                    <a:pt x="1918" y="924"/>
                  </a:cubicBezTo>
                  <a:cubicBezTo>
                    <a:pt x="1865" y="1076"/>
                    <a:pt x="1816" y="1232"/>
                    <a:pt x="1816" y="1384"/>
                  </a:cubicBezTo>
                  <a:cubicBezTo>
                    <a:pt x="1816" y="1642"/>
                    <a:pt x="1865" y="1864"/>
                    <a:pt x="1935" y="2086"/>
                  </a:cubicBezTo>
                  <a:cubicBezTo>
                    <a:pt x="2038" y="2427"/>
                    <a:pt x="2189" y="2718"/>
                    <a:pt x="2362" y="3026"/>
                  </a:cubicBezTo>
                  <a:cubicBezTo>
                    <a:pt x="2756" y="3798"/>
                    <a:pt x="3232" y="4517"/>
                    <a:pt x="3746" y="5198"/>
                  </a:cubicBezTo>
                  <a:cubicBezTo>
                    <a:pt x="3799" y="5252"/>
                    <a:pt x="3815" y="5285"/>
                    <a:pt x="3766" y="5354"/>
                  </a:cubicBezTo>
                  <a:cubicBezTo>
                    <a:pt x="3664" y="5490"/>
                    <a:pt x="3577" y="5646"/>
                    <a:pt x="3491" y="5781"/>
                  </a:cubicBezTo>
                  <a:cubicBezTo>
                    <a:pt x="3167" y="5490"/>
                    <a:pt x="2740" y="5268"/>
                    <a:pt x="2292" y="5235"/>
                  </a:cubicBezTo>
                  <a:cubicBezTo>
                    <a:pt x="2497" y="4911"/>
                    <a:pt x="2616" y="4517"/>
                    <a:pt x="2637" y="4139"/>
                  </a:cubicBezTo>
                  <a:cubicBezTo>
                    <a:pt x="2637" y="3967"/>
                    <a:pt x="2616" y="3782"/>
                    <a:pt x="2567" y="3609"/>
                  </a:cubicBezTo>
                  <a:cubicBezTo>
                    <a:pt x="2497" y="3453"/>
                    <a:pt x="2362" y="3301"/>
                    <a:pt x="2189" y="3248"/>
                  </a:cubicBezTo>
                  <a:cubicBezTo>
                    <a:pt x="2146" y="3237"/>
                    <a:pt x="2102" y="3231"/>
                    <a:pt x="2057" y="3231"/>
                  </a:cubicBezTo>
                  <a:cubicBezTo>
                    <a:pt x="1841" y="3231"/>
                    <a:pt x="1623" y="3358"/>
                    <a:pt x="1524" y="3556"/>
                  </a:cubicBezTo>
                  <a:cubicBezTo>
                    <a:pt x="1385" y="3782"/>
                    <a:pt x="1405" y="4069"/>
                    <a:pt x="1471" y="4328"/>
                  </a:cubicBezTo>
                  <a:cubicBezTo>
                    <a:pt x="1557" y="4582"/>
                    <a:pt x="1730" y="4841"/>
                    <a:pt x="1881" y="5063"/>
                  </a:cubicBezTo>
                  <a:cubicBezTo>
                    <a:pt x="1725" y="5053"/>
                    <a:pt x="1562" y="5044"/>
                    <a:pt x="1399" y="5044"/>
                  </a:cubicBezTo>
                  <a:cubicBezTo>
                    <a:pt x="1279" y="5044"/>
                    <a:pt x="1160" y="5049"/>
                    <a:pt x="1044" y="5063"/>
                  </a:cubicBezTo>
                  <a:cubicBezTo>
                    <a:pt x="752" y="5096"/>
                    <a:pt x="481" y="5182"/>
                    <a:pt x="255" y="5354"/>
                  </a:cubicBezTo>
                  <a:cubicBezTo>
                    <a:pt x="173" y="5441"/>
                    <a:pt x="87" y="5527"/>
                    <a:pt x="34" y="5646"/>
                  </a:cubicBezTo>
                  <a:cubicBezTo>
                    <a:pt x="1" y="5765"/>
                    <a:pt x="17" y="5900"/>
                    <a:pt x="87" y="5987"/>
                  </a:cubicBezTo>
                  <a:cubicBezTo>
                    <a:pt x="214" y="6149"/>
                    <a:pt x="508" y="6263"/>
                    <a:pt x="713" y="6263"/>
                  </a:cubicBezTo>
                  <a:cubicBezTo>
                    <a:pt x="726" y="6263"/>
                    <a:pt x="740" y="6263"/>
                    <a:pt x="752" y="6262"/>
                  </a:cubicBezTo>
                  <a:cubicBezTo>
                    <a:pt x="1422" y="6225"/>
                    <a:pt x="1643" y="6089"/>
                    <a:pt x="2001" y="5662"/>
                  </a:cubicBezTo>
                  <a:cubicBezTo>
                    <a:pt x="2103" y="5835"/>
                    <a:pt x="2189" y="5987"/>
                    <a:pt x="2276" y="6122"/>
                  </a:cubicBezTo>
                  <a:cubicBezTo>
                    <a:pt x="2103" y="6122"/>
                    <a:pt x="1918" y="6192"/>
                    <a:pt x="1779" y="6278"/>
                  </a:cubicBezTo>
                  <a:cubicBezTo>
                    <a:pt x="1713" y="6328"/>
                    <a:pt x="1643" y="6381"/>
                    <a:pt x="1574" y="6467"/>
                  </a:cubicBezTo>
                  <a:cubicBezTo>
                    <a:pt x="1508" y="6553"/>
                    <a:pt x="1438" y="6672"/>
                    <a:pt x="1368" y="6808"/>
                  </a:cubicBezTo>
                  <a:cubicBezTo>
                    <a:pt x="1319" y="6943"/>
                    <a:pt x="1249" y="7149"/>
                    <a:pt x="1233" y="7391"/>
                  </a:cubicBezTo>
                  <a:cubicBezTo>
                    <a:pt x="687" y="7407"/>
                    <a:pt x="292" y="7543"/>
                    <a:pt x="190" y="7715"/>
                  </a:cubicBezTo>
                  <a:cubicBezTo>
                    <a:pt x="1" y="8023"/>
                    <a:pt x="461" y="9325"/>
                    <a:pt x="1524" y="10265"/>
                  </a:cubicBezTo>
                  <a:cubicBezTo>
                    <a:pt x="1060" y="10282"/>
                    <a:pt x="547" y="10762"/>
                    <a:pt x="358" y="11119"/>
                  </a:cubicBezTo>
                  <a:cubicBezTo>
                    <a:pt x="267" y="11287"/>
                    <a:pt x="380" y="11400"/>
                    <a:pt x="478" y="11400"/>
                  </a:cubicBezTo>
                  <a:cubicBezTo>
                    <a:pt x="491" y="11400"/>
                    <a:pt x="503" y="11398"/>
                    <a:pt x="514" y="11394"/>
                  </a:cubicBezTo>
                  <a:cubicBezTo>
                    <a:pt x="633" y="11358"/>
                    <a:pt x="855" y="11033"/>
                    <a:pt x="974" y="10967"/>
                  </a:cubicBezTo>
                  <a:cubicBezTo>
                    <a:pt x="1077" y="10900"/>
                    <a:pt x="1268" y="10787"/>
                    <a:pt x="1415" y="10787"/>
                  </a:cubicBezTo>
                  <a:cubicBezTo>
                    <a:pt x="1491" y="10787"/>
                    <a:pt x="1555" y="10817"/>
                    <a:pt x="1590" y="10898"/>
                  </a:cubicBezTo>
                  <a:cubicBezTo>
                    <a:pt x="1693" y="11119"/>
                    <a:pt x="1368" y="11563"/>
                    <a:pt x="1352" y="11789"/>
                  </a:cubicBezTo>
                  <a:cubicBezTo>
                    <a:pt x="1303" y="12199"/>
                    <a:pt x="1487" y="12589"/>
                    <a:pt x="1898" y="12713"/>
                  </a:cubicBezTo>
                  <a:cubicBezTo>
                    <a:pt x="1988" y="12742"/>
                    <a:pt x="2078" y="12756"/>
                    <a:pt x="2166" y="12756"/>
                  </a:cubicBezTo>
                  <a:cubicBezTo>
                    <a:pt x="2432" y="12756"/>
                    <a:pt x="2685" y="12633"/>
                    <a:pt x="2892" y="12454"/>
                  </a:cubicBezTo>
                  <a:cubicBezTo>
                    <a:pt x="3113" y="12265"/>
                    <a:pt x="3286" y="11891"/>
                    <a:pt x="3577" y="11768"/>
                  </a:cubicBezTo>
                  <a:cubicBezTo>
                    <a:pt x="3630" y="11754"/>
                    <a:pt x="3672" y="11746"/>
                    <a:pt x="3707" y="11746"/>
                  </a:cubicBezTo>
                  <a:cubicBezTo>
                    <a:pt x="3751" y="11746"/>
                    <a:pt x="3781" y="11759"/>
                    <a:pt x="3799" y="11789"/>
                  </a:cubicBezTo>
                  <a:cubicBezTo>
                    <a:pt x="3561" y="12729"/>
                    <a:pt x="3577" y="13686"/>
                    <a:pt x="3594" y="13977"/>
                  </a:cubicBezTo>
                  <a:cubicBezTo>
                    <a:pt x="3594" y="14026"/>
                    <a:pt x="3627" y="14063"/>
                    <a:pt x="3664" y="14063"/>
                  </a:cubicBezTo>
                  <a:lnTo>
                    <a:pt x="8180" y="14063"/>
                  </a:lnTo>
                  <a:cubicBezTo>
                    <a:pt x="8197" y="14063"/>
                    <a:pt x="8213" y="14047"/>
                    <a:pt x="8230" y="14026"/>
                  </a:cubicBezTo>
                  <a:cubicBezTo>
                    <a:pt x="8246" y="14010"/>
                    <a:pt x="8262" y="13977"/>
                    <a:pt x="8262" y="13944"/>
                  </a:cubicBezTo>
                  <a:cubicBezTo>
                    <a:pt x="8262" y="13772"/>
                    <a:pt x="8283" y="13448"/>
                    <a:pt x="8246" y="13070"/>
                  </a:cubicBezTo>
                  <a:cubicBezTo>
                    <a:pt x="8283" y="13053"/>
                    <a:pt x="8316" y="13053"/>
                    <a:pt x="8349" y="13037"/>
                  </a:cubicBezTo>
                  <a:cubicBezTo>
                    <a:pt x="8418" y="13086"/>
                    <a:pt x="8451" y="13103"/>
                    <a:pt x="8488" y="13123"/>
                  </a:cubicBezTo>
                  <a:cubicBezTo>
                    <a:pt x="8604" y="13175"/>
                    <a:pt x="8717" y="13198"/>
                    <a:pt x="8828" y="13198"/>
                  </a:cubicBezTo>
                  <a:cubicBezTo>
                    <a:pt x="9186" y="13198"/>
                    <a:pt x="9513" y="12956"/>
                    <a:pt x="9786" y="12692"/>
                  </a:cubicBezTo>
                  <a:cubicBezTo>
                    <a:pt x="9872" y="12626"/>
                    <a:pt x="10591" y="11924"/>
                    <a:pt x="10849" y="11546"/>
                  </a:cubicBezTo>
                  <a:cubicBezTo>
                    <a:pt x="10915" y="11497"/>
                    <a:pt x="10968" y="11444"/>
                    <a:pt x="11018" y="11394"/>
                  </a:cubicBezTo>
                  <a:cubicBezTo>
                    <a:pt x="11087" y="11325"/>
                    <a:pt x="11137" y="11255"/>
                    <a:pt x="11174" y="11173"/>
                  </a:cubicBezTo>
                  <a:cubicBezTo>
                    <a:pt x="11260" y="11000"/>
                    <a:pt x="11293" y="10779"/>
                    <a:pt x="11260" y="10573"/>
                  </a:cubicBezTo>
                  <a:cubicBezTo>
                    <a:pt x="11223" y="10384"/>
                    <a:pt x="11157" y="10195"/>
                    <a:pt x="11034" y="10007"/>
                  </a:cubicBezTo>
                  <a:cubicBezTo>
                    <a:pt x="10803" y="9626"/>
                    <a:pt x="10413" y="9501"/>
                    <a:pt x="10073" y="9501"/>
                  </a:cubicBezTo>
                  <a:cubicBezTo>
                    <a:pt x="9863" y="9501"/>
                    <a:pt x="9671" y="9548"/>
                    <a:pt x="9548" y="9612"/>
                  </a:cubicBezTo>
                  <a:cubicBezTo>
                    <a:pt x="9531" y="9633"/>
                    <a:pt x="9494" y="9649"/>
                    <a:pt x="9461" y="9666"/>
                  </a:cubicBezTo>
                  <a:cubicBezTo>
                    <a:pt x="9429" y="9682"/>
                    <a:pt x="9412" y="9715"/>
                    <a:pt x="9392" y="9752"/>
                  </a:cubicBezTo>
                  <a:cubicBezTo>
                    <a:pt x="9256" y="9596"/>
                    <a:pt x="9104" y="9444"/>
                    <a:pt x="8915" y="9325"/>
                  </a:cubicBezTo>
                  <a:cubicBezTo>
                    <a:pt x="9067" y="9136"/>
                    <a:pt x="9207" y="8914"/>
                    <a:pt x="9326" y="8689"/>
                  </a:cubicBezTo>
                  <a:cubicBezTo>
                    <a:pt x="9634" y="8742"/>
                    <a:pt x="9888" y="8828"/>
                    <a:pt x="10110" y="8914"/>
                  </a:cubicBezTo>
                  <a:cubicBezTo>
                    <a:pt x="10125" y="8926"/>
                    <a:pt x="10162" y="8938"/>
                    <a:pt x="10188" y="8938"/>
                  </a:cubicBezTo>
                  <a:cubicBezTo>
                    <a:pt x="10199" y="8938"/>
                    <a:pt x="10208" y="8936"/>
                    <a:pt x="10213" y="8931"/>
                  </a:cubicBezTo>
                  <a:cubicBezTo>
                    <a:pt x="10233" y="8914"/>
                    <a:pt x="10196" y="8877"/>
                    <a:pt x="10164" y="8861"/>
                  </a:cubicBezTo>
                  <a:cubicBezTo>
                    <a:pt x="9975" y="8725"/>
                    <a:pt x="9720" y="8606"/>
                    <a:pt x="9375" y="8553"/>
                  </a:cubicBezTo>
                  <a:cubicBezTo>
                    <a:pt x="9429" y="8450"/>
                    <a:pt x="9461" y="8331"/>
                    <a:pt x="9494" y="8212"/>
                  </a:cubicBezTo>
                  <a:cubicBezTo>
                    <a:pt x="9769" y="8229"/>
                    <a:pt x="10044" y="8262"/>
                    <a:pt x="10315" y="8298"/>
                  </a:cubicBezTo>
                  <a:cubicBezTo>
                    <a:pt x="10364" y="8310"/>
                    <a:pt x="10427" y="8329"/>
                    <a:pt x="10468" y="8329"/>
                  </a:cubicBezTo>
                  <a:cubicBezTo>
                    <a:pt x="10486" y="8329"/>
                    <a:pt x="10499" y="8325"/>
                    <a:pt x="10504" y="8315"/>
                  </a:cubicBezTo>
                  <a:cubicBezTo>
                    <a:pt x="10504" y="8298"/>
                    <a:pt x="10418" y="8245"/>
                    <a:pt x="10385" y="8229"/>
                  </a:cubicBezTo>
                  <a:cubicBezTo>
                    <a:pt x="10180" y="8159"/>
                    <a:pt x="9958" y="8126"/>
                    <a:pt x="9753" y="8110"/>
                  </a:cubicBezTo>
                  <a:cubicBezTo>
                    <a:pt x="9683" y="8110"/>
                    <a:pt x="9597" y="8093"/>
                    <a:pt x="9531" y="8093"/>
                  </a:cubicBezTo>
                  <a:cubicBezTo>
                    <a:pt x="9548" y="7991"/>
                    <a:pt x="9580" y="7888"/>
                    <a:pt x="9597" y="7785"/>
                  </a:cubicBezTo>
                  <a:cubicBezTo>
                    <a:pt x="9700" y="7785"/>
                    <a:pt x="9802" y="7765"/>
                    <a:pt x="9925" y="7765"/>
                  </a:cubicBezTo>
                  <a:cubicBezTo>
                    <a:pt x="10077" y="7748"/>
                    <a:pt x="10250" y="7748"/>
                    <a:pt x="10402" y="7732"/>
                  </a:cubicBezTo>
                  <a:cubicBezTo>
                    <a:pt x="10439" y="7732"/>
                    <a:pt x="10521" y="7732"/>
                    <a:pt x="10521" y="7715"/>
                  </a:cubicBezTo>
                  <a:cubicBezTo>
                    <a:pt x="10521" y="7662"/>
                    <a:pt x="10352" y="7646"/>
                    <a:pt x="10283" y="7646"/>
                  </a:cubicBezTo>
                  <a:cubicBezTo>
                    <a:pt x="10218" y="7641"/>
                    <a:pt x="10153" y="7639"/>
                    <a:pt x="10088" y="7639"/>
                  </a:cubicBezTo>
                  <a:cubicBezTo>
                    <a:pt x="9931" y="7639"/>
                    <a:pt x="9774" y="7650"/>
                    <a:pt x="9617" y="7662"/>
                  </a:cubicBezTo>
                  <a:lnTo>
                    <a:pt x="9617" y="7559"/>
                  </a:lnTo>
                  <a:cubicBezTo>
                    <a:pt x="9667" y="7132"/>
                    <a:pt x="9634" y="6705"/>
                    <a:pt x="9494" y="6311"/>
                  </a:cubicBezTo>
                  <a:lnTo>
                    <a:pt x="9494" y="6311"/>
                  </a:lnTo>
                  <a:cubicBezTo>
                    <a:pt x="9570" y="6363"/>
                    <a:pt x="9646" y="6423"/>
                    <a:pt x="9730" y="6423"/>
                  </a:cubicBezTo>
                  <a:cubicBezTo>
                    <a:pt x="9760" y="6423"/>
                    <a:pt x="9791" y="6416"/>
                    <a:pt x="9823" y="6397"/>
                  </a:cubicBezTo>
                  <a:cubicBezTo>
                    <a:pt x="9958" y="6311"/>
                    <a:pt x="9580" y="5301"/>
                    <a:pt x="9375" y="4771"/>
                  </a:cubicBezTo>
                  <a:lnTo>
                    <a:pt x="9375" y="4771"/>
                  </a:lnTo>
                  <a:cubicBezTo>
                    <a:pt x="9737" y="4874"/>
                    <a:pt x="10094" y="4944"/>
                    <a:pt x="10455" y="5014"/>
                  </a:cubicBezTo>
                  <a:cubicBezTo>
                    <a:pt x="10532" y="5021"/>
                    <a:pt x="10661" y="5043"/>
                    <a:pt x="10782" y="5043"/>
                  </a:cubicBezTo>
                  <a:cubicBezTo>
                    <a:pt x="10925" y="5043"/>
                    <a:pt x="11059" y="5013"/>
                    <a:pt x="11087" y="4890"/>
                  </a:cubicBezTo>
                  <a:cubicBezTo>
                    <a:pt x="11157" y="4685"/>
                    <a:pt x="10180" y="4020"/>
                    <a:pt x="9769" y="3696"/>
                  </a:cubicBezTo>
                  <a:cubicBezTo>
                    <a:pt x="10131" y="3388"/>
                    <a:pt x="10439" y="3026"/>
                    <a:pt x="10677" y="2616"/>
                  </a:cubicBezTo>
                  <a:cubicBezTo>
                    <a:pt x="10710" y="2566"/>
                    <a:pt x="10726" y="2513"/>
                    <a:pt x="10726" y="2464"/>
                  </a:cubicBezTo>
                  <a:cubicBezTo>
                    <a:pt x="10707" y="2393"/>
                    <a:pt x="10632" y="2370"/>
                    <a:pt x="10549" y="2370"/>
                  </a:cubicBezTo>
                  <a:cubicBezTo>
                    <a:pt x="10493" y="2370"/>
                    <a:pt x="10434" y="2381"/>
                    <a:pt x="10385" y="2394"/>
                  </a:cubicBezTo>
                  <a:cubicBezTo>
                    <a:pt x="9975" y="2566"/>
                    <a:pt x="9548" y="2718"/>
                    <a:pt x="9121" y="2874"/>
                  </a:cubicBezTo>
                  <a:cubicBezTo>
                    <a:pt x="9223" y="2205"/>
                    <a:pt x="9375" y="1195"/>
                    <a:pt x="9137" y="1092"/>
                  </a:cubicBezTo>
                  <a:cubicBezTo>
                    <a:pt x="9127" y="1088"/>
                    <a:pt x="9117" y="1086"/>
                    <a:pt x="9106" y="1086"/>
                  </a:cubicBezTo>
                  <a:cubicBezTo>
                    <a:pt x="8844" y="1086"/>
                    <a:pt x="8201" y="2211"/>
                    <a:pt x="7922" y="2735"/>
                  </a:cubicBezTo>
                  <a:cubicBezTo>
                    <a:pt x="7786" y="2550"/>
                    <a:pt x="7322" y="1934"/>
                    <a:pt x="7031" y="1778"/>
                  </a:cubicBezTo>
                  <a:cubicBezTo>
                    <a:pt x="6998" y="1642"/>
                    <a:pt x="6965" y="1523"/>
                    <a:pt x="6928" y="1384"/>
                  </a:cubicBezTo>
                  <a:cubicBezTo>
                    <a:pt x="6862" y="1178"/>
                    <a:pt x="6792" y="973"/>
                    <a:pt x="6706" y="768"/>
                  </a:cubicBezTo>
                  <a:cubicBezTo>
                    <a:pt x="6587" y="563"/>
                    <a:pt x="6468" y="374"/>
                    <a:pt x="6296" y="222"/>
                  </a:cubicBezTo>
                  <a:cubicBezTo>
                    <a:pt x="6209" y="152"/>
                    <a:pt x="6107" y="86"/>
                    <a:pt x="5988" y="49"/>
                  </a:cubicBezTo>
                  <a:cubicBezTo>
                    <a:pt x="5885" y="16"/>
                    <a:pt x="5766" y="0"/>
                    <a:pt x="5647" y="0"/>
                  </a:cubicBezTo>
                  <a:close/>
                </a:path>
              </a:pathLst>
            </a:custGeom>
            <a:solidFill>
              <a:srgbClr val="FFFFFF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grpSp>
          <p:nvGrpSpPr>
            <p:cNvPr id="566" name="Google Shape;566;p25"/>
            <p:cNvGrpSpPr/>
            <p:nvPr/>
          </p:nvGrpSpPr>
          <p:grpSpPr>
            <a:xfrm>
              <a:off x="242025" y="2397350"/>
              <a:ext cx="283125" cy="351200"/>
              <a:chOff x="242025" y="2397350"/>
              <a:chExt cx="283125" cy="351200"/>
            </a:xfrm>
          </p:grpSpPr>
          <p:sp>
            <p:nvSpPr>
              <p:cNvPr id="567" name="Google Shape;567;p25"/>
              <p:cNvSpPr/>
              <p:nvPr/>
            </p:nvSpPr>
            <p:spPr>
              <a:xfrm>
                <a:off x="386550" y="2424500"/>
                <a:ext cx="135225" cy="1359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5437" extrusionOk="0">
                    <a:moveTo>
                      <a:pt x="3357" y="0"/>
                    </a:moveTo>
                    <a:cubicBezTo>
                      <a:pt x="3095" y="0"/>
                      <a:pt x="2452" y="1125"/>
                      <a:pt x="2173" y="1649"/>
                    </a:cubicBezTo>
                    <a:cubicBezTo>
                      <a:pt x="2012" y="1428"/>
                      <a:pt x="1413" y="662"/>
                      <a:pt x="1177" y="662"/>
                    </a:cubicBezTo>
                    <a:cubicBezTo>
                      <a:pt x="1159" y="662"/>
                      <a:pt x="1143" y="666"/>
                      <a:pt x="1130" y="676"/>
                    </a:cubicBezTo>
                    <a:cubicBezTo>
                      <a:pt x="941" y="795"/>
                      <a:pt x="1302" y="1735"/>
                      <a:pt x="1573" y="2199"/>
                    </a:cubicBezTo>
                    <a:cubicBezTo>
                      <a:pt x="1157" y="1980"/>
                      <a:pt x="725" y="1765"/>
                      <a:pt x="267" y="1765"/>
                    </a:cubicBezTo>
                    <a:cubicBezTo>
                      <a:pt x="218" y="1765"/>
                      <a:pt x="169" y="1767"/>
                      <a:pt x="120" y="1772"/>
                    </a:cubicBezTo>
                    <a:cubicBezTo>
                      <a:pt x="87" y="1772"/>
                      <a:pt x="33" y="1789"/>
                      <a:pt x="17" y="1821"/>
                    </a:cubicBezTo>
                    <a:cubicBezTo>
                      <a:pt x="0" y="1854"/>
                      <a:pt x="0" y="1891"/>
                      <a:pt x="17" y="1924"/>
                    </a:cubicBezTo>
                    <a:cubicBezTo>
                      <a:pt x="70" y="2080"/>
                      <a:pt x="206" y="2216"/>
                      <a:pt x="325" y="2335"/>
                    </a:cubicBezTo>
                    <a:cubicBezTo>
                      <a:pt x="649" y="2643"/>
                      <a:pt x="994" y="2934"/>
                      <a:pt x="1351" y="3209"/>
                    </a:cubicBezTo>
                    <a:cubicBezTo>
                      <a:pt x="1027" y="3275"/>
                      <a:pt x="703" y="3394"/>
                      <a:pt x="395" y="3583"/>
                    </a:cubicBezTo>
                    <a:cubicBezTo>
                      <a:pt x="325" y="3620"/>
                      <a:pt x="239" y="3686"/>
                      <a:pt x="239" y="3772"/>
                    </a:cubicBezTo>
                    <a:cubicBezTo>
                      <a:pt x="255" y="3875"/>
                      <a:pt x="395" y="3928"/>
                      <a:pt x="514" y="3944"/>
                    </a:cubicBezTo>
                    <a:cubicBezTo>
                      <a:pt x="846" y="3981"/>
                      <a:pt x="1181" y="4000"/>
                      <a:pt x="1522" y="4000"/>
                    </a:cubicBezTo>
                    <a:cubicBezTo>
                      <a:pt x="1635" y="4000"/>
                      <a:pt x="1750" y="3998"/>
                      <a:pt x="1865" y="3994"/>
                    </a:cubicBezTo>
                    <a:lnTo>
                      <a:pt x="1865" y="3994"/>
                    </a:lnTo>
                    <a:cubicBezTo>
                      <a:pt x="1746" y="4371"/>
                      <a:pt x="1627" y="4766"/>
                      <a:pt x="1540" y="5139"/>
                    </a:cubicBezTo>
                    <a:cubicBezTo>
                      <a:pt x="1524" y="5209"/>
                      <a:pt x="1507" y="5295"/>
                      <a:pt x="1540" y="5345"/>
                    </a:cubicBezTo>
                    <a:cubicBezTo>
                      <a:pt x="1566" y="5412"/>
                      <a:pt x="1634" y="5436"/>
                      <a:pt x="1703" y="5436"/>
                    </a:cubicBezTo>
                    <a:cubicBezTo>
                      <a:pt x="1723" y="5436"/>
                      <a:pt x="1743" y="5434"/>
                      <a:pt x="1762" y="5431"/>
                    </a:cubicBezTo>
                    <a:cubicBezTo>
                      <a:pt x="1832" y="5398"/>
                      <a:pt x="1898" y="5345"/>
                      <a:pt x="1967" y="5279"/>
                    </a:cubicBezTo>
                    <a:cubicBezTo>
                      <a:pt x="2308" y="4971"/>
                      <a:pt x="2600" y="4593"/>
                      <a:pt x="2842" y="4199"/>
                    </a:cubicBezTo>
                    <a:cubicBezTo>
                      <a:pt x="3080" y="4560"/>
                      <a:pt x="3355" y="4885"/>
                      <a:pt x="3696" y="5160"/>
                    </a:cubicBezTo>
                    <a:cubicBezTo>
                      <a:pt x="3776" y="5240"/>
                      <a:pt x="3875" y="5339"/>
                      <a:pt x="3981" y="5339"/>
                    </a:cubicBezTo>
                    <a:cubicBezTo>
                      <a:pt x="4012" y="5339"/>
                      <a:pt x="4043" y="5331"/>
                      <a:pt x="4074" y="5312"/>
                    </a:cubicBezTo>
                    <a:cubicBezTo>
                      <a:pt x="4209" y="5225"/>
                      <a:pt x="3831" y="4215"/>
                      <a:pt x="3626" y="3686"/>
                    </a:cubicBezTo>
                    <a:lnTo>
                      <a:pt x="3626" y="3686"/>
                    </a:lnTo>
                    <a:cubicBezTo>
                      <a:pt x="3988" y="3788"/>
                      <a:pt x="4345" y="3858"/>
                      <a:pt x="4706" y="3928"/>
                    </a:cubicBezTo>
                    <a:cubicBezTo>
                      <a:pt x="4783" y="3935"/>
                      <a:pt x="4912" y="3958"/>
                      <a:pt x="5033" y="3958"/>
                    </a:cubicBezTo>
                    <a:cubicBezTo>
                      <a:pt x="5176" y="3958"/>
                      <a:pt x="5310" y="3927"/>
                      <a:pt x="5338" y="3805"/>
                    </a:cubicBezTo>
                    <a:cubicBezTo>
                      <a:pt x="5408" y="3599"/>
                      <a:pt x="4431" y="2934"/>
                      <a:pt x="4020" y="2610"/>
                    </a:cubicBezTo>
                    <a:cubicBezTo>
                      <a:pt x="4382" y="2302"/>
                      <a:pt x="4690" y="1941"/>
                      <a:pt x="4928" y="1530"/>
                    </a:cubicBezTo>
                    <a:cubicBezTo>
                      <a:pt x="4961" y="1481"/>
                      <a:pt x="4977" y="1427"/>
                      <a:pt x="4977" y="1378"/>
                    </a:cubicBezTo>
                    <a:cubicBezTo>
                      <a:pt x="4958" y="1307"/>
                      <a:pt x="4883" y="1284"/>
                      <a:pt x="4800" y="1284"/>
                    </a:cubicBezTo>
                    <a:cubicBezTo>
                      <a:pt x="4744" y="1284"/>
                      <a:pt x="4685" y="1295"/>
                      <a:pt x="4636" y="1308"/>
                    </a:cubicBezTo>
                    <a:cubicBezTo>
                      <a:pt x="4226" y="1481"/>
                      <a:pt x="3799" y="1633"/>
                      <a:pt x="3372" y="1789"/>
                    </a:cubicBezTo>
                    <a:cubicBezTo>
                      <a:pt x="3474" y="1119"/>
                      <a:pt x="3626" y="109"/>
                      <a:pt x="3388" y="7"/>
                    </a:cubicBezTo>
                    <a:cubicBezTo>
                      <a:pt x="3378" y="2"/>
                      <a:pt x="3368" y="0"/>
                      <a:pt x="335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68" name="Google Shape;568;p25"/>
              <p:cNvSpPr/>
              <p:nvPr/>
            </p:nvSpPr>
            <p:spPr>
              <a:xfrm>
                <a:off x="242825" y="2477975"/>
                <a:ext cx="96725" cy="89750"/>
              </a:xfrm>
              <a:custGeom>
                <a:avLst/>
                <a:gdLst/>
                <a:ahLst/>
                <a:cxnLst/>
                <a:rect l="l" t="t" r="r" b="b"/>
                <a:pathLst>
                  <a:path w="3869" h="3590" extrusionOk="0">
                    <a:moveTo>
                      <a:pt x="2045" y="1"/>
                    </a:moveTo>
                    <a:cubicBezTo>
                      <a:pt x="1832" y="1"/>
                      <a:pt x="1621" y="137"/>
                      <a:pt x="1524" y="331"/>
                    </a:cubicBezTo>
                    <a:cubicBezTo>
                      <a:pt x="1385" y="557"/>
                      <a:pt x="1405" y="845"/>
                      <a:pt x="1471" y="1103"/>
                    </a:cubicBezTo>
                    <a:cubicBezTo>
                      <a:pt x="1557" y="1358"/>
                      <a:pt x="1730" y="1616"/>
                      <a:pt x="1881" y="1838"/>
                    </a:cubicBezTo>
                    <a:cubicBezTo>
                      <a:pt x="1725" y="1829"/>
                      <a:pt x="1562" y="1819"/>
                      <a:pt x="1399" y="1819"/>
                    </a:cubicBezTo>
                    <a:cubicBezTo>
                      <a:pt x="1279" y="1819"/>
                      <a:pt x="1160" y="1824"/>
                      <a:pt x="1044" y="1838"/>
                    </a:cubicBezTo>
                    <a:cubicBezTo>
                      <a:pt x="752" y="1871"/>
                      <a:pt x="481" y="1957"/>
                      <a:pt x="255" y="2130"/>
                    </a:cubicBezTo>
                    <a:cubicBezTo>
                      <a:pt x="173" y="2216"/>
                      <a:pt x="87" y="2302"/>
                      <a:pt x="34" y="2421"/>
                    </a:cubicBezTo>
                    <a:cubicBezTo>
                      <a:pt x="1" y="2540"/>
                      <a:pt x="17" y="2676"/>
                      <a:pt x="87" y="2762"/>
                    </a:cubicBezTo>
                    <a:cubicBezTo>
                      <a:pt x="223" y="2935"/>
                      <a:pt x="547" y="3037"/>
                      <a:pt x="752" y="3037"/>
                    </a:cubicBezTo>
                    <a:cubicBezTo>
                      <a:pt x="1422" y="3000"/>
                      <a:pt x="1643" y="2865"/>
                      <a:pt x="2001" y="2438"/>
                    </a:cubicBezTo>
                    <a:cubicBezTo>
                      <a:pt x="2243" y="2832"/>
                      <a:pt x="2345" y="3070"/>
                      <a:pt x="2719" y="3329"/>
                    </a:cubicBezTo>
                    <a:cubicBezTo>
                      <a:pt x="2892" y="3464"/>
                      <a:pt x="3080" y="3567"/>
                      <a:pt x="3286" y="3583"/>
                    </a:cubicBezTo>
                    <a:cubicBezTo>
                      <a:pt x="3311" y="3587"/>
                      <a:pt x="3337" y="3589"/>
                      <a:pt x="3363" y="3589"/>
                    </a:cubicBezTo>
                    <a:cubicBezTo>
                      <a:pt x="3548" y="3589"/>
                      <a:pt x="3740" y="3491"/>
                      <a:pt x="3815" y="3329"/>
                    </a:cubicBezTo>
                    <a:cubicBezTo>
                      <a:pt x="3869" y="3189"/>
                      <a:pt x="3848" y="3054"/>
                      <a:pt x="3799" y="2918"/>
                    </a:cubicBezTo>
                    <a:cubicBezTo>
                      <a:pt x="3746" y="2795"/>
                      <a:pt x="3643" y="2692"/>
                      <a:pt x="3540" y="2590"/>
                    </a:cubicBezTo>
                    <a:cubicBezTo>
                      <a:pt x="3200" y="2282"/>
                      <a:pt x="2756" y="2043"/>
                      <a:pt x="2292" y="2011"/>
                    </a:cubicBezTo>
                    <a:cubicBezTo>
                      <a:pt x="2497" y="1686"/>
                      <a:pt x="2616" y="1292"/>
                      <a:pt x="2637" y="914"/>
                    </a:cubicBezTo>
                    <a:cubicBezTo>
                      <a:pt x="2637" y="725"/>
                      <a:pt x="2616" y="557"/>
                      <a:pt x="2567" y="385"/>
                    </a:cubicBezTo>
                    <a:cubicBezTo>
                      <a:pt x="2497" y="229"/>
                      <a:pt x="2362" y="77"/>
                      <a:pt x="2189" y="23"/>
                    </a:cubicBezTo>
                    <a:cubicBezTo>
                      <a:pt x="2142" y="8"/>
                      <a:pt x="2093" y="1"/>
                      <a:pt x="2045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69" name="Google Shape;569;p25"/>
              <p:cNvSpPr/>
              <p:nvPr/>
            </p:nvSpPr>
            <p:spPr>
              <a:xfrm>
                <a:off x="249475" y="2653875"/>
                <a:ext cx="130225" cy="81325"/>
              </a:xfrm>
              <a:custGeom>
                <a:avLst/>
                <a:gdLst/>
                <a:ahLst/>
                <a:cxnLst/>
                <a:rect l="l" t="t" r="r" b="b"/>
                <a:pathLst>
                  <a:path w="5209" h="3253" extrusionOk="0">
                    <a:moveTo>
                      <a:pt x="1277" y="0"/>
                    </a:moveTo>
                    <a:cubicBezTo>
                      <a:pt x="810" y="0"/>
                      <a:pt x="291" y="500"/>
                      <a:pt x="92" y="859"/>
                    </a:cubicBezTo>
                    <a:cubicBezTo>
                      <a:pt x="1" y="1027"/>
                      <a:pt x="114" y="1139"/>
                      <a:pt x="212" y="1139"/>
                    </a:cubicBezTo>
                    <a:cubicBezTo>
                      <a:pt x="225" y="1139"/>
                      <a:pt x="237" y="1137"/>
                      <a:pt x="248" y="1134"/>
                    </a:cubicBezTo>
                    <a:cubicBezTo>
                      <a:pt x="367" y="1097"/>
                      <a:pt x="589" y="772"/>
                      <a:pt x="708" y="707"/>
                    </a:cubicBezTo>
                    <a:cubicBezTo>
                      <a:pt x="811" y="639"/>
                      <a:pt x="1002" y="526"/>
                      <a:pt x="1149" y="526"/>
                    </a:cubicBezTo>
                    <a:cubicBezTo>
                      <a:pt x="1225" y="526"/>
                      <a:pt x="1289" y="556"/>
                      <a:pt x="1324" y="637"/>
                    </a:cubicBezTo>
                    <a:cubicBezTo>
                      <a:pt x="1427" y="859"/>
                      <a:pt x="1102" y="1286"/>
                      <a:pt x="1086" y="1528"/>
                    </a:cubicBezTo>
                    <a:cubicBezTo>
                      <a:pt x="1037" y="1939"/>
                      <a:pt x="1221" y="2329"/>
                      <a:pt x="1632" y="2452"/>
                    </a:cubicBezTo>
                    <a:cubicBezTo>
                      <a:pt x="1719" y="2477"/>
                      <a:pt x="1806" y="2488"/>
                      <a:pt x="1892" y="2488"/>
                    </a:cubicBezTo>
                    <a:cubicBezTo>
                      <a:pt x="2161" y="2488"/>
                      <a:pt x="2417" y="2374"/>
                      <a:pt x="2626" y="2193"/>
                    </a:cubicBezTo>
                    <a:cubicBezTo>
                      <a:pt x="2847" y="2004"/>
                      <a:pt x="3020" y="1631"/>
                      <a:pt x="3311" y="1507"/>
                    </a:cubicBezTo>
                    <a:cubicBezTo>
                      <a:pt x="3361" y="1489"/>
                      <a:pt x="3402" y="1480"/>
                      <a:pt x="3435" y="1480"/>
                    </a:cubicBezTo>
                    <a:cubicBezTo>
                      <a:pt x="3769" y="1480"/>
                      <a:pt x="3354" y="2344"/>
                      <a:pt x="3447" y="2657"/>
                    </a:cubicBezTo>
                    <a:cubicBezTo>
                      <a:pt x="3566" y="2998"/>
                      <a:pt x="3874" y="3236"/>
                      <a:pt x="4252" y="3253"/>
                    </a:cubicBezTo>
                    <a:cubicBezTo>
                      <a:pt x="4662" y="3253"/>
                      <a:pt x="5208" y="3014"/>
                      <a:pt x="5106" y="2739"/>
                    </a:cubicBezTo>
                    <a:cubicBezTo>
                      <a:pt x="5062" y="2627"/>
                      <a:pt x="5002" y="2586"/>
                      <a:pt x="4934" y="2586"/>
                    </a:cubicBezTo>
                    <a:cubicBezTo>
                      <a:pt x="4766" y="2586"/>
                      <a:pt x="4550" y="2830"/>
                      <a:pt x="4404" y="2842"/>
                    </a:cubicBezTo>
                    <a:cubicBezTo>
                      <a:pt x="4372" y="2847"/>
                      <a:pt x="4342" y="2849"/>
                      <a:pt x="4313" y="2849"/>
                    </a:cubicBezTo>
                    <a:cubicBezTo>
                      <a:pt x="4122" y="2849"/>
                      <a:pt x="3989" y="2744"/>
                      <a:pt x="3960" y="2534"/>
                    </a:cubicBezTo>
                    <a:cubicBezTo>
                      <a:pt x="3944" y="2247"/>
                      <a:pt x="4165" y="1955"/>
                      <a:pt x="4165" y="1664"/>
                    </a:cubicBezTo>
                    <a:cubicBezTo>
                      <a:pt x="4182" y="1372"/>
                      <a:pt x="4046" y="1064"/>
                      <a:pt x="3755" y="929"/>
                    </a:cubicBezTo>
                    <a:cubicBezTo>
                      <a:pt x="3652" y="884"/>
                      <a:pt x="3544" y="864"/>
                      <a:pt x="3436" y="864"/>
                    </a:cubicBezTo>
                    <a:cubicBezTo>
                      <a:pt x="3203" y="864"/>
                      <a:pt x="2972" y="957"/>
                      <a:pt x="2798" y="1097"/>
                    </a:cubicBezTo>
                    <a:cubicBezTo>
                      <a:pt x="2556" y="1286"/>
                      <a:pt x="2301" y="1783"/>
                      <a:pt x="1977" y="1836"/>
                    </a:cubicBezTo>
                    <a:cubicBezTo>
                      <a:pt x="1958" y="1838"/>
                      <a:pt x="1941" y="1839"/>
                      <a:pt x="1925" y="1839"/>
                    </a:cubicBezTo>
                    <a:cubicBezTo>
                      <a:pt x="1537" y="1839"/>
                      <a:pt x="1823" y="1293"/>
                      <a:pt x="1874" y="1080"/>
                    </a:cubicBezTo>
                    <a:cubicBezTo>
                      <a:pt x="1940" y="809"/>
                      <a:pt x="1960" y="501"/>
                      <a:pt x="1772" y="259"/>
                    </a:cubicBezTo>
                    <a:cubicBezTo>
                      <a:pt x="1629" y="74"/>
                      <a:pt x="1457" y="0"/>
                      <a:pt x="127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70" name="Google Shape;570;p25"/>
              <p:cNvSpPr/>
              <p:nvPr/>
            </p:nvSpPr>
            <p:spPr>
              <a:xfrm>
                <a:off x="332250" y="2642800"/>
                <a:ext cx="183050" cy="104000"/>
              </a:xfrm>
              <a:custGeom>
                <a:avLst/>
                <a:gdLst/>
                <a:ahLst/>
                <a:cxnLst/>
                <a:rect l="l" t="t" r="r" b="b"/>
                <a:pathLst>
                  <a:path w="7322" h="4160" extrusionOk="0">
                    <a:moveTo>
                      <a:pt x="2345" y="0"/>
                    </a:moveTo>
                    <a:cubicBezTo>
                      <a:pt x="0" y="0"/>
                      <a:pt x="66" y="3560"/>
                      <a:pt x="103" y="4160"/>
                    </a:cubicBezTo>
                    <a:lnTo>
                      <a:pt x="4603" y="4160"/>
                    </a:lnTo>
                    <a:cubicBezTo>
                      <a:pt x="4620" y="3971"/>
                      <a:pt x="4620" y="3511"/>
                      <a:pt x="4566" y="2944"/>
                    </a:cubicBezTo>
                    <a:lnTo>
                      <a:pt x="4566" y="2944"/>
                    </a:lnTo>
                    <a:cubicBezTo>
                      <a:pt x="4738" y="3160"/>
                      <a:pt x="5007" y="3302"/>
                      <a:pt x="5270" y="3302"/>
                    </a:cubicBezTo>
                    <a:cubicBezTo>
                      <a:pt x="5322" y="3302"/>
                      <a:pt x="5374" y="3296"/>
                      <a:pt x="5425" y="3285"/>
                    </a:cubicBezTo>
                    <a:cubicBezTo>
                      <a:pt x="5527" y="3269"/>
                      <a:pt x="5609" y="3236"/>
                      <a:pt x="5696" y="3182"/>
                    </a:cubicBezTo>
                    <a:cubicBezTo>
                      <a:pt x="6090" y="2977"/>
                      <a:pt x="6656" y="2382"/>
                      <a:pt x="6944" y="2053"/>
                    </a:cubicBezTo>
                    <a:cubicBezTo>
                      <a:pt x="7083" y="1901"/>
                      <a:pt x="7219" y="1745"/>
                      <a:pt x="7322" y="1560"/>
                    </a:cubicBezTo>
                    <a:lnTo>
                      <a:pt x="6003" y="977"/>
                    </a:lnTo>
                    <a:cubicBezTo>
                      <a:pt x="5798" y="1166"/>
                      <a:pt x="5182" y="1885"/>
                      <a:pt x="5182" y="1885"/>
                    </a:cubicBezTo>
                    <a:cubicBezTo>
                      <a:pt x="5047" y="1577"/>
                      <a:pt x="4874" y="1285"/>
                      <a:pt x="4636" y="1027"/>
                    </a:cubicBezTo>
                    <a:cubicBezTo>
                      <a:pt x="3679" y="70"/>
                      <a:pt x="2924" y="0"/>
                      <a:pt x="2345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71" name="Google Shape;571;p25"/>
              <p:cNvSpPr/>
              <p:nvPr/>
            </p:nvSpPr>
            <p:spPr>
              <a:xfrm>
                <a:off x="366025" y="2671525"/>
                <a:ext cx="73625" cy="75275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3011" extrusionOk="0">
                    <a:moveTo>
                      <a:pt x="1470" y="1"/>
                    </a:moveTo>
                    <a:cubicBezTo>
                      <a:pt x="0" y="1"/>
                      <a:pt x="17" y="2514"/>
                      <a:pt x="33" y="3011"/>
                    </a:cubicBezTo>
                    <a:lnTo>
                      <a:pt x="2907" y="3011"/>
                    </a:lnTo>
                    <a:cubicBezTo>
                      <a:pt x="2924" y="2514"/>
                      <a:pt x="2944" y="1"/>
                      <a:pt x="1470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72" name="Google Shape;572;p25"/>
              <p:cNvSpPr/>
              <p:nvPr/>
            </p:nvSpPr>
            <p:spPr>
              <a:xfrm>
                <a:off x="376275" y="2680150"/>
                <a:ext cx="29500" cy="54800"/>
              </a:xfrm>
              <a:custGeom>
                <a:avLst/>
                <a:gdLst/>
                <a:ahLst/>
                <a:cxnLst/>
                <a:rect l="l" t="t" r="r" b="b"/>
                <a:pathLst>
                  <a:path w="1180" h="2192" extrusionOk="0">
                    <a:moveTo>
                      <a:pt x="751" y="1"/>
                    </a:moveTo>
                    <a:cubicBezTo>
                      <a:pt x="663" y="1"/>
                      <a:pt x="583" y="38"/>
                      <a:pt x="531" y="116"/>
                    </a:cubicBezTo>
                    <a:cubicBezTo>
                      <a:pt x="325" y="374"/>
                      <a:pt x="190" y="699"/>
                      <a:pt x="104" y="1023"/>
                    </a:cubicBezTo>
                    <a:cubicBezTo>
                      <a:pt x="50" y="1228"/>
                      <a:pt x="17" y="1434"/>
                      <a:pt x="1" y="1639"/>
                    </a:cubicBezTo>
                    <a:cubicBezTo>
                      <a:pt x="1" y="1791"/>
                      <a:pt x="1" y="1947"/>
                      <a:pt x="104" y="2066"/>
                    </a:cubicBezTo>
                    <a:cubicBezTo>
                      <a:pt x="168" y="2152"/>
                      <a:pt x="268" y="2191"/>
                      <a:pt x="366" y="2191"/>
                    </a:cubicBezTo>
                    <a:cubicBezTo>
                      <a:pt x="424" y="2191"/>
                      <a:pt x="481" y="2178"/>
                      <a:pt x="531" y="2152"/>
                    </a:cubicBezTo>
                    <a:cubicBezTo>
                      <a:pt x="666" y="2082"/>
                      <a:pt x="789" y="1947"/>
                      <a:pt x="855" y="1811"/>
                    </a:cubicBezTo>
                    <a:cubicBezTo>
                      <a:pt x="1097" y="1380"/>
                      <a:pt x="1179" y="867"/>
                      <a:pt x="1077" y="374"/>
                    </a:cubicBezTo>
                    <a:cubicBezTo>
                      <a:pt x="1044" y="218"/>
                      <a:pt x="974" y="46"/>
                      <a:pt x="839" y="13"/>
                    </a:cubicBezTo>
                    <a:cubicBezTo>
                      <a:pt x="809" y="5"/>
                      <a:pt x="779" y="1"/>
                      <a:pt x="751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73" name="Google Shape;573;p25"/>
              <p:cNvSpPr/>
              <p:nvPr/>
            </p:nvSpPr>
            <p:spPr>
              <a:xfrm>
                <a:off x="330900" y="2640725"/>
                <a:ext cx="189125" cy="107825"/>
              </a:xfrm>
              <a:custGeom>
                <a:avLst/>
                <a:gdLst/>
                <a:ahLst/>
                <a:cxnLst/>
                <a:rect l="l" t="t" r="r" b="b"/>
                <a:pathLst>
                  <a:path w="7565" h="4313" extrusionOk="0">
                    <a:moveTo>
                      <a:pt x="2875" y="1315"/>
                    </a:moveTo>
                    <a:cubicBezTo>
                      <a:pt x="3031" y="1315"/>
                      <a:pt x="3167" y="1352"/>
                      <a:pt x="3302" y="1418"/>
                    </a:cubicBezTo>
                    <a:cubicBezTo>
                      <a:pt x="3442" y="1471"/>
                      <a:pt x="3545" y="1557"/>
                      <a:pt x="3647" y="1676"/>
                    </a:cubicBezTo>
                    <a:cubicBezTo>
                      <a:pt x="3853" y="1898"/>
                      <a:pt x="3972" y="2190"/>
                      <a:pt x="4058" y="2481"/>
                    </a:cubicBezTo>
                    <a:cubicBezTo>
                      <a:pt x="4144" y="2773"/>
                      <a:pt x="4193" y="3081"/>
                      <a:pt x="4226" y="3388"/>
                    </a:cubicBezTo>
                    <a:cubicBezTo>
                      <a:pt x="4247" y="3643"/>
                      <a:pt x="4263" y="3902"/>
                      <a:pt x="4263" y="4156"/>
                    </a:cubicBezTo>
                    <a:lnTo>
                      <a:pt x="1508" y="4156"/>
                    </a:lnTo>
                    <a:cubicBezTo>
                      <a:pt x="1491" y="3902"/>
                      <a:pt x="1508" y="3643"/>
                      <a:pt x="1541" y="3388"/>
                    </a:cubicBezTo>
                    <a:cubicBezTo>
                      <a:pt x="1557" y="3081"/>
                      <a:pt x="1611" y="2773"/>
                      <a:pt x="1697" y="2481"/>
                    </a:cubicBezTo>
                    <a:cubicBezTo>
                      <a:pt x="1783" y="2190"/>
                      <a:pt x="1919" y="1898"/>
                      <a:pt x="2107" y="1676"/>
                    </a:cubicBezTo>
                    <a:cubicBezTo>
                      <a:pt x="2210" y="1557"/>
                      <a:pt x="2329" y="1471"/>
                      <a:pt x="2448" y="1418"/>
                    </a:cubicBezTo>
                    <a:cubicBezTo>
                      <a:pt x="2584" y="1352"/>
                      <a:pt x="2740" y="1315"/>
                      <a:pt x="2875" y="1315"/>
                    </a:cubicBezTo>
                    <a:close/>
                    <a:moveTo>
                      <a:pt x="2329" y="1"/>
                    </a:moveTo>
                    <a:cubicBezTo>
                      <a:pt x="1594" y="1"/>
                      <a:pt x="1335" y="239"/>
                      <a:pt x="995" y="596"/>
                    </a:cubicBezTo>
                    <a:cubicBezTo>
                      <a:pt x="1" y="1660"/>
                      <a:pt x="54" y="3779"/>
                      <a:pt x="71" y="4243"/>
                    </a:cubicBezTo>
                    <a:cubicBezTo>
                      <a:pt x="71" y="4275"/>
                      <a:pt x="104" y="4312"/>
                      <a:pt x="141" y="4312"/>
                    </a:cubicBezTo>
                    <a:lnTo>
                      <a:pt x="4657" y="4312"/>
                    </a:lnTo>
                    <a:cubicBezTo>
                      <a:pt x="4674" y="4312"/>
                      <a:pt x="4690" y="4312"/>
                      <a:pt x="4707" y="4292"/>
                    </a:cubicBezTo>
                    <a:cubicBezTo>
                      <a:pt x="4723" y="4275"/>
                      <a:pt x="4739" y="4243"/>
                      <a:pt x="4739" y="4210"/>
                    </a:cubicBezTo>
                    <a:cubicBezTo>
                      <a:pt x="4739" y="4021"/>
                      <a:pt x="4760" y="3659"/>
                      <a:pt x="4723" y="3232"/>
                    </a:cubicBezTo>
                    <a:lnTo>
                      <a:pt x="4723" y="3232"/>
                    </a:lnTo>
                    <a:cubicBezTo>
                      <a:pt x="4826" y="3302"/>
                      <a:pt x="4928" y="3368"/>
                      <a:pt x="4965" y="3388"/>
                    </a:cubicBezTo>
                    <a:cubicBezTo>
                      <a:pt x="5081" y="3441"/>
                      <a:pt x="5194" y="3463"/>
                      <a:pt x="5305" y="3463"/>
                    </a:cubicBezTo>
                    <a:cubicBezTo>
                      <a:pt x="5663" y="3463"/>
                      <a:pt x="5990" y="3221"/>
                      <a:pt x="6263" y="2957"/>
                    </a:cubicBezTo>
                    <a:cubicBezTo>
                      <a:pt x="6365" y="2855"/>
                      <a:pt x="7564" y="1693"/>
                      <a:pt x="7408" y="1590"/>
                    </a:cubicBezTo>
                    <a:cubicBezTo>
                      <a:pt x="7402" y="1586"/>
                      <a:pt x="7394" y="1584"/>
                      <a:pt x="7387" y="1584"/>
                    </a:cubicBezTo>
                    <a:cubicBezTo>
                      <a:pt x="7301" y="1584"/>
                      <a:pt x="7168" y="1815"/>
                      <a:pt x="7137" y="1849"/>
                    </a:cubicBezTo>
                    <a:cubicBezTo>
                      <a:pt x="6965" y="2054"/>
                      <a:pt x="6521" y="2514"/>
                      <a:pt x="6316" y="2703"/>
                    </a:cubicBezTo>
                    <a:cubicBezTo>
                      <a:pt x="6045" y="2974"/>
                      <a:pt x="5713" y="3306"/>
                      <a:pt x="5321" y="3306"/>
                    </a:cubicBezTo>
                    <a:cubicBezTo>
                      <a:pt x="5244" y="3306"/>
                      <a:pt x="5165" y="3293"/>
                      <a:pt x="5084" y="3265"/>
                    </a:cubicBezTo>
                    <a:cubicBezTo>
                      <a:pt x="4982" y="3232"/>
                      <a:pt x="4879" y="3183"/>
                      <a:pt x="4793" y="3113"/>
                    </a:cubicBezTo>
                    <a:cubicBezTo>
                      <a:pt x="4776" y="3097"/>
                      <a:pt x="4739" y="3044"/>
                      <a:pt x="4707" y="3011"/>
                    </a:cubicBezTo>
                    <a:cubicBezTo>
                      <a:pt x="4657" y="2530"/>
                      <a:pt x="4555" y="1984"/>
                      <a:pt x="4349" y="1487"/>
                    </a:cubicBezTo>
                    <a:cubicBezTo>
                      <a:pt x="4349" y="1455"/>
                      <a:pt x="4296" y="1438"/>
                      <a:pt x="4263" y="1438"/>
                    </a:cubicBezTo>
                    <a:cubicBezTo>
                      <a:pt x="4210" y="1455"/>
                      <a:pt x="4193" y="1504"/>
                      <a:pt x="4210" y="1541"/>
                    </a:cubicBezTo>
                    <a:cubicBezTo>
                      <a:pt x="4604" y="2530"/>
                      <a:pt x="4604" y="3746"/>
                      <a:pt x="4587" y="4156"/>
                    </a:cubicBezTo>
                    <a:lnTo>
                      <a:pt x="4382" y="4156"/>
                    </a:lnTo>
                    <a:cubicBezTo>
                      <a:pt x="4399" y="3902"/>
                      <a:pt x="4399" y="3643"/>
                      <a:pt x="4366" y="3368"/>
                    </a:cubicBezTo>
                    <a:cubicBezTo>
                      <a:pt x="4349" y="3060"/>
                      <a:pt x="4296" y="2736"/>
                      <a:pt x="4210" y="2428"/>
                    </a:cubicBezTo>
                    <a:cubicBezTo>
                      <a:pt x="4160" y="2276"/>
                      <a:pt x="4107" y="2120"/>
                      <a:pt x="4041" y="1984"/>
                    </a:cubicBezTo>
                    <a:cubicBezTo>
                      <a:pt x="3972" y="1828"/>
                      <a:pt x="3885" y="1693"/>
                      <a:pt x="3766" y="1557"/>
                    </a:cubicBezTo>
                    <a:cubicBezTo>
                      <a:pt x="3664" y="1438"/>
                      <a:pt x="3528" y="1335"/>
                      <a:pt x="3372" y="1266"/>
                    </a:cubicBezTo>
                    <a:cubicBezTo>
                      <a:pt x="3220" y="1196"/>
                      <a:pt x="3048" y="1163"/>
                      <a:pt x="2875" y="1163"/>
                    </a:cubicBezTo>
                    <a:cubicBezTo>
                      <a:pt x="2707" y="1163"/>
                      <a:pt x="2534" y="1196"/>
                      <a:pt x="2378" y="1266"/>
                    </a:cubicBezTo>
                    <a:cubicBezTo>
                      <a:pt x="2226" y="1335"/>
                      <a:pt x="2091" y="1438"/>
                      <a:pt x="1988" y="1557"/>
                    </a:cubicBezTo>
                    <a:cubicBezTo>
                      <a:pt x="1865" y="1693"/>
                      <a:pt x="1783" y="1828"/>
                      <a:pt x="1713" y="1984"/>
                    </a:cubicBezTo>
                    <a:cubicBezTo>
                      <a:pt x="1335" y="3060"/>
                      <a:pt x="1303" y="4156"/>
                      <a:pt x="1303" y="4156"/>
                    </a:cubicBezTo>
                    <a:lnTo>
                      <a:pt x="223" y="4156"/>
                    </a:lnTo>
                    <a:cubicBezTo>
                      <a:pt x="206" y="3610"/>
                      <a:pt x="206" y="1660"/>
                      <a:pt x="1114" y="699"/>
                    </a:cubicBezTo>
                    <a:cubicBezTo>
                      <a:pt x="1422" y="358"/>
                      <a:pt x="1660" y="153"/>
                      <a:pt x="2346" y="153"/>
                    </a:cubicBezTo>
                    <a:cubicBezTo>
                      <a:pt x="3339" y="153"/>
                      <a:pt x="3594" y="358"/>
                      <a:pt x="3955" y="596"/>
                    </a:cubicBezTo>
                    <a:cubicBezTo>
                      <a:pt x="4349" y="871"/>
                      <a:pt x="4690" y="1233"/>
                      <a:pt x="4965" y="1643"/>
                    </a:cubicBezTo>
                    <a:cubicBezTo>
                      <a:pt x="5015" y="1709"/>
                      <a:pt x="5047" y="1795"/>
                      <a:pt x="5101" y="1865"/>
                    </a:cubicBezTo>
                    <a:cubicBezTo>
                      <a:pt x="5117" y="1914"/>
                      <a:pt x="5134" y="1984"/>
                      <a:pt x="5171" y="2017"/>
                    </a:cubicBezTo>
                    <a:cubicBezTo>
                      <a:pt x="5198" y="2040"/>
                      <a:pt x="5220" y="2050"/>
                      <a:pt x="5240" y="2050"/>
                    </a:cubicBezTo>
                    <a:cubicBezTo>
                      <a:pt x="5279" y="2050"/>
                      <a:pt x="5306" y="2012"/>
                      <a:pt x="5339" y="1968"/>
                    </a:cubicBezTo>
                    <a:cubicBezTo>
                      <a:pt x="5442" y="1865"/>
                      <a:pt x="5511" y="1762"/>
                      <a:pt x="5614" y="1660"/>
                    </a:cubicBezTo>
                    <a:cubicBezTo>
                      <a:pt x="5663" y="1590"/>
                      <a:pt x="5955" y="1266"/>
                      <a:pt x="6025" y="1196"/>
                    </a:cubicBezTo>
                    <a:cubicBezTo>
                      <a:pt x="6041" y="1163"/>
                      <a:pt x="6177" y="1060"/>
                      <a:pt x="6177" y="1007"/>
                    </a:cubicBezTo>
                    <a:cubicBezTo>
                      <a:pt x="6177" y="983"/>
                      <a:pt x="6167" y="972"/>
                      <a:pt x="6150" y="972"/>
                    </a:cubicBezTo>
                    <a:cubicBezTo>
                      <a:pt x="6036" y="972"/>
                      <a:pt x="5595" y="1444"/>
                      <a:pt x="5581" y="1487"/>
                    </a:cubicBezTo>
                    <a:cubicBezTo>
                      <a:pt x="5458" y="1590"/>
                      <a:pt x="5355" y="1709"/>
                      <a:pt x="5253" y="1828"/>
                    </a:cubicBezTo>
                    <a:cubicBezTo>
                      <a:pt x="4863" y="1077"/>
                      <a:pt x="4124" y="1"/>
                      <a:pt x="232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74" name="Google Shape;574;p25"/>
              <p:cNvSpPr/>
              <p:nvPr/>
            </p:nvSpPr>
            <p:spPr>
              <a:xfrm>
                <a:off x="353175" y="2704675"/>
                <a:ext cx="3425" cy="4625"/>
              </a:xfrm>
              <a:custGeom>
                <a:avLst/>
                <a:gdLst/>
                <a:ahLst/>
                <a:cxnLst/>
                <a:rect l="l" t="t" r="r" b="b"/>
                <a:pathLst>
                  <a:path w="137" h="185" extrusionOk="0">
                    <a:moveTo>
                      <a:pt x="34" y="0"/>
                    </a:moveTo>
                    <a:cubicBezTo>
                      <a:pt x="28" y="0"/>
                      <a:pt x="23" y="2"/>
                      <a:pt x="17" y="9"/>
                    </a:cubicBezTo>
                    <a:cubicBezTo>
                      <a:pt x="1" y="26"/>
                      <a:pt x="17" y="42"/>
                      <a:pt x="17" y="59"/>
                    </a:cubicBezTo>
                    <a:cubicBezTo>
                      <a:pt x="34" y="91"/>
                      <a:pt x="50" y="128"/>
                      <a:pt x="71" y="161"/>
                    </a:cubicBezTo>
                    <a:cubicBezTo>
                      <a:pt x="82" y="173"/>
                      <a:pt x="94" y="184"/>
                      <a:pt x="106" y="184"/>
                    </a:cubicBezTo>
                    <a:cubicBezTo>
                      <a:pt x="110" y="184"/>
                      <a:pt x="115" y="182"/>
                      <a:pt x="120" y="178"/>
                    </a:cubicBezTo>
                    <a:cubicBezTo>
                      <a:pt x="136" y="161"/>
                      <a:pt x="136" y="145"/>
                      <a:pt x="136" y="112"/>
                    </a:cubicBezTo>
                    <a:cubicBezTo>
                      <a:pt x="136" y="75"/>
                      <a:pt x="104" y="42"/>
                      <a:pt x="71" y="9"/>
                    </a:cubicBezTo>
                    <a:cubicBezTo>
                      <a:pt x="57" y="9"/>
                      <a:pt x="45" y="0"/>
                      <a:pt x="3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75" name="Google Shape;575;p25"/>
              <p:cNvSpPr/>
              <p:nvPr/>
            </p:nvSpPr>
            <p:spPr>
              <a:xfrm>
                <a:off x="347650" y="2704075"/>
                <a:ext cx="3400" cy="4650"/>
              </a:xfrm>
              <a:custGeom>
                <a:avLst/>
                <a:gdLst/>
                <a:ahLst/>
                <a:cxnLst/>
                <a:rect l="l" t="t" r="r" b="b"/>
                <a:pathLst>
                  <a:path w="136" h="186" extrusionOk="0">
                    <a:moveTo>
                      <a:pt x="41" y="0"/>
                    </a:moveTo>
                    <a:cubicBezTo>
                      <a:pt x="33" y="0"/>
                      <a:pt x="25" y="5"/>
                      <a:pt x="17" y="13"/>
                    </a:cubicBezTo>
                    <a:cubicBezTo>
                      <a:pt x="0" y="33"/>
                      <a:pt x="0" y="50"/>
                      <a:pt x="17" y="66"/>
                    </a:cubicBezTo>
                    <a:cubicBezTo>
                      <a:pt x="33" y="99"/>
                      <a:pt x="50" y="136"/>
                      <a:pt x="66" y="152"/>
                    </a:cubicBezTo>
                    <a:cubicBezTo>
                      <a:pt x="66" y="185"/>
                      <a:pt x="86" y="185"/>
                      <a:pt x="119" y="185"/>
                    </a:cubicBezTo>
                    <a:cubicBezTo>
                      <a:pt x="136" y="169"/>
                      <a:pt x="136" y="152"/>
                      <a:pt x="136" y="115"/>
                    </a:cubicBezTo>
                    <a:cubicBezTo>
                      <a:pt x="136" y="83"/>
                      <a:pt x="103" y="50"/>
                      <a:pt x="66" y="13"/>
                    </a:cubicBezTo>
                    <a:cubicBezTo>
                      <a:pt x="58" y="5"/>
                      <a:pt x="50" y="0"/>
                      <a:pt x="4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76" name="Google Shape;576;p25"/>
              <p:cNvSpPr/>
              <p:nvPr/>
            </p:nvSpPr>
            <p:spPr>
              <a:xfrm>
                <a:off x="466925" y="2708100"/>
                <a:ext cx="3525" cy="4925"/>
              </a:xfrm>
              <a:custGeom>
                <a:avLst/>
                <a:gdLst/>
                <a:ahLst/>
                <a:cxnLst/>
                <a:rect l="l" t="t" r="r" b="b"/>
                <a:pathLst>
                  <a:path w="141" h="197" extrusionOk="0">
                    <a:moveTo>
                      <a:pt x="52" y="1"/>
                    </a:moveTo>
                    <a:cubicBezTo>
                      <a:pt x="47" y="1"/>
                      <a:pt x="42" y="3"/>
                      <a:pt x="38" y="8"/>
                    </a:cubicBezTo>
                    <a:cubicBezTo>
                      <a:pt x="1" y="24"/>
                      <a:pt x="17" y="41"/>
                      <a:pt x="17" y="78"/>
                    </a:cubicBezTo>
                    <a:cubicBezTo>
                      <a:pt x="38" y="94"/>
                      <a:pt x="54" y="127"/>
                      <a:pt x="54" y="160"/>
                    </a:cubicBezTo>
                    <a:cubicBezTo>
                      <a:pt x="70" y="197"/>
                      <a:pt x="87" y="197"/>
                      <a:pt x="120" y="197"/>
                    </a:cubicBezTo>
                    <a:cubicBezTo>
                      <a:pt x="140" y="180"/>
                      <a:pt x="140" y="160"/>
                      <a:pt x="140" y="127"/>
                    </a:cubicBezTo>
                    <a:cubicBezTo>
                      <a:pt x="140" y="94"/>
                      <a:pt x="103" y="57"/>
                      <a:pt x="70" y="24"/>
                    </a:cubicBezTo>
                    <a:cubicBezTo>
                      <a:pt x="70" y="13"/>
                      <a:pt x="62" y="1"/>
                      <a:pt x="52" y="1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77" name="Google Shape;577;p25"/>
              <p:cNvSpPr/>
              <p:nvPr/>
            </p:nvSpPr>
            <p:spPr>
              <a:xfrm>
                <a:off x="462725" y="2712075"/>
                <a:ext cx="3825" cy="4750"/>
              </a:xfrm>
              <a:custGeom>
                <a:avLst/>
                <a:gdLst/>
                <a:ahLst/>
                <a:cxnLst/>
                <a:rect l="l" t="t" r="r" b="b"/>
                <a:pathLst>
                  <a:path w="153" h="190" extrusionOk="0">
                    <a:moveTo>
                      <a:pt x="33" y="1"/>
                    </a:moveTo>
                    <a:cubicBezTo>
                      <a:pt x="0" y="21"/>
                      <a:pt x="17" y="38"/>
                      <a:pt x="17" y="70"/>
                    </a:cubicBezTo>
                    <a:cubicBezTo>
                      <a:pt x="17" y="103"/>
                      <a:pt x="33" y="157"/>
                      <a:pt x="82" y="173"/>
                    </a:cubicBezTo>
                    <a:cubicBezTo>
                      <a:pt x="103" y="190"/>
                      <a:pt x="103" y="190"/>
                      <a:pt x="119" y="190"/>
                    </a:cubicBezTo>
                    <a:cubicBezTo>
                      <a:pt x="152" y="173"/>
                      <a:pt x="136" y="140"/>
                      <a:pt x="136" y="124"/>
                    </a:cubicBezTo>
                    <a:cubicBezTo>
                      <a:pt x="119" y="87"/>
                      <a:pt x="103" y="70"/>
                      <a:pt x="82" y="38"/>
                    </a:cubicBezTo>
                    <a:cubicBezTo>
                      <a:pt x="66" y="1"/>
                      <a:pt x="49" y="1"/>
                      <a:pt x="33" y="1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78" name="Google Shape;578;p25"/>
              <p:cNvSpPr/>
              <p:nvPr/>
            </p:nvSpPr>
            <p:spPr>
              <a:xfrm>
                <a:off x="456650" y="2609850"/>
                <a:ext cx="42025" cy="10950"/>
              </a:xfrm>
              <a:custGeom>
                <a:avLst/>
                <a:gdLst/>
                <a:ahLst/>
                <a:cxnLst/>
                <a:rect l="l" t="t" r="r" b="b"/>
                <a:pathLst>
                  <a:path w="1681" h="438" extrusionOk="0">
                    <a:moveTo>
                      <a:pt x="74" y="0"/>
                    </a:moveTo>
                    <a:cubicBezTo>
                      <a:pt x="42" y="0"/>
                      <a:pt x="10" y="7"/>
                      <a:pt x="1" y="37"/>
                    </a:cubicBezTo>
                    <a:cubicBezTo>
                      <a:pt x="1" y="107"/>
                      <a:pt x="190" y="123"/>
                      <a:pt x="276" y="123"/>
                    </a:cubicBezTo>
                    <a:cubicBezTo>
                      <a:pt x="822" y="156"/>
                      <a:pt x="1216" y="292"/>
                      <a:pt x="1557" y="415"/>
                    </a:cubicBezTo>
                    <a:cubicBezTo>
                      <a:pt x="1572" y="426"/>
                      <a:pt x="1609" y="438"/>
                      <a:pt x="1635" y="438"/>
                    </a:cubicBezTo>
                    <a:cubicBezTo>
                      <a:pt x="1646" y="438"/>
                      <a:pt x="1655" y="436"/>
                      <a:pt x="1660" y="431"/>
                    </a:cubicBezTo>
                    <a:cubicBezTo>
                      <a:pt x="1680" y="415"/>
                      <a:pt x="1643" y="361"/>
                      <a:pt x="1611" y="345"/>
                    </a:cubicBezTo>
                    <a:cubicBezTo>
                      <a:pt x="1405" y="209"/>
                      <a:pt x="1130" y="86"/>
                      <a:pt x="756" y="37"/>
                    </a:cubicBezTo>
                    <a:cubicBezTo>
                      <a:pt x="568" y="4"/>
                      <a:pt x="362" y="4"/>
                      <a:pt x="141" y="4"/>
                    </a:cubicBezTo>
                    <a:cubicBezTo>
                      <a:pt x="125" y="4"/>
                      <a:pt x="99" y="0"/>
                      <a:pt x="7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79" name="Google Shape;579;p25"/>
              <p:cNvSpPr/>
              <p:nvPr/>
            </p:nvSpPr>
            <p:spPr>
              <a:xfrm>
                <a:off x="456650" y="2588200"/>
                <a:ext cx="49200" cy="8925"/>
              </a:xfrm>
              <a:custGeom>
                <a:avLst/>
                <a:gdLst/>
                <a:ahLst/>
                <a:cxnLst/>
                <a:rect l="l" t="t" r="r" b="b"/>
                <a:pathLst>
                  <a:path w="1968" h="357" extrusionOk="0">
                    <a:moveTo>
                      <a:pt x="1394" y="0"/>
                    </a:moveTo>
                    <a:cubicBezTo>
                      <a:pt x="1016" y="0"/>
                      <a:pt x="647" y="47"/>
                      <a:pt x="276" y="168"/>
                    </a:cubicBezTo>
                    <a:cubicBezTo>
                      <a:pt x="206" y="184"/>
                      <a:pt x="157" y="217"/>
                      <a:pt x="87" y="234"/>
                    </a:cubicBezTo>
                    <a:cubicBezTo>
                      <a:pt x="38" y="271"/>
                      <a:pt x="1" y="303"/>
                      <a:pt x="1" y="336"/>
                    </a:cubicBezTo>
                    <a:cubicBezTo>
                      <a:pt x="17" y="357"/>
                      <a:pt x="54" y="357"/>
                      <a:pt x="71" y="357"/>
                    </a:cubicBezTo>
                    <a:cubicBezTo>
                      <a:pt x="141" y="336"/>
                      <a:pt x="223" y="320"/>
                      <a:pt x="309" y="287"/>
                    </a:cubicBezTo>
                    <a:cubicBezTo>
                      <a:pt x="654" y="184"/>
                      <a:pt x="1011" y="152"/>
                      <a:pt x="1372" y="131"/>
                    </a:cubicBezTo>
                    <a:cubicBezTo>
                      <a:pt x="1524" y="115"/>
                      <a:pt x="1697" y="115"/>
                      <a:pt x="1849" y="98"/>
                    </a:cubicBezTo>
                    <a:cubicBezTo>
                      <a:pt x="1886" y="98"/>
                      <a:pt x="1968" y="98"/>
                      <a:pt x="1968" y="82"/>
                    </a:cubicBezTo>
                    <a:cubicBezTo>
                      <a:pt x="1968" y="28"/>
                      <a:pt x="1799" y="12"/>
                      <a:pt x="1730" y="12"/>
                    </a:cubicBezTo>
                    <a:cubicBezTo>
                      <a:pt x="1617" y="4"/>
                      <a:pt x="1505" y="0"/>
                      <a:pt x="139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80" name="Google Shape;580;p25"/>
              <p:cNvSpPr/>
              <p:nvPr/>
            </p:nvSpPr>
            <p:spPr>
              <a:xfrm>
                <a:off x="456650" y="2599500"/>
                <a:ext cx="48800" cy="6100"/>
              </a:xfrm>
              <a:custGeom>
                <a:avLst/>
                <a:gdLst/>
                <a:ahLst/>
                <a:cxnLst/>
                <a:rect l="l" t="t" r="r" b="b"/>
                <a:pathLst>
                  <a:path w="1952" h="244" extrusionOk="0">
                    <a:moveTo>
                      <a:pt x="759" y="0"/>
                    </a:moveTo>
                    <a:cubicBezTo>
                      <a:pt x="536" y="0"/>
                      <a:pt x="315" y="21"/>
                      <a:pt x="87" y="73"/>
                    </a:cubicBezTo>
                    <a:cubicBezTo>
                      <a:pt x="54" y="90"/>
                      <a:pt x="1" y="90"/>
                      <a:pt x="1" y="143"/>
                    </a:cubicBezTo>
                    <a:cubicBezTo>
                      <a:pt x="1" y="173"/>
                      <a:pt x="26" y="178"/>
                      <a:pt x="53" y="178"/>
                    </a:cubicBezTo>
                    <a:cubicBezTo>
                      <a:pt x="71" y="178"/>
                      <a:pt x="90" y="176"/>
                      <a:pt x="104" y="176"/>
                    </a:cubicBezTo>
                    <a:cubicBezTo>
                      <a:pt x="206" y="159"/>
                      <a:pt x="325" y="159"/>
                      <a:pt x="428" y="143"/>
                    </a:cubicBezTo>
                    <a:cubicBezTo>
                      <a:pt x="560" y="128"/>
                      <a:pt x="690" y="121"/>
                      <a:pt x="819" y="121"/>
                    </a:cubicBezTo>
                    <a:cubicBezTo>
                      <a:pt x="1143" y="121"/>
                      <a:pt x="1457" y="163"/>
                      <a:pt x="1762" y="213"/>
                    </a:cubicBezTo>
                    <a:cubicBezTo>
                      <a:pt x="1811" y="224"/>
                      <a:pt x="1874" y="243"/>
                      <a:pt x="1915" y="243"/>
                    </a:cubicBezTo>
                    <a:cubicBezTo>
                      <a:pt x="1933" y="243"/>
                      <a:pt x="1946" y="239"/>
                      <a:pt x="1951" y="229"/>
                    </a:cubicBezTo>
                    <a:cubicBezTo>
                      <a:pt x="1951" y="213"/>
                      <a:pt x="1865" y="159"/>
                      <a:pt x="1832" y="143"/>
                    </a:cubicBezTo>
                    <a:cubicBezTo>
                      <a:pt x="1627" y="73"/>
                      <a:pt x="1405" y="40"/>
                      <a:pt x="1200" y="24"/>
                    </a:cubicBezTo>
                    <a:cubicBezTo>
                      <a:pt x="1050" y="9"/>
                      <a:pt x="904" y="0"/>
                      <a:pt x="75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81" name="Google Shape;581;p25"/>
              <p:cNvSpPr/>
              <p:nvPr/>
            </p:nvSpPr>
            <p:spPr>
              <a:xfrm>
                <a:off x="365600" y="2399125"/>
                <a:ext cx="62850" cy="117125"/>
              </a:xfrm>
              <a:custGeom>
                <a:avLst/>
                <a:gdLst/>
                <a:ahLst/>
                <a:cxnLst/>
                <a:rect l="l" t="t" r="r" b="b"/>
                <a:pathLst>
                  <a:path w="2514" h="4685" extrusionOk="0">
                    <a:moveTo>
                      <a:pt x="802" y="1"/>
                    </a:moveTo>
                    <a:cubicBezTo>
                      <a:pt x="719" y="1"/>
                      <a:pt x="644" y="15"/>
                      <a:pt x="580" y="32"/>
                    </a:cubicBezTo>
                    <a:cubicBezTo>
                      <a:pt x="325" y="81"/>
                      <a:pt x="1" y="443"/>
                      <a:pt x="136" y="1416"/>
                    </a:cubicBezTo>
                    <a:cubicBezTo>
                      <a:pt x="255" y="2393"/>
                      <a:pt x="1249" y="4684"/>
                      <a:pt x="1249" y="4684"/>
                    </a:cubicBezTo>
                    <a:lnTo>
                      <a:pt x="2514" y="4532"/>
                    </a:lnTo>
                    <a:cubicBezTo>
                      <a:pt x="2448" y="3691"/>
                      <a:pt x="2120" y="1453"/>
                      <a:pt x="1693" y="697"/>
                    </a:cubicBezTo>
                    <a:cubicBezTo>
                      <a:pt x="1383" y="131"/>
                      <a:pt x="1055" y="1"/>
                      <a:pt x="802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82" name="Google Shape;582;p25"/>
              <p:cNvSpPr/>
              <p:nvPr/>
            </p:nvSpPr>
            <p:spPr>
              <a:xfrm>
                <a:off x="366425" y="2397350"/>
                <a:ext cx="63775" cy="119925"/>
              </a:xfrm>
              <a:custGeom>
                <a:avLst/>
                <a:gdLst/>
                <a:ahLst/>
                <a:cxnLst/>
                <a:rect l="l" t="t" r="r" b="b"/>
                <a:pathLst>
                  <a:path w="2551" h="4797" extrusionOk="0">
                    <a:moveTo>
                      <a:pt x="703" y="0"/>
                    </a:moveTo>
                    <a:cubicBezTo>
                      <a:pt x="633" y="0"/>
                      <a:pt x="584" y="17"/>
                      <a:pt x="530" y="33"/>
                    </a:cubicBezTo>
                    <a:cubicBezTo>
                      <a:pt x="465" y="50"/>
                      <a:pt x="411" y="66"/>
                      <a:pt x="362" y="103"/>
                    </a:cubicBezTo>
                    <a:cubicBezTo>
                      <a:pt x="259" y="189"/>
                      <a:pt x="190" y="271"/>
                      <a:pt x="136" y="395"/>
                    </a:cubicBezTo>
                    <a:cubicBezTo>
                      <a:pt x="34" y="600"/>
                      <a:pt x="1" y="822"/>
                      <a:pt x="1" y="1043"/>
                    </a:cubicBezTo>
                    <a:cubicBezTo>
                      <a:pt x="1" y="1265"/>
                      <a:pt x="17" y="1487"/>
                      <a:pt x="70" y="1708"/>
                    </a:cubicBezTo>
                    <a:cubicBezTo>
                      <a:pt x="120" y="1914"/>
                      <a:pt x="173" y="2140"/>
                      <a:pt x="239" y="2345"/>
                    </a:cubicBezTo>
                    <a:cubicBezTo>
                      <a:pt x="362" y="2756"/>
                      <a:pt x="514" y="3166"/>
                      <a:pt x="670" y="3556"/>
                    </a:cubicBezTo>
                    <a:cubicBezTo>
                      <a:pt x="822" y="3967"/>
                      <a:pt x="994" y="4377"/>
                      <a:pt x="1163" y="4772"/>
                    </a:cubicBezTo>
                    <a:cubicBezTo>
                      <a:pt x="1177" y="4783"/>
                      <a:pt x="1198" y="4797"/>
                      <a:pt x="1214" y="4797"/>
                    </a:cubicBezTo>
                    <a:cubicBezTo>
                      <a:pt x="1221" y="4797"/>
                      <a:pt x="1228" y="4794"/>
                      <a:pt x="1233" y="4788"/>
                    </a:cubicBezTo>
                    <a:cubicBezTo>
                      <a:pt x="1265" y="4788"/>
                      <a:pt x="1286" y="4755"/>
                      <a:pt x="1265" y="4722"/>
                    </a:cubicBezTo>
                    <a:cubicBezTo>
                      <a:pt x="1097" y="4328"/>
                      <a:pt x="941" y="3934"/>
                      <a:pt x="789" y="3523"/>
                    </a:cubicBezTo>
                    <a:cubicBezTo>
                      <a:pt x="633" y="3113"/>
                      <a:pt x="498" y="2719"/>
                      <a:pt x="362" y="2292"/>
                    </a:cubicBezTo>
                    <a:cubicBezTo>
                      <a:pt x="309" y="2086"/>
                      <a:pt x="239" y="1881"/>
                      <a:pt x="206" y="1676"/>
                    </a:cubicBezTo>
                    <a:cubicBezTo>
                      <a:pt x="157" y="1470"/>
                      <a:pt x="136" y="1265"/>
                      <a:pt x="136" y="1043"/>
                    </a:cubicBezTo>
                    <a:cubicBezTo>
                      <a:pt x="136" y="838"/>
                      <a:pt x="173" y="633"/>
                      <a:pt x="259" y="444"/>
                    </a:cubicBezTo>
                    <a:cubicBezTo>
                      <a:pt x="309" y="358"/>
                      <a:pt x="362" y="292"/>
                      <a:pt x="444" y="222"/>
                    </a:cubicBezTo>
                    <a:cubicBezTo>
                      <a:pt x="481" y="206"/>
                      <a:pt x="514" y="189"/>
                      <a:pt x="567" y="169"/>
                    </a:cubicBezTo>
                    <a:cubicBezTo>
                      <a:pt x="617" y="152"/>
                      <a:pt x="649" y="152"/>
                      <a:pt x="703" y="152"/>
                    </a:cubicBezTo>
                    <a:cubicBezTo>
                      <a:pt x="723" y="151"/>
                      <a:pt x="742" y="150"/>
                      <a:pt x="762" y="150"/>
                    </a:cubicBezTo>
                    <a:cubicBezTo>
                      <a:pt x="944" y="150"/>
                      <a:pt x="1112" y="219"/>
                      <a:pt x="1249" y="341"/>
                    </a:cubicBezTo>
                    <a:cubicBezTo>
                      <a:pt x="1405" y="477"/>
                      <a:pt x="1524" y="649"/>
                      <a:pt x="1610" y="838"/>
                    </a:cubicBezTo>
                    <a:cubicBezTo>
                      <a:pt x="1713" y="1027"/>
                      <a:pt x="1779" y="1232"/>
                      <a:pt x="1848" y="1437"/>
                    </a:cubicBezTo>
                    <a:lnTo>
                      <a:pt x="2004" y="2053"/>
                    </a:lnTo>
                    <a:cubicBezTo>
                      <a:pt x="2107" y="2464"/>
                      <a:pt x="2173" y="2891"/>
                      <a:pt x="2243" y="3318"/>
                    </a:cubicBezTo>
                    <a:cubicBezTo>
                      <a:pt x="2312" y="3745"/>
                      <a:pt x="2378" y="4172"/>
                      <a:pt x="2415" y="4603"/>
                    </a:cubicBezTo>
                    <a:cubicBezTo>
                      <a:pt x="2415" y="4636"/>
                      <a:pt x="2448" y="4669"/>
                      <a:pt x="2481" y="4669"/>
                    </a:cubicBezTo>
                    <a:cubicBezTo>
                      <a:pt x="2518" y="4653"/>
                      <a:pt x="2551" y="4636"/>
                      <a:pt x="2534" y="4583"/>
                    </a:cubicBezTo>
                    <a:cubicBezTo>
                      <a:pt x="2534" y="4377"/>
                      <a:pt x="2497" y="4156"/>
                      <a:pt x="2481" y="3950"/>
                    </a:cubicBezTo>
                    <a:cubicBezTo>
                      <a:pt x="2448" y="3729"/>
                      <a:pt x="2432" y="3507"/>
                      <a:pt x="2395" y="3302"/>
                    </a:cubicBezTo>
                    <a:cubicBezTo>
                      <a:pt x="2329" y="2875"/>
                      <a:pt x="2243" y="2448"/>
                      <a:pt x="2156" y="2016"/>
                    </a:cubicBezTo>
                    <a:cubicBezTo>
                      <a:pt x="2107" y="1811"/>
                      <a:pt x="2054" y="1589"/>
                      <a:pt x="1984" y="1384"/>
                    </a:cubicBezTo>
                    <a:cubicBezTo>
                      <a:pt x="1918" y="1179"/>
                      <a:pt x="1848" y="973"/>
                      <a:pt x="1762" y="768"/>
                    </a:cubicBezTo>
                    <a:cubicBezTo>
                      <a:pt x="1643" y="563"/>
                      <a:pt x="1524" y="374"/>
                      <a:pt x="1352" y="222"/>
                    </a:cubicBezTo>
                    <a:cubicBezTo>
                      <a:pt x="1265" y="152"/>
                      <a:pt x="1163" y="87"/>
                      <a:pt x="1044" y="50"/>
                    </a:cubicBezTo>
                    <a:cubicBezTo>
                      <a:pt x="941" y="0"/>
                      <a:pt x="822" y="0"/>
                      <a:pt x="70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83" name="Google Shape;583;p25"/>
              <p:cNvSpPr/>
              <p:nvPr/>
            </p:nvSpPr>
            <p:spPr>
              <a:xfrm>
                <a:off x="380075" y="2424625"/>
                <a:ext cx="8650" cy="3000"/>
              </a:xfrm>
              <a:custGeom>
                <a:avLst/>
                <a:gdLst/>
                <a:ahLst/>
                <a:cxnLst/>
                <a:rect l="l" t="t" r="r" b="b"/>
                <a:pathLst>
                  <a:path w="346" h="120" extrusionOk="0">
                    <a:moveTo>
                      <a:pt x="182" y="0"/>
                    </a:moveTo>
                    <a:cubicBezTo>
                      <a:pt x="134" y="0"/>
                      <a:pt x="87" y="10"/>
                      <a:pt x="38" y="22"/>
                    </a:cubicBezTo>
                    <a:cubicBezTo>
                      <a:pt x="1" y="39"/>
                      <a:pt x="1" y="55"/>
                      <a:pt x="1" y="71"/>
                    </a:cubicBezTo>
                    <a:cubicBezTo>
                      <a:pt x="1" y="88"/>
                      <a:pt x="1" y="104"/>
                      <a:pt x="21" y="104"/>
                    </a:cubicBezTo>
                    <a:cubicBezTo>
                      <a:pt x="73" y="114"/>
                      <a:pt x="124" y="120"/>
                      <a:pt x="173" y="120"/>
                    </a:cubicBezTo>
                    <a:cubicBezTo>
                      <a:pt x="221" y="120"/>
                      <a:pt x="268" y="114"/>
                      <a:pt x="309" y="104"/>
                    </a:cubicBezTo>
                    <a:cubicBezTo>
                      <a:pt x="329" y="88"/>
                      <a:pt x="346" y="88"/>
                      <a:pt x="346" y="55"/>
                    </a:cubicBezTo>
                    <a:cubicBezTo>
                      <a:pt x="329" y="39"/>
                      <a:pt x="329" y="22"/>
                      <a:pt x="292" y="22"/>
                    </a:cubicBezTo>
                    <a:cubicBezTo>
                      <a:pt x="255" y="6"/>
                      <a:pt x="219" y="0"/>
                      <a:pt x="18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84" name="Google Shape;584;p25"/>
              <p:cNvSpPr/>
              <p:nvPr/>
            </p:nvSpPr>
            <p:spPr>
              <a:xfrm>
                <a:off x="378850" y="2419650"/>
                <a:ext cx="7325" cy="3150"/>
              </a:xfrm>
              <a:custGeom>
                <a:avLst/>
                <a:gdLst/>
                <a:ahLst/>
                <a:cxnLst/>
                <a:rect l="l" t="t" r="r" b="b"/>
                <a:pathLst>
                  <a:path w="293" h="126" extrusionOk="0">
                    <a:moveTo>
                      <a:pt x="140" y="0"/>
                    </a:moveTo>
                    <a:cubicBezTo>
                      <a:pt x="107" y="0"/>
                      <a:pt x="76" y="6"/>
                      <a:pt x="50" y="16"/>
                    </a:cubicBezTo>
                    <a:cubicBezTo>
                      <a:pt x="17" y="32"/>
                      <a:pt x="1" y="49"/>
                      <a:pt x="17" y="81"/>
                    </a:cubicBezTo>
                    <a:cubicBezTo>
                      <a:pt x="17" y="98"/>
                      <a:pt x="33" y="118"/>
                      <a:pt x="50" y="118"/>
                    </a:cubicBezTo>
                    <a:cubicBezTo>
                      <a:pt x="70" y="123"/>
                      <a:pt x="90" y="125"/>
                      <a:pt x="110" y="125"/>
                    </a:cubicBezTo>
                    <a:cubicBezTo>
                      <a:pt x="159" y="125"/>
                      <a:pt x="208" y="113"/>
                      <a:pt x="255" y="98"/>
                    </a:cubicBezTo>
                    <a:cubicBezTo>
                      <a:pt x="276" y="81"/>
                      <a:pt x="292" y="81"/>
                      <a:pt x="292" y="49"/>
                    </a:cubicBezTo>
                    <a:cubicBezTo>
                      <a:pt x="292" y="32"/>
                      <a:pt x="276" y="16"/>
                      <a:pt x="239" y="16"/>
                    </a:cubicBezTo>
                    <a:cubicBezTo>
                      <a:pt x="206" y="6"/>
                      <a:pt x="172" y="0"/>
                      <a:pt x="14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85" name="Google Shape;585;p25"/>
              <p:cNvSpPr/>
              <p:nvPr/>
            </p:nvSpPr>
            <p:spPr>
              <a:xfrm>
                <a:off x="397625" y="2443950"/>
                <a:ext cx="9075" cy="8025"/>
              </a:xfrm>
              <a:custGeom>
                <a:avLst/>
                <a:gdLst/>
                <a:ahLst/>
                <a:cxnLst/>
                <a:rect l="l" t="t" r="r" b="b"/>
                <a:pathLst>
                  <a:path w="363" h="321" extrusionOk="0">
                    <a:moveTo>
                      <a:pt x="309" y="1"/>
                    </a:moveTo>
                    <a:cubicBezTo>
                      <a:pt x="292" y="1"/>
                      <a:pt x="276" y="17"/>
                      <a:pt x="260" y="17"/>
                    </a:cubicBezTo>
                    <a:cubicBezTo>
                      <a:pt x="173" y="87"/>
                      <a:pt x="104" y="152"/>
                      <a:pt x="38" y="239"/>
                    </a:cubicBezTo>
                    <a:cubicBezTo>
                      <a:pt x="17" y="255"/>
                      <a:pt x="1" y="292"/>
                      <a:pt x="17" y="308"/>
                    </a:cubicBezTo>
                    <a:cubicBezTo>
                      <a:pt x="28" y="317"/>
                      <a:pt x="41" y="321"/>
                      <a:pt x="56" y="321"/>
                    </a:cubicBezTo>
                    <a:cubicBezTo>
                      <a:pt x="71" y="321"/>
                      <a:pt x="87" y="317"/>
                      <a:pt x="104" y="308"/>
                    </a:cubicBezTo>
                    <a:cubicBezTo>
                      <a:pt x="173" y="255"/>
                      <a:pt x="223" y="206"/>
                      <a:pt x="276" y="152"/>
                    </a:cubicBezTo>
                    <a:cubicBezTo>
                      <a:pt x="309" y="120"/>
                      <a:pt x="346" y="87"/>
                      <a:pt x="346" y="33"/>
                    </a:cubicBezTo>
                    <a:cubicBezTo>
                      <a:pt x="362" y="1"/>
                      <a:pt x="346" y="1"/>
                      <a:pt x="30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86" name="Google Shape;586;p25"/>
              <p:cNvSpPr/>
              <p:nvPr/>
            </p:nvSpPr>
            <p:spPr>
              <a:xfrm>
                <a:off x="394250" y="2440175"/>
                <a:ext cx="6900" cy="6375"/>
              </a:xfrm>
              <a:custGeom>
                <a:avLst/>
                <a:gdLst/>
                <a:ahLst/>
                <a:cxnLst/>
                <a:rect l="l" t="t" r="r" b="b"/>
                <a:pathLst>
                  <a:path w="276" h="255" extrusionOk="0">
                    <a:moveTo>
                      <a:pt x="239" y="1"/>
                    </a:moveTo>
                    <a:cubicBezTo>
                      <a:pt x="234" y="1"/>
                      <a:pt x="230" y="6"/>
                      <a:pt x="222" y="16"/>
                    </a:cubicBezTo>
                    <a:cubicBezTo>
                      <a:pt x="136" y="49"/>
                      <a:pt x="70" y="119"/>
                      <a:pt x="17" y="201"/>
                    </a:cubicBezTo>
                    <a:cubicBezTo>
                      <a:pt x="0" y="238"/>
                      <a:pt x="17" y="254"/>
                      <a:pt x="50" y="254"/>
                    </a:cubicBezTo>
                    <a:lnTo>
                      <a:pt x="70" y="254"/>
                    </a:lnTo>
                    <a:cubicBezTo>
                      <a:pt x="152" y="201"/>
                      <a:pt x="206" y="119"/>
                      <a:pt x="255" y="49"/>
                    </a:cubicBezTo>
                    <a:cubicBezTo>
                      <a:pt x="276" y="32"/>
                      <a:pt x="276" y="16"/>
                      <a:pt x="255" y="16"/>
                    </a:cubicBezTo>
                    <a:cubicBezTo>
                      <a:pt x="247" y="6"/>
                      <a:pt x="243" y="1"/>
                      <a:pt x="23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87" name="Google Shape;587;p25"/>
              <p:cNvSpPr/>
              <p:nvPr/>
            </p:nvSpPr>
            <p:spPr>
              <a:xfrm>
                <a:off x="289025" y="2411950"/>
                <a:ext cx="193325" cy="246775"/>
              </a:xfrm>
              <a:custGeom>
                <a:avLst/>
                <a:gdLst/>
                <a:ahLst/>
                <a:cxnLst/>
                <a:rect l="l" t="t" r="r" b="b"/>
                <a:pathLst>
                  <a:path w="7733" h="9871" extrusionOk="0">
                    <a:moveTo>
                      <a:pt x="726" y="0"/>
                    </a:moveTo>
                    <a:cubicBezTo>
                      <a:pt x="390" y="0"/>
                      <a:pt x="204" y="153"/>
                      <a:pt x="103" y="340"/>
                    </a:cubicBezTo>
                    <a:cubicBezTo>
                      <a:pt x="1" y="562"/>
                      <a:pt x="1" y="1281"/>
                      <a:pt x="358" y="2069"/>
                    </a:cubicBezTo>
                    <a:cubicBezTo>
                      <a:pt x="974" y="3350"/>
                      <a:pt x="1746" y="4327"/>
                      <a:pt x="2070" y="4717"/>
                    </a:cubicBezTo>
                    <a:cubicBezTo>
                      <a:pt x="1643" y="5251"/>
                      <a:pt x="1384" y="5933"/>
                      <a:pt x="1384" y="6688"/>
                    </a:cubicBezTo>
                    <a:cubicBezTo>
                      <a:pt x="1384" y="8450"/>
                      <a:pt x="2805" y="9871"/>
                      <a:pt x="4567" y="9871"/>
                    </a:cubicBezTo>
                    <a:cubicBezTo>
                      <a:pt x="6312" y="9871"/>
                      <a:pt x="7732" y="8450"/>
                      <a:pt x="7732" y="6688"/>
                    </a:cubicBezTo>
                    <a:cubicBezTo>
                      <a:pt x="7732" y="5764"/>
                      <a:pt x="7203" y="4754"/>
                      <a:pt x="6706" y="4344"/>
                    </a:cubicBezTo>
                    <a:cubicBezTo>
                      <a:pt x="6090" y="3830"/>
                      <a:pt x="5782" y="3728"/>
                      <a:pt x="5491" y="3642"/>
                    </a:cubicBezTo>
                    <a:cubicBezTo>
                      <a:pt x="5183" y="3572"/>
                      <a:pt x="4875" y="3506"/>
                      <a:pt x="4567" y="3506"/>
                    </a:cubicBezTo>
                    <a:cubicBezTo>
                      <a:pt x="4090" y="3506"/>
                      <a:pt x="3663" y="3609"/>
                      <a:pt x="3253" y="3793"/>
                    </a:cubicBezTo>
                    <a:cubicBezTo>
                      <a:pt x="3150" y="3420"/>
                      <a:pt x="2945" y="2751"/>
                      <a:pt x="2567" y="1966"/>
                    </a:cubicBezTo>
                    <a:cubicBezTo>
                      <a:pt x="2000" y="817"/>
                      <a:pt x="1384" y="65"/>
                      <a:pt x="925" y="16"/>
                    </a:cubicBezTo>
                    <a:cubicBezTo>
                      <a:pt x="853" y="5"/>
                      <a:pt x="787" y="0"/>
                      <a:pt x="726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88" name="Google Shape;588;p25"/>
              <p:cNvSpPr/>
              <p:nvPr/>
            </p:nvSpPr>
            <p:spPr>
              <a:xfrm>
                <a:off x="323625" y="2572675"/>
                <a:ext cx="158725" cy="86050"/>
              </a:xfrm>
              <a:custGeom>
                <a:avLst/>
                <a:gdLst/>
                <a:ahLst/>
                <a:cxnLst/>
                <a:rect l="l" t="t" r="r" b="b"/>
                <a:pathLst>
                  <a:path w="6349" h="3442" extrusionOk="0">
                    <a:moveTo>
                      <a:pt x="21" y="1"/>
                    </a:moveTo>
                    <a:cubicBezTo>
                      <a:pt x="0" y="87"/>
                      <a:pt x="0" y="173"/>
                      <a:pt x="0" y="259"/>
                    </a:cubicBezTo>
                    <a:cubicBezTo>
                      <a:pt x="0" y="2021"/>
                      <a:pt x="1421" y="3442"/>
                      <a:pt x="3183" y="3442"/>
                    </a:cubicBezTo>
                    <a:cubicBezTo>
                      <a:pt x="4928" y="3442"/>
                      <a:pt x="6348" y="2021"/>
                      <a:pt x="6348" y="259"/>
                    </a:cubicBezTo>
                    <a:lnTo>
                      <a:pt x="6348" y="1"/>
                    </a:lnTo>
                    <a:cubicBezTo>
                      <a:pt x="6213" y="1627"/>
                      <a:pt x="4825" y="2772"/>
                      <a:pt x="3166" y="2772"/>
                    </a:cubicBezTo>
                    <a:cubicBezTo>
                      <a:pt x="1491" y="2772"/>
                      <a:pt x="140" y="1627"/>
                      <a:pt x="21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89" name="Google Shape;589;p25"/>
              <p:cNvSpPr/>
              <p:nvPr/>
            </p:nvSpPr>
            <p:spPr>
              <a:xfrm>
                <a:off x="372900" y="2515800"/>
                <a:ext cx="78650" cy="38650"/>
              </a:xfrm>
              <a:custGeom>
                <a:avLst/>
                <a:gdLst/>
                <a:ahLst/>
                <a:cxnLst/>
                <a:rect l="l" t="t" r="r" b="b"/>
                <a:pathLst>
                  <a:path w="3146" h="1546" extrusionOk="0">
                    <a:moveTo>
                      <a:pt x="2957" y="1"/>
                    </a:moveTo>
                    <a:cubicBezTo>
                      <a:pt x="2940" y="153"/>
                      <a:pt x="2907" y="292"/>
                      <a:pt x="2838" y="428"/>
                    </a:cubicBezTo>
                    <a:cubicBezTo>
                      <a:pt x="2772" y="547"/>
                      <a:pt x="2649" y="666"/>
                      <a:pt x="2513" y="687"/>
                    </a:cubicBezTo>
                    <a:cubicBezTo>
                      <a:pt x="2464" y="703"/>
                      <a:pt x="2394" y="703"/>
                      <a:pt x="2361" y="752"/>
                    </a:cubicBezTo>
                    <a:cubicBezTo>
                      <a:pt x="2361" y="769"/>
                      <a:pt x="2361" y="789"/>
                      <a:pt x="2341" y="806"/>
                    </a:cubicBezTo>
                    <a:cubicBezTo>
                      <a:pt x="2308" y="994"/>
                      <a:pt x="2136" y="1114"/>
                      <a:pt x="1967" y="1200"/>
                    </a:cubicBezTo>
                    <a:cubicBezTo>
                      <a:pt x="1795" y="1265"/>
                      <a:pt x="1606" y="1335"/>
                      <a:pt x="1417" y="1335"/>
                    </a:cubicBezTo>
                    <a:cubicBezTo>
                      <a:pt x="1394" y="1337"/>
                      <a:pt x="1370" y="1338"/>
                      <a:pt x="1347" y="1338"/>
                    </a:cubicBezTo>
                    <a:cubicBezTo>
                      <a:pt x="1185" y="1338"/>
                      <a:pt x="1021" y="1289"/>
                      <a:pt x="871" y="1200"/>
                    </a:cubicBezTo>
                    <a:cubicBezTo>
                      <a:pt x="838" y="1179"/>
                      <a:pt x="801" y="1146"/>
                      <a:pt x="752" y="1146"/>
                    </a:cubicBezTo>
                    <a:cubicBezTo>
                      <a:pt x="736" y="1142"/>
                      <a:pt x="722" y="1140"/>
                      <a:pt x="710" y="1140"/>
                    </a:cubicBezTo>
                    <a:cubicBezTo>
                      <a:pt x="679" y="1140"/>
                      <a:pt x="656" y="1151"/>
                      <a:pt x="633" y="1163"/>
                    </a:cubicBezTo>
                    <a:cubicBezTo>
                      <a:pt x="601" y="1171"/>
                      <a:pt x="570" y="1175"/>
                      <a:pt x="539" y="1175"/>
                    </a:cubicBezTo>
                    <a:cubicBezTo>
                      <a:pt x="434" y="1175"/>
                      <a:pt x="334" y="1131"/>
                      <a:pt x="255" y="1077"/>
                    </a:cubicBezTo>
                    <a:cubicBezTo>
                      <a:pt x="152" y="994"/>
                      <a:pt x="82" y="892"/>
                      <a:pt x="17" y="769"/>
                    </a:cubicBezTo>
                    <a:lnTo>
                      <a:pt x="0" y="769"/>
                    </a:lnTo>
                    <a:cubicBezTo>
                      <a:pt x="33" y="908"/>
                      <a:pt x="82" y="1027"/>
                      <a:pt x="169" y="1146"/>
                    </a:cubicBezTo>
                    <a:cubicBezTo>
                      <a:pt x="255" y="1249"/>
                      <a:pt x="390" y="1319"/>
                      <a:pt x="530" y="1319"/>
                    </a:cubicBezTo>
                    <a:lnTo>
                      <a:pt x="698" y="1319"/>
                    </a:lnTo>
                    <a:cubicBezTo>
                      <a:pt x="752" y="1335"/>
                      <a:pt x="785" y="1368"/>
                      <a:pt x="838" y="1385"/>
                    </a:cubicBezTo>
                    <a:cubicBezTo>
                      <a:pt x="1021" y="1497"/>
                      <a:pt x="1232" y="1545"/>
                      <a:pt x="1445" y="1545"/>
                    </a:cubicBezTo>
                    <a:cubicBezTo>
                      <a:pt x="1527" y="1545"/>
                      <a:pt x="1610" y="1538"/>
                      <a:pt x="1692" y="1524"/>
                    </a:cubicBezTo>
                    <a:cubicBezTo>
                      <a:pt x="1967" y="1454"/>
                      <a:pt x="2238" y="1302"/>
                      <a:pt x="2427" y="1077"/>
                    </a:cubicBezTo>
                    <a:cubicBezTo>
                      <a:pt x="2480" y="1011"/>
                      <a:pt x="2530" y="941"/>
                      <a:pt x="2600" y="892"/>
                    </a:cubicBezTo>
                    <a:cubicBezTo>
                      <a:pt x="2632" y="855"/>
                      <a:pt x="2686" y="838"/>
                      <a:pt x="2735" y="806"/>
                    </a:cubicBezTo>
                    <a:cubicBezTo>
                      <a:pt x="2977" y="617"/>
                      <a:pt x="3146" y="292"/>
                      <a:pt x="2957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90" name="Google Shape;590;p25"/>
              <p:cNvSpPr/>
              <p:nvPr/>
            </p:nvSpPr>
            <p:spPr>
              <a:xfrm>
                <a:off x="305025" y="2431025"/>
                <a:ext cx="53725" cy="87950"/>
              </a:xfrm>
              <a:custGeom>
                <a:avLst/>
                <a:gdLst/>
                <a:ahLst/>
                <a:cxnLst/>
                <a:rect l="l" t="t" r="r" b="b"/>
                <a:pathLst>
                  <a:path w="2149" h="3518" extrusionOk="0">
                    <a:moveTo>
                      <a:pt x="243" y="0"/>
                    </a:moveTo>
                    <a:cubicBezTo>
                      <a:pt x="97" y="0"/>
                      <a:pt x="0" y="115"/>
                      <a:pt x="9" y="361"/>
                    </a:cubicBezTo>
                    <a:cubicBezTo>
                      <a:pt x="26" y="809"/>
                      <a:pt x="404" y="1474"/>
                      <a:pt x="712" y="1988"/>
                    </a:cubicBezTo>
                    <a:cubicBezTo>
                      <a:pt x="1006" y="2494"/>
                      <a:pt x="1675" y="3518"/>
                      <a:pt x="1974" y="3518"/>
                    </a:cubicBezTo>
                    <a:cubicBezTo>
                      <a:pt x="1988" y="3518"/>
                      <a:pt x="2001" y="3515"/>
                      <a:pt x="2013" y="3511"/>
                    </a:cubicBezTo>
                    <a:cubicBezTo>
                      <a:pt x="2149" y="3478"/>
                      <a:pt x="2030" y="3051"/>
                      <a:pt x="1874" y="2673"/>
                    </a:cubicBezTo>
                    <a:cubicBezTo>
                      <a:pt x="1722" y="2279"/>
                      <a:pt x="987" y="501"/>
                      <a:pt x="662" y="210"/>
                    </a:cubicBezTo>
                    <a:cubicBezTo>
                      <a:pt x="509" y="73"/>
                      <a:pt x="360" y="0"/>
                      <a:pt x="243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91" name="Google Shape;591;p25"/>
              <p:cNvSpPr/>
              <p:nvPr/>
            </p:nvSpPr>
            <p:spPr>
              <a:xfrm>
                <a:off x="288200" y="2410600"/>
                <a:ext cx="197125" cy="249775"/>
              </a:xfrm>
              <a:custGeom>
                <a:avLst/>
                <a:gdLst/>
                <a:ahLst/>
                <a:cxnLst/>
                <a:rect l="l" t="t" r="r" b="b"/>
                <a:pathLst>
                  <a:path w="7885" h="9991" extrusionOk="0">
                    <a:moveTo>
                      <a:pt x="755" y="134"/>
                    </a:moveTo>
                    <a:cubicBezTo>
                      <a:pt x="777" y="134"/>
                      <a:pt x="799" y="134"/>
                      <a:pt x="822" y="136"/>
                    </a:cubicBezTo>
                    <a:cubicBezTo>
                      <a:pt x="941" y="136"/>
                      <a:pt x="1044" y="189"/>
                      <a:pt x="1163" y="255"/>
                    </a:cubicBezTo>
                    <a:cubicBezTo>
                      <a:pt x="1471" y="427"/>
                      <a:pt x="1709" y="686"/>
                      <a:pt x="1898" y="973"/>
                    </a:cubicBezTo>
                    <a:cubicBezTo>
                      <a:pt x="2189" y="1437"/>
                      <a:pt x="2444" y="1918"/>
                      <a:pt x="2649" y="2410"/>
                    </a:cubicBezTo>
                    <a:cubicBezTo>
                      <a:pt x="2855" y="2891"/>
                      <a:pt x="3043" y="3371"/>
                      <a:pt x="3216" y="3847"/>
                    </a:cubicBezTo>
                    <a:cubicBezTo>
                      <a:pt x="3249" y="3917"/>
                      <a:pt x="3265" y="3987"/>
                      <a:pt x="3286" y="4053"/>
                    </a:cubicBezTo>
                    <a:cubicBezTo>
                      <a:pt x="3286" y="4090"/>
                      <a:pt x="3302" y="4123"/>
                      <a:pt x="3351" y="4123"/>
                    </a:cubicBezTo>
                    <a:cubicBezTo>
                      <a:pt x="3405" y="4106"/>
                      <a:pt x="3405" y="4073"/>
                      <a:pt x="3388" y="4036"/>
                    </a:cubicBezTo>
                    <a:cubicBezTo>
                      <a:pt x="3388" y="3971"/>
                      <a:pt x="3335" y="3917"/>
                      <a:pt x="3368" y="3868"/>
                    </a:cubicBezTo>
                    <a:cubicBezTo>
                      <a:pt x="3405" y="3831"/>
                      <a:pt x="3470" y="3815"/>
                      <a:pt x="3524" y="3798"/>
                    </a:cubicBezTo>
                    <a:cubicBezTo>
                      <a:pt x="3865" y="3696"/>
                      <a:pt x="4210" y="3609"/>
                      <a:pt x="4637" y="3609"/>
                    </a:cubicBezTo>
                    <a:cubicBezTo>
                      <a:pt x="4858" y="3609"/>
                      <a:pt x="5113" y="3642"/>
                      <a:pt x="5372" y="3712"/>
                    </a:cubicBezTo>
                    <a:cubicBezTo>
                      <a:pt x="6090" y="3901"/>
                      <a:pt x="6431" y="4209"/>
                      <a:pt x="6776" y="4550"/>
                    </a:cubicBezTo>
                    <a:cubicBezTo>
                      <a:pt x="7014" y="4792"/>
                      <a:pt x="7219" y="5079"/>
                      <a:pt x="7355" y="5387"/>
                    </a:cubicBezTo>
                    <a:cubicBezTo>
                      <a:pt x="7597" y="5901"/>
                      <a:pt x="7700" y="6434"/>
                      <a:pt x="7646" y="6997"/>
                    </a:cubicBezTo>
                    <a:cubicBezTo>
                      <a:pt x="7527" y="8315"/>
                      <a:pt x="6534" y="9461"/>
                      <a:pt x="5216" y="9736"/>
                    </a:cubicBezTo>
                    <a:cubicBezTo>
                      <a:pt x="5002" y="9780"/>
                      <a:pt x="4788" y="9801"/>
                      <a:pt x="4576" y="9801"/>
                    </a:cubicBezTo>
                    <a:cubicBezTo>
                      <a:pt x="3567" y="9801"/>
                      <a:pt x="2611" y="9312"/>
                      <a:pt x="2017" y="8450"/>
                    </a:cubicBezTo>
                    <a:cubicBezTo>
                      <a:pt x="1623" y="7851"/>
                      <a:pt x="1454" y="7202"/>
                      <a:pt x="1504" y="6500"/>
                    </a:cubicBezTo>
                    <a:cubicBezTo>
                      <a:pt x="1541" y="5921"/>
                      <a:pt x="1725" y="5387"/>
                      <a:pt x="2054" y="4927"/>
                    </a:cubicBezTo>
                    <a:cubicBezTo>
                      <a:pt x="2075" y="4893"/>
                      <a:pt x="2089" y="4867"/>
                      <a:pt x="2111" y="4867"/>
                    </a:cubicBezTo>
                    <a:cubicBezTo>
                      <a:pt x="2123" y="4867"/>
                      <a:pt x="2137" y="4875"/>
                      <a:pt x="2157" y="4895"/>
                    </a:cubicBezTo>
                    <a:cubicBezTo>
                      <a:pt x="2168" y="4906"/>
                      <a:pt x="2188" y="4918"/>
                      <a:pt x="2204" y="4918"/>
                    </a:cubicBezTo>
                    <a:cubicBezTo>
                      <a:pt x="2211" y="4918"/>
                      <a:pt x="2217" y="4916"/>
                      <a:pt x="2222" y="4911"/>
                    </a:cubicBezTo>
                    <a:cubicBezTo>
                      <a:pt x="2239" y="4895"/>
                      <a:pt x="2222" y="4874"/>
                      <a:pt x="2206" y="4858"/>
                    </a:cubicBezTo>
                    <a:cubicBezTo>
                      <a:pt x="1643" y="4090"/>
                      <a:pt x="1093" y="3301"/>
                      <a:pt x="650" y="2447"/>
                    </a:cubicBezTo>
                    <a:cubicBezTo>
                      <a:pt x="514" y="2172"/>
                      <a:pt x="358" y="1918"/>
                      <a:pt x="272" y="1642"/>
                    </a:cubicBezTo>
                    <a:cubicBezTo>
                      <a:pt x="206" y="1421"/>
                      <a:pt x="136" y="1215"/>
                      <a:pt x="120" y="973"/>
                    </a:cubicBezTo>
                    <a:cubicBezTo>
                      <a:pt x="103" y="788"/>
                      <a:pt x="136" y="616"/>
                      <a:pt x="223" y="443"/>
                    </a:cubicBezTo>
                    <a:cubicBezTo>
                      <a:pt x="317" y="224"/>
                      <a:pt x="499" y="134"/>
                      <a:pt x="755" y="134"/>
                    </a:cubicBezTo>
                    <a:close/>
                    <a:moveTo>
                      <a:pt x="770" y="1"/>
                    </a:moveTo>
                    <a:cubicBezTo>
                      <a:pt x="713" y="1"/>
                      <a:pt x="655" y="6"/>
                      <a:pt x="596" y="16"/>
                    </a:cubicBezTo>
                    <a:cubicBezTo>
                      <a:pt x="374" y="70"/>
                      <a:pt x="206" y="172"/>
                      <a:pt x="103" y="394"/>
                    </a:cubicBezTo>
                    <a:cubicBezTo>
                      <a:pt x="50" y="546"/>
                      <a:pt x="1" y="702"/>
                      <a:pt x="1" y="854"/>
                    </a:cubicBezTo>
                    <a:cubicBezTo>
                      <a:pt x="1" y="1096"/>
                      <a:pt x="50" y="1335"/>
                      <a:pt x="120" y="1556"/>
                    </a:cubicBezTo>
                    <a:cubicBezTo>
                      <a:pt x="223" y="1897"/>
                      <a:pt x="374" y="2189"/>
                      <a:pt x="547" y="2497"/>
                    </a:cubicBezTo>
                    <a:cubicBezTo>
                      <a:pt x="941" y="3252"/>
                      <a:pt x="1417" y="3971"/>
                      <a:pt x="1931" y="4652"/>
                    </a:cubicBezTo>
                    <a:cubicBezTo>
                      <a:pt x="1984" y="4722"/>
                      <a:pt x="2000" y="4755"/>
                      <a:pt x="1951" y="4825"/>
                    </a:cubicBezTo>
                    <a:cubicBezTo>
                      <a:pt x="1417" y="5560"/>
                      <a:pt x="1233" y="6365"/>
                      <a:pt x="1368" y="7256"/>
                    </a:cubicBezTo>
                    <a:cubicBezTo>
                      <a:pt x="1606" y="8828"/>
                      <a:pt x="2978" y="9990"/>
                      <a:pt x="4567" y="9990"/>
                    </a:cubicBezTo>
                    <a:cubicBezTo>
                      <a:pt x="5031" y="9990"/>
                      <a:pt x="5441" y="9925"/>
                      <a:pt x="5868" y="9719"/>
                    </a:cubicBezTo>
                    <a:cubicBezTo>
                      <a:pt x="7014" y="9185"/>
                      <a:pt x="7663" y="8282"/>
                      <a:pt x="7802" y="7030"/>
                    </a:cubicBezTo>
                    <a:cubicBezTo>
                      <a:pt x="7885" y="6381"/>
                      <a:pt x="7749" y="5765"/>
                      <a:pt x="7425" y="5182"/>
                    </a:cubicBezTo>
                    <a:cubicBezTo>
                      <a:pt x="7289" y="4911"/>
                      <a:pt x="7100" y="4652"/>
                      <a:pt x="6858" y="4431"/>
                    </a:cubicBezTo>
                    <a:cubicBezTo>
                      <a:pt x="6328" y="3884"/>
                      <a:pt x="5934" y="3745"/>
                      <a:pt x="5388" y="3593"/>
                    </a:cubicBezTo>
                    <a:cubicBezTo>
                      <a:pt x="5131" y="3521"/>
                      <a:pt x="4874" y="3486"/>
                      <a:pt x="4617" y="3486"/>
                    </a:cubicBezTo>
                    <a:cubicBezTo>
                      <a:pt x="4566" y="3486"/>
                      <a:pt x="4515" y="3488"/>
                      <a:pt x="4464" y="3490"/>
                    </a:cubicBezTo>
                    <a:cubicBezTo>
                      <a:pt x="4086" y="3507"/>
                      <a:pt x="3713" y="3576"/>
                      <a:pt x="3351" y="3712"/>
                    </a:cubicBezTo>
                    <a:cubicBezTo>
                      <a:pt x="3343" y="3716"/>
                      <a:pt x="3335" y="3718"/>
                      <a:pt x="3328" y="3718"/>
                    </a:cubicBezTo>
                    <a:cubicBezTo>
                      <a:pt x="3310" y="3718"/>
                      <a:pt x="3298" y="3703"/>
                      <a:pt x="3286" y="3679"/>
                    </a:cubicBezTo>
                    <a:cubicBezTo>
                      <a:pt x="3265" y="3576"/>
                      <a:pt x="3232" y="3490"/>
                      <a:pt x="3199" y="3404"/>
                    </a:cubicBezTo>
                    <a:cubicBezTo>
                      <a:pt x="2994" y="2841"/>
                      <a:pt x="2752" y="2291"/>
                      <a:pt x="2497" y="1762"/>
                    </a:cubicBezTo>
                    <a:cubicBezTo>
                      <a:pt x="2325" y="1384"/>
                      <a:pt x="2103" y="1027"/>
                      <a:pt x="1849" y="686"/>
                    </a:cubicBezTo>
                    <a:cubicBezTo>
                      <a:pt x="1660" y="427"/>
                      <a:pt x="1417" y="222"/>
                      <a:pt x="1146" y="86"/>
                    </a:cubicBezTo>
                    <a:cubicBezTo>
                      <a:pt x="1017" y="27"/>
                      <a:pt x="895" y="1"/>
                      <a:pt x="77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92" name="Google Shape;592;p25"/>
              <p:cNvSpPr/>
              <p:nvPr/>
            </p:nvSpPr>
            <p:spPr>
              <a:xfrm>
                <a:off x="303100" y="2429375"/>
                <a:ext cx="55650" cy="91200"/>
              </a:xfrm>
              <a:custGeom>
                <a:avLst/>
                <a:gdLst/>
                <a:ahLst/>
                <a:cxnLst/>
                <a:rect l="l" t="t" r="r" b="b"/>
                <a:pathLst>
                  <a:path w="2226" h="3648" extrusionOk="0">
                    <a:moveTo>
                      <a:pt x="362" y="120"/>
                    </a:moveTo>
                    <a:cubicBezTo>
                      <a:pt x="464" y="140"/>
                      <a:pt x="550" y="189"/>
                      <a:pt x="616" y="276"/>
                    </a:cubicBezTo>
                    <a:cubicBezTo>
                      <a:pt x="842" y="497"/>
                      <a:pt x="1010" y="772"/>
                      <a:pt x="1129" y="1064"/>
                    </a:cubicBezTo>
                    <a:cubicBezTo>
                      <a:pt x="1437" y="1783"/>
                      <a:pt x="1766" y="2481"/>
                      <a:pt x="2037" y="3199"/>
                    </a:cubicBezTo>
                    <a:cubicBezTo>
                      <a:pt x="2074" y="3269"/>
                      <a:pt x="2090" y="3339"/>
                      <a:pt x="2107" y="3404"/>
                    </a:cubicBezTo>
                    <a:cubicBezTo>
                      <a:pt x="2107" y="3441"/>
                      <a:pt x="2107" y="3491"/>
                      <a:pt x="2074" y="3507"/>
                    </a:cubicBezTo>
                    <a:cubicBezTo>
                      <a:pt x="2064" y="3513"/>
                      <a:pt x="2052" y="3515"/>
                      <a:pt x="2041" y="3515"/>
                    </a:cubicBezTo>
                    <a:cubicBezTo>
                      <a:pt x="2012" y="3515"/>
                      <a:pt x="1983" y="3498"/>
                      <a:pt x="1971" y="3474"/>
                    </a:cubicBezTo>
                    <a:cubicBezTo>
                      <a:pt x="1848" y="3388"/>
                      <a:pt x="1745" y="3285"/>
                      <a:pt x="1663" y="3183"/>
                    </a:cubicBezTo>
                    <a:cubicBezTo>
                      <a:pt x="1285" y="2739"/>
                      <a:pt x="1010" y="2259"/>
                      <a:pt x="702" y="1762"/>
                    </a:cubicBezTo>
                    <a:cubicBezTo>
                      <a:pt x="513" y="1438"/>
                      <a:pt x="329" y="1097"/>
                      <a:pt x="205" y="735"/>
                    </a:cubicBezTo>
                    <a:cubicBezTo>
                      <a:pt x="189" y="670"/>
                      <a:pt x="156" y="584"/>
                      <a:pt x="140" y="514"/>
                    </a:cubicBezTo>
                    <a:cubicBezTo>
                      <a:pt x="123" y="395"/>
                      <a:pt x="156" y="276"/>
                      <a:pt x="226" y="189"/>
                    </a:cubicBezTo>
                    <a:cubicBezTo>
                      <a:pt x="259" y="140"/>
                      <a:pt x="292" y="120"/>
                      <a:pt x="362" y="120"/>
                    </a:cubicBezTo>
                    <a:close/>
                    <a:moveTo>
                      <a:pt x="378" y="0"/>
                    </a:moveTo>
                    <a:cubicBezTo>
                      <a:pt x="275" y="0"/>
                      <a:pt x="189" y="17"/>
                      <a:pt x="140" y="87"/>
                    </a:cubicBezTo>
                    <a:cubicBezTo>
                      <a:pt x="54" y="206"/>
                      <a:pt x="0" y="325"/>
                      <a:pt x="21" y="464"/>
                    </a:cubicBezTo>
                    <a:cubicBezTo>
                      <a:pt x="37" y="633"/>
                      <a:pt x="103" y="789"/>
                      <a:pt x="156" y="961"/>
                    </a:cubicBezTo>
                    <a:cubicBezTo>
                      <a:pt x="308" y="1372"/>
                      <a:pt x="550" y="1729"/>
                      <a:pt x="772" y="2107"/>
                    </a:cubicBezTo>
                    <a:cubicBezTo>
                      <a:pt x="1010" y="2518"/>
                      <a:pt x="1269" y="2928"/>
                      <a:pt x="1593" y="3302"/>
                    </a:cubicBezTo>
                    <a:cubicBezTo>
                      <a:pt x="1696" y="3404"/>
                      <a:pt x="1799" y="3507"/>
                      <a:pt x="1918" y="3593"/>
                    </a:cubicBezTo>
                    <a:cubicBezTo>
                      <a:pt x="1963" y="3628"/>
                      <a:pt x="2016" y="3647"/>
                      <a:pt x="2065" y="3647"/>
                    </a:cubicBezTo>
                    <a:cubicBezTo>
                      <a:pt x="2091" y="3647"/>
                      <a:pt x="2117" y="3642"/>
                      <a:pt x="2139" y="3630"/>
                    </a:cubicBezTo>
                    <a:cubicBezTo>
                      <a:pt x="2209" y="3577"/>
                      <a:pt x="2226" y="3507"/>
                      <a:pt x="2226" y="3425"/>
                    </a:cubicBezTo>
                    <a:cubicBezTo>
                      <a:pt x="2226" y="3322"/>
                      <a:pt x="2193" y="3220"/>
                      <a:pt x="2139" y="3117"/>
                    </a:cubicBezTo>
                    <a:cubicBezTo>
                      <a:pt x="1868" y="2415"/>
                      <a:pt x="1561" y="1729"/>
                      <a:pt x="1269" y="1027"/>
                    </a:cubicBezTo>
                    <a:cubicBezTo>
                      <a:pt x="1150" y="719"/>
                      <a:pt x="961" y="427"/>
                      <a:pt x="719" y="189"/>
                    </a:cubicBezTo>
                    <a:cubicBezTo>
                      <a:pt x="616" y="87"/>
                      <a:pt x="513" y="0"/>
                      <a:pt x="37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93" name="Google Shape;593;p25"/>
              <p:cNvSpPr/>
              <p:nvPr/>
            </p:nvSpPr>
            <p:spPr>
              <a:xfrm>
                <a:off x="372375" y="2514475"/>
                <a:ext cx="76200" cy="36225"/>
              </a:xfrm>
              <a:custGeom>
                <a:avLst/>
                <a:gdLst/>
                <a:ahLst/>
                <a:cxnLst/>
                <a:rect l="l" t="t" r="r" b="b"/>
                <a:pathLst>
                  <a:path w="3048" h="1449" extrusionOk="0">
                    <a:moveTo>
                      <a:pt x="2177" y="481"/>
                    </a:moveTo>
                    <a:cubicBezTo>
                      <a:pt x="2259" y="481"/>
                      <a:pt x="2345" y="534"/>
                      <a:pt x="2362" y="616"/>
                    </a:cubicBezTo>
                    <a:cubicBezTo>
                      <a:pt x="2345" y="653"/>
                      <a:pt x="2362" y="686"/>
                      <a:pt x="2345" y="703"/>
                    </a:cubicBezTo>
                    <a:cubicBezTo>
                      <a:pt x="2336" y="707"/>
                      <a:pt x="2328" y="709"/>
                      <a:pt x="2320" y="709"/>
                    </a:cubicBezTo>
                    <a:cubicBezTo>
                      <a:pt x="2301" y="709"/>
                      <a:pt x="2285" y="698"/>
                      <a:pt x="2259" y="686"/>
                    </a:cubicBezTo>
                    <a:cubicBezTo>
                      <a:pt x="2210" y="670"/>
                      <a:pt x="2157" y="616"/>
                      <a:pt x="2124" y="567"/>
                    </a:cubicBezTo>
                    <a:cubicBezTo>
                      <a:pt x="2107" y="514"/>
                      <a:pt x="2124" y="481"/>
                      <a:pt x="2177" y="481"/>
                    </a:cubicBezTo>
                    <a:close/>
                    <a:moveTo>
                      <a:pt x="849" y="752"/>
                    </a:moveTo>
                    <a:cubicBezTo>
                      <a:pt x="857" y="752"/>
                      <a:pt x="866" y="753"/>
                      <a:pt x="875" y="756"/>
                    </a:cubicBezTo>
                    <a:cubicBezTo>
                      <a:pt x="925" y="772"/>
                      <a:pt x="945" y="805"/>
                      <a:pt x="945" y="859"/>
                    </a:cubicBezTo>
                    <a:cubicBezTo>
                      <a:pt x="945" y="924"/>
                      <a:pt x="908" y="994"/>
                      <a:pt x="859" y="1047"/>
                    </a:cubicBezTo>
                    <a:cubicBezTo>
                      <a:pt x="845" y="1060"/>
                      <a:pt x="832" y="1065"/>
                      <a:pt x="820" y="1065"/>
                    </a:cubicBezTo>
                    <a:cubicBezTo>
                      <a:pt x="800" y="1065"/>
                      <a:pt x="783" y="1050"/>
                      <a:pt x="773" y="1027"/>
                    </a:cubicBezTo>
                    <a:cubicBezTo>
                      <a:pt x="756" y="961"/>
                      <a:pt x="756" y="859"/>
                      <a:pt x="773" y="822"/>
                    </a:cubicBezTo>
                    <a:cubicBezTo>
                      <a:pt x="786" y="781"/>
                      <a:pt x="811" y="752"/>
                      <a:pt x="849" y="752"/>
                    </a:cubicBezTo>
                    <a:close/>
                    <a:moveTo>
                      <a:pt x="2928" y="0"/>
                    </a:moveTo>
                    <a:cubicBezTo>
                      <a:pt x="2912" y="0"/>
                      <a:pt x="2912" y="37"/>
                      <a:pt x="2912" y="70"/>
                    </a:cubicBezTo>
                    <a:cubicBezTo>
                      <a:pt x="2896" y="70"/>
                      <a:pt x="2912" y="87"/>
                      <a:pt x="2912" y="103"/>
                    </a:cubicBezTo>
                    <a:cubicBezTo>
                      <a:pt x="2912" y="329"/>
                      <a:pt x="2756" y="583"/>
                      <a:pt x="2551" y="670"/>
                    </a:cubicBezTo>
                    <a:cubicBezTo>
                      <a:pt x="2533" y="676"/>
                      <a:pt x="2519" y="680"/>
                      <a:pt x="2509" y="680"/>
                    </a:cubicBezTo>
                    <a:cubicBezTo>
                      <a:pt x="2492" y="680"/>
                      <a:pt x="2485" y="668"/>
                      <a:pt x="2485" y="637"/>
                    </a:cubicBezTo>
                    <a:cubicBezTo>
                      <a:pt x="2485" y="481"/>
                      <a:pt x="2362" y="362"/>
                      <a:pt x="2210" y="345"/>
                    </a:cubicBezTo>
                    <a:cubicBezTo>
                      <a:pt x="2200" y="344"/>
                      <a:pt x="2191" y="344"/>
                      <a:pt x="2182" y="344"/>
                    </a:cubicBezTo>
                    <a:cubicBezTo>
                      <a:pt x="2042" y="344"/>
                      <a:pt x="1955" y="457"/>
                      <a:pt x="2005" y="600"/>
                    </a:cubicBezTo>
                    <a:cubicBezTo>
                      <a:pt x="2037" y="719"/>
                      <a:pt x="2140" y="789"/>
                      <a:pt x="2259" y="822"/>
                    </a:cubicBezTo>
                    <a:cubicBezTo>
                      <a:pt x="2313" y="842"/>
                      <a:pt x="2313" y="859"/>
                      <a:pt x="2280" y="908"/>
                    </a:cubicBezTo>
                    <a:cubicBezTo>
                      <a:pt x="2226" y="994"/>
                      <a:pt x="2157" y="1080"/>
                      <a:pt x="2054" y="1130"/>
                    </a:cubicBezTo>
                    <a:cubicBezTo>
                      <a:pt x="1888" y="1240"/>
                      <a:pt x="1689" y="1305"/>
                      <a:pt x="1489" y="1305"/>
                    </a:cubicBezTo>
                    <a:cubicBezTo>
                      <a:pt x="1467" y="1305"/>
                      <a:pt x="1444" y="1304"/>
                      <a:pt x="1422" y="1302"/>
                    </a:cubicBezTo>
                    <a:cubicBezTo>
                      <a:pt x="1233" y="1302"/>
                      <a:pt x="1064" y="1269"/>
                      <a:pt x="908" y="1167"/>
                    </a:cubicBezTo>
                    <a:cubicBezTo>
                      <a:pt x="995" y="1080"/>
                      <a:pt x="1064" y="994"/>
                      <a:pt x="1064" y="859"/>
                    </a:cubicBezTo>
                    <a:cubicBezTo>
                      <a:pt x="1064" y="719"/>
                      <a:pt x="995" y="637"/>
                      <a:pt x="892" y="637"/>
                    </a:cubicBezTo>
                    <a:cubicBezTo>
                      <a:pt x="878" y="634"/>
                      <a:pt x="864" y="633"/>
                      <a:pt x="851" y="633"/>
                    </a:cubicBezTo>
                    <a:cubicBezTo>
                      <a:pt x="750" y="633"/>
                      <a:pt x="666" y="700"/>
                      <a:pt x="637" y="805"/>
                    </a:cubicBezTo>
                    <a:cubicBezTo>
                      <a:pt x="617" y="908"/>
                      <a:pt x="617" y="994"/>
                      <a:pt x="670" y="1080"/>
                    </a:cubicBezTo>
                    <a:cubicBezTo>
                      <a:pt x="687" y="1130"/>
                      <a:pt x="670" y="1150"/>
                      <a:pt x="617" y="1150"/>
                    </a:cubicBezTo>
                    <a:cubicBezTo>
                      <a:pt x="603" y="1151"/>
                      <a:pt x="590" y="1152"/>
                      <a:pt x="576" y="1152"/>
                    </a:cubicBezTo>
                    <a:cubicBezTo>
                      <a:pt x="370" y="1152"/>
                      <a:pt x="183" y="1034"/>
                      <a:pt x="87" y="822"/>
                    </a:cubicBezTo>
                    <a:cubicBezTo>
                      <a:pt x="71" y="805"/>
                      <a:pt x="71" y="756"/>
                      <a:pt x="38" y="756"/>
                    </a:cubicBezTo>
                    <a:cubicBezTo>
                      <a:pt x="1" y="772"/>
                      <a:pt x="21" y="822"/>
                      <a:pt x="21" y="842"/>
                    </a:cubicBezTo>
                    <a:cubicBezTo>
                      <a:pt x="66" y="1086"/>
                      <a:pt x="293" y="1277"/>
                      <a:pt x="550" y="1277"/>
                    </a:cubicBezTo>
                    <a:cubicBezTo>
                      <a:pt x="579" y="1277"/>
                      <a:pt x="608" y="1274"/>
                      <a:pt x="637" y="1269"/>
                    </a:cubicBezTo>
                    <a:cubicBezTo>
                      <a:pt x="671" y="1264"/>
                      <a:pt x="702" y="1260"/>
                      <a:pt x="730" y="1260"/>
                    </a:cubicBezTo>
                    <a:cubicBezTo>
                      <a:pt x="786" y="1260"/>
                      <a:pt x="834" y="1275"/>
                      <a:pt x="892" y="1318"/>
                    </a:cubicBezTo>
                    <a:cubicBezTo>
                      <a:pt x="925" y="1335"/>
                      <a:pt x="962" y="1355"/>
                      <a:pt x="995" y="1372"/>
                    </a:cubicBezTo>
                    <a:cubicBezTo>
                      <a:pt x="1140" y="1423"/>
                      <a:pt x="1286" y="1449"/>
                      <a:pt x="1434" y="1449"/>
                    </a:cubicBezTo>
                    <a:cubicBezTo>
                      <a:pt x="1582" y="1449"/>
                      <a:pt x="1732" y="1423"/>
                      <a:pt x="1886" y="1372"/>
                    </a:cubicBezTo>
                    <a:cubicBezTo>
                      <a:pt x="2140" y="1286"/>
                      <a:pt x="2345" y="1130"/>
                      <a:pt x="2448" y="875"/>
                    </a:cubicBezTo>
                    <a:cubicBezTo>
                      <a:pt x="2448" y="842"/>
                      <a:pt x="2485" y="822"/>
                      <a:pt x="2501" y="822"/>
                    </a:cubicBezTo>
                    <a:cubicBezTo>
                      <a:pt x="2809" y="740"/>
                      <a:pt x="2961" y="514"/>
                      <a:pt x="3031" y="226"/>
                    </a:cubicBezTo>
                    <a:cubicBezTo>
                      <a:pt x="3048" y="173"/>
                      <a:pt x="3031" y="103"/>
                      <a:pt x="2998" y="37"/>
                    </a:cubicBezTo>
                    <a:cubicBezTo>
                      <a:pt x="2978" y="21"/>
                      <a:pt x="2961" y="0"/>
                      <a:pt x="292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94" name="Google Shape;594;p25"/>
              <p:cNvSpPr/>
              <p:nvPr/>
            </p:nvSpPr>
            <p:spPr>
              <a:xfrm>
                <a:off x="404100" y="2514300"/>
                <a:ext cx="3425" cy="10975"/>
              </a:xfrm>
              <a:custGeom>
                <a:avLst/>
                <a:gdLst/>
                <a:ahLst/>
                <a:cxnLst/>
                <a:rect l="l" t="t" r="r" b="b"/>
                <a:pathLst>
                  <a:path w="137" h="439" extrusionOk="0">
                    <a:moveTo>
                      <a:pt x="59" y="0"/>
                    </a:moveTo>
                    <a:cubicBezTo>
                      <a:pt x="50" y="0"/>
                      <a:pt x="42" y="9"/>
                      <a:pt x="33" y="28"/>
                    </a:cubicBezTo>
                    <a:cubicBezTo>
                      <a:pt x="17" y="44"/>
                      <a:pt x="17" y="61"/>
                      <a:pt x="17" y="77"/>
                    </a:cubicBezTo>
                    <a:cubicBezTo>
                      <a:pt x="1" y="180"/>
                      <a:pt x="1" y="283"/>
                      <a:pt x="33" y="385"/>
                    </a:cubicBezTo>
                    <a:cubicBezTo>
                      <a:pt x="33" y="418"/>
                      <a:pt x="50" y="439"/>
                      <a:pt x="66" y="439"/>
                    </a:cubicBezTo>
                    <a:cubicBezTo>
                      <a:pt x="103" y="439"/>
                      <a:pt x="120" y="402"/>
                      <a:pt x="120" y="385"/>
                    </a:cubicBezTo>
                    <a:cubicBezTo>
                      <a:pt x="136" y="299"/>
                      <a:pt x="120" y="213"/>
                      <a:pt x="120" y="147"/>
                    </a:cubicBezTo>
                    <a:cubicBezTo>
                      <a:pt x="120" y="94"/>
                      <a:pt x="103" y="61"/>
                      <a:pt x="87" y="28"/>
                    </a:cubicBezTo>
                    <a:cubicBezTo>
                      <a:pt x="77" y="9"/>
                      <a:pt x="67" y="0"/>
                      <a:pt x="5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95" name="Google Shape;595;p25"/>
              <p:cNvSpPr/>
              <p:nvPr/>
            </p:nvSpPr>
            <p:spPr>
              <a:xfrm>
                <a:off x="409650" y="2511725"/>
                <a:ext cx="3400" cy="11400"/>
              </a:xfrm>
              <a:custGeom>
                <a:avLst/>
                <a:gdLst/>
                <a:ahLst/>
                <a:cxnLst/>
                <a:rect l="l" t="t" r="r" b="b"/>
                <a:pathLst>
                  <a:path w="136" h="456" extrusionOk="0">
                    <a:moveTo>
                      <a:pt x="60" y="1"/>
                    </a:moveTo>
                    <a:cubicBezTo>
                      <a:pt x="51" y="1"/>
                      <a:pt x="41" y="10"/>
                      <a:pt x="33" y="28"/>
                    </a:cubicBezTo>
                    <a:cubicBezTo>
                      <a:pt x="17" y="45"/>
                      <a:pt x="17" y="61"/>
                      <a:pt x="17" y="78"/>
                    </a:cubicBezTo>
                    <a:cubicBezTo>
                      <a:pt x="0" y="180"/>
                      <a:pt x="0" y="283"/>
                      <a:pt x="33" y="386"/>
                    </a:cubicBezTo>
                    <a:cubicBezTo>
                      <a:pt x="33" y="418"/>
                      <a:pt x="50" y="455"/>
                      <a:pt x="70" y="455"/>
                    </a:cubicBezTo>
                    <a:cubicBezTo>
                      <a:pt x="103" y="455"/>
                      <a:pt x="119" y="418"/>
                      <a:pt x="119" y="386"/>
                    </a:cubicBezTo>
                    <a:cubicBezTo>
                      <a:pt x="136" y="299"/>
                      <a:pt x="119" y="234"/>
                      <a:pt x="119" y="147"/>
                    </a:cubicBezTo>
                    <a:cubicBezTo>
                      <a:pt x="119" y="110"/>
                      <a:pt x="103" y="61"/>
                      <a:pt x="87" y="28"/>
                    </a:cubicBezTo>
                    <a:cubicBezTo>
                      <a:pt x="78" y="10"/>
                      <a:pt x="69" y="1"/>
                      <a:pt x="6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96" name="Google Shape;596;p25"/>
              <p:cNvSpPr/>
              <p:nvPr/>
            </p:nvSpPr>
            <p:spPr>
              <a:xfrm>
                <a:off x="301050" y="2422600"/>
                <a:ext cx="5150" cy="7900"/>
              </a:xfrm>
              <a:custGeom>
                <a:avLst/>
                <a:gdLst/>
                <a:ahLst/>
                <a:cxnLst/>
                <a:rect l="l" t="t" r="r" b="b"/>
                <a:pathLst>
                  <a:path w="206" h="316" extrusionOk="0">
                    <a:moveTo>
                      <a:pt x="185" y="0"/>
                    </a:moveTo>
                    <a:cubicBezTo>
                      <a:pt x="152" y="0"/>
                      <a:pt x="136" y="0"/>
                      <a:pt x="119" y="17"/>
                    </a:cubicBezTo>
                    <a:cubicBezTo>
                      <a:pt x="49" y="83"/>
                      <a:pt x="16" y="169"/>
                      <a:pt x="0" y="255"/>
                    </a:cubicBezTo>
                    <a:cubicBezTo>
                      <a:pt x="0" y="271"/>
                      <a:pt x="0" y="288"/>
                      <a:pt x="16" y="308"/>
                    </a:cubicBezTo>
                    <a:cubicBezTo>
                      <a:pt x="22" y="314"/>
                      <a:pt x="27" y="316"/>
                      <a:pt x="33" y="316"/>
                    </a:cubicBezTo>
                    <a:cubicBezTo>
                      <a:pt x="44" y="316"/>
                      <a:pt x="55" y="308"/>
                      <a:pt x="66" y="308"/>
                    </a:cubicBezTo>
                    <a:cubicBezTo>
                      <a:pt x="136" y="222"/>
                      <a:pt x="168" y="136"/>
                      <a:pt x="205" y="50"/>
                    </a:cubicBezTo>
                    <a:cubicBezTo>
                      <a:pt x="205" y="33"/>
                      <a:pt x="205" y="17"/>
                      <a:pt x="18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97" name="Google Shape;597;p25"/>
              <p:cNvSpPr/>
              <p:nvPr/>
            </p:nvSpPr>
            <p:spPr>
              <a:xfrm>
                <a:off x="295900" y="2422075"/>
                <a:ext cx="4650" cy="6675"/>
              </a:xfrm>
              <a:custGeom>
                <a:avLst/>
                <a:gdLst/>
                <a:ahLst/>
                <a:cxnLst/>
                <a:rect l="l" t="t" r="r" b="b"/>
                <a:pathLst>
                  <a:path w="186" h="267" extrusionOk="0">
                    <a:moveTo>
                      <a:pt x="153" y="1"/>
                    </a:moveTo>
                    <a:cubicBezTo>
                      <a:pt x="136" y="1"/>
                      <a:pt x="120" y="1"/>
                      <a:pt x="103" y="21"/>
                    </a:cubicBezTo>
                    <a:cubicBezTo>
                      <a:pt x="50" y="71"/>
                      <a:pt x="17" y="141"/>
                      <a:pt x="17" y="206"/>
                    </a:cubicBezTo>
                    <a:cubicBezTo>
                      <a:pt x="1" y="227"/>
                      <a:pt x="17" y="260"/>
                      <a:pt x="34" y="260"/>
                    </a:cubicBezTo>
                    <a:cubicBezTo>
                      <a:pt x="43" y="264"/>
                      <a:pt x="51" y="266"/>
                      <a:pt x="59" y="266"/>
                    </a:cubicBezTo>
                    <a:cubicBezTo>
                      <a:pt x="76" y="266"/>
                      <a:pt x="89" y="255"/>
                      <a:pt x="103" y="243"/>
                    </a:cubicBezTo>
                    <a:cubicBezTo>
                      <a:pt x="136" y="190"/>
                      <a:pt x="169" y="124"/>
                      <a:pt x="169" y="54"/>
                    </a:cubicBezTo>
                    <a:cubicBezTo>
                      <a:pt x="169" y="38"/>
                      <a:pt x="186" y="21"/>
                      <a:pt x="153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98" name="Google Shape;598;p25"/>
              <p:cNvSpPr/>
              <p:nvPr/>
            </p:nvSpPr>
            <p:spPr>
              <a:xfrm>
                <a:off x="315525" y="2610550"/>
                <a:ext cx="41475" cy="16575"/>
              </a:xfrm>
              <a:custGeom>
                <a:avLst/>
                <a:gdLst/>
                <a:ahLst/>
                <a:cxnLst/>
                <a:rect l="l" t="t" r="r" b="b"/>
                <a:pathLst>
                  <a:path w="1659" h="663" extrusionOk="0">
                    <a:moveTo>
                      <a:pt x="1597" y="1"/>
                    </a:moveTo>
                    <a:cubicBezTo>
                      <a:pt x="1570" y="1"/>
                      <a:pt x="1540" y="9"/>
                      <a:pt x="1523" y="9"/>
                    </a:cubicBezTo>
                    <a:cubicBezTo>
                      <a:pt x="1318" y="42"/>
                      <a:pt x="1129" y="79"/>
                      <a:pt x="940" y="112"/>
                    </a:cubicBezTo>
                    <a:cubicBezTo>
                      <a:pt x="567" y="214"/>
                      <a:pt x="275" y="387"/>
                      <a:pt x="53" y="571"/>
                    </a:cubicBezTo>
                    <a:cubicBezTo>
                      <a:pt x="37" y="592"/>
                      <a:pt x="0" y="641"/>
                      <a:pt x="16" y="658"/>
                    </a:cubicBezTo>
                    <a:cubicBezTo>
                      <a:pt x="20" y="661"/>
                      <a:pt x="26" y="662"/>
                      <a:pt x="32" y="662"/>
                    </a:cubicBezTo>
                    <a:cubicBezTo>
                      <a:pt x="60" y="662"/>
                      <a:pt x="106" y="638"/>
                      <a:pt x="119" y="625"/>
                    </a:cubicBezTo>
                    <a:cubicBezTo>
                      <a:pt x="480" y="436"/>
                      <a:pt x="891" y="231"/>
                      <a:pt x="1421" y="144"/>
                    </a:cubicBezTo>
                    <a:cubicBezTo>
                      <a:pt x="1491" y="128"/>
                      <a:pt x="1659" y="95"/>
                      <a:pt x="1659" y="42"/>
                    </a:cubicBezTo>
                    <a:cubicBezTo>
                      <a:pt x="1651" y="9"/>
                      <a:pt x="1625" y="1"/>
                      <a:pt x="159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599" name="Google Shape;599;p25"/>
              <p:cNvSpPr/>
              <p:nvPr/>
            </p:nvSpPr>
            <p:spPr>
              <a:xfrm>
                <a:off x="305250" y="2592475"/>
                <a:ext cx="50125" cy="5475"/>
              </a:xfrm>
              <a:custGeom>
                <a:avLst/>
                <a:gdLst/>
                <a:ahLst/>
                <a:cxnLst/>
                <a:rect l="l" t="t" r="r" b="b"/>
                <a:pathLst>
                  <a:path w="2005" h="219" extrusionOk="0">
                    <a:moveTo>
                      <a:pt x="1075" y="0"/>
                    </a:moveTo>
                    <a:cubicBezTo>
                      <a:pt x="796" y="0"/>
                      <a:pt x="516" y="34"/>
                      <a:pt x="243" y="83"/>
                    </a:cubicBezTo>
                    <a:cubicBezTo>
                      <a:pt x="173" y="100"/>
                      <a:pt x="0" y="116"/>
                      <a:pt x="17" y="165"/>
                    </a:cubicBezTo>
                    <a:cubicBezTo>
                      <a:pt x="17" y="185"/>
                      <a:pt x="41" y="189"/>
                      <a:pt x="69" y="189"/>
                    </a:cubicBezTo>
                    <a:cubicBezTo>
                      <a:pt x="94" y="189"/>
                      <a:pt x="123" y="186"/>
                      <a:pt x="140" y="186"/>
                    </a:cubicBezTo>
                    <a:cubicBezTo>
                      <a:pt x="292" y="165"/>
                      <a:pt x="464" y="149"/>
                      <a:pt x="616" y="149"/>
                    </a:cubicBezTo>
                    <a:cubicBezTo>
                      <a:pt x="763" y="136"/>
                      <a:pt x="910" y="128"/>
                      <a:pt x="1056" y="128"/>
                    </a:cubicBezTo>
                    <a:cubicBezTo>
                      <a:pt x="1269" y="128"/>
                      <a:pt x="1482" y="144"/>
                      <a:pt x="1696" y="186"/>
                    </a:cubicBezTo>
                    <a:cubicBezTo>
                      <a:pt x="1782" y="202"/>
                      <a:pt x="1848" y="202"/>
                      <a:pt x="1934" y="219"/>
                    </a:cubicBezTo>
                    <a:cubicBezTo>
                      <a:pt x="1951" y="219"/>
                      <a:pt x="1988" y="219"/>
                      <a:pt x="1988" y="186"/>
                    </a:cubicBezTo>
                    <a:cubicBezTo>
                      <a:pt x="2004" y="149"/>
                      <a:pt x="1951" y="132"/>
                      <a:pt x="1902" y="116"/>
                    </a:cubicBezTo>
                    <a:cubicBezTo>
                      <a:pt x="1832" y="100"/>
                      <a:pt x="1762" y="63"/>
                      <a:pt x="1696" y="63"/>
                    </a:cubicBezTo>
                    <a:cubicBezTo>
                      <a:pt x="1491" y="19"/>
                      <a:pt x="1283" y="0"/>
                      <a:pt x="107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00" name="Google Shape;600;p25"/>
              <p:cNvSpPr/>
              <p:nvPr/>
            </p:nvSpPr>
            <p:spPr>
              <a:xfrm>
                <a:off x="307400" y="2601875"/>
                <a:ext cx="48375" cy="10050"/>
              </a:xfrm>
              <a:custGeom>
                <a:avLst/>
                <a:gdLst/>
                <a:ahLst/>
                <a:cxnLst/>
                <a:rect l="l" t="t" r="r" b="b"/>
                <a:pathLst>
                  <a:path w="1935" h="402" extrusionOk="0">
                    <a:moveTo>
                      <a:pt x="1553" y="1"/>
                    </a:moveTo>
                    <a:cubicBezTo>
                      <a:pt x="1281" y="1"/>
                      <a:pt x="1014" y="37"/>
                      <a:pt x="736" y="97"/>
                    </a:cubicBezTo>
                    <a:cubicBezTo>
                      <a:pt x="530" y="134"/>
                      <a:pt x="325" y="200"/>
                      <a:pt x="136" y="286"/>
                    </a:cubicBezTo>
                    <a:cubicBezTo>
                      <a:pt x="87" y="323"/>
                      <a:pt x="1" y="372"/>
                      <a:pt x="17" y="389"/>
                    </a:cubicBezTo>
                    <a:cubicBezTo>
                      <a:pt x="21" y="398"/>
                      <a:pt x="31" y="402"/>
                      <a:pt x="43" y="402"/>
                    </a:cubicBezTo>
                    <a:cubicBezTo>
                      <a:pt x="81" y="402"/>
                      <a:pt x="149" y="368"/>
                      <a:pt x="190" y="356"/>
                    </a:cubicBezTo>
                    <a:cubicBezTo>
                      <a:pt x="633" y="237"/>
                      <a:pt x="1060" y="134"/>
                      <a:pt x="1508" y="118"/>
                    </a:cubicBezTo>
                    <a:lnTo>
                      <a:pt x="1848" y="118"/>
                    </a:lnTo>
                    <a:cubicBezTo>
                      <a:pt x="1881" y="118"/>
                      <a:pt x="1935" y="118"/>
                      <a:pt x="1935" y="64"/>
                    </a:cubicBezTo>
                    <a:cubicBezTo>
                      <a:pt x="1935" y="15"/>
                      <a:pt x="1881" y="32"/>
                      <a:pt x="1848" y="15"/>
                    </a:cubicBezTo>
                    <a:cubicBezTo>
                      <a:pt x="1749" y="5"/>
                      <a:pt x="1651" y="1"/>
                      <a:pt x="1553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01" name="Google Shape;601;p25"/>
              <p:cNvSpPr/>
              <p:nvPr/>
            </p:nvSpPr>
            <p:spPr>
              <a:xfrm>
                <a:off x="369675" y="2545625"/>
                <a:ext cx="21125" cy="12500"/>
              </a:xfrm>
              <a:custGeom>
                <a:avLst/>
                <a:gdLst/>
                <a:ahLst/>
                <a:cxnLst/>
                <a:rect l="l" t="t" r="r" b="b"/>
                <a:pathLst>
                  <a:path w="845" h="500" extrusionOk="0">
                    <a:moveTo>
                      <a:pt x="583" y="0"/>
                    </a:moveTo>
                    <a:cubicBezTo>
                      <a:pt x="340" y="0"/>
                      <a:pt x="1" y="202"/>
                      <a:pt x="60" y="364"/>
                    </a:cubicBezTo>
                    <a:cubicBezTo>
                      <a:pt x="86" y="455"/>
                      <a:pt x="209" y="499"/>
                      <a:pt x="349" y="499"/>
                    </a:cubicBezTo>
                    <a:cubicBezTo>
                      <a:pt x="575" y="499"/>
                      <a:pt x="844" y="382"/>
                      <a:pt x="811" y="159"/>
                    </a:cubicBezTo>
                    <a:cubicBezTo>
                      <a:pt x="790" y="45"/>
                      <a:pt x="697" y="0"/>
                      <a:pt x="583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02" name="Google Shape;602;p25"/>
              <p:cNvSpPr/>
              <p:nvPr/>
            </p:nvSpPr>
            <p:spPr>
              <a:xfrm>
                <a:off x="368575" y="2543875"/>
                <a:ext cx="23550" cy="15575"/>
              </a:xfrm>
              <a:custGeom>
                <a:avLst/>
                <a:gdLst/>
                <a:ahLst/>
                <a:cxnLst/>
                <a:rect l="l" t="t" r="r" b="b"/>
                <a:pathLst>
                  <a:path w="942" h="623" extrusionOk="0">
                    <a:moveTo>
                      <a:pt x="661" y="118"/>
                    </a:moveTo>
                    <a:cubicBezTo>
                      <a:pt x="728" y="118"/>
                      <a:pt x="794" y="139"/>
                      <a:pt x="806" y="212"/>
                    </a:cubicBezTo>
                    <a:cubicBezTo>
                      <a:pt x="839" y="299"/>
                      <a:pt x="666" y="418"/>
                      <a:pt x="617" y="434"/>
                    </a:cubicBezTo>
                    <a:cubicBezTo>
                      <a:pt x="498" y="487"/>
                      <a:pt x="379" y="504"/>
                      <a:pt x="255" y="504"/>
                    </a:cubicBezTo>
                    <a:cubicBezTo>
                      <a:pt x="223" y="504"/>
                      <a:pt x="173" y="467"/>
                      <a:pt x="153" y="418"/>
                    </a:cubicBezTo>
                    <a:cubicBezTo>
                      <a:pt x="120" y="299"/>
                      <a:pt x="309" y="212"/>
                      <a:pt x="342" y="196"/>
                    </a:cubicBezTo>
                    <a:cubicBezTo>
                      <a:pt x="428" y="159"/>
                      <a:pt x="498" y="126"/>
                      <a:pt x="584" y="126"/>
                    </a:cubicBezTo>
                    <a:cubicBezTo>
                      <a:pt x="607" y="121"/>
                      <a:pt x="634" y="118"/>
                      <a:pt x="661" y="118"/>
                    </a:cubicBezTo>
                    <a:close/>
                    <a:moveTo>
                      <a:pt x="591" y="0"/>
                    </a:moveTo>
                    <a:cubicBezTo>
                      <a:pt x="571" y="0"/>
                      <a:pt x="551" y="2"/>
                      <a:pt x="531" y="7"/>
                    </a:cubicBezTo>
                    <a:cubicBezTo>
                      <a:pt x="461" y="23"/>
                      <a:pt x="395" y="56"/>
                      <a:pt x="342" y="77"/>
                    </a:cubicBezTo>
                    <a:cubicBezTo>
                      <a:pt x="255" y="126"/>
                      <a:pt x="1" y="262"/>
                      <a:pt x="50" y="450"/>
                    </a:cubicBezTo>
                    <a:cubicBezTo>
                      <a:pt x="71" y="553"/>
                      <a:pt x="173" y="606"/>
                      <a:pt x="255" y="623"/>
                    </a:cubicBezTo>
                    <a:cubicBezTo>
                      <a:pt x="395" y="623"/>
                      <a:pt x="531" y="606"/>
                      <a:pt x="650" y="553"/>
                    </a:cubicBezTo>
                    <a:cubicBezTo>
                      <a:pt x="719" y="520"/>
                      <a:pt x="789" y="487"/>
                      <a:pt x="839" y="418"/>
                    </a:cubicBezTo>
                    <a:cubicBezTo>
                      <a:pt x="871" y="385"/>
                      <a:pt x="908" y="348"/>
                      <a:pt x="925" y="299"/>
                    </a:cubicBezTo>
                    <a:cubicBezTo>
                      <a:pt x="941" y="229"/>
                      <a:pt x="925" y="142"/>
                      <a:pt x="871" y="93"/>
                    </a:cubicBezTo>
                    <a:cubicBezTo>
                      <a:pt x="822" y="56"/>
                      <a:pt x="769" y="23"/>
                      <a:pt x="719" y="23"/>
                    </a:cubicBezTo>
                    <a:cubicBezTo>
                      <a:pt x="682" y="12"/>
                      <a:pt x="638" y="0"/>
                      <a:pt x="59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03" name="Google Shape;603;p25"/>
              <p:cNvSpPr/>
              <p:nvPr/>
            </p:nvSpPr>
            <p:spPr>
              <a:xfrm>
                <a:off x="444150" y="2537000"/>
                <a:ext cx="21300" cy="11725"/>
              </a:xfrm>
              <a:custGeom>
                <a:avLst/>
                <a:gdLst/>
                <a:ahLst/>
                <a:cxnLst/>
                <a:rect l="l" t="t" r="r" b="b"/>
                <a:pathLst>
                  <a:path w="852" h="469" extrusionOk="0">
                    <a:moveTo>
                      <a:pt x="364" y="0"/>
                    </a:moveTo>
                    <a:cubicBezTo>
                      <a:pt x="195" y="0"/>
                      <a:pt x="38" y="54"/>
                      <a:pt x="25" y="163"/>
                    </a:cubicBezTo>
                    <a:cubicBezTo>
                      <a:pt x="1" y="316"/>
                      <a:pt x="281" y="468"/>
                      <a:pt x="512" y="468"/>
                    </a:cubicBezTo>
                    <a:cubicBezTo>
                      <a:pt x="642" y="468"/>
                      <a:pt x="756" y="421"/>
                      <a:pt x="792" y="298"/>
                    </a:cubicBezTo>
                    <a:cubicBezTo>
                      <a:pt x="852" y="101"/>
                      <a:pt x="597" y="0"/>
                      <a:pt x="364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04" name="Google Shape;604;p25"/>
              <p:cNvSpPr/>
              <p:nvPr/>
            </p:nvSpPr>
            <p:spPr>
              <a:xfrm>
                <a:off x="442600" y="2535525"/>
                <a:ext cx="23950" cy="14075"/>
              </a:xfrm>
              <a:custGeom>
                <a:avLst/>
                <a:gdLst/>
                <a:ahLst/>
                <a:cxnLst/>
                <a:rect l="l" t="t" r="r" b="b"/>
                <a:pathLst>
                  <a:path w="958" h="563" extrusionOk="0">
                    <a:moveTo>
                      <a:pt x="351" y="112"/>
                    </a:moveTo>
                    <a:cubicBezTo>
                      <a:pt x="379" y="112"/>
                      <a:pt x="401" y="115"/>
                      <a:pt x="411" y="119"/>
                    </a:cubicBezTo>
                    <a:cubicBezTo>
                      <a:pt x="497" y="119"/>
                      <a:pt x="579" y="119"/>
                      <a:pt x="666" y="152"/>
                    </a:cubicBezTo>
                    <a:cubicBezTo>
                      <a:pt x="735" y="169"/>
                      <a:pt x="838" y="238"/>
                      <a:pt x="822" y="341"/>
                    </a:cubicBezTo>
                    <a:cubicBezTo>
                      <a:pt x="805" y="427"/>
                      <a:pt x="616" y="444"/>
                      <a:pt x="547" y="444"/>
                    </a:cubicBezTo>
                    <a:cubicBezTo>
                      <a:pt x="427" y="427"/>
                      <a:pt x="308" y="411"/>
                      <a:pt x="206" y="341"/>
                    </a:cubicBezTo>
                    <a:cubicBezTo>
                      <a:pt x="169" y="325"/>
                      <a:pt x="136" y="271"/>
                      <a:pt x="136" y="222"/>
                    </a:cubicBezTo>
                    <a:cubicBezTo>
                      <a:pt x="160" y="135"/>
                      <a:pt x="276" y="112"/>
                      <a:pt x="351" y="112"/>
                    </a:cubicBezTo>
                    <a:close/>
                    <a:moveTo>
                      <a:pt x="460" y="0"/>
                    </a:moveTo>
                    <a:cubicBezTo>
                      <a:pt x="358" y="0"/>
                      <a:pt x="87" y="17"/>
                      <a:pt x="33" y="205"/>
                    </a:cubicBezTo>
                    <a:cubicBezTo>
                      <a:pt x="0" y="308"/>
                      <a:pt x="66" y="390"/>
                      <a:pt x="152" y="444"/>
                    </a:cubicBezTo>
                    <a:cubicBezTo>
                      <a:pt x="271" y="513"/>
                      <a:pt x="395" y="546"/>
                      <a:pt x="530" y="563"/>
                    </a:cubicBezTo>
                    <a:cubicBezTo>
                      <a:pt x="616" y="563"/>
                      <a:pt x="682" y="563"/>
                      <a:pt x="768" y="530"/>
                    </a:cubicBezTo>
                    <a:cubicBezTo>
                      <a:pt x="805" y="513"/>
                      <a:pt x="854" y="476"/>
                      <a:pt x="887" y="444"/>
                    </a:cubicBezTo>
                    <a:cubicBezTo>
                      <a:pt x="924" y="411"/>
                      <a:pt x="957" y="325"/>
                      <a:pt x="924" y="255"/>
                    </a:cubicBezTo>
                    <a:cubicBezTo>
                      <a:pt x="908" y="205"/>
                      <a:pt x="871" y="152"/>
                      <a:pt x="838" y="119"/>
                    </a:cubicBezTo>
                    <a:cubicBezTo>
                      <a:pt x="785" y="66"/>
                      <a:pt x="735" y="33"/>
                      <a:pt x="666" y="33"/>
                    </a:cubicBezTo>
                    <a:cubicBezTo>
                      <a:pt x="600" y="17"/>
                      <a:pt x="530" y="0"/>
                      <a:pt x="46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05" name="Google Shape;605;p25"/>
              <p:cNvSpPr/>
              <p:nvPr/>
            </p:nvSpPr>
            <p:spPr>
              <a:xfrm>
                <a:off x="360075" y="2601575"/>
                <a:ext cx="23100" cy="16650"/>
              </a:xfrm>
              <a:custGeom>
                <a:avLst/>
                <a:gdLst/>
                <a:ahLst/>
                <a:cxnLst/>
                <a:rect l="l" t="t" r="r" b="b"/>
                <a:pathLst>
                  <a:path w="924" h="666" extrusionOk="0">
                    <a:moveTo>
                      <a:pt x="497" y="0"/>
                    </a:moveTo>
                    <a:cubicBezTo>
                      <a:pt x="434" y="0"/>
                      <a:pt x="375" y="14"/>
                      <a:pt x="324" y="44"/>
                    </a:cubicBezTo>
                    <a:cubicBezTo>
                      <a:pt x="205" y="93"/>
                      <a:pt x="0" y="196"/>
                      <a:pt x="82" y="438"/>
                    </a:cubicBezTo>
                    <a:cubicBezTo>
                      <a:pt x="136" y="557"/>
                      <a:pt x="238" y="623"/>
                      <a:pt x="324" y="643"/>
                    </a:cubicBezTo>
                    <a:cubicBezTo>
                      <a:pt x="376" y="658"/>
                      <a:pt x="428" y="666"/>
                      <a:pt x="480" y="666"/>
                    </a:cubicBezTo>
                    <a:cubicBezTo>
                      <a:pt x="595" y="666"/>
                      <a:pt x="707" y="628"/>
                      <a:pt x="801" y="557"/>
                    </a:cubicBezTo>
                    <a:cubicBezTo>
                      <a:pt x="871" y="503"/>
                      <a:pt x="924" y="438"/>
                      <a:pt x="924" y="335"/>
                    </a:cubicBezTo>
                    <a:cubicBezTo>
                      <a:pt x="903" y="212"/>
                      <a:pt x="821" y="130"/>
                      <a:pt x="752" y="76"/>
                    </a:cubicBezTo>
                    <a:cubicBezTo>
                      <a:pt x="673" y="27"/>
                      <a:pt x="582" y="0"/>
                      <a:pt x="497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06" name="Google Shape;606;p25"/>
              <p:cNvSpPr/>
              <p:nvPr/>
            </p:nvSpPr>
            <p:spPr>
              <a:xfrm>
                <a:off x="458000" y="2591800"/>
                <a:ext cx="18400" cy="15025"/>
              </a:xfrm>
              <a:custGeom>
                <a:avLst/>
                <a:gdLst/>
                <a:ahLst/>
                <a:cxnLst/>
                <a:rect l="l" t="t" r="r" b="b"/>
                <a:pathLst>
                  <a:path w="736" h="601" extrusionOk="0">
                    <a:moveTo>
                      <a:pt x="378" y="1"/>
                    </a:moveTo>
                    <a:cubicBezTo>
                      <a:pt x="336" y="1"/>
                      <a:pt x="296" y="9"/>
                      <a:pt x="255" y="24"/>
                    </a:cubicBezTo>
                    <a:cubicBezTo>
                      <a:pt x="169" y="73"/>
                      <a:pt x="0" y="159"/>
                      <a:pt x="87" y="398"/>
                    </a:cubicBezTo>
                    <a:cubicBezTo>
                      <a:pt x="119" y="521"/>
                      <a:pt x="222" y="570"/>
                      <a:pt x="292" y="587"/>
                    </a:cubicBezTo>
                    <a:cubicBezTo>
                      <a:pt x="330" y="596"/>
                      <a:pt x="367" y="600"/>
                      <a:pt x="401" y="600"/>
                    </a:cubicBezTo>
                    <a:cubicBezTo>
                      <a:pt x="502" y="600"/>
                      <a:pt x="585" y="560"/>
                      <a:pt x="649" y="484"/>
                    </a:cubicBezTo>
                    <a:cubicBezTo>
                      <a:pt x="702" y="435"/>
                      <a:pt x="735" y="365"/>
                      <a:pt x="719" y="279"/>
                    </a:cubicBezTo>
                    <a:cubicBezTo>
                      <a:pt x="682" y="192"/>
                      <a:pt x="633" y="110"/>
                      <a:pt x="579" y="73"/>
                    </a:cubicBezTo>
                    <a:cubicBezTo>
                      <a:pt x="507" y="21"/>
                      <a:pt x="441" y="1"/>
                      <a:pt x="378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07" name="Google Shape;607;p25"/>
              <p:cNvSpPr/>
              <p:nvPr/>
            </p:nvSpPr>
            <p:spPr>
              <a:xfrm>
                <a:off x="370750" y="2611575"/>
                <a:ext cx="3000" cy="3150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26" extrusionOk="0">
                    <a:moveTo>
                      <a:pt x="49" y="1"/>
                    </a:moveTo>
                    <a:cubicBezTo>
                      <a:pt x="17" y="17"/>
                      <a:pt x="0" y="38"/>
                      <a:pt x="0" y="71"/>
                    </a:cubicBezTo>
                    <a:cubicBezTo>
                      <a:pt x="13" y="97"/>
                      <a:pt x="26" y="126"/>
                      <a:pt x="48" y="126"/>
                    </a:cubicBezTo>
                    <a:cubicBezTo>
                      <a:pt x="53" y="126"/>
                      <a:pt x="59" y="124"/>
                      <a:pt x="66" y="120"/>
                    </a:cubicBezTo>
                    <a:cubicBezTo>
                      <a:pt x="103" y="103"/>
                      <a:pt x="119" y="71"/>
                      <a:pt x="119" y="38"/>
                    </a:cubicBezTo>
                    <a:cubicBezTo>
                      <a:pt x="103" y="17"/>
                      <a:pt x="86" y="1"/>
                      <a:pt x="4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08" name="Google Shape;608;p25"/>
              <p:cNvSpPr/>
              <p:nvPr/>
            </p:nvSpPr>
            <p:spPr>
              <a:xfrm>
                <a:off x="366850" y="2606850"/>
                <a:ext cx="3000" cy="312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25" extrusionOk="0">
                    <a:moveTo>
                      <a:pt x="53" y="1"/>
                    </a:moveTo>
                    <a:cubicBezTo>
                      <a:pt x="17" y="1"/>
                      <a:pt x="0" y="38"/>
                      <a:pt x="0" y="71"/>
                    </a:cubicBezTo>
                    <a:cubicBezTo>
                      <a:pt x="0" y="104"/>
                      <a:pt x="37" y="124"/>
                      <a:pt x="70" y="124"/>
                    </a:cubicBezTo>
                    <a:cubicBezTo>
                      <a:pt x="103" y="124"/>
                      <a:pt x="119" y="87"/>
                      <a:pt x="119" y="54"/>
                    </a:cubicBezTo>
                    <a:cubicBezTo>
                      <a:pt x="103" y="21"/>
                      <a:pt x="86" y="1"/>
                      <a:pt x="53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09" name="Google Shape;609;p25"/>
              <p:cNvSpPr/>
              <p:nvPr/>
            </p:nvSpPr>
            <p:spPr>
              <a:xfrm>
                <a:off x="373300" y="2605625"/>
                <a:ext cx="3000" cy="312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25" extrusionOk="0">
                    <a:moveTo>
                      <a:pt x="50" y="1"/>
                    </a:moveTo>
                    <a:cubicBezTo>
                      <a:pt x="17" y="1"/>
                      <a:pt x="1" y="34"/>
                      <a:pt x="1" y="70"/>
                    </a:cubicBezTo>
                    <a:cubicBezTo>
                      <a:pt x="14" y="97"/>
                      <a:pt x="28" y="124"/>
                      <a:pt x="50" y="124"/>
                    </a:cubicBezTo>
                    <a:cubicBezTo>
                      <a:pt x="55" y="124"/>
                      <a:pt x="60" y="123"/>
                      <a:pt x="66" y="120"/>
                    </a:cubicBezTo>
                    <a:cubicBezTo>
                      <a:pt x="103" y="120"/>
                      <a:pt x="120" y="87"/>
                      <a:pt x="120" y="50"/>
                    </a:cubicBezTo>
                    <a:cubicBezTo>
                      <a:pt x="103" y="17"/>
                      <a:pt x="87" y="1"/>
                      <a:pt x="5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10" name="Google Shape;610;p25"/>
              <p:cNvSpPr/>
              <p:nvPr/>
            </p:nvSpPr>
            <p:spPr>
              <a:xfrm>
                <a:off x="467850" y="2600375"/>
                <a:ext cx="3000" cy="312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25" extrusionOk="0">
                    <a:moveTo>
                      <a:pt x="67" y="1"/>
                    </a:moveTo>
                    <a:cubicBezTo>
                      <a:pt x="61" y="1"/>
                      <a:pt x="56" y="2"/>
                      <a:pt x="50" y="5"/>
                    </a:cubicBezTo>
                    <a:cubicBezTo>
                      <a:pt x="17" y="5"/>
                      <a:pt x="1" y="38"/>
                      <a:pt x="1" y="75"/>
                    </a:cubicBezTo>
                    <a:cubicBezTo>
                      <a:pt x="1" y="108"/>
                      <a:pt x="33" y="124"/>
                      <a:pt x="66" y="124"/>
                    </a:cubicBezTo>
                    <a:cubicBezTo>
                      <a:pt x="103" y="124"/>
                      <a:pt x="120" y="92"/>
                      <a:pt x="120" y="55"/>
                    </a:cubicBezTo>
                    <a:cubicBezTo>
                      <a:pt x="106" y="28"/>
                      <a:pt x="90" y="1"/>
                      <a:pt x="6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11" name="Google Shape;611;p25"/>
              <p:cNvSpPr/>
              <p:nvPr/>
            </p:nvSpPr>
            <p:spPr>
              <a:xfrm>
                <a:off x="469900" y="2595375"/>
                <a:ext cx="3525" cy="3400"/>
              </a:xfrm>
              <a:custGeom>
                <a:avLst/>
                <a:gdLst/>
                <a:ahLst/>
                <a:cxnLst/>
                <a:rect l="l" t="t" r="r" b="b"/>
                <a:pathLst>
                  <a:path w="141" h="136" extrusionOk="0">
                    <a:moveTo>
                      <a:pt x="70" y="0"/>
                    </a:moveTo>
                    <a:cubicBezTo>
                      <a:pt x="38" y="16"/>
                      <a:pt x="1" y="49"/>
                      <a:pt x="21" y="86"/>
                    </a:cubicBezTo>
                    <a:cubicBezTo>
                      <a:pt x="21" y="119"/>
                      <a:pt x="54" y="136"/>
                      <a:pt x="87" y="136"/>
                    </a:cubicBezTo>
                    <a:cubicBezTo>
                      <a:pt x="124" y="119"/>
                      <a:pt x="140" y="86"/>
                      <a:pt x="124" y="49"/>
                    </a:cubicBezTo>
                    <a:cubicBezTo>
                      <a:pt x="124" y="16"/>
                      <a:pt x="87" y="0"/>
                      <a:pt x="7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12" name="Google Shape;612;p25"/>
              <p:cNvSpPr/>
              <p:nvPr/>
            </p:nvSpPr>
            <p:spPr>
              <a:xfrm>
                <a:off x="463550" y="2596425"/>
                <a:ext cx="2575" cy="2975"/>
              </a:xfrm>
              <a:custGeom>
                <a:avLst/>
                <a:gdLst/>
                <a:ahLst/>
                <a:cxnLst/>
                <a:rect l="l" t="t" r="r" b="b"/>
                <a:pathLst>
                  <a:path w="103" h="119" extrusionOk="0">
                    <a:moveTo>
                      <a:pt x="61" y="1"/>
                    </a:moveTo>
                    <a:cubicBezTo>
                      <a:pt x="52" y="1"/>
                      <a:pt x="43" y="3"/>
                      <a:pt x="33" y="7"/>
                    </a:cubicBezTo>
                    <a:cubicBezTo>
                      <a:pt x="16" y="7"/>
                      <a:pt x="0" y="44"/>
                      <a:pt x="0" y="77"/>
                    </a:cubicBezTo>
                    <a:cubicBezTo>
                      <a:pt x="12" y="101"/>
                      <a:pt x="24" y="118"/>
                      <a:pt x="43" y="118"/>
                    </a:cubicBezTo>
                    <a:cubicBezTo>
                      <a:pt x="51" y="118"/>
                      <a:pt x="60" y="116"/>
                      <a:pt x="70" y="110"/>
                    </a:cubicBezTo>
                    <a:cubicBezTo>
                      <a:pt x="86" y="110"/>
                      <a:pt x="103" y="77"/>
                      <a:pt x="103" y="44"/>
                    </a:cubicBezTo>
                    <a:cubicBezTo>
                      <a:pt x="103" y="17"/>
                      <a:pt x="85" y="1"/>
                      <a:pt x="61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13" name="Google Shape;613;p25"/>
              <p:cNvSpPr/>
              <p:nvPr/>
            </p:nvSpPr>
            <p:spPr>
              <a:xfrm>
                <a:off x="410050" y="2587800"/>
                <a:ext cx="25275" cy="15550"/>
              </a:xfrm>
              <a:custGeom>
                <a:avLst/>
                <a:gdLst/>
                <a:ahLst/>
                <a:cxnLst/>
                <a:rect l="l" t="t" r="r" b="b"/>
                <a:pathLst>
                  <a:path w="1011" h="622" extrusionOk="0">
                    <a:moveTo>
                      <a:pt x="747" y="1"/>
                    </a:moveTo>
                    <a:cubicBezTo>
                      <a:pt x="596" y="1"/>
                      <a:pt x="443" y="40"/>
                      <a:pt x="309" y="81"/>
                    </a:cubicBezTo>
                    <a:cubicBezTo>
                      <a:pt x="206" y="114"/>
                      <a:pt x="136" y="184"/>
                      <a:pt x="71" y="270"/>
                    </a:cubicBezTo>
                    <a:cubicBezTo>
                      <a:pt x="1" y="352"/>
                      <a:pt x="87" y="439"/>
                      <a:pt x="173" y="492"/>
                    </a:cubicBezTo>
                    <a:cubicBezTo>
                      <a:pt x="259" y="541"/>
                      <a:pt x="342" y="595"/>
                      <a:pt x="444" y="611"/>
                    </a:cubicBezTo>
                    <a:cubicBezTo>
                      <a:pt x="480" y="618"/>
                      <a:pt x="521" y="622"/>
                      <a:pt x="564" y="622"/>
                    </a:cubicBezTo>
                    <a:cubicBezTo>
                      <a:pt x="623" y="622"/>
                      <a:pt x="685" y="614"/>
                      <a:pt x="736" y="595"/>
                    </a:cubicBezTo>
                    <a:cubicBezTo>
                      <a:pt x="855" y="541"/>
                      <a:pt x="925" y="422"/>
                      <a:pt x="978" y="303"/>
                    </a:cubicBezTo>
                    <a:cubicBezTo>
                      <a:pt x="994" y="250"/>
                      <a:pt x="1011" y="217"/>
                      <a:pt x="1011" y="168"/>
                    </a:cubicBezTo>
                    <a:cubicBezTo>
                      <a:pt x="1011" y="131"/>
                      <a:pt x="994" y="81"/>
                      <a:pt x="958" y="44"/>
                    </a:cubicBezTo>
                    <a:cubicBezTo>
                      <a:pt x="941" y="28"/>
                      <a:pt x="908" y="12"/>
                      <a:pt x="875" y="12"/>
                    </a:cubicBezTo>
                    <a:cubicBezTo>
                      <a:pt x="833" y="4"/>
                      <a:pt x="790" y="1"/>
                      <a:pt x="747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14" name="Google Shape;614;p25"/>
              <p:cNvSpPr/>
              <p:nvPr/>
            </p:nvSpPr>
            <p:spPr>
              <a:xfrm>
                <a:off x="409650" y="2572950"/>
                <a:ext cx="24350" cy="20625"/>
              </a:xfrm>
              <a:custGeom>
                <a:avLst/>
                <a:gdLst/>
                <a:ahLst/>
                <a:cxnLst/>
                <a:rect l="l" t="t" r="r" b="b"/>
                <a:pathLst>
                  <a:path w="974" h="825" extrusionOk="0">
                    <a:moveTo>
                      <a:pt x="507" y="1"/>
                    </a:moveTo>
                    <a:cubicBezTo>
                      <a:pt x="418" y="1"/>
                      <a:pt x="328" y="31"/>
                      <a:pt x="255" y="92"/>
                    </a:cubicBezTo>
                    <a:cubicBezTo>
                      <a:pt x="136" y="178"/>
                      <a:pt x="70" y="330"/>
                      <a:pt x="33" y="470"/>
                    </a:cubicBezTo>
                    <a:cubicBezTo>
                      <a:pt x="17" y="556"/>
                      <a:pt x="0" y="725"/>
                      <a:pt x="33" y="811"/>
                    </a:cubicBezTo>
                    <a:cubicBezTo>
                      <a:pt x="42" y="820"/>
                      <a:pt x="54" y="824"/>
                      <a:pt x="68" y="824"/>
                    </a:cubicBezTo>
                    <a:cubicBezTo>
                      <a:pt x="131" y="824"/>
                      <a:pt x="231" y="735"/>
                      <a:pt x="275" y="708"/>
                    </a:cubicBezTo>
                    <a:cubicBezTo>
                      <a:pt x="427" y="649"/>
                      <a:pt x="593" y="615"/>
                      <a:pt x="754" y="615"/>
                    </a:cubicBezTo>
                    <a:cubicBezTo>
                      <a:pt x="829" y="615"/>
                      <a:pt x="903" y="623"/>
                      <a:pt x="974" y="638"/>
                    </a:cubicBezTo>
                    <a:cubicBezTo>
                      <a:pt x="974" y="573"/>
                      <a:pt x="957" y="503"/>
                      <a:pt x="941" y="433"/>
                    </a:cubicBezTo>
                    <a:cubicBezTo>
                      <a:pt x="924" y="330"/>
                      <a:pt x="871" y="248"/>
                      <a:pt x="822" y="162"/>
                    </a:cubicBezTo>
                    <a:cubicBezTo>
                      <a:pt x="789" y="109"/>
                      <a:pt x="735" y="59"/>
                      <a:pt x="686" y="43"/>
                    </a:cubicBezTo>
                    <a:cubicBezTo>
                      <a:pt x="630" y="15"/>
                      <a:pt x="568" y="1"/>
                      <a:pt x="507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15" name="Google Shape;615;p25"/>
              <p:cNvSpPr/>
              <p:nvPr/>
            </p:nvSpPr>
            <p:spPr>
              <a:xfrm>
                <a:off x="415600" y="2591975"/>
                <a:ext cx="10300" cy="5975"/>
              </a:xfrm>
              <a:custGeom>
                <a:avLst/>
                <a:gdLst/>
                <a:ahLst/>
                <a:cxnLst/>
                <a:rect l="l" t="t" r="r" b="b"/>
                <a:pathLst>
                  <a:path w="412" h="239" extrusionOk="0">
                    <a:moveTo>
                      <a:pt x="292" y="1"/>
                    </a:moveTo>
                    <a:cubicBezTo>
                      <a:pt x="243" y="1"/>
                      <a:pt x="173" y="17"/>
                      <a:pt x="120" y="50"/>
                    </a:cubicBezTo>
                    <a:cubicBezTo>
                      <a:pt x="87" y="66"/>
                      <a:pt x="54" y="83"/>
                      <a:pt x="17" y="120"/>
                    </a:cubicBezTo>
                    <a:cubicBezTo>
                      <a:pt x="1" y="152"/>
                      <a:pt x="1" y="222"/>
                      <a:pt x="54" y="239"/>
                    </a:cubicBezTo>
                    <a:lnTo>
                      <a:pt x="103" y="239"/>
                    </a:lnTo>
                    <a:cubicBezTo>
                      <a:pt x="173" y="239"/>
                      <a:pt x="222" y="239"/>
                      <a:pt x="276" y="206"/>
                    </a:cubicBezTo>
                    <a:cubicBezTo>
                      <a:pt x="325" y="206"/>
                      <a:pt x="362" y="169"/>
                      <a:pt x="378" y="136"/>
                    </a:cubicBezTo>
                    <a:cubicBezTo>
                      <a:pt x="411" y="120"/>
                      <a:pt x="411" y="66"/>
                      <a:pt x="395" y="33"/>
                    </a:cubicBezTo>
                    <a:cubicBezTo>
                      <a:pt x="362" y="1"/>
                      <a:pt x="325" y="1"/>
                      <a:pt x="292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16" name="Google Shape;616;p25"/>
              <p:cNvSpPr/>
              <p:nvPr/>
            </p:nvSpPr>
            <p:spPr>
              <a:xfrm>
                <a:off x="409225" y="2586650"/>
                <a:ext cx="27850" cy="18175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727" extrusionOk="0">
                    <a:moveTo>
                      <a:pt x="822" y="121"/>
                    </a:moveTo>
                    <a:cubicBezTo>
                      <a:pt x="850" y="121"/>
                      <a:pt x="878" y="123"/>
                      <a:pt x="908" y="127"/>
                    </a:cubicBezTo>
                    <a:cubicBezTo>
                      <a:pt x="974" y="127"/>
                      <a:pt x="974" y="144"/>
                      <a:pt x="974" y="214"/>
                    </a:cubicBezTo>
                    <a:cubicBezTo>
                      <a:pt x="958" y="296"/>
                      <a:pt x="925" y="365"/>
                      <a:pt x="871" y="419"/>
                    </a:cubicBezTo>
                    <a:cubicBezTo>
                      <a:pt x="855" y="452"/>
                      <a:pt x="839" y="485"/>
                      <a:pt x="806" y="501"/>
                    </a:cubicBezTo>
                    <a:cubicBezTo>
                      <a:pt x="752" y="571"/>
                      <a:pt x="683" y="587"/>
                      <a:pt x="617" y="604"/>
                    </a:cubicBezTo>
                    <a:cubicBezTo>
                      <a:pt x="531" y="604"/>
                      <a:pt x="444" y="587"/>
                      <a:pt x="358" y="554"/>
                    </a:cubicBezTo>
                    <a:cubicBezTo>
                      <a:pt x="309" y="521"/>
                      <a:pt x="239" y="485"/>
                      <a:pt x="190" y="452"/>
                    </a:cubicBezTo>
                    <a:cubicBezTo>
                      <a:pt x="136" y="419"/>
                      <a:pt x="136" y="365"/>
                      <a:pt x="169" y="333"/>
                    </a:cubicBezTo>
                    <a:cubicBezTo>
                      <a:pt x="256" y="246"/>
                      <a:pt x="342" y="193"/>
                      <a:pt x="444" y="177"/>
                    </a:cubicBezTo>
                    <a:cubicBezTo>
                      <a:pt x="514" y="160"/>
                      <a:pt x="563" y="144"/>
                      <a:pt x="633" y="144"/>
                    </a:cubicBezTo>
                    <a:cubicBezTo>
                      <a:pt x="694" y="132"/>
                      <a:pt x="755" y="121"/>
                      <a:pt x="822" y="121"/>
                    </a:cubicBezTo>
                    <a:close/>
                    <a:moveTo>
                      <a:pt x="825" y="0"/>
                    </a:moveTo>
                    <a:cubicBezTo>
                      <a:pt x="727" y="0"/>
                      <a:pt x="602" y="17"/>
                      <a:pt x="477" y="41"/>
                    </a:cubicBezTo>
                    <a:cubicBezTo>
                      <a:pt x="325" y="58"/>
                      <a:pt x="190" y="127"/>
                      <a:pt x="87" y="246"/>
                    </a:cubicBezTo>
                    <a:cubicBezTo>
                      <a:pt x="1" y="333"/>
                      <a:pt x="1" y="452"/>
                      <a:pt x="104" y="538"/>
                    </a:cubicBezTo>
                    <a:cubicBezTo>
                      <a:pt x="239" y="641"/>
                      <a:pt x="375" y="706"/>
                      <a:pt x="563" y="727"/>
                    </a:cubicBezTo>
                    <a:cubicBezTo>
                      <a:pt x="666" y="727"/>
                      <a:pt x="785" y="706"/>
                      <a:pt x="871" y="624"/>
                    </a:cubicBezTo>
                    <a:cubicBezTo>
                      <a:pt x="991" y="521"/>
                      <a:pt x="1060" y="398"/>
                      <a:pt x="1093" y="246"/>
                    </a:cubicBezTo>
                    <a:cubicBezTo>
                      <a:pt x="1114" y="111"/>
                      <a:pt x="1077" y="25"/>
                      <a:pt x="925" y="8"/>
                    </a:cubicBezTo>
                    <a:cubicBezTo>
                      <a:pt x="896" y="3"/>
                      <a:pt x="863" y="0"/>
                      <a:pt x="82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17" name="Google Shape;617;p25"/>
              <p:cNvSpPr/>
              <p:nvPr/>
            </p:nvSpPr>
            <p:spPr>
              <a:xfrm>
                <a:off x="415200" y="2581700"/>
                <a:ext cx="12850" cy="4250"/>
              </a:xfrm>
              <a:custGeom>
                <a:avLst/>
                <a:gdLst/>
                <a:ahLst/>
                <a:cxnLst/>
                <a:rect l="l" t="t" r="r" b="b"/>
                <a:pathLst>
                  <a:path w="514" h="170" extrusionOk="0">
                    <a:moveTo>
                      <a:pt x="238" y="1"/>
                    </a:moveTo>
                    <a:cubicBezTo>
                      <a:pt x="156" y="17"/>
                      <a:pt x="103" y="34"/>
                      <a:pt x="53" y="67"/>
                    </a:cubicBezTo>
                    <a:cubicBezTo>
                      <a:pt x="33" y="83"/>
                      <a:pt x="17" y="104"/>
                      <a:pt x="17" y="120"/>
                    </a:cubicBezTo>
                    <a:cubicBezTo>
                      <a:pt x="0" y="153"/>
                      <a:pt x="17" y="169"/>
                      <a:pt x="53" y="169"/>
                    </a:cubicBezTo>
                    <a:cubicBezTo>
                      <a:pt x="86" y="169"/>
                      <a:pt x="103" y="169"/>
                      <a:pt x="119" y="153"/>
                    </a:cubicBezTo>
                    <a:cubicBezTo>
                      <a:pt x="189" y="136"/>
                      <a:pt x="238" y="120"/>
                      <a:pt x="308" y="120"/>
                    </a:cubicBezTo>
                    <a:cubicBezTo>
                      <a:pt x="324" y="128"/>
                      <a:pt x="346" y="132"/>
                      <a:pt x="368" y="132"/>
                    </a:cubicBezTo>
                    <a:cubicBezTo>
                      <a:pt x="389" y="132"/>
                      <a:pt x="411" y="128"/>
                      <a:pt x="427" y="120"/>
                    </a:cubicBezTo>
                    <a:cubicBezTo>
                      <a:pt x="481" y="120"/>
                      <a:pt x="497" y="104"/>
                      <a:pt x="513" y="83"/>
                    </a:cubicBezTo>
                    <a:cubicBezTo>
                      <a:pt x="513" y="50"/>
                      <a:pt x="497" y="17"/>
                      <a:pt x="444" y="17"/>
                    </a:cubicBezTo>
                    <a:cubicBezTo>
                      <a:pt x="427" y="1"/>
                      <a:pt x="411" y="1"/>
                      <a:pt x="411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18" name="Google Shape;618;p25"/>
              <p:cNvSpPr/>
              <p:nvPr/>
            </p:nvSpPr>
            <p:spPr>
              <a:xfrm>
                <a:off x="402350" y="2605625"/>
                <a:ext cx="19750" cy="15625"/>
              </a:xfrm>
              <a:custGeom>
                <a:avLst/>
                <a:gdLst/>
                <a:ahLst/>
                <a:cxnLst/>
                <a:rect l="l" t="t" r="r" b="b"/>
                <a:pathLst>
                  <a:path w="790" h="625" extrusionOk="0">
                    <a:moveTo>
                      <a:pt x="34" y="1"/>
                    </a:moveTo>
                    <a:cubicBezTo>
                      <a:pt x="17" y="103"/>
                      <a:pt x="1" y="222"/>
                      <a:pt x="17" y="341"/>
                    </a:cubicBezTo>
                    <a:cubicBezTo>
                      <a:pt x="17" y="395"/>
                      <a:pt x="34" y="444"/>
                      <a:pt x="54" y="497"/>
                    </a:cubicBezTo>
                    <a:cubicBezTo>
                      <a:pt x="87" y="530"/>
                      <a:pt x="120" y="584"/>
                      <a:pt x="190" y="600"/>
                    </a:cubicBezTo>
                    <a:cubicBezTo>
                      <a:pt x="225" y="617"/>
                      <a:pt x="268" y="625"/>
                      <a:pt x="312" y="625"/>
                    </a:cubicBezTo>
                    <a:cubicBezTo>
                      <a:pt x="357" y="625"/>
                      <a:pt x="403" y="617"/>
                      <a:pt x="444" y="600"/>
                    </a:cubicBezTo>
                    <a:cubicBezTo>
                      <a:pt x="531" y="563"/>
                      <a:pt x="584" y="514"/>
                      <a:pt x="650" y="444"/>
                    </a:cubicBezTo>
                    <a:cubicBezTo>
                      <a:pt x="703" y="378"/>
                      <a:pt x="752" y="309"/>
                      <a:pt x="789" y="222"/>
                    </a:cubicBezTo>
                    <a:lnTo>
                      <a:pt x="34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19" name="Google Shape;619;p25"/>
              <p:cNvSpPr/>
              <p:nvPr/>
            </p:nvSpPr>
            <p:spPr>
              <a:xfrm>
                <a:off x="396550" y="2597750"/>
                <a:ext cx="36900" cy="25875"/>
              </a:xfrm>
              <a:custGeom>
                <a:avLst/>
                <a:gdLst/>
                <a:ahLst/>
                <a:cxnLst/>
                <a:rect l="l" t="t" r="r" b="b"/>
                <a:pathLst>
                  <a:path w="1476" h="1035" extrusionOk="0">
                    <a:moveTo>
                      <a:pt x="319" y="418"/>
                    </a:moveTo>
                    <a:lnTo>
                      <a:pt x="319" y="418"/>
                    </a:lnTo>
                    <a:cubicBezTo>
                      <a:pt x="368" y="451"/>
                      <a:pt x="438" y="488"/>
                      <a:pt x="508" y="521"/>
                    </a:cubicBezTo>
                    <a:lnTo>
                      <a:pt x="492" y="656"/>
                    </a:lnTo>
                    <a:cubicBezTo>
                      <a:pt x="479" y="699"/>
                      <a:pt x="506" y="722"/>
                      <a:pt x="538" y="722"/>
                    </a:cubicBezTo>
                    <a:cubicBezTo>
                      <a:pt x="558" y="722"/>
                      <a:pt x="580" y="713"/>
                      <a:pt x="594" y="693"/>
                    </a:cubicBezTo>
                    <a:cubicBezTo>
                      <a:pt x="594" y="693"/>
                      <a:pt x="611" y="624"/>
                      <a:pt x="627" y="554"/>
                    </a:cubicBezTo>
                    <a:cubicBezTo>
                      <a:pt x="713" y="570"/>
                      <a:pt x="816" y="591"/>
                      <a:pt x="902" y="591"/>
                    </a:cubicBezTo>
                    <a:cubicBezTo>
                      <a:pt x="882" y="710"/>
                      <a:pt x="816" y="796"/>
                      <a:pt x="713" y="862"/>
                    </a:cubicBezTo>
                    <a:cubicBezTo>
                      <a:pt x="671" y="884"/>
                      <a:pt x="623" y="899"/>
                      <a:pt x="576" y="899"/>
                    </a:cubicBezTo>
                    <a:cubicBezTo>
                      <a:pt x="546" y="899"/>
                      <a:pt x="517" y="893"/>
                      <a:pt x="492" y="878"/>
                    </a:cubicBezTo>
                    <a:cubicBezTo>
                      <a:pt x="455" y="878"/>
                      <a:pt x="422" y="845"/>
                      <a:pt x="389" y="812"/>
                    </a:cubicBezTo>
                    <a:cubicBezTo>
                      <a:pt x="368" y="776"/>
                      <a:pt x="352" y="743"/>
                      <a:pt x="335" y="693"/>
                    </a:cubicBezTo>
                    <a:cubicBezTo>
                      <a:pt x="319" y="607"/>
                      <a:pt x="319" y="505"/>
                      <a:pt x="319" y="418"/>
                    </a:cubicBezTo>
                    <a:close/>
                    <a:moveTo>
                      <a:pt x="64" y="1"/>
                    </a:moveTo>
                    <a:cubicBezTo>
                      <a:pt x="35" y="1"/>
                      <a:pt x="0" y="31"/>
                      <a:pt x="11" y="77"/>
                    </a:cubicBezTo>
                    <a:cubicBezTo>
                      <a:pt x="28" y="180"/>
                      <a:pt x="97" y="262"/>
                      <a:pt x="184" y="349"/>
                    </a:cubicBezTo>
                    <a:lnTo>
                      <a:pt x="184" y="365"/>
                    </a:lnTo>
                    <a:cubicBezTo>
                      <a:pt x="184" y="488"/>
                      <a:pt x="184" y="607"/>
                      <a:pt x="216" y="726"/>
                    </a:cubicBezTo>
                    <a:cubicBezTo>
                      <a:pt x="233" y="796"/>
                      <a:pt x="249" y="845"/>
                      <a:pt x="286" y="899"/>
                    </a:cubicBezTo>
                    <a:cubicBezTo>
                      <a:pt x="319" y="948"/>
                      <a:pt x="389" y="1001"/>
                      <a:pt x="455" y="1018"/>
                    </a:cubicBezTo>
                    <a:cubicBezTo>
                      <a:pt x="492" y="1034"/>
                      <a:pt x="524" y="1034"/>
                      <a:pt x="557" y="1034"/>
                    </a:cubicBezTo>
                    <a:cubicBezTo>
                      <a:pt x="627" y="1034"/>
                      <a:pt x="697" y="1018"/>
                      <a:pt x="763" y="981"/>
                    </a:cubicBezTo>
                    <a:cubicBezTo>
                      <a:pt x="865" y="932"/>
                      <a:pt x="935" y="845"/>
                      <a:pt x="968" y="796"/>
                    </a:cubicBezTo>
                    <a:cubicBezTo>
                      <a:pt x="1005" y="726"/>
                      <a:pt x="1038" y="673"/>
                      <a:pt x="1070" y="607"/>
                    </a:cubicBezTo>
                    <a:cubicBezTo>
                      <a:pt x="1210" y="607"/>
                      <a:pt x="1329" y="554"/>
                      <a:pt x="1432" y="488"/>
                    </a:cubicBezTo>
                    <a:cubicBezTo>
                      <a:pt x="1476" y="455"/>
                      <a:pt x="1441" y="399"/>
                      <a:pt x="1395" y="399"/>
                    </a:cubicBezTo>
                    <a:cubicBezTo>
                      <a:pt x="1390" y="399"/>
                      <a:pt x="1384" y="400"/>
                      <a:pt x="1378" y="402"/>
                    </a:cubicBezTo>
                    <a:cubicBezTo>
                      <a:pt x="1294" y="429"/>
                      <a:pt x="1194" y="442"/>
                      <a:pt x="1086" y="442"/>
                    </a:cubicBezTo>
                    <a:cubicBezTo>
                      <a:pt x="714" y="442"/>
                      <a:pt x="256" y="288"/>
                      <a:pt x="97" y="24"/>
                    </a:cubicBezTo>
                    <a:cubicBezTo>
                      <a:pt x="92" y="8"/>
                      <a:pt x="79" y="1"/>
                      <a:pt x="64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20" name="Google Shape;620;p25"/>
              <p:cNvSpPr/>
              <p:nvPr/>
            </p:nvSpPr>
            <p:spPr>
              <a:xfrm>
                <a:off x="399375" y="2624250"/>
                <a:ext cx="7725" cy="5725"/>
              </a:xfrm>
              <a:custGeom>
                <a:avLst/>
                <a:gdLst/>
                <a:ahLst/>
                <a:cxnLst/>
                <a:rect l="l" t="t" r="r" b="b"/>
                <a:pathLst>
                  <a:path w="309" h="229" extrusionOk="0">
                    <a:moveTo>
                      <a:pt x="152" y="1"/>
                    </a:moveTo>
                    <a:cubicBezTo>
                      <a:pt x="106" y="1"/>
                      <a:pt x="42" y="20"/>
                      <a:pt x="17" y="60"/>
                    </a:cubicBezTo>
                    <a:cubicBezTo>
                      <a:pt x="1" y="93"/>
                      <a:pt x="17" y="126"/>
                      <a:pt x="34" y="147"/>
                    </a:cubicBezTo>
                    <a:cubicBezTo>
                      <a:pt x="71" y="196"/>
                      <a:pt x="120" y="229"/>
                      <a:pt x="173" y="229"/>
                    </a:cubicBezTo>
                    <a:cubicBezTo>
                      <a:pt x="222" y="229"/>
                      <a:pt x="292" y="180"/>
                      <a:pt x="292" y="126"/>
                    </a:cubicBezTo>
                    <a:cubicBezTo>
                      <a:pt x="309" y="77"/>
                      <a:pt x="255" y="7"/>
                      <a:pt x="190" y="7"/>
                    </a:cubicBezTo>
                    <a:cubicBezTo>
                      <a:pt x="181" y="3"/>
                      <a:pt x="167" y="1"/>
                      <a:pt x="152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21" name="Google Shape;621;p25"/>
              <p:cNvSpPr/>
              <p:nvPr/>
            </p:nvSpPr>
            <p:spPr>
              <a:xfrm>
                <a:off x="435300" y="2547725"/>
                <a:ext cx="39750" cy="39250"/>
              </a:xfrm>
              <a:custGeom>
                <a:avLst/>
                <a:gdLst/>
                <a:ahLst/>
                <a:cxnLst/>
                <a:rect l="l" t="t" r="r" b="b"/>
                <a:pathLst>
                  <a:path w="1590" h="1570" extrusionOk="0">
                    <a:moveTo>
                      <a:pt x="772" y="0"/>
                    </a:moveTo>
                    <a:cubicBezTo>
                      <a:pt x="715" y="0"/>
                      <a:pt x="658" y="8"/>
                      <a:pt x="600" y="25"/>
                    </a:cubicBezTo>
                    <a:cubicBezTo>
                      <a:pt x="71" y="194"/>
                      <a:pt x="1" y="588"/>
                      <a:pt x="34" y="929"/>
                    </a:cubicBezTo>
                    <a:cubicBezTo>
                      <a:pt x="84" y="1237"/>
                      <a:pt x="415" y="1570"/>
                      <a:pt x="795" y="1570"/>
                    </a:cubicBezTo>
                    <a:cubicBezTo>
                      <a:pt x="820" y="1570"/>
                      <a:pt x="846" y="1568"/>
                      <a:pt x="871" y="1565"/>
                    </a:cubicBezTo>
                    <a:cubicBezTo>
                      <a:pt x="1303" y="1495"/>
                      <a:pt x="1590" y="1101"/>
                      <a:pt x="1508" y="674"/>
                    </a:cubicBezTo>
                    <a:cubicBezTo>
                      <a:pt x="1448" y="307"/>
                      <a:pt x="1123" y="0"/>
                      <a:pt x="772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22" name="Google Shape;622;p25"/>
              <p:cNvSpPr/>
              <p:nvPr/>
            </p:nvSpPr>
            <p:spPr>
              <a:xfrm>
                <a:off x="432750" y="2547325"/>
                <a:ext cx="42300" cy="40725"/>
              </a:xfrm>
              <a:custGeom>
                <a:avLst/>
                <a:gdLst/>
                <a:ahLst/>
                <a:cxnLst/>
                <a:rect l="l" t="t" r="r" b="b"/>
                <a:pathLst>
                  <a:path w="1692" h="1629" extrusionOk="0">
                    <a:moveTo>
                      <a:pt x="427" y="531"/>
                    </a:moveTo>
                    <a:cubicBezTo>
                      <a:pt x="560" y="531"/>
                      <a:pt x="638" y="712"/>
                      <a:pt x="497" y="776"/>
                    </a:cubicBezTo>
                    <a:cubicBezTo>
                      <a:pt x="468" y="795"/>
                      <a:pt x="441" y="803"/>
                      <a:pt x="416" y="803"/>
                    </a:cubicBezTo>
                    <a:cubicBezTo>
                      <a:pt x="279" y="803"/>
                      <a:pt x="221" y="565"/>
                      <a:pt x="394" y="534"/>
                    </a:cubicBezTo>
                    <a:cubicBezTo>
                      <a:pt x="406" y="532"/>
                      <a:pt x="416" y="531"/>
                      <a:pt x="427" y="531"/>
                    </a:cubicBezTo>
                    <a:close/>
                    <a:moveTo>
                      <a:pt x="853" y="105"/>
                    </a:moveTo>
                    <a:cubicBezTo>
                      <a:pt x="1025" y="105"/>
                      <a:pt x="1186" y="181"/>
                      <a:pt x="1265" y="226"/>
                    </a:cubicBezTo>
                    <a:cubicBezTo>
                      <a:pt x="1405" y="349"/>
                      <a:pt x="1507" y="518"/>
                      <a:pt x="1540" y="690"/>
                    </a:cubicBezTo>
                    <a:cubicBezTo>
                      <a:pt x="1573" y="879"/>
                      <a:pt x="1540" y="1101"/>
                      <a:pt x="1421" y="1253"/>
                    </a:cubicBezTo>
                    <a:cubicBezTo>
                      <a:pt x="1232" y="1479"/>
                      <a:pt x="973" y="1528"/>
                      <a:pt x="973" y="1528"/>
                    </a:cubicBezTo>
                    <a:cubicBezTo>
                      <a:pt x="973" y="1528"/>
                      <a:pt x="1043" y="1171"/>
                      <a:pt x="1043" y="1117"/>
                    </a:cubicBezTo>
                    <a:cubicBezTo>
                      <a:pt x="1060" y="998"/>
                      <a:pt x="1043" y="896"/>
                      <a:pt x="1027" y="793"/>
                    </a:cubicBezTo>
                    <a:cubicBezTo>
                      <a:pt x="1010" y="674"/>
                      <a:pt x="973" y="571"/>
                      <a:pt x="941" y="468"/>
                    </a:cubicBezTo>
                    <a:cubicBezTo>
                      <a:pt x="924" y="432"/>
                      <a:pt x="838" y="247"/>
                      <a:pt x="768" y="177"/>
                    </a:cubicBezTo>
                    <a:cubicBezTo>
                      <a:pt x="768" y="144"/>
                      <a:pt x="768" y="124"/>
                      <a:pt x="805" y="107"/>
                    </a:cubicBezTo>
                    <a:cubicBezTo>
                      <a:pt x="821" y="106"/>
                      <a:pt x="837" y="105"/>
                      <a:pt x="853" y="105"/>
                    </a:cubicBezTo>
                    <a:close/>
                    <a:moveTo>
                      <a:pt x="886" y="0"/>
                    </a:moveTo>
                    <a:cubicBezTo>
                      <a:pt x="859" y="0"/>
                      <a:pt x="832" y="2"/>
                      <a:pt x="805" y="4"/>
                    </a:cubicBezTo>
                    <a:cubicBezTo>
                      <a:pt x="341" y="41"/>
                      <a:pt x="0" y="382"/>
                      <a:pt x="86" y="945"/>
                    </a:cubicBezTo>
                    <a:cubicBezTo>
                      <a:pt x="161" y="1433"/>
                      <a:pt x="513" y="1629"/>
                      <a:pt x="861" y="1629"/>
                    </a:cubicBezTo>
                    <a:cubicBezTo>
                      <a:pt x="917" y="1629"/>
                      <a:pt x="972" y="1624"/>
                      <a:pt x="1027" y="1614"/>
                    </a:cubicBezTo>
                    <a:cubicBezTo>
                      <a:pt x="1405" y="1561"/>
                      <a:pt x="1676" y="1220"/>
                      <a:pt x="1676" y="842"/>
                    </a:cubicBezTo>
                    <a:cubicBezTo>
                      <a:pt x="1691" y="377"/>
                      <a:pt x="1327" y="0"/>
                      <a:pt x="88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23" name="Google Shape;623;p25"/>
              <p:cNvSpPr/>
              <p:nvPr/>
            </p:nvSpPr>
            <p:spPr>
              <a:xfrm>
                <a:off x="363875" y="2557975"/>
                <a:ext cx="39850" cy="39275"/>
              </a:xfrm>
              <a:custGeom>
                <a:avLst/>
                <a:gdLst/>
                <a:ahLst/>
                <a:cxnLst/>
                <a:rect l="l" t="t" r="r" b="b"/>
                <a:pathLst>
                  <a:path w="1594" h="1571" extrusionOk="0">
                    <a:moveTo>
                      <a:pt x="771" y="1"/>
                    </a:moveTo>
                    <a:cubicBezTo>
                      <a:pt x="714" y="1"/>
                      <a:pt x="657" y="9"/>
                      <a:pt x="600" y="26"/>
                    </a:cubicBezTo>
                    <a:cubicBezTo>
                      <a:pt x="70" y="194"/>
                      <a:pt x="0" y="589"/>
                      <a:pt x="33" y="929"/>
                    </a:cubicBezTo>
                    <a:cubicBezTo>
                      <a:pt x="83" y="1237"/>
                      <a:pt x="418" y="1570"/>
                      <a:pt x="798" y="1570"/>
                    </a:cubicBezTo>
                    <a:cubicBezTo>
                      <a:pt x="823" y="1570"/>
                      <a:pt x="849" y="1569"/>
                      <a:pt x="875" y="1566"/>
                    </a:cubicBezTo>
                    <a:cubicBezTo>
                      <a:pt x="1302" y="1496"/>
                      <a:pt x="1593" y="1102"/>
                      <a:pt x="1523" y="675"/>
                    </a:cubicBezTo>
                    <a:cubicBezTo>
                      <a:pt x="1449" y="307"/>
                      <a:pt x="1123" y="1"/>
                      <a:pt x="771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24" name="Google Shape;624;p25"/>
              <p:cNvSpPr/>
              <p:nvPr/>
            </p:nvSpPr>
            <p:spPr>
              <a:xfrm>
                <a:off x="361300" y="2557575"/>
                <a:ext cx="42400" cy="40750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630" extrusionOk="0">
                    <a:moveTo>
                      <a:pt x="427" y="531"/>
                    </a:moveTo>
                    <a:cubicBezTo>
                      <a:pt x="560" y="531"/>
                      <a:pt x="638" y="714"/>
                      <a:pt x="497" y="793"/>
                    </a:cubicBezTo>
                    <a:cubicBezTo>
                      <a:pt x="472" y="807"/>
                      <a:pt x="447" y="813"/>
                      <a:pt x="425" y="813"/>
                    </a:cubicBezTo>
                    <a:cubicBezTo>
                      <a:pt x="282" y="813"/>
                      <a:pt x="217" y="567"/>
                      <a:pt x="395" y="535"/>
                    </a:cubicBezTo>
                    <a:cubicBezTo>
                      <a:pt x="406" y="532"/>
                      <a:pt x="416" y="531"/>
                      <a:pt x="427" y="531"/>
                    </a:cubicBezTo>
                    <a:close/>
                    <a:moveTo>
                      <a:pt x="853" y="106"/>
                    </a:moveTo>
                    <a:cubicBezTo>
                      <a:pt x="1025" y="106"/>
                      <a:pt x="1190" y="183"/>
                      <a:pt x="1265" y="247"/>
                    </a:cubicBezTo>
                    <a:cubicBezTo>
                      <a:pt x="1421" y="350"/>
                      <a:pt x="1524" y="518"/>
                      <a:pt x="1540" y="707"/>
                    </a:cubicBezTo>
                    <a:cubicBezTo>
                      <a:pt x="1594" y="880"/>
                      <a:pt x="1540" y="1118"/>
                      <a:pt x="1421" y="1253"/>
                    </a:cubicBezTo>
                    <a:cubicBezTo>
                      <a:pt x="1249" y="1479"/>
                      <a:pt x="994" y="1528"/>
                      <a:pt x="994" y="1528"/>
                    </a:cubicBezTo>
                    <a:cubicBezTo>
                      <a:pt x="994" y="1528"/>
                      <a:pt x="1043" y="1171"/>
                      <a:pt x="1043" y="1118"/>
                    </a:cubicBezTo>
                    <a:cubicBezTo>
                      <a:pt x="1060" y="1015"/>
                      <a:pt x="1043" y="896"/>
                      <a:pt x="1027" y="793"/>
                    </a:cubicBezTo>
                    <a:cubicBezTo>
                      <a:pt x="1010" y="674"/>
                      <a:pt x="994" y="572"/>
                      <a:pt x="941" y="469"/>
                    </a:cubicBezTo>
                    <a:cubicBezTo>
                      <a:pt x="941" y="432"/>
                      <a:pt x="838" y="264"/>
                      <a:pt x="789" y="178"/>
                    </a:cubicBezTo>
                    <a:cubicBezTo>
                      <a:pt x="772" y="145"/>
                      <a:pt x="789" y="124"/>
                      <a:pt x="805" y="108"/>
                    </a:cubicBezTo>
                    <a:cubicBezTo>
                      <a:pt x="821" y="106"/>
                      <a:pt x="837" y="106"/>
                      <a:pt x="853" y="106"/>
                    </a:cubicBezTo>
                    <a:close/>
                    <a:moveTo>
                      <a:pt x="886" y="1"/>
                    </a:moveTo>
                    <a:cubicBezTo>
                      <a:pt x="860" y="1"/>
                      <a:pt x="832" y="2"/>
                      <a:pt x="805" y="5"/>
                    </a:cubicBezTo>
                    <a:cubicBezTo>
                      <a:pt x="341" y="42"/>
                      <a:pt x="0" y="399"/>
                      <a:pt x="87" y="945"/>
                    </a:cubicBezTo>
                    <a:cubicBezTo>
                      <a:pt x="161" y="1434"/>
                      <a:pt x="513" y="1629"/>
                      <a:pt x="861" y="1629"/>
                    </a:cubicBezTo>
                    <a:cubicBezTo>
                      <a:pt x="917" y="1629"/>
                      <a:pt x="972" y="1624"/>
                      <a:pt x="1027" y="1615"/>
                    </a:cubicBezTo>
                    <a:cubicBezTo>
                      <a:pt x="1405" y="1561"/>
                      <a:pt x="1676" y="1221"/>
                      <a:pt x="1676" y="843"/>
                    </a:cubicBezTo>
                    <a:cubicBezTo>
                      <a:pt x="1695" y="378"/>
                      <a:pt x="1331" y="1"/>
                      <a:pt x="886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25" name="Google Shape;625;p25"/>
              <p:cNvSpPr/>
              <p:nvPr/>
            </p:nvSpPr>
            <p:spPr>
              <a:xfrm>
                <a:off x="385225" y="2623975"/>
                <a:ext cx="106575" cy="99625"/>
              </a:xfrm>
              <a:custGeom>
                <a:avLst/>
                <a:gdLst/>
                <a:ahLst/>
                <a:cxnLst/>
                <a:rect l="l" t="t" r="r" b="b"/>
                <a:pathLst>
                  <a:path w="4263" h="3985" extrusionOk="0">
                    <a:moveTo>
                      <a:pt x="2118" y="0"/>
                    </a:moveTo>
                    <a:cubicBezTo>
                      <a:pt x="1710" y="0"/>
                      <a:pt x="1319" y="132"/>
                      <a:pt x="994" y="342"/>
                    </a:cubicBezTo>
                    <a:cubicBezTo>
                      <a:pt x="600" y="618"/>
                      <a:pt x="292" y="1028"/>
                      <a:pt x="173" y="1541"/>
                    </a:cubicBezTo>
                    <a:cubicBezTo>
                      <a:pt x="0" y="2260"/>
                      <a:pt x="259" y="2979"/>
                      <a:pt x="756" y="3443"/>
                    </a:cubicBezTo>
                    <a:cubicBezTo>
                      <a:pt x="1010" y="3681"/>
                      <a:pt x="1318" y="3853"/>
                      <a:pt x="1663" y="3935"/>
                    </a:cubicBezTo>
                    <a:cubicBezTo>
                      <a:pt x="1812" y="3969"/>
                      <a:pt x="1960" y="3985"/>
                      <a:pt x="2107" y="3985"/>
                    </a:cubicBezTo>
                    <a:cubicBezTo>
                      <a:pt x="3017" y="3985"/>
                      <a:pt x="3834" y="3362"/>
                      <a:pt x="4057" y="2449"/>
                    </a:cubicBezTo>
                    <a:lnTo>
                      <a:pt x="4057" y="2379"/>
                    </a:lnTo>
                    <a:cubicBezTo>
                      <a:pt x="4262" y="1353"/>
                      <a:pt x="3646" y="363"/>
                      <a:pt x="2636" y="71"/>
                    </a:cubicBezTo>
                    <a:cubicBezTo>
                      <a:pt x="2620" y="71"/>
                      <a:pt x="2587" y="55"/>
                      <a:pt x="2566" y="55"/>
                    </a:cubicBezTo>
                    <a:cubicBezTo>
                      <a:pt x="2416" y="18"/>
                      <a:pt x="2266" y="0"/>
                      <a:pt x="2118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26" name="Google Shape;626;p25"/>
              <p:cNvSpPr/>
              <p:nvPr/>
            </p:nvSpPr>
            <p:spPr>
              <a:xfrm>
                <a:off x="441275" y="2625750"/>
                <a:ext cx="50525" cy="72975"/>
              </a:xfrm>
              <a:custGeom>
                <a:avLst/>
                <a:gdLst/>
                <a:ahLst/>
                <a:cxnLst/>
                <a:rect l="l" t="t" r="r" b="b"/>
                <a:pathLst>
                  <a:path w="2021" h="2919" extrusionOk="0">
                    <a:moveTo>
                      <a:pt x="394" y="0"/>
                    </a:moveTo>
                    <a:lnTo>
                      <a:pt x="394" y="0"/>
                    </a:lnTo>
                    <a:cubicBezTo>
                      <a:pt x="0" y="530"/>
                      <a:pt x="189" y="1216"/>
                      <a:pt x="464" y="1848"/>
                    </a:cubicBezTo>
                    <a:cubicBezTo>
                      <a:pt x="583" y="2086"/>
                      <a:pt x="361" y="2308"/>
                      <a:pt x="275" y="2550"/>
                    </a:cubicBezTo>
                    <a:cubicBezTo>
                      <a:pt x="259" y="2616"/>
                      <a:pt x="259" y="2702"/>
                      <a:pt x="308" y="2772"/>
                    </a:cubicBezTo>
                    <a:cubicBezTo>
                      <a:pt x="374" y="2873"/>
                      <a:pt x="482" y="2918"/>
                      <a:pt x="601" y="2918"/>
                    </a:cubicBezTo>
                    <a:cubicBezTo>
                      <a:pt x="763" y="2918"/>
                      <a:pt x="945" y="2833"/>
                      <a:pt x="1064" y="2686"/>
                    </a:cubicBezTo>
                    <a:cubicBezTo>
                      <a:pt x="1248" y="2427"/>
                      <a:pt x="1523" y="2308"/>
                      <a:pt x="1815" y="2308"/>
                    </a:cubicBezTo>
                    <a:cubicBezTo>
                      <a:pt x="2020" y="1282"/>
                      <a:pt x="1404" y="292"/>
                      <a:pt x="394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27" name="Google Shape;627;p25"/>
              <p:cNvSpPr/>
              <p:nvPr/>
            </p:nvSpPr>
            <p:spPr>
              <a:xfrm>
                <a:off x="451950" y="2630625"/>
                <a:ext cx="13775" cy="50675"/>
              </a:xfrm>
              <a:custGeom>
                <a:avLst/>
                <a:gdLst/>
                <a:ahLst/>
                <a:cxnLst/>
                <a:rect l="l" t="t" r="r" b="b"/>
                <a:pathLst>
                  <a:path w="551" h="2027" extrusionOk="0">
                    <a:moveTo>
                      <a:pt x="150" y="1"/>
                    </a:moveTo>
                    <a:cubicBezTo>
                      <a:pt x="135" y="1"/>
                      <a:pt x="119" y="4"/>
                      <a:pt x="103" y="11"/>
                    </a:cubicBezTo>
                    <a:cubicBezTo>
                      <a:pt x="37" y="27"/>
                      <a:pt x="37" y="146"/>
                      <a:pt x="21" y="200"/>
                    </a:cubicBezTo>
                    <a:cubicBezTo>
                      <a:pt x="0" y="405"/>
                      <a:pt x="0" y="610"/>
                      <a:pt x="53" y="816"/>
                    </a:cubicBezTo>
                    <a:cubicBezTo>
                      <a:pt x="70" y="935"/>
                      <a:pt x="103" y="1037"/>
                      <a:pt x="140" y="1156"/>
                    </a:cubicBezTo>
                    <a:cubicBezTo>
                      <a:pt x="156" y="1259"/>
                      <a:pt x="189" y="1345"/>
                      <a:pt x="205" y="1448"/>
                    </a:cubicBezTo>
                    <a:cubicBezTo>
                      <a:pt x="242" y="1600"/>
                      <a:pt x="226" y="1756"/>
                      <a:pt x="189" y="1908"/>
                    </a:cubicBezTo>
                    <a:cubicBezTo>
                      <a:pt x="173" y="1924"/>
                      <a:pt x="173" y="1961"/>
                      <a:pt x="173" y="1994"/>
                    </a:cubicBezTo>
                    <a:cubicBezTo>
                      <a:pt x="189" y="2027"/>
                      <a:pt x="242" y="2027"/>
                      <a:pt x="292" y="2027"/>
                    </a:cubicBezTo>
                    <a:cubicBezTo>
                      <a:pt x="361" y="2010"/>
                      <a:pt x="411" y="1961"/>
                      <a:pt x="448" y="1908"/>
                    </a:cubicBezTo>
                    <a:cubicBezTo>
                      <a:pt x="497" y="1842"/>
                      <a:pt x="534" y="1739"/>
                      <a:pt x="534" y="1653"/>
                    </a:cubicBezTo>
                    <a:cubicBezTo>
                      <a:pt x="550" y="1534"/>
                      <a:pt x="513" y="1411"/>
                      <a:pt x="464" y="1292"/>
                    </a:cubicBezTo>
                    <a:cubicBezTo>
                      <a:pt x="431" y="1189"/>
                      <a:pt x="378" y="1070"/>
                      <a:pt x="329" y="951"/>
                    </a:cubicBezTo>
                    <a:cubicBezTo>
                      <a:pt x="259" y="729"/>
                      <a:pt x="275" y="487"/>
                      <a:pt x="292" y="249"/>
                    </a:cubicBezTo>
                    <a:cubicBezTo>
                      <a:pt x="292" y="200"/>
                      <a:pt x="292" y="163"/>
                      <a:pt x="275" y="113"/>
                    </a:cubicBezTo>
                    <a:cubicBezTo>
                      <a:pt x="262" y="57"/>
                      <a:pt x="214" y="1"/>
                      <a:pt x="150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28" name="Google Shape;628;p25"/>
              <p:cNvSpPr/>
              <p:nvPr/>
            </p:nvSpPr>
            <p:spPr>
              <a:xfrm>
                <a:off x="385225" y="2632525"/>
                <a:ext cx="38100" cy="77525"/>
              </a:xfrm>
              <a:custGeom>
                <a:avLst/>
                <a:gdLst/>
                <a:ahLst/>
                <a:cxnLst/>
                <a:rect l="l" t="t" r="r" b="b"/>
                <a:pathLst>
                  <a:path w="1524" h="3101" extrusionOk="0">
                    <a:moveTo>
                      <a:pt x="994" y="0"/>
                    </a:moveTo>
                    <a:cubicBezTo>
                      <a:pt x="600" y="276"/>
                      <a:pt x="292" y="686"/>
                      <a:pt x="173" y="1199"/>
                    </a:cubicBezTo>
                    <a:cubicBezTo>
                      <a:pt x="0" y="1918"/>
                      <a:pt x="259" y="2637"/>
                      <a:pt x="756" y="3101"/>
                    </a:cubicBezTo>
                    <a:cubicBezTo>
                      <a:pt x="1150" y="2690"/>
                      <a:pt x="1335" y="2090"/>
                      <a:pt x="977" y="1561"/>
                    </a:cubicBezTo>
                    <a:cubicBezTo>
                      <a:pt x="858" y="1405"/>
                      <a:pt x="842" y="1199"/>
                      <a:pt x="977" y="1048"/>
                    </a:cubicBezTo>
                    <a:cubicBezTo>
                      <a:pt x="1096" y="875"/>
                      <a:pt x="1523" y="805"/>
                      <a:pt x="1507" y="551"/>
                    </a:cubicBezTo>
                    <a:cubicBezTo>
                      <a:pt x="1491" y="362"/>
                      <a:pt x="1232" y="156"/>
                      <a:pt x="994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29" name="Google Shape;629;p25"/>
              <p:cNvSpPr/>
              <p:nvPr/>
            </p:nvSpPr>
            <p:spPr>
              <a:xfrm>
                <a:off x="394250" y="2654250"/>
                <a:ext cx="10300" cy="42350"/>
              </a:xfrm>
              <a:custGeom>
                <a:avLst/>
                <a:gdLst/>
                <a:ahLst/>
                <a:cxnLst/>
                <a:rect l="l" t="t" r="r" b="b"/>
                <a:pathLst>
                  <a:path w="412" h="1694" extrusionOk="0">
                    <a:moveTo>
                      <a:pt x="326" y="0"/>
                    </a:moveTo>
                    <a:cubicBezTo>
                      <a:pt x="239" y="0"/>
                      <a:pt x="130" y="135"/>
                      <a:pt x="103" y="179"/>
                    </a:cubicBezTo>
                    <a:cubicBezTo>
                      <a:pt x="0" y="330"/>
                      <a:pt x="0" y="569"/>
                      <a:pt x="0" y="757"/>
                    </a:cubicBezTo>
                    <a:cubicBezTo>
                      <a:pt x="17" y="1016"/>
                      <a:pt x="50" y="1254"/>
                      <a:pt x="136" y="1492"/>
                    </a:cubicBezTo>
                    <a:cubicBezTo>
                      <a:pt x="173" y="1562"/>
                      <a:pt x="206" y="1649"/>
                      <a:pt x="276" y="1681"/>
                    </a:cubicBezTo>
                    <a:cubicBezTo>
                      <a:pt x="284" y="1690"/>
                      <a:pt x="300" y="1694"/>
                      <a:pt x="319" y="1694"/>
                    </a:cubicBezTo>
                    <a:cubicBezTo>
                      <a:pt x="338" y="1694"/>
                      <a:pt x="360" y="1690"/>
                      <a:pt x="378" y="1681"/>
                    </a:cubicBezTo>
                    <a:cubicBezTo>
                      <a:pt x="411" y="1665"/>
                      <a:pt x="411" y="1616"/>
                      <a:pt x="411" y="1562"/>
                    </a:cubicBezTo>
                    <a:cubicBezTo>
                      <a:pt x="411" y="1460"/>
                      <a:pt x="378" y="1373"/>
                      <a:pt x="341" y="1287"/>
                    </a:cubicBezTo>
                    <a:cubicBezTo>
                      <a:pt x="292" y="1065"/>
                      <a:pt x="255" y="827"/>
                      <a:pt x="276" y="606"/>
                    </a:cubicBezTo>
                    <a:cubicBezTo>
                      <a:pt x="292" y="486"/>
                      <a:pt x="308" y="363"/>
                      <a:pt x="325" y="261"/>
                    </a:cubicBezTo>
                    <a:cubicBezTo>
                      <a:pt x="341" y="211"/>
                      <a:pt x="411" y="55"/>
                      <a:pt x="378" y="22"/>
                    </a:cubicBezTo>
                    <a:cubicBezTo>
                      <a:pt x="363" y="7"/>
                      <a:pt x="345" y="0"/>
                      <a:pt x="326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0" name="Google Shape;630;p25"/>
              <p:cNvSpPr/>
              <p:nvPr/>
            </p:nvSpPr>
            <p:spPr>
              <a:xfrm>
                <a:off x="403175" y="2627375"/>
                <a:ext cx="38525" cy="22900"/>
              </a:xfrm>
              <a:custGeom>
                <a:avLst/>
                <a:gdLst/>
                <a:ahLst/>
                <a:cxnLst/>
                <a:rect l="l" t="t" r="r" b="b"/>
                <a:pathLst>
                  <a:path w="1541" h="916" extrusionOk="0">
                    <a:moveTo>
                      <a:pt x="1272" y="1"/>
                    </a:moveTo>
                    <a:cubicBezTo>
                      <a:pt x="1167" y="1"/>
                      <a:pt x="1054" y="34"/>
                      <a:pt x="962" y="55"/>
                    </a:cubicBezTo>
                    <a:cubicBezTo>
                      <a:pt x="789" y="104"/>
                      <a:pt x="617" y="174"/>
                      <a:pt x="465" y="276"/>
                    </a:cubicBezTo>
                    <a:cubicBezTo>
                      <a:pt x="378" y="330"/>
                      <a:pt x="309" y="395"/>
                      <a:pt x="227" y="465"/>
                    </a:cubicBezTo>
                    <a:cubicBezTo>
                      <a:pt x="140" y="551"/>
                      <a:pt x="54" y="638"/>
                      <a:pt x="21" y="740"/>
                    </a:cubicBezTo>
                    <a:cubicBezTo>
                      <a:pt x="1" y="790"/>
                      <a:pt x="1" y="843"/>
                      <a:pt x="21" y="876"/>
                    </a:cubicBezTo>
                    <a:cubicBezTo>
                      <a:pt x="45" y="900"/>
                      <a:pt x="78" y="915"/>
                      <a:pt x="115" y="915"/>
                    </a:cubicBezTo>
                    <a:cubicBezTo>
                      <a:pt x="128" y="915"/>
                      <a:pt x="142" y="913"/>
                      <a:pt x="157" y="909"/>
                    </a:cubicBezTo>
                    <a:cubicBezTo>
                      <a:pt x="206" y="892"/>
                      <a:pt x="259" y="859"/>
                      <a:pt x="292" y="822"/>
                    </a:cubicBezTo>
                    <a:cubicBezTo>
                      <a:pt x="567" y="601"/>
                      <a:pt x="908" y="432"/>
                      <a:pt x="1269" y="362"/>
                    </a:cubicBezTo>
                    <a:cubicBezTo>
                      <a:pt x="1319" y="362"/>
                      <a:pt x="1372" y="346"/>
                      <a:pt x="1421" y="330"/>
                    </a:cubicBezTo>
                    <a:cubicBezTo>
                      <a:pt x="1475" y="309"/>
                      <a:pt x="1508" y="276"/>
                      <a:pt x="1524" y="227"/>
                    </a:cubicBezTo>
                    <a:cubicBezTo>
                      <a:pt x="1540" y="157"/>
                      <a:pt x="1508" y="87"/>
                      <a:pt x="1458" y="55"/>
                    </a:cubicBezTo>
                    <a:cubicBezTo>
                      <a:pt x="1404" y="15"/>
                      <a:pt x="1339" y="1"/>
                      <a:pt x="1272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1" name="Google Shape;631;p25"/>
              <p:cNvSpPr/>
              <p:nvPr/>
            </p:nvSpPr>
            <p:spPr>
              <a:xfrm>
                <a:off x="410375" y="2645100"/>
                <a:ext cx="26700" cy="20600"/>
              </a:xfrm>
              <a:custGeom>
                <a:avLst/>
                <a:gdLst/>
                <a:ahLst/>
                <a:cxnLst/>
                <a:rect l="l" t="t" r="r" b="b"/>
                <a:pathLst>
                  <a:path w="1068" h="824" extrusionOk="0">
                    <a:moveTo>
                      <a:pt x="637" y="0"/>
                    </a:moveTo>
                    <a:cubicBezTo>
                      <a:pt x="528" y="0"/>
                      <a:pt x="411" y="46"/>
                      <a:pt x="312" y="150"/>
                    </a:cubicBezTo>
                    <a:cubicBezTo>
                      <a:pt x="0" y="497"/>
                      <a:pt x="303" y="823"/>
                      <a:pt x="607" y="823"/>
                    </a:cubicBezTo>
                    <a:cubicBezTo>
                      <a:pt x="767" y="823"/>
                      <a:pt x="927" y="733"/>
                      <a:pt x="998" y="508"/>
                    </a:cubicBezTo>
                    <a:cubicBezTo>
                      <a:pt x="1068" y="206"/>
                      <a:pt x="868" y="0"/>
                      <a:pt x="637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2" name="Google Shape;632;p25"/>
              <p:cNvSpPr/>
              <p:nvPr/>
            </p:nvSpPr>
            <p:spPr>
              <a:xfrm>
                <a:off x="381425" y="2622300"/>
                <a:ext cx="112925" cy="103150"/>
              </a:xfrm>
              <a:custGeom>
                <a:avLst/>
                <a:gdLst/>
                <a:ahLst/>
                <a:cxnLst/>
                <a:rect l="l" t="t" r="r" b="b"/>
                <a:pathLst>
                  <a:path w="4517" h="4126" extrusionOk="0">
                    <a:moveTo>
                      <a:pt x="2821" y="225"/>
                    </a:moveTo>
                    <a:cubicBezTo>
                      <a:pt x="3745" y="496"/>
                      <a:pt x="4312" y="1436"/>
                      <a:pt x="4156" y="2380"/>
                    </a:cubicBezTo>
                    <a:cubicBezTo>
                      <a:pt x="3848" y="2397"/>
                      <a:pt x="3577" y="2532"/>
                      <a:pt x="3388" y="2791"/>
                    </a:cubicBezTo>
                    <a:cubicBezTo>
                      <a:pt x="3301" y="2910"/>
                      <a:pt x="3129" y="2996"/>
                      <a:pt x="2977" y="2996"/>
                    </a:cubicBezTo>
                    <a:cubicBezTo>
                      <a:pt x="2907" y="2996"/>
                      <a:pt x="2821" y="2959"/>
                      <a:pt x="2755" y="2873"/>
                    </a:cubicBezTo>
                    <a:cubicBezTo>
                      <a:pt x="2739" y="2824"/>
                      <a:pt x="2718" y="2770"/>
                      <a:pt x="2739" y="2705"/>
                    </a:cubicBezTo>
                    <a:cubicBezTo>
                      <a:pt x="2772" y="2635"/>
                      <a:pt x="2805" y="2565"/>
                      <a:pt x="2842" y="2499"/>
                    </a:cubicBezTo>
                    <a:cubicBezTo>
                      <a:pt x="2924" y="2343"/>
                      <a:pt x="3010" y="2155"/>
                      <a:pt x="2924" y="1949"/>
                    </a:cubicBezTo>
                    <a:cubicBezTo>
                      <a:pt x="2686" y="1420"/>
                      <a:pt x="2464" y="738"/>
                      <a:pt x="2821" y="225"/>
                    </a:cubicBezTo>
                    <a:close/>
                    <a:moveTo>
                      <a:pt x="1146" y="496"/>
                    </a:moveTo>
                    <a:cubicBezTo>
                      <a:pt x="1421" y="685"/>
                      <a:pt x="1573" y="841"/>
                      <a:pt x="1589" y="976"/>
                    </a:cubicBezTo>
                    <a:cubicBezTo>
                      <a:pt x="1589" y="1062"/>
                      <a:pt x="1487" y="1128"/>
                      <a:pt x="1335" y="1214"/>
                    </a:cubicBezTo>
                    <a:cubicBezTo>
                      <a:pt x="1232" y="1268"/>
                      <a:pt x="1129" y="1333"/>
                      <a:pt x="1076" y="1420"/>
                    </a:cubicBezTo>
                    <a:cubicBezTo>
                      <a:pt x="924" y="1592"/>
                      <a:pt x="924" y="1830"/>
                      <a:pt x="1076" y="2003"/>
                    </a:cubicBezTo>
                    <a:cubicBezTo>
                      <a:pt x="1421" y="2516"/>
                      <a:pt x="1216" y="3062"/>
                      <a:pt x="908" y="3407"/>
                    </a:cubicBezTo>
                    <a:cubicBezTo>
                      <a:pt x="460" y="2959"/>
                      <a:pt x="238" y="2294"/>
                      <a:pt x="394" y="1625"/>
                    </a:cubicBezTo>
                    <a:cubicBezTo>
                      <a:pt x="497" y="1165"/>
                      <a:pt x="768" y="771"/>
                      <a:pt x="1146" y="496"/>
                    </a:cubicBezTo>
                    <a:close/>
                    <a:moveTo>
                      <a:pt x="2259" y="138"/>
                    </a:moveTo>
                    <a:cubicBezTo>
                      <a:pt x="2394" y="138"/>
                      <a:pt x="2550" y="155"/>
                      <a:pt x="2686" y="188"/>
                    </a:cubicBezTo>
                    <a:cubicBezTo>
                      <a:pt x="2328" y="754"/>
                      <a:pt x="2550" y="1457"/>
                      <a:pt x="2805" y="2003"/>
                    </a:cubicBezTo>
                    <a:cubicBezTo>
                      <a:pt x="2858" y="2155"/>
                      <a:pt x="2788" y="2294"/>
                      <a:pt x="2718" y="2446"/>
                    </a:cubicBezTo>
                    <a:cubicBezTo>
                      <a:pt x="2669" y="2516"/>
                      <a:pt x="2636" y="2586"/>
                      <a:pt x="2616" y="2668"/>
                    </a:cubicBezTo>
                    <a:cubicBezTo>
                      <a:pt x="2583" y="2770"/>
                      <a:pt x="2583" y="2873"/>
                      <a:pt x="2653" y="2943"/>
                    </a:cubicBezTo>
                    <a:cubicBezTo>
                      <a:pt x="2718" y="3062"/>
                      <a:pt x="2821" y="3115"/>
                      <a:pt x="2977" y="3132"/>
                    </a:cubicBezTo>
                    <a:lnTo>
                      <a:pt x="2994" y="3132"/>
                    </a:lnTo>
                    <a:cubicBezTo>
                      <a:pt x="3182" y="3132"/>
                      <a:pt x="3388" y="3029"/>
                      <a:pt x="3507" y="2857"/>
                    </a:cubicBezTo>
                    <a:cubicBezTo>
                      <a:pt x="3663" y="2651"/>
                      <a:pt x="3885" y="2532"/>
                      <a:pt x="4123" y="2516"/>
                    </a:cubicBezTo>
                    <a:lnTo>
                      <a:pt x="4123" y="2516"/>
                    </a:lnTo>
                    <a:cubicBezTo>
                      <a:pt x="4004" y="3013"/>
                      <a:pt x="3712" y="3423"/>
                      <a:pt x="3285" y="3694"/>
                    </a:cubicBezTo>
                    <a:cubicBezTo>
                      <a:pt x="2964" y="3882"/>
                      <a:pt x="2605" y="3979"/>
                      <a:pt x="2243" y="3979"/>
                    </a:cubicBezTo>
                    <a:cubicBezTo>
                      <a:pt x="2106" y="3979"/>
                      <a:pt x="1968" y="3965"/>
                      <a:pt x="1832" y="3937"/>
                    </a:cubicBezTo>
                    <a:cubicBezTo>
                      <a:pt x="1524" y="3850"/>
                      <a:pt x="1232" y="3715"/>
                      <a:pt x="1010" y="3510"/>
                    </a:cubicBezTo>
                    <a:cubicBezTo>
                      <a:pt x="1437" y="3029"/>
                      <a:pt x="1507" y="2413"/>
                      <a:pt x="1199" y="1933"/>
                    </a:cubicBezTo>
                    <a:lnTo>
                      <a:pt x="1199" y="1916"/>
                    </a:lnTo>
                    <a:cubicBezTo>
                      <a:pt x="1097" y="1814"/>
                      <a:pt x="1060" y="1641"/>
                      <a:pt x="1179" y="1506"/>
                    </a:cubicBezTo>
                    <a:cubicBezTo>
                      <a:pt x="1232" y="1436"/>
                      <a:pt x="1318" y="1387"/>
                      <a:pt x="1404" y="1333"/>
                    </a:cubicBezTo>
                    <a:cubicBezTo>
                      <a:pt x="1573" y="1251"/>
                      <a:pt x="1745" y="1149"/>
                      <a:pt x="1729" y="960"/>
                    </a:cubicBezTo>
                    <a:cubicBezTo>
                      <a:pt x="1712" y="787"/>
                      <a:pt x="1556" y="615"/>
                      <a:pt x="1281" y="409"/>
                    </a:cubicBezTo>
                    <a:cubicBezTo>
                      <a:pt x="1573" y="241"/>
                      <a:pt x="1918" y="138"/>
                      <a:pt x="2259" y="138"/>
                    </a:cubicBezTo>
                    <a:close/>
                    <a:moveTo>
                      <a:pt x="2262" y="0"/>
                    </a:moveTo>
                    <a:cubicBezTo>
                      <a:pt x="1878" y="0"/>
                      <a:pt x="1508" y="103"/>
                      <a:pt x="1179" y="307"/>
                    </a:cubicBezTo>
                    <a:cubicBezTo>
                      <a:pt x="702" y="598"/>
                      <a:pt x="378" y="1062"/>
                      <a:pt x="255" y="1592"/>
                    </a:cubicBezTo>
                    <a:cubicBezTo>
                      <a:pt x="0" y="2705"/>
                      <a:pt x="702" y="3797"/>
                      <a:pt x="1795" y="4056"/>
                    </a:cubicBezTo>
                    <a:cubicBezTo>
                      <a:pt x="1951" y="4105"/>
                      <a:pt x="2123" y="4125"/>
                      <a:pt x="2275" y="4125"/>
                    </a:cubicBezTo>
                    <a:cubicBezTo>
                      <a:pt x="2653" y="4125"/>
                      <a:pt x="3026" y="4002"/>
                      <a:pt x="3355" y="3797"/>
                    </a:cubicBezTo>
                    <a:cubicBezTo>
                      <a:pt x="3815" y="3510"/>
                      <a:pt x="4139" y="3062"/>
                      <a:pt x="4279" y="2516"/>
                    </a:cubicBezTo>
                    <a:cubicBezTo>
                      <a:pt x="4517" y="1420"/>
                      <a:pt x="3831" y="307"/>
                      <a:pt x="2739" y="52"/>
                    </a:cubicBezTo>
                    <a:cubicBezTo>
                      <a:pt x="2579" y="18"/>
                      <a:pt x="2419" y="0"/>
                      <a:pt x="226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3" name="Google Shape;633;p25"/>
              <p:cNvSpPr/>
              <p:nvPr/>
            </p:nvSpPr>
            <p:spPr>
              <a:xfrm>
                <a:off x="466925" y="2636225"/>
                <a:ext cx="56900" cy="56750"/>
              </a:xfrm>
              <a:custGeom>
                <a:avLst/>
                <a:gdLst/>
                <a:ahLst/>
                <a:cxnLst/>
                <a:rect l="l" t="t" r="r" b="b"/>
                <a:pathLst>
                  <a:path w="2276" h="2270" extrusionOk="0">
                    <a:moveTo>
                      <a:pt x="1105" y="0"/>
                    </a:moveTo>
                    <a:cubicBezTo>
                      <a:pt x="902" y="0"/>
                      <a:pt x="717" y="45"/>
                      <a:pt x="600" y="111"/>
                    </a:cubicBezTo>
                    <a:cubicBezTo>
                      <a:pt x="584" y="111"/>
                      <a:pt x="567" y="128"/>
                      <a:pt x="530" y="144"/>
                    </a:cubicBezTo>
                    <a:cubicBezTo>
                      <a:pt x="481" y="181"/>
                      <a:pt x="465" y="247"/>
                      <a:pt x="497" y="300"/>
                    </a:cubicBezTo>
                    <a:lnTo>
                      <a:pt x="600" y="468"/>
                    </a:lnTo>
                    <a:cubicBezTo>
                      <a:pt x="428" y="555"/>
                      <a:pt x="276" y="694"/>
                      <a:pt x="189" y="760"/>
                    </a:cubicBezTo>
                    <a:cubicBezTo>
                      <a:pt x="140" y="830"/>
                      <a:pt x="87" y="900"/>
                      <a:pt x="70" y="982"/>
                    </a:cubicBezTo>
                    <a:cubicBezTo>
                      <a:pt x="17" y="1154"/>
                      <a:pt x="1" y="1343"/>
                      <a:pt x="54" y="1515"/>
                    </a:cubicBezTo>
                    <a:cubicBezTo>
                      <a:pt x="54" y="1581"/>
                      <a:pt x="70" y="1635"/>
                      <a:pt x="103" y="1684"/>
                    </a:cubicBezTo>
                    <a:cubicBezTo>
                      <a:pt x="173" y="1873"/>
                      <a:pt x="325" y="2062"/>
                      <a:pt x="497" y="2164"/>
                    </a:cubicBezTo>
                    <a:cubicBezTo>
                      <a:pt x="626" y="2239"/>
                      <a:pt x="775" y="2269"/>
                      <a:pt x="928" y="2269"/>
                    </a:cubicBezTo>
                    <a:cubicBezTo>
                      <a:pt x="1224" y="2269"/>
                      <a:pt x="1531" y="2156"/>
                      <a:pt x="1713" y="2045"/>
                    </a:cubicBezTo>
                    <a:cubicBezTo>
                      <a:pt x="1902" y="1942"/>
                      <a:pt x="2070" y="1786"/>
                      <a:pt x="2156" y="1598"/>
                    </a:cubicBezTo>
                    <a:cubicBezTo>
                      <a:pt x="2243" y="1413"/>
                      <a:pt x="2275" y="1207"/>
                      <a:pt x="2243" y="1019"/>
                    </a:cubicBezTo>
                    <a:cubicBezTo>
                      <a:pt x="2210" y="830"/>
                      <a:pt x="2140" y="641"/>
                      <a:pt x="2037" y="468"/>
                    </a:cubicBezTo>
                    <a:cubicBezTo>
                      <a:pt x="1816" y="120"/>
                      <a:pt x="1436" y="0"/>
                      <a:pt x="1105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4" name="Google Shape;634;p25"/>
              <p:cNvSpPr/>
              <p:nvPr/>
            </p:nvSpPr>
            <p:spPr>
              <a:xfrm>
                <a:off x="464350" y="2634875"/>
                <a:ext cx="60800" cy="59925"/>
              </a:xfrm>
              <a:custGeom>
                <a:avLst/>
                <a:gdLst/>
                <a:ahLst/>
                <a:cxnLst/>
                <a:rect l="l" t="t" r="r" b="b"/>
                <a:pathLst>
                  <a:path w="2432" h="2397" extrusionOk="0">
                    <a:moveTo>
                      <a:pt x="1194" y="106"/>
                    </a:moveTo>
                    <a:cubicBezTo>
                      <a:pt x="1513" y="106"/>
                      <a:pt x="1881" y="221"/>
                      <a:pt x="2091" y="559"/>
                    </a:cubicBezTo>
                    <a:cubicBezTo>
                      <a:pt x="2194" y="728"/>
                      <a:pt x="2259" y="917"/>
                      <a:pt x="2296" y="1089"/>
                    </a:cubicBezTo>
                    <a:cubicBezTo>
                      <a:pt x="2329" y="1278"/>
                      <a:pt x="2296" y="1467"/>
                      <a:pt x="2226" y="1619"/>
                    </a:cubicBezTo>
                    <a:cubicBezTo>
                      <a:pt x="2140" y="1791"/>
                      <a:pt x="2005" y="1927"/>
                      <a:pt x="1799" y="2062"/>
                    </a:cubicBezTo>
                    <a:cubicBezTo>
                      <a:pt x="1623" y="2173"/>
                      <a:pt x="1335" y="2268"/>
                      <a:pt x="1060" y="2268"/>
                    </a:cubicBezTo>
                    <a:cubicBezTo>
                      <a:pt x="906" y="2268"/>
                      <a:pt x="757" y="2238"/>
                      <a:pt x="633" y="2165"/>
                    </a:cubicBezTo>
                    <a:cubicBezTo>
                      <a:pt x="584" y="2148"/>
                      <a:pt x="568" y="2132"/>
                      <a:pt x="531" y="2099"/>
                    </a:cubicBezTo>
                    <a:cubicBezTo>
                      <a:pt x="995" y="1894"/>
                      <a:pt x="1097" y="1824"/>
                      <a:pt x="1167" y="1754"/>
                    </a:cubicBezTo>
                    <a:cubicBezTo>
                      <a:pt x="1249" y="1705"/>
                      <a:pt x="1319" y="1635"/>
                      <a:pt x="1372" y="1549"/>
                    </a:cubicBezTo>
                    <a:lnTo>
                      <a:pt x="1372" y="1516"/>
                    </a:lnTo>
                    <a:cubicBezTo>
                      <a:pt x="1352" y="1500"/>
                      <a:pt x="1335" y="1500"/>
                      <a:pt x="1319" y="1500"/>
                    </a:cubicBezTo>
                    <a:lnTo>
                      <a:pt x="1303" y="1500"/>
                    </a:lnTo>
                    <a:cubicBezTo>
                      <a:pt x="1233" y="1549"/>
                      <a:pt x="1167" y="1602"/>
                      <a:pt x="1097" y="1652"/>
                    </a:cubicBezTo>
                    <a:cubicBezTo>
                      <a:pt x="1011" y="1689"/>
                      <a:pt x="941" y="1738"/>
                      <a:pt x="859" y="1775"/>
                    </a:cubicBezTo>
                    <a:cubicBezTo>
                      <a:pt x="719" y="1840"/>
                      <a:pt x="568" y="1927"/>
                      <a:pt x="428" y="1996"/>
                    </a:cubicBezTo>
                    <a:cubicBezTo>
                      <a:pt x="362" y="1910"/>
                      <a:pt x="292" y="1824"/>
                      <a:pt x="260" y="1721"/>
                    </a:cubicBezTo>
                    <a:cubicBezTo>
                      <a:pt x="243" y="1689"/>
                      <a:pt x="243" y="1689"/>
                      <a:pt x="223" y="1652"/>
                    </a:cubicBezTo>
                    <a:cubicBezTo>
                      <a:pt x="448" y="1569"/>
                      <a:pt x="600" y="1483"/>
                      <a:pt x="687" y="1430"/>
                    </a:cubicBezTo>
                    <a:cubicBezTo>
                      <a:pt x="773" y="1397"/>
                      <a:pt x="839" y="1344"/>
                      <a:pt x="925" y="1278"/>
                    </a:cubicBezTo>
                    <a:cubicBezTo>
                      <a:pt x="995" y="1225"/>
                      <a:pt x="1064" y="1159"/>
                      <a:pt x="1114" y="1089"/>
                    </a:cubicBezTo>
                    <a:lnTo>
                      <a:pt x="1114" y="1036"/>
                    </a:lnTo>
                    <a:cubicBezTo>
                      <a:pt x="1097" y="1019"/>
                      <a:pt x="1081" y="1019"/>
                      <a:pt x="1064" y="1019"/>
                    </a:cubicBezTo>
                    <a:cubicBezTo>
                      <a:pt x="978" y="1073"/>
                      <a:pt x="908" y="1122"/>
                      <a:pt x="839" y="1175"/>
                    </a:cubicBezTo>
                    <a:cubicBezTo>
                      <a:pt x="756" y="1208"/>
                      <a:pt x="687" y="1261"/>
                      <a:pt x="617" y="1294"/>
                    </a:cubicBezTo>
                    <a:cubicBezTo>
                      <a:pt x="481" y="1364"/>
                      <a:pt x="325" y="1430"/>
                      <a:pt x="190" y="1516"/>
                    </a:cubicBezTo>
                    <a:cubicBezTo>
                      <a:pt x="173" y="1364"/>
                      <a:pt x="173" y="1192"/>
                      <a:pt x="223" y="1056"/>
                    </a:cubicBezTo>
                    <a:cubicBezTo>
                      <a:pt x="243" y="986"/>
                      <a:pt x="260" y="933"/>
                      <a:pt x="309" y="884"/>
                    </a:cubicBezTo>
                    <a:cubicBezTo>
                      <a:pt x="309" y="867"/>
                      <a:pt x="325" y="867"/>
                      <a:pt x="325" y="851"/>
                    </a:cubicBezTo>
                    <a:cubicBezTo>
                      <a:pt x="412" y="781"/>
                      <a:pt x="551" y="662"/>
                      <a:pt x="719" y="576"/>
                    </a:cubicBezTo>
                    <a:cubicBezTo>
                      <a:pt x="736" y="576"/>
                      <a:pt x="736" y="559"/>
                      <a:pt x="736" y="559"/>
                    </a:cubicBezTo>
                    <a:cubicBezTo>
                      <a:pt x="858" y="492"/>
                      <a:pt x="999" y="445"/>
                      <a:pt x="1145" y="445"/>
                    </a:cubicBezTo>
                    <a:cubicBezTo>
                      <a:pt x="1187" y="445"/>
                      <a:pt x="1228" y="449"/>
                      <a:pt x="1270" y="457"/>
                    </a:cubicBezTo>
                    <a:cubicBezTo>
                      <a:pt x="1303" y="457"/>
                      <a:pt x="1319" y="440"/>
                      <a:pt x="1319" y="403"/>
                    </a:cubicBezTo>
                    <a:cubicBezTo>
                      <a:pt x="1335" y="387"/>
                      <a:pt x="1319" y="354"/>
                      <a:pt x="1286" y="354"/>
                    </a:cubicBezTo>
                    <a:cubicBezTo>
                      <a:pt x="1221" y="342"/>
                      <a:pt x="1156" y="336"/>
                      <a:pt x="1091" y="336"/>
                    </a:cubicBezTo>
                    <a:cubicBezTo>
                      <a:pt x="954" y="336"/>
                      <a:pt x="821" y="364"/>
                      <a:pt x="703" y="420"/>
                    </a:cubicBezTo>
                    <a:lnTo>
                      <a:pt x="654" y="338"/>
                    </a:lnTo>
                    <a:cubicBezTo>
                      <a:pt x="633" y="317"/>
                      <a:pt x="633" y="301"/>
                      <a:pt x="633" y="284"/>
                    </a:cubicBezTo>
                    <a:cubicBezTo>
                      <a:pt x="633" y="268"/>
                      <a:pt x="654" y="251"/>
                      <a:pt x="670" y="251"/>
                    </a:cubicBezTo>
                    <a:cubicBezTo>
                      <a:pt x="687" y="235"/>
                      <a:pt x="703" y="214"/>
                      <a:pt x="736" y="198"/>
                    </a:cubicBezTo>
                    <a:cubicBezTo>
                      <a:pt x="847" y="143"/>
                      <a:pt x="1013" y="106"/>
                      <a:pt x="1194" y="106"/>
                    </a:cubicBezTo>
                    <a:close/>
                    <a:moveTo>
                      <a:pt x="1212" y="0"/>
                    </a:moveTo>
                    <a:cubicBezTo>
                      <a:pt x="1002" y="0"/>
                      <a:pt x="810" y="48"/>
                      <a:pt x="687" y="112"/>
                    </a:cubicBezTo>
                    <a:cubicBezTo>
                      <a:pt x="670" y="132"/>
                      <a:pt x="633" y="149"/>
                      <a:pt x="600" y="165"/>
                    </a:cubicBezTo>
                    <a:cubicBezTo>
                      <a:pt x="568" y="182"/>
                      <a:pt x="551" y="214"/>
                      <a:pt x="531" y="268"/>
                    </a:cubicBezTo>
                    <a:cubicBezTo>
                      <a:pt x="531" y="301"/>
                      <a:pt x="531" y="354"/>
                      <a:pt x="568" y="387"/>
                    </a:cubicBezTo>
                    <a:lnTo>
                      <a:pt x="633" y="506"/>
                    </a:lnTo>
                    <a:cubicBezTo>
                      <a:pt x="173" y="728"/>
                      <a:pt x="71" y="1056"/>
                      <a:pt x="71" y="1056"/>
                    </a:cubicBezTo>
                    <a:cubicBezTo>
                      <a:pt x="1" y="1278"/>
                      <a:pt x="17" y="1569"/>
                      <a:pt x="104" y="1791"/>
                    </a:cubicBezTo>
                    <a:cubicBezTo>
                      <a:pt x="190" y="1996"/>
                      <a:pt x="362" y="2185"/>
                      <a:pt x="531" y="2288"/>
                    </a:cubicBezTo>
                    <a:cubicBezTo>
                      <a:pt x="664" y="2365"/>
                      <a:pt x="822" y="2396"/>
                      <a:pt x="983" y="2396"/>
                    </a:cubicBezTo>
                    <a:cubicBezTo>
                      <a:pt x="1317" y="2396"/>
                      <a:pt x="1666" y="2265"/>
                      <a:pt x="1849" y="2148"/>
                    </a:cubicBezTo>
                    <a:cubicBezTo>
                      <a:pt x="1968" y="2062"/>
                      <a:pt x="2070" y="1980"/>
                      <a:pt x="2157" y="1894"/>
                    </a:cubicBezTo>
                    <a:cubicBezTo>
                      <a:pt x="2226" y="1824"/>
                      <a:pt x="2276" y="1738"/>
                      <a:pt x="2313" y="1672"/>
                    </a:cubicBezTo>
                    <a:cubicBezTo>
                      <a:pt x="2399" y="1500"/>
                      <a:pt x="2432" y="1278"/>
                      <a:pt x="2399" y="1073"/>
                    </a:cubicBezTo>
                    <a:cubicBezTo>
                      <a:pt x="2362" y="884"/>
                      <a:pt x="2296" y="695"/>
                      <a:pt x="2173" y="506"/>
                    </a:cubicBezTo>
                    <a:cubicBezTo>
                      <a:pt x="1942" y="125"/>
                      <a:pt x="1552" y="0"/>
                      <a:pt x="121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5" name="Google Shape;635;p25"/>
              <p:cNvSpPr/>
              <p:nvPr/>
            </p:nvSpPr>
            <p:spPr>
              <a:xfrm>
                <a:off x="497300" y="2656550"/>
                <a:ext cx="8150" cy="13250"/>
              </a:xfrm>
              <a:custGeom>
                <a:avLst/>
                <a:gdLst/>
                <a:ahLst/>
                <a:cxnLst/>
                <a:rect l="l" t="t" r="r" b="b"/>
                <a:pathLst>
                  <a:path w="326" h="530" extrusionOk="0">
                    <a:moveTo>
                      <a:pt x="87" y="0"/>
                    </a:moveTo>
                    <a:cubicBezTo>
                      <a:pt x="34" y="0"/>
                      <a:pt x="1" y="50"/>
                      <a:pt x="34" y="103"/>
                    </a:cubicBezTo>
                    <a:cubicBezTo>
                      <a:pt x="71" y="189"/>
                      <a:pt x="120" y="255"/>
                      <a:pt x="173" y="341"/>
                    </a:cubicBezTo>
                    <a:cubicBezTo>
                      <a:pt x="190" y="394"/>
                      <a:pt x="206" y="444"/>
                      <a:pt x="239" y="497"/>
                    </a:cubicBezTo>
                    <a:cubicBezTo>
                      <a:pt x="260" y="514"/>
                      <a:pt x="276" y="530"/>
                      <a:pt x="293" y="530"/>
                    </a:cubicBezTo>
                    <a:cubicBezTo>
                      <a:pt x="325" y="514"/>
                      <a:pt x="325" y="497"/>
                      <a:pt x="325" y="460"/>
                    </a:cubicBezTo>
                    <a:cubicBezTo>
                      <a:pt x="309" y="292"/>
                      <a:pt x="223" y="152"/>
                      <a:pt x="120" y="17"/>
                    </a:cubicBezTo>
                    <a:cubicBezTo>
                      <a:pt x="104" y="17"/>
                      <a:pt x="87" y="0"/>
                      <a:pt x="8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6" name="Google Shape;636;p25"/>
              <p:cNvSpPr/>
              <p:nvPr/>
            </p:nvSpPr>
            <p:spPr>
              <a:xfrm>
                <a:off x="505425" y="2655450"/>
                <a:ext cx="6900" cy="11500"/>
              </a:xfrm>
              <a:custGeom>
                <a:avLst/>
                <a:gdLst/>
                <a:ahLst/>
                <a:cxnLst/>
                <a:rect l="l" t="t" r="r" b="b"/>
                <a:pathLst>
                  <a:path w="276" h="460" extrusionOk="0">
                    <a:moveTo>
                      <a:pt x="37" y="1"/>
                    </a:moveTo>
                    <a:cubicBezTo>
                      <a:pt x="30" y="1"/>
                      <a:pt x="23" y="3"/>
                      <a:pt x="17" y="7"/>
                    </a:cubicBezTo>
                    <a:cubicBezTo>
                      <a:pt x="0" y="28"/>
                      <a:pt x="0" y="44"/>
                      <a:pt x="0" y="61"/>
                    </a:cubicBezTo>
                    <a:cubicBezTo>
                      <a:pt x="70" y="180"/>
                      <a:pt x="103" y="315"/>
                      <a:pt x="189" y="418"/>
                    </a:cubicBezTo>
                    <a:cubicBezTo>
                      <a:pt x="189" y="435"/>
                      <a:pt x="200" y="459"/>
                      <a:pt x="224" y="459"/>
                    </a:cubicBezTo>
                    <a:cubicBezTo>
                      <a:pt x="229" y="459"/>
                      <a:pt x="236" y="458"/>
                      <a:pt x="243" y="455"/>
                    </a:cubicBezTo>
                    <a:cubicBezTo>
                      <a:pt x="259" y="455"/>
                      <a:pt x="275" y="438"/>
                      <a:pt x="275" y="385"/>
                    </a:cubicBezTo>
                    <a:cubicBezTo>
                      <a:pt x="243" y="266"/>
                      <a:pt x="189" y="131"/>
                      <a:pt x="87" y="28"/>
                    </a:cubicBezTo>
                    <a:cubicBezTo>
                      <a:pt x="75" y="13"/>
                      <a:pt x="55" y="1"/>
                      <a:pt x="3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7" name="Google Shape;637;p25"/>
              <p:cNvSpPr/>
              <p:nvPr/>
            </p:nvSpPr>
            <p:spPr>
              <a:xfrm>
                <a:off x="285650" y="2586325"/>
                <a:ext cx="79575" cy="101850"/>
              </a:xfrm>
              <a:custGeom>
                <a:avLst/>
                <a:gdLst/>
                <a:ahLst/>
                <a:cxnLst/>
                <a:rect l="l" t="t" r="r" b="b"/>
                <a:pathLst>
                  <a:path w="3183" h="4074" extrusionOk="0">
                    <a:moveTo>
                      <a:pt x="1195" y="1"/>
                    </a:moveTo>
                    <a:lnTo>
                      <a:pt x="0" y="789"/>
                    </a:lnTo>
                    <a:cubicBezTo>
                      <a:pt x="493" y="2074"/>
                      <a:pt x="1503" y="3409"/>
                      <a:pt x="2599" y="4074"/>
                    </a:cubicBezTo>
                    <a:lnTo>
                      <a:pt x="3182" y="2690"/>
                    </a:lnTo>
                    <a:cubicBezTo>
                      <a:pt x="2410" y="2004"/>
                      <a:pt x="1675" y="875"/>
                      <a:pt x="1195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8" name="Google Shape;638;p25"/>
              <p:cNvSpPr/>
              <p:nvPr/>
            </p:nvSpPr>
            <p:spPr>
              <a:xfrm>
                <a:off x="315925" y="2627900"/>
                <a:ext cx="19325" cy="16325"/>
              </a:xfrm>
              <a:custGeom>
                <a:avLst/>
                <a:gdLst/>
                <a:ahLst/>
                <a:cxnLst/>
                <a:rect l="l" t="t" r="r" b="b"/>
                <a:pathLst>
                  <a:path w="773" h="653" extrusionOk="0">
                    <a:moveTo>
                      <a:pt x="545" y="1"/>
                    </a:moveTo>
                    <a:cubicBezTo>
                      <a:pt x="526" y="1"/>
                      <a:pt x="504" y="10"/>
                      <a:pt x="481" y="34"/>
                    </a:cubicBezTo>
                    <a:cubicBezTo>
                      <a:pt x="345" y="136"/>
                      <a:pt x="0" y="514"/>
                      <a:pt x="103" y="633"/>
                    </a:cubicBezTo>
                    <a:cubicBezTo>
                      <a:pt x="117" y="647"/>
                      <a:pt x="139" y="653"/>
                      <a:pt x="168" y="653"/>
                    </a:cubicBezTo>
                    <a:cubicBezTo>
                      <a:pt x="349" y="653"/>
                      <a:pt x="772" y="404"/>
                      <a:pt x="772" y="358"/>
                    </a:cubicBezTo>
                    <a:cubicBezTo>
                      <a:pt x="761" y="318"/>
                      <a:pt x="733" y="303"/>
                      <a:pt x="696" y="303"/>
                    </a:cubicBezTo>
                    <a:cubicBezTo>
                      <a:pt x="568" y="303"/>
                      <a:pt x="329" y="482"/>
                      <a:pt x="258" y="482"/>
                    </a:cubicBezTo>
                    <a:cubicBezTo>
                      <a:pt x="251" y="482"/>
                      <a:pt x="246" y="481"/>
                      <a:pt x="243" y="477"/>
                    </a:cubicBezTo>
                    <a:cubicBezTo>
                      <a:pt x="206" y="444"/>
                      <a:pt x="534" y="169"/>
                      <a:pt x="567" y="120"/>
                    </a:cubicBezTo>
                    <a:cubicBezTo>
                      <a:pt x="618" y="69"/>
                      <a:pt x="595" y="1"/>
                      <a:pt x="545" y="1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39" name="Google Shape;639;p25"/>
              <p:cNvSpPr/>
              <p:nvPr/>
            </p:nvSpPr>
            <p:spPr>
              <a:xfrm>
                <a:off x="304025" y="2620350"/>
                <a:ext cx="5150" cy="2450"/>
              </a:xfrm>
              <a:custGeom>
                <a:avLst/>
                <a:gdLst/>
                <a:ahLst/>
                <a:cxnLst/>
                <a:rect l="l" t="t" r="r" b="b"/>
                <a:pathLst>
                  <a:path w="206" h="98" extrusionOk="0">
                    <a:moveTo>
                      <a:pt x="81" y="0"/>
                    </a:moveTo>
                    <a:cubicBezTo>
                      <a:pt x="64" y="0"/>
                      <a:pt x="47" y="4"/>
                      <a:pt x="33" y="11"/>
                    </a:cubicBezTo>
                    <a:cubicBezTo>
                      <a:pt x="17" y="11"/>
                      <a:pt x="0" y="28"/>
                      <a:pt x="0" y="44"/>
                    </a:cubicBezTo>
                    <a:cubicBezTo>
                      <a:pt x="0" y="60"/>
                      <a:pt x="17" y="77"/>
                      <a:pt x="33" y="77"/>
                    </a:cubicBezTo>
                    <a:cubicBezTo>
                      <a:pt x="66" y="97"/>
                      <a:pt x="103" y="97"/>
                      <a:pt x="136" y="97"/>
                    </a:cubicBezTo>
                    <a:cubicBezTo>
                      <a:pt x="168" y="97"/>
                      <a:pt x="189" y="97"/>
                      <a:pt x="189" y="60"/>
                    </a:cubicBezTo>
                    <a:cubicBezTo>
                      <a:pt x="205" y="44"/>
                      <a:pt x="189" y="28"/>
                      <a:pt x="152" y="28"/>
                    </a:cubicBezTo>
                    <a:cubicBezTo>
                      <a:pt x="133" y="8"/>
                      <a:pt x="107" y="0"/>
                      <a:pt x="81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0" name="Google Shape;640;p25"/>
              <p:cNvSpPr/>
              <p:nvPr/>
            </p:nvSpPr>
            <p:spPr>
              <a:xfrm>
                <a:off x="304825" y="2615725"/>
                <a:ext cx="5175" cy="2525"/>
              </a:xfrm>
              <a:custGeom>
                <a:avLst/>
                <a:gdLst/>
                <a:ahLst/>
                <a:cxnLst/>
                <a:rect l="l" t="t" r="r" b="b"/>
                <a:pathLst>
                  <a:path w="207" h="101" extrusionOk="0">
                    <a:moveTo>
                      <a:pt x="69" y="0"/>
                    </a:moveTo>
                    <a:cubicBezTo>
                      <a:pt x="57" y="0"/>
                      <a:pt x="45" y="2"/>
                      <a:pt x="34" y="7"/>
                    </a:cubicBezTo>
                    <a:cubicBezTo>
                      <a:pt x="17" y="7"/>
                      <a:pt x="1" y="24"/>
                      <a:pt x="1" y="40"/>
                    </a:cubicBezTo>
                    <a:cubicBezTo>
                      <a:pt x="1" y="77"/>
                      <a:pt x="17" y="77"/>
                      <a:pt x="34" y="77"/>
                    </a:cubicBezTo>
                    <a:cubicBezTo>
                      <a:pt x="71" y="93"/>
                      <a:pt x="104" y="93"/>
                      <a:pt x="136" y="93"/>
                    </a:cubicBezTo>
                    <a:cubicBezTo>
                      <a:pt x="147" y="98"/>
                      <a:pt x="156" y="100"/>
                      <a:pt x="164" y="100"/>
                    </a:cubicBezTo>
                    <a:cubicBezTo>
                      <a:pt x="182" y="100"/>
                      <a:pt x="190" y="89"/>
                      <a:pt x="190" y="77"/>
                    </a:cubicBezTo>
                    <a:cubicBezTo>
                      <a:pt x="206" y="40"/>
                      <a:pt x="173" y="40"/>
                      <a:pt x="157" y="24"/>
                    </a:cubicBezTo>
                    <a:cubicBezTo>
                      <a:pt x="131" y="12"/>
                      <a:pt x="99" y="0"/>
                      <a:pt x="69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1" name="Google Shape;641;p25"/>
              <p:cNvSpPr/>
              <p:nvPr/>
            </p:nvSpPr>
            <p:spPr>
              <a:xfrm>
                <a:off x="313350" y="2584525"/>
                <a:ext cx="53925" cy="71125"/>
              </a:xfrm>
              <a:custGeom>
                <a:avLst/>
                <a:gdLst/>
                <a:ahLst/>
                <a:cxnLst/>
                <a:rect l="l" t="t" r="r" b="b"/>
                <a:pathLst>
                  <a:path w="2157" h="2845" extrusionOk="0">
                    <a:moveTo>
                      <a:pt x="84" y="1"/>
                    </a:moveTo>
                    <a:cubicBezTo>
                      <a:pt x="73" y="1"/>
                      <a:pt x="63" y="3"/>
                      <a:pt x="54" y="7"/>
                    </a:cubicBezTo>
                    <a:cubicBezTo>
                      <a:pt x="21" y="23"/>
                      <a:pt x="1" y="73"/>
                      <a:pt x="21" y="110"/>
                    </a:cubicBezTo>
                    <a:cubicBezTo>
                      <a:pt x="395" y="791"/>
                      <a:pt x="1167" y="2060"/>
                      <a:pt x="2021" y="2811"/>
                    </a:cubicBezTo>
                    <a:cubicBezTo>
                      <a:pt x="2037" y="2828"/>
                      <a:pt x="2074" y="2844"/>
                      <a:pt x="2091" y="2844"/>
                    </a:cubicBezTo>
                    <a:cubicBezTo>
                      <a:pt x="2107" y="2828"/>
                      <a:pt x="2124" y="2828"/>
                      <a:pt x="2140" y="2811"/>
                    </a:cubicBezTo>
                    <a:cubicBezTo>
                      <a:pt x="2157" y="2779"/>
                      <a:pt x="2157" y="2725"/>
                      <a:pt x="2124" y="2709"/>
                    </a:cubicBezTo>
                    <a:cubicBezTo>
                      <a:pt x="1286" y="1957"/>
                      <a:pt x="535" y="709"/>
                      <a:pt x="157" y="40"/>
                    </a:cubicBezTo>
                    <a:cubicBezTo>
                      <a:pt x="145" y="16"/>
                      <a:pt x="113" y="1"/>
                      <a:pt x="84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2" name="Google Shape;642;p25"/>
              <p:cNvSpPr/>
              <p:nvPr/>
            </p:nvSpPr>
            <p:spPr>
              <a:xfrm>
                <a:off x="283475" y="2604150"/>
                <a:ext cx="66750" cy="84850"/>
              </a:xfrm>
              <a:custGeom>
                <a:avLst/>
                <a:gdLst/>
                <a:ahLst/>
                <a:cxnLst/>
                <a:rect l="l" t="t" r="r" b="b"/>
                <a:pathLst>
                  <a:path w="2670" h="3394" extrusionOk="0">
                    <a:moveTo>
                      <a:pt x="86" y="0"/>
                    </a:moveTo>
                    <a:cubicBezTo>
                      <a:pt x="75" y="0"/>
                      <a:pt x="63" y="2"/>
                      <a:pt x="50" y="6"/>
                    </a:cubicBezTo>
                    <a:cubicBezTo>
                      <a:pt x="17" y="27"/>
                      <a:pt x="1" y="76"/>
                      <a:pt x="17" y="109"/>
                    </a:cubicBezTo>
                    <a:cubicBezTo>
                      <a:pt x="547" y="1513"/>
                      <a:pt x="1524" y="2761"/>
                      <a:pt x="2551" y="3377"/>
                    </a:cubicBezTo>
                    <a:cubicBezTo>
                      <a:pt x="2567" y="3394"/>
                      <a:pt x="2584" y="3394"/>
                      <a:pt x="2600" y="3394"/>
                    </a:cubicBezTo>
                    <a:cubicBezTo>
                      <a:pt x="2617" y="3394"/>
                      <a:pt x="2633" y="3377"/>
                      <a:pt x="2653" y="3361"/>
                    </a:cubicBezTo>
                    <a:cubicBezTo>
                      <a:pt x="2670" y="3312"/>
                      <a:pt x="2670" y="3275"/>
                      <a:pt x="2633" y="3242"/>
                    </a:cubicBezTo>
                    <a:cubicBezTo>
                      <a:pt x="1627" y="2642"/>
                      <a:pt x="683" y="1427"/>
                      <a:pt x="153" y="60"/>
                    </a:cubicBezTo>
                    <a:cubicBezTo>
                      <a:pt x="140" y="19"/>
                      <a:pt x="119" y="0"/>
                      <a:pt x="8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3" name="Google Shape;643;p25"/>
              <p:cNvSpPr/>
              <p:nvPr/>
            </p:nvSpPr>
            <p:spPr>
              <a:xfrm>
                <a:off x="244575" y="2583400"/>
                <a:ext cx="116325" cy="86175"/>
              </a:xfrm>
              <a:custGeom>
                <a:avLst/>
                <a:gdLst/>
                <a:ahLst/>
                <a:cxnLst/>
                <a:rect l="l" t="t" r="r" b="b"/>
                <a:pathLst>
                  <a:path w="4653" h="3447" extrusionOk="0">
                    <a:moveTo>
                      <a:pt x="1405" y="1"/>
                    </a:moveTo>
                    <a:cubicBezTo>
                      <a:pt x="749" y="1"/>
                      <a:pt x="263" y="154"/>
                      <a:pt x="169" y="307"/>
                    </a:cubicBezTo>
                    <a:cubicBezTo>
                      <a:pt x="1" y="615"/>
                      <a:pt x="580" y="2310"/>
                      <a:pt x="2136" y="3234"/>
                    </a:cubicBezTo>
                    <a:cubicBezTo>
                      <a:pt x="2385" y="3378"/>
                      <a:pt x="2655" y="3446"/>
                      <a:pt x="2919" y="3446"/>
                    </a:cubicBezTo>
                    <a:cubicBezTo>
                      <a:pt x="3441" y="3446"/>
                      <a:pt x="3943" y="3181"/>
                      <a:pt x="4226" y="2705"/>
                    </a:cubicBezTo>
                    <a:cubicBezTo>
                      <a:pt x="4653" y="1986"/>
                      <a:pt x="4415" y="1062"/>
                      <a:pt x="3696" y="631"/>
                    </a:cubicBezTo>
                    <a:cubicBezTo>
                      <a:pt x="2911" y="158"/>
                      <a:pt x="2070" y="1"/>
                      <a:pt x="1405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4" name="Google Shape;644;p25"/>
              <p:cNvSpPr/>
              <p:nvPr/>
            </p:nvSpPr>
            <p:spPr>
              <a:xfrm>
                <a:off x="264600" y="2589950"/>
                <a:ext cx="77000" cy="41725"/>
              </a:xfrm>
              <a:custGeom>
                <a:avLst/>
                <a:gdLst/>
                <a:ahLst/>
                <a:cxnLst/>
                <a:rect l="l" t="t" r="r" b="b"/>
                <a:pathLst>
                  <a:path w="3080" h="1669" extrusionOk="0">
                    <a:moveTo>
                      <a:pt x="576" y="1"/>
                    </a:moveTo>
                    <a:cubicBezTo>
                      <a:pt x="476" y="1"/>
                      <a:pt x="377" y="9"/>
                      <a:pt x="275" y="28"/>
                    </a:cubicBezTo>
                    <a:cubicBezTo>
                      <a:pt x="226" y="28"/>
                      <a:pt x="87" y="28"/>
                      <a:pt x="54" y="61"/>
                    </a:cubicBezTo>
                    <a:cubicBezTo>
                      <a:pt x="0" y="114"/>
                      <a:pt x="54" y="201"/>
                      <a:pt x="87" y="250"/>
                    </a:cubicBezTo>
                    <a:cubicBezTo>
                      <a:pt x="481" y="882"/>
                      <a:pt x="1113" y="1363"/>
                      <a:pt x="1832" y="1584"/>
                    </a:cubicBezTo>
                    <a:cubicBezTo>
                      <a:pt x="1997" y="1636"/>
                      <a:pt x="2174" y="1669"/>
                      <a:pt x="2348" y="1669"/>
                    </a:cubicBezTo>
                    <a:cubicBezTo>
                      <a:pt x="2465" y="1669"/>
                      <a:pt x="2580" y="1654"/>
                      <a:pt x="2690" y="1621"/>
                    </a:cubicBezTo>
                    <a:cubicBezTo>
                      <a:pt x="2772" y="1601"/>
                      <a:pt x="2858" y="1552"/>
                      <a:pt x="2928" y="1498"/>
                    </a:cubicBezTo>
                    <a:cubicBezTo>
                      <a:pt x="3031" y="1379"/>
                      <a:pt x="3080" y="1211"/>
                      <a:pt x="3031" y="1055"/>
                    </a:cubicBezTo>
                    <a:cubicBezTo>
                      <a:pt x="2998" y="903"/>
                      <a:pt x="2895" y="763"/>
                      <a:pt x="2772" y="661"/>
                    </a:cubicBezTo>
                    <a:cubicBezTo>
                      <a:pt x="2653" y="558"/>
                      <a:pt x="2501" y="472"/>
                      <a:pt x="2361" y="422"/>
                    </a:cubicBezTo>
                    <a:cubicBezTo>
                      <a:pt x="2177" y="336"/>
                      <a:pt x="2004" y="266"/>
                      <a:pt x="1815" y="201"/>
                    </a:cubicBezTo>
                    <a:cubicBezTo>
                      <a:pt x="1474" y="98"/>
                      <a:pt x="1130" y="28"/>
                      <a:pt x="789" y="12"/>
                    </a:cubicBezTo>
                    <a:cubicBezTo>
                      <a:pt x="717" y="5"/>
                      <a:pt x="647" y="1"/>
                      <a:pt x="576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5" name="Google Shape;645;p25"/>
              <p:cNvSpPr/>
              <p:nvPr/>
            </p:nvSpPr>
            <p:spPr>
              <a:xfrm>
                <a:off x="285650" y="2603775"/>
                <a:ext cx="63650" cy="55700"/>
              </a:xfrm>
              <a:custGeom>
                <a:avLst/>
                <a:gdLst/>
                <a:ahLst/>
                <a:cxnLst/>
                <a:rect l="l" t="t" r="r" b="b"/>
                <a:pathLst>
                  <a:path w="2546" h="2228" extrusionOk="0">
                    <a:moveTo>
                      <a:pt x="1279" y="0"/>
                    </a:moveTo>
                    <a:cubicBezTo>
                      <a:pt x="898" y="0"/>
                      <a:pt x="529" y="201"/>
                      <a:pt x="325" y="555"/>
                    </a:cubicBezTo>
                    <a:cubicBezTo>
                      <a:pt x="0" y="1085"/>
                      <a:pt x="185" y="1766"/>
                      <a:pt x="719" y="2074"/>
                    </a:cubicBezTo>
                    <a:cubicBezTo>
                      <a:pt x="892" y="2178"/>
                      <a:pt x="1086" y="2228"/>
                      <a:pt x="1279" y="2228"/>
                    </a:cubicBezTo>
                    <a:cubicBezTo>
                      <a:pt x="1658" y="2228"/>
                      <a:pt x="2034" y="2035"/>
                      <a:pt x="2238" y="1684"/>
                    </a:cubicBezTo>
                    <a:cubicBezTo>
                      <a:pt x="2546" y="1150"/>
                      <a:pt x="2378" y="469"/>
                      <a:pt x="1848" y="161"/>
                    </a:cubicBezTo>
                    <a:cubicBezTo>
                      <a:pt x="1668" y="52"/>
                      <a:pt x="1472" y="0"/>
                      <a:pt x="1279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6" name="Google Shape;646;p25"/>
              <p:cNvSpPr/>
              <p:nvPr/>
            </p:nvSpPr>
            <p:spPr>
              <a:xfrm>
                <a:off x="298475" y="2608275"/>
                <a:ext cx="33375" cy="27925"/>
              </a:xfrm>
              <a:custGeom>
                <a:avLst/>
                <a:gdLst/>
                <a:ahLst/>
                <a:cxnLst/>
                <a:rect l="l" t="t" r="r" b="b"/>
                <a:pathLst>
                  <a:path w="1335" h="1117" extrusionOk="0">
                    <a:moveTo>
                      <a:pt x="754" y="1"/>
                    </a:moveTo>
                    <a:cubicBezTo>
                      <a:pt x="478" y="1"/>
                      <a:pt x="190" y="204"/>
                      <a:pt x="83" y="441"/>
                    </a:cubicBezTo>
                    <a:cubicBezTo>
                      <a:pt x="17" y="580"/>
                      <a:pt x="0" y="765"/>
                      <a:pt x="83" y="905"/>
                    </a:cubicBezTo>
                    <a:cubicBezTo>
                      <a:pt x="152" y="1024"/>
                      <a:pt x="288" y="1094"/>
                      <a:pt x="427" y="1110"/>
                    </a:cubicBezTo>
                    <a:cubicBezTo>
                      <a:pt x="459" y="1114"/>
                      <a:pt x="491" y="1116"/>
                      <a:pt x="525" y="1116"/>
                    </a:cubicBezTo>
                    <a:cubicBezTo>
                      <a:pt x="618" y="1116"/>
                      <a:pt x="719" y="1100"/>
                      <a:pt x="822" y="1073"/>
                    </a:cubicBezTo>
                    <a:cubicBezTo>
                      <a:pt x="904" y="1057"/>
                      <a:pt x="990" y="1024"/>
                      <a:pt x="1076" y="970"/>
                    </a:cubicBezTo>
                    <a:cubicBezTo>
                      <a:pt x="1249" y="851"/>
                      <a:pt x="1335" y="630"/>
                      <a:pt x="1298" y="424"/>
                    </a:cubicBezTo>
                    <a:cubicBezTo>
                      <a:pt x="1249" y="219"/>
                      <a:pt x="1076" y="47"/>
                      <a:pt x="871" y="14"/>
                    </a:cubicBezTo>
                    <a:cubicBezTo>
                      <a:pt x="833" y="5"/>
                      <a:pt x="793" y="1"/>
                      <a:pt x="754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7" name="Google Shape;647;p25"/>
              <p:cNvSpPr/>
              <p:nvPr/>
            </p:nvSpPr>
            <p:spPr>
              <a:xfrm>
                <a:off x="305650" y="2639775"/>
                <a:ext cx="30425" cy="12900"/>
              </a:xfrm>
              <a:custGeom>
                <a:avLst/>
                <a:gdLst/>
                <a:ahLst/>
                <a:cxnLst/>
                <a:rect l="l" t="t" r="r" b="b"/>
                <a:pathLst>
                  <a:path w="1217" h="516" extrusionOk="0">
                    <a:moveTo>
                      <a:pt x="1141" y="1"/>
                    </a:moveTo>
                    <a:cubicBezTo>
                      <a:pt x="1116" y="1"/>
                      <a:pt x="1091" y="16"/>
                      <a:pt x="1081" y="39"/>
                    </a:cubicBezTo>
                    <a:cubicBezTo>
                      <a:pt x="956" y="254"/>
                      <a:pt x="719" y="379"/>
                      <a:pt x="479" y="379"/>
                    </a:cubicBezTo>
                    <a:cubicBezTo>
                      <a:pt x="356" y="379"/>
                      <a:pt x="233" y="346"/>
                      <a:pt x="124" y="277"/>
                    </a:cubicBezTo>
                    <a:cubicBezTo>
                      <a:pt x="114" y="273"/>
                      <a:pt x="103" y="271"/>
                      <a:pt x="93" y="271"/>
                    </a:cubicBezTo>
                    <a:cubicBezTo>
                      <a:pt x="63" y="271"/>
                      <a:pt x="33" y="286"/>
                      <a:pt x="21" y="310"/>
                    </a:cubicBezTo>
                    <a:cubicBezTo>
                      <a:pt x="1" y="347"/>
                      <a:pt x="21" y="380"/>
                      <a:pt x="54" y="396"/>
                    </a:cubicBezTo>
                    <a:cubicBezTo>
                      <a:pt x="190" y="482"/>
                      <a:pt x="329" y="515"/>
                      <a:pt x="481" y="515"/>
                    </a:cubicBezTo>
                    <a:cubicBezTo>
                      <a:pt x="773" y="515"/>
                      <a:pt x="1048" y="380"/>
                      <a:pt x="1200" y="105"/>
                    </a:cubicBezTo>
                    <a:cubicBezTo>
                      <a:pt x="1216" y="72"/>
                      <a:pt x="1216" y="39"/>
                      <a:pt x="1183" y="18"/>
                    </a:cubicBezTo>
                    <a:cubicBezTo>
                      <a:pt x="1171" y="6"/>
                      <a:pt x="1156" y="1"/>
                      <a:pt x="1141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8" name="Google Shape;648;p25"/>
              <p:cNvSpPr/>
              <p:nvPr/>
            </p:nvSpPr>
            <p:spPr>
              <a:xfrm>
                <a:off x="242025" y="2581825"/>
                <a:ext cx="121050" cy="89725"/>
              </a:xfrm>
              <a:custGeom>
                <a:avLst/>
                <a:gdLst/>
                <a:ahLst/>
                <a:cxnLst/>
                <a:rect l="l" t="t" r="r" b="b"/>
                <a:pathLst>
                  <a:path w="4842" h="3589" extrusionOk="0">
                    <a:moveTo>
                      <a:pt x="1503" y="131"/>
                    </a:moveTo>
                    <a:cubicBezTo>
                      <a:pt x="2156" y="131"/>
                      <a:pt x="2977" y="283"/>
                      <a:pt x="3761" y="747"/>
                    </a:cubicBezTo>
                    <a:cubicBezTo>
                      <a:pt x="4447" y="1158"/>
                      <a:pt x="4685" y="2049"/>
                      <a:pt x="4275" y="2731"/>
                    </a:cubicBezTo>
                    <a:cubicBezTo>
                      <a:pt x="4001" y="3187"/>
                      <a:pt x="3516" y="3446"/>
                      <a:pt x="3020" y="3446"/>
                    </a:cubicBezTo>
                    <a:cubicBezTo>
                      <a:pt x="2771" y="3446"/>
                      <a:pt x="2520" y="3381"/>
                      <a:pt x="2291" y="3244"/>
                    </a:cubicBezTo>
                    <a:cubicBezTo>
                      <a:pt x="735" y="2320"/>
                      <a:pt x="185" y="661"/>
                      <a:pt x="341" y="407"/>
                    </a:cubicBezTo>
                    <a:cubicBezTo>
                      <a:pt x="411" y="267"/>
                      <a:pt x="871" y="131"/>
                      <a:pt x="1503" y="131"/>
                    </a:cubicBezTo>
                    <a:close/>
                    <a:moveTo>
                      <a:pt x="1496" y="0"/>
                    </a:moveTo>
                    <a:cubicBezTo>
                      <a:pt x="832" y="0"/>
                      <a:pt x="330" y="152"/>
                      <a:pt x="222" y="337"/>
                    </a:cubicBezTo>
                    <a:cubicBezTo>
                      <a:pt x="0" y="714"/>
                      <a:pt x="682" y="2460"/>
                      <a:pt x="2205" y="3363"/>
                    </a:cubicBezTo>
                    <a:cubicBezTo>
                      <a:pt x="2464" y="3519"/>
                      <a:pt x="2751" y="3589"/>
                      <a:pt x="3026" y="3589"/>
                    </a:cubicBezTo>
                    <a:cubicBezTo>
                      <a:pt x="3556" y="3589"/>
                      <a:pt x="4086" y="3314"/>
                      <a:pt x="4394" y="2800"/>
                    </a:cubicBezTo>
                    <a:cubicBezTo>
                      <a:pt x="4841" y="2049"/>
                      <a:pt x="4582" y="1072"/>
                      <a:pt x="3831" y="628"/>
                    </a:cubicBezTo>
                    <a:cubicBezTo>
                      <a:pt x="3053" y="165"/>
                      <a:pt x="2187" y="0"/>
                      <a:pt x="149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49" name="Google Shape;649;p25"/>
              <p:cNvSpPr/>
              <p:nvPr/>
            </p:nvSpPr>
            <p:spPr>
              <a:xfrm>
                <a:off x="286875" y="2602075"/>
                <a:ext cx="64600" cy="59225"/>
              </a:xfrm>
              <a:custGeom>
                <a:avLst/>
                <a:gdLst/>
                <a:ahLst/>
                <a:cxnLst/>
                <a:rect l="l" t="t" r="r" b="b"/>
                <a:pathLst>
                  <a:path w="2584" h="2369" extrusionOk="0">
                    <a:moveTo>
                      <a:pt x="1232" y="143"/>
                    </a:moveTo>
                    <a:cubicBezTo>
                      <a:pt x="1421" y="143"/>
                      <a:pt x="1594" y="192"/>
                      <a:pt x="1762" y="278"/>
                    </a:cubicBezTo>
                    <a:cubicBezTo>
                      <a:pt x="2004" y="434"/>
                      <a:pt x="2173" y="656"/>
                      <a:pt x="2242" y="931"/>
                    </a:cubicBezTo>
                    <a:cubicBezTo>
                      <a:pt x="2312" y="1202"/>
                      <a:pt x="2275" y="1477"/>
                      <a:pt x="2123" y="1715"/>
                    </a:cubicBezTo>
                    <a:cubicBezTo>
                      <a:pt x="1928" y="2048"/>
                      <a:pt x="1580" y="2235"/>
                      <a:pt x="1223" y="2235"/>
                    </a:cubicBezTo>
                    <a:cubicBezTo>
                      <a:pt x="1046" y="2235"/>
                      <a:pt x="867" y="2189"/>
                      <a:pt x="703" y="2093"/>
                    </a:cubicBezTo>
                    <a:cubicBezTo>
                      <a:pt x="444" y="1937"/>
                      <a:pt x="292" y="1715"/>
                      <a:pt x="206" y="1444"/>
                    </a:cubicBezTo>
                    <a:cubicBezTo>
                      <a:pt x="136" y="1169"/>
                      <a:pt x="189" y="894"/>
                      <a:pt x="325" y="656"/>
                    </a:cubicBezTo>
                    <a:cubicBezTo>
                      <a:pt x="481" y="418"/>
                      <a:pt x="703" y="245"/>
                      <a:pt x="978" y="176"/>
                    </a:cubicBezTo>
                    <a:cubicBezTo>
                      <a:pt x="1060" y="143"/>
                      <a:pt x="1146" y="143"/>
                      <a:pt x="1232" y="143"/>
                    </a:cubicBezTo>
                    <a:close/>
                    <a:moveTo>
                      <a:pt x="1239" y="1"/>
                    </a:moveTo>
                    <a:cubicBezTo>
                      <a:pt x="831" y="1"/>
                      <a:pt x="434" y="210"/>
                      <a:pt x="206" y="586"/>
                    </a:cubicBezTo>
                    <a:cubicBezTo>
                      <a:pt x="54" y="861"/>
                      <a:pt x="0" y="1169"/>
                      <a:pt x="87" y="1477"/>
                    </a:cubicBezTo>
                    <a:cubicBezTo>
                      <a:pt x="156" y="1785"/>
                      <a:pt x="362" y="2040"/>
                      <a:pt x="616" y="2212"/>
                    </a:cubicBezTo>
                    <a:cubicBezTo>
                      <a:pt x="805" y="2315"/>
                      <a:pt x="1011" y="2368"/>
                      <a:pt x="1232" y="2368"/>
                    </a:cubicBezTo>
                    <a:cubicBezTo>
                      <a:pt x="1318" y="2368"/>
                      <a:pt x="1421" y="2368"/>
                      <a:pt x="1524" y="2331"/>
                    </a:cubicBezTo>
                    <a:cubicBezTo>
                      <a:pt x="1832" y="2266"/>
                      <a:pt x="2086" y="2060"/>
                      <a:pt x="2242" y="1785"/>
                    </a:cubicBezTo>
                    <a:cubicBezTo>
                      <a:pt x="2583" y="1239"/>
                      <a:pt x="2394" y="500"/>
                      <a:pt x="1832" y="159"/>
                    </a:cubicBezTo>
                    <a:cubicBezTo>
                      <a:pt x="1644" y="52"/>
                      <a:pt x="1440" y="1"/>
                      <a:pt x="123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0" name="Google Shape;650;p25"/>
              <p:cNvSpPr/>
              <p:nvPr/>
            </p:nvSpPr>
            <p:spPr>
              <a:xfrm>
                <a:off x="272800" y="2551325"/>
                <a:ext cx="60300" cy="56175"/>
              </a:xfrm>
              <a:custGeom>
                <a:avLst/>
                <a:gdLst/>
                <a:ahLst/>
                <a:cxnLst/>
                <a:rect l="l" t="t" r="r" b="b"/>
                <a:pathLst>
                  <a:path w="2412" h="2247" extrusionOk="0">
                    <a:moveTo>
                      <a:pt x="1163" y="1"/>
                    </a:moveTo>
                    <a:cubicBezTo>
                      <a:pt x="974" y="1"/>
                      <a:pt x="769" y="50"/>
                      <a:pt x="617" y="152"/>
                    </a:cubicBezTo>
                    <a:cubicBezTo>
                      <a:pt x="428" y="272"/>
                      <a:pt x="309" y="460"/>
                      <a:pt x="223" y="666"/>
                    </a:cubicBezTo>
                    <a:cubicBezTo>
                      <a:pt x="83" y="957"/>
                      <a:pt x="1" y="1540"/>
                      <a:pt x="272" y="1881"/>
                    </a:cubicBezTo>
                    <a:cubicBezTo>
                      <a:pt x="411" y="2054"/>
                      <a:pt x="596" y="2173"/>
                      <a:pt x="802" y="2222"/>
                    </a:cubicBezTo>
                    <a:cubicBezTo>
                      <a:pt x="855" y="2222"/>
                      <a:pt x="904" y="2242"/>
                      <a:pt x="974" y="2242"/>
                    </a:cubicBezTo>
                    <a:cubicBezTo>
                      <a:pt x="1002" y="2245"/>
                      <a:pt x="1030" y="2246"/>
                      <a:pt x="1059" y="2246"/>
                    </a:cubicBezTo>
                    <a:cubicBezTo>
                      <a:pt x="1211" y="2246"/>
                      <a:pt x="1376" y="2211"/>
                      <a:pt x="1504" y="2156"/>
                    </a:cubicBezTo>
                    <a:cubicBezTo>
                      <a:pt x="1590" y="2119"/>
                      <a:pt x="1660" y="2070"/>
                      <a:pt x="1709" y="2000"/>
                    </a:cubicBezTo>
                    <a:cubicBezTo>
                      <a:pt x="1762" y="1898"/>
                      <a:pt x="1881" y="1746"/>
                      <a:pt x="1951" y="1540"/>
                    </a:cubicBezTo>
                    <a:lnTo>
                      <a:pt x="2120" y="1627"/>
                    </a:lnTo>
                    <a:cubicBezTo>
                      <a:pt x="2134" y="1636"/>
                      <a:pt x="2150" y="1640"/>
                      <a:pt x="2166" y="1640"/>
                    </a:cubicBezTo>
                    <a:cubicBezTo>
                      <a:pt x="2207" y="1640"/>
                      <a:pt x="2249" y="1612"/>
                      <a:pt x="2276" y="1573"/>
                    </a:cubicBezTo>
                    <a:cubicBezTo>
                      <a:pt x="2276" y="1540"/>
                      <a:pt x="2292" y="1524"/>
                      <a:pt x="2292" y="1487"/>
                    </a:cubicBezTo>
                    <a:cubicBezTo>
                      <a:pt x="2411" y="1163"/>
                      <a:pt x="2362" y="411"/>
                      <a:pt x="1725" y="136"/>
                    </a:cubicBezTo>
                    <a:cubicBezTo>
                      <a:pt x="1557" y="50"/>
                      <a:pt x="1368" y="1"/>
                      <a:pt x="1163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1" name="Google Shape;651;p25"/>
              <p:cNvSpPr/>
              <p:nvPr/>
            </p:nvSpPr>
            <p:spPr>
              <a:xfrm>
                <a:off x="271075" y="2550000"/>
                <a:ext cx="63350" cy="59975"/>
              </a:xfrm>
              <a:custGeom>
                <a:avLst/>
                <a:gdLst/>
                <a:ahLst/>
                <a:cxnLst/>
                <a:rect l="l" t="t" r="r" b="b"/>
                <a:pathLst>
                  <a:path w="2534" h="2399" extrusionOk="0">
                    <a:moveTo>
                      <a:pt x="1232" y="103"/>
                    </a:moveTo>
                    <a:cubicBezTo>
                      <a:pt x="1404" y="103"/>
                      <a:pt x="1589" y="156"/>
                      <a:pt x="1778" y="242"/>
                    </a:cubicBezTo>
                    <a:cubicBezTo>
                      <a:pt x="2361" y="481"/>
                      <a:pt x="2431" y="1199"/>
                      <a:pt x="2328" y="1524"/>
                    </a:cubicBezTo>
                    <a:cubicBezTo>
                      <a:pt x="2308" y="1556"/>
                      <a:pt x="2291" y="1577"/>
                      <a:pt x="2291" y="1610"/>
                    </a:cubicBezTo>
                    <a:lnTo>
                      <a:pt x="2258" y="1643"/>
                    </a:lnTo>
                    <a:lnTo>
                      <a:pt x="2205" y="1643"/>
                    </a:lnTo>
                    <a:lnTo>
                      <a:pt x="2123" y="1593"/>
                    </a:lnTo>
                    <a:cubicBezTo>
                      <a:pt x="2172" y="1421"/>
                      <a:pt x="2156" y="1199"/>
                      <a:pt x="2102" y="1010"/>
                    </a:cubicBezTo>
                    <a:cubicBezTo>
                      <a:pt x="2090" y="986"/>
                      <a:pt x="2078" y="971"/>
                      <a:pt x="2060" y="971"/>
                    </a:cubicBezTo>
                    <a:cubicBezTo>
                      <a:pt x="2053" y="971"/>
                      <a:pt x="2046" y="973"/>
                      <a:pt x="2037" y="977"/>
                    </a:cubicBezTo>
                    <a:cubicBezTo>
                      <a:pt x="2000" y="977"/>
                      <a:pt x="2000" y="1010"/>
                      <a:pt x="2000" y="1027"/>
                    </a:cubicBezTo>
                    <a:cubicBezTo>
                      <a:pt x="2053" y="1216"/>
                      <a:pt x="2020" y="1404"/>
                      <a:pt x="1967" y="1577"/>
                    </a:cubicBezTo>
                    <a:lnTo>
                      <a:pt x="1967" y="1593"/>
                    </a:lnTo>
                    <a:cubicBezTo>
                      <a:pt x="1897" y="1782"/>
                      <a:pt x="1794" y="1934"/>
                      <a:pt x="1729" y="2020"/>
                    </a:cubicBezTo>
                    <a:lnTo>
                      <a:pt x="1712" y="2037"/>
                    </a:lnTo>
                    <a:cubicBezTo>
                      <a:pt x="1659" y="2090"/>
                      <a:pt x="1610" y="2139"/>
                      <a:pt x="1556" y="2156"/>
                    </a:cubicBezTo>
                    <a:lnTo>
                      <a:pt x="1540" y="2156"/>
                    </a:lnTo>
                    <a:cubicBezTo>
                      <a:pt x="1441" y="2214"/>
                      <a:pt x="1317" y="2246"/>
                      <a:pt x="1181" y="2246"/>
                    </a:cubicBezTo>
                    <a:cubicBezTo>
                      <a:pt x="1153" y="2246"/>
                      <a:pt x="1125" y="2245"/>
                      <a:pt x="1096" y="2242"/>
                    </a:cubicBezTo>
                    <a:cubicBezTo>
                      <a:pt x="1146" y="2107"/>
                      <a:pt x="1199" y="1951"/>
                      <a:pt x="1248" y="1799"/>
                    </a:cubicBezTo>
                    <a:cubicBezTo>
                      <a:pt x="1281" y="1729"/>
                      <a:pt x="1318" y="1643"/>
                      <a:pt x="1351" y="1556"/>
                    </a:cubicBezTo>
                    <a:cubicBezTo>
                      <a:pt x="1384" y="1491"/>
                      <a:pt x="1421" y="1404"/>
                      <a:pt x="1454" y="1318"/>
                    </a:cubicBezTo>
                    <a:cubicBezTo>
                      <a:pt x="1470" y="1302"/>
                      <a:pt x="1454" y="1285"/>
                      <a:pt x="1437" y="1269"/>
                    </a:cubicBezTo>
                    <a:cubicBezTo>
                      <a:pt x="1421" y="1269"/>
                      <a:pt x="1404" y="1269"/>
                      <a:pt x="1404" y="1285"/>
                    </a:cubicBezTo>
                    <a:cubicBezTo>
                      <a:pt x="1335" y="1335"/>
                      <a:pt x="1265" y="1421"/>
                      <a:pt x="1232" y="1507"/>
                    </a:cubicBezTo>
                    <a:cubicBezTo>
                      <a:pt x="1179" y="1577"/>
                      <a:pt x="1146" y="1659"/>
                      <a:pt x="1113" y="1745"/>
                    </a:cubicBezTo>
                    <a:cubicBezTo>
                      <a:pt x="1076" y="1831"/>
                      <a:pt x="1010" y="2004"/>
                      <a:pt x="957" y="2242"/>
                    </a:cubicBezTo>
                    <a:cubicBezTo>
                      <a:pt x="924" y="2226"/>
                      <a:pt x="924" y="2226"/>
                      <a:pt x="871" y="2226"/>
                    </a:cubicBezTo>
                    <a:cubicBezTo>
                      <a:pt x="768" y="2193"/>
                      <a:pt x="686" y="2139"/>
                      <a:pt x="583" y="2090"/>
                    </a:cubicBezTo>
                    <a:cubicBezTo>
                      <a:pt x="649" y="1934"/>
                      <a:pt x="702" y="1762"/>
                      <a:pt x="751" y="1626"/>
                    </a:cubicBezTo>
                    <a:cubicBezTo>
                      <a:pt x="788" y="1540"/>
                      <a:pt x="805" y="1454"/>
                      <a:pt x="838" y="1372"/>
                    </a:cubicBezTo>
                    <a:cubicBezTo>
                      <a:pt x="871" y="1302"/>
                      <a:pt x="908" y="1216"/>
                      <a:pt x="957" y="1146"/>
                    </a:cubicBezTo>
                    <a:cubicBezTo>
                      <a:pt x="957" y="1113"/>
                      <a:pt x="957" y="1096"/>
                      <a:pt x="940" y="1080"/>
                    </a:cubicBezTo>
                    <a:cubicBezTo>
                      <a:pt x="924" y="1080"/>
                      <a:pt x="908" y="1080"/>
                      <a:pt x="891" y="1096"/>
                    </a:cubicBezTo>
                    <a:cubicBezTo>
                      <a:pt x="821" y="1146"/>
                      <a:pt x="768" y="1232"/>
                      <a:pt x="719" y="1318"/>
                    </a:cubicBezTo>
                    <a:cubicBezTo>
                      <a:pt x="665" y="1388"/>
                      <a:pt x="600" y="1507"/>
                      <a:pt x="480" y="1987"/>
                    </a:cubicBezTo>
                    <a:cubicBezTo>
                      <a:pt x="427" y="1951"/>
                      <a:pt x="427" y="1951"/>
                      <a:pt x="394" y="1901"/>
                    </a:cubicBezTo>
                    <a:cubicBezTo>
                      <a:pt x="136" y="1593"/>
                      <a:pt x="205" y="1027"/>
                      <a:pt x="341" y="735"/>
                    </a:cubicBezTo>
                    <a:cubicBezTo>
                      <a:pt x="427" y="513"/>
                      <a:pt x="563" y="361"/>
                      <a:pt x="719" y="259"/>
                    </a:cubicBezTo>
                    <a:cubicBezTo>
                      <a:pt x="854" y="156"/>
                      <a:pt x="1043" y="103"/>
                      <a:pt x="1232" y="103"/>
                    </a:cubicBezTo>
                    <a:close/>
                    <a:moveTo>
                      <a:pt x="1232" y="0"/>
                    </a:moveTo>
                    <a:cubicBezTo>
                      <a:pt x="1027" y="0"/>
                      <a:pt x="821" y="70"/>
                      <a:pt x="649" y="173"/>
                    </a:cubicBezTo>
                    <a:cubicBezTo>
                      <a:pt x="583" y="222"/>
                      <a:pt x="513" y="275"/>
                      <a:pt x="444" y="345"/>
                    </a:cubicBezTo>
                    <a:cubicBezTo>
                      <a:pt x="378" y="448"/>
                      <a:pt x="308" y="567"/>
                      <a:pt x="238" y="702"/>
                    </a:cubicBezTo>
                    <a:cubicBezTo>
                      <a:pt x="103" y="994"/>
                      <a:pt x="0" y="1643"/>
                      <a:pt x="292" y="2020"/>
                    </a:cubicBezTo>
                    <a:cubicBezTo>
                      <a:pt x="411" y="2172"/>
                      <a:pt x="616" y="2312"/>
                      <a:pt x="838" y="2361"/>
                    </a:cubicBezTo>
                    <a:cubicBezTo>
                      <a:pt x="927" y="2387"/>
                      <a:pt x="1023" y="2399"/>
                      <a:pt x="1120" y="2399"/>
                    </a:cubicBezTo>
                    <a:cubicBezTo>
                      <a:pt x="1282" y="2399"/>
                      <a:pt x="1444" y="2366"/>
                      <a:pt x="1573" y="2312"/>
                    </a:cubicBezTo>
                    <a:cubicBezTo>
                      <a:pt x="1573" y="2312"/>
                      <a:pt x="1864" y="2172"/>
                      <a:pt x="2037" y="1680"/>
                    </a:cubicBezTo>
                    <a:lnTo>
                      <a:pt x="2156" y="1729"/>
                    </a:lnTo>
                    <a:cubicBezTo>
                      <a:pt x="2180" y="1737"/>
                      <a:pt x="2202" y="1741"/>
                      <a:pt x="2224" y="1741"/>
                    </a:cubicBezTo>
                    <a:cubicBezTo>
                      <a:pt x="2245" y="1741"/>
                      <a:pt x="2267" y="1737"/>
                      <a:pt x="2291" y="1729"/>
                    </a:cubicBezTo>
                    <a:cubicBezTo>
                      <a:pt x="2328" y="1712"/>
                      <a:pt x="2361" y="1696"/>
                      <a:pt x="2378" y="1643"/>
                    </a:cubicBezTo>
                    <a:cubicBezTo>
                      <a:pt x="2394" y="1626"/>
                      <a:pt x="2410" y="1593"/>
                      <a:pt x="2410" y="1556"/>
                    </a:cubicBezTo>
                    <a:cubicBezTo>
                      <a:pt x="2534" y="1216"/>
                      <a:pt x="2480" y="427"/>
                      <a:pt x="1831" y="140"/>
                    </a:cubicBezTo>
                    <a:cubicBezTo>
                      <a:pt x="1626" y="54"/>
                      <a:pt x="1421" y="0"/>
                      <a:pt x="123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2" name="Google Shape;652;p25"/>
              <p:cNvSpPr/>
              <p:nvPr/>
            </p:nvSpPr>
            <p:spPr>
              <a:xfrm>
                <a:off x="296325" y="2569700"/>
                <a:ext cx="14075" cy="6075"/>
              </a:xfrm>
              <a:custGeom>
                <a:avLst/>
                <a:gdLst/>
                <a:ahLst/>
                <a:cxnLst/>
                <a:rect l="l" t="t" r="r" b="b"/>
                <a:pathLst>
                  <a:path w="563" h="243" extrusionOk="0">
                    <a:moveTo>
                      <a:pt x="66" y="1"/>
                    </a:moveTo>
                    <a:cubicBezTo>
                      <a:pt x="49" y="1"/>
                      <a:pt x="17" y="1"/>
                      <a:pt x="17" y="33"/>
                    </a:cubicBezTo>
                    <a:cubicBezTo>
                      <a:pt x="0" y="50"/>
                      <a:pt x="33" y="70"/>
                      <a:pt x="49" y="87"/>
                    </a:cubicBezTo>
                    <a:cubicBezTo>
                      <a:pt x="103" y="103"/>
                      <a:pt x="152" y="120"/>
                      <a:pt x="205" y="136"/>
                    </a:cubicBezTo>
                    <a:cubicBezTo>
                      <a:pt x="292" y="173"/>
                      <a:pt x="374" y="206"/>
                      <a:pt x="476" y="239"/>
                    </a:cubicBezTo>
                    <a:cubicBezTo>
                      <a:pt x="486" y="242"/>
                      <a:pt x="495" y="243"/>
                      <a:pt x="503" y="243"/>
                    </a:cubicBezTo>
                    <a:cubicBezTo>
                      <a:pt x="540" y="243"/>
                      <a:pt x="563" y="214"/>
                      <a:pt x="563" y="173"/>
                    </a:cubicBezTo>
                    <a:cubicBezTo>
                      <a:pt x="546" y="173"/>
                      <a:pt x="546" y="152"/>
                      <a:pt x="530" y="136"/>
                    </a:cubicBezTo>
                    <a:cubicBezTo>
                      <a:pt x="394" y="50"/>
                      <a:pt x="238" y="1"/>
                      <a:pt x="66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3" name="Google Shape;653;p25"/>
              <p:cNvSpPr/>
              <p:nvPr/>
            </p:nvSpPr>
            <p:spPr>
              <a:xfrm>
                <a:off x="298475" y="2562400"/>
                <a:ext cx="11925" cy="5575"/>
              </a:xfrm>
              <a:custGeom>
                <a:avLst/>
                <a:gdLst/>
                <a:ahLst/>
                <a:cxnLst/>
                <a:rect l="l" t="t" r="r" b="b"/>
                <a:pathLst>
                  <a:path w="477" h="223" extrusionOk="0">
                    <a:moveTo>
                      <a:pt x="66" y="1"/>
                    </a:moveTo>
                    <a:cubicBezTo>
                      <a:pt x="17" y="17"/>
                      <a:pt x="0" y="17"/>
                      <a:pt x="0" y="34"/>
                    </a:cubicBezTo>
                    <a:cubicBezTo>
                      <a:pt x="0" y="71"/>
                      <a:pt x="17" y="87"/>
                      <a:pt x="50" y="104"/>
                    </a:cubicBezTo>
                    <a:cubicBezTo>
                      <a:pt x="169" y="157"/>
                      <a:pt x="288" y="190"/>
                      <a:pt x="411" y="223"/>
                    </a:cubicBezTo>
                    <a:cubicBezTo>
                      <a:pt x="444" y="223"/>
                      <a:pt x="460" y="223"/>
                      <a:pt x="460" y="206"/>
                    </a:cubicBezTo>
                    <a:cubicBezTo>
                      <a:pt x="477" y="173"/>
                      <a:pt x="477" y="157"/>
                      <a:pt x="444" y="136"/>
                    </a:cubicBezTo>
                    <a:cubicBezTo>
                      <a:pt x="325" y="54"/>
                      <a:pt x="185" y="17"/>
                      <a:pt x="66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  <p:grpSp>
        <p:nvGrpSpPr>
          <p:cNvPr id="654" name="Google Shape;654;p25"/>
          <p:cNvGrpSpPr/>
          <p:nvPr/>
        </p:nvGrpSpPr>
        <p:grpSpPr>
          <a:xfrm rot="1420326">
            <a:off x="9135550" y="2095181"/>
            <a:ext cx="1791087" cy="1663491"/>
            <a:chOff x="815950" y="1738725"/>
            <a:chExt cx="367425" cy="341250"/>
          </a:xfrm>
        </p:grpSpPr>
        <p:grpSp>
          <p:nvGrpSpPr>
            <p:cNvPr id="655" name="Google Shape;655;p25"/>
            <p:cNvGrpSpPr/>
            <p:nvPr/>
          </p:nvGrpSpPr>
          <p:grpSpPr>
            <a:xfrm>
              <a:off x="815950" y="1738750"/>
              <a:ext cx="367425" cy="341225"/>
              <a:chOff x="815950" y="3227200"/>
              <a:chExt cx="367425" cy="341225"/>
            </a:xfrm>
          </p:grpSpPr>
          <p:sp>
            <p:nvSpPr>
              <p:cNvPr id="656" name="Google Shape;656;p25"/>
              <p:cNvSpPr/>
              <p:nvPr/>
            </p:nvSpPr>
            <p:spPr>
              <a:xfrm>
                <a:off x="815950" y="3227200"/>
                <a:ext cx="367425" cy="341225"/>
              </a:xfrm>
              <a:custGeom>
                <a:avLst/>
                <a:gdLst/>
                <a:ahLst/>
                <a:cxnLst/>
                <a:rect l="l" t="t" r="r" b="b"/>
                <a:pathLst>
                  <a:path w="14697" h="13649" extrusionOk="0">
                    <a:moveTo>
                      <a:pt x="11920" y="4010"/>
                    </a:moveTo>
                    <a:cubicBezTo>
                      <a:pt x="12227" y="4010"/>
                      <a:pt x="12607" y="4272"/>
                      <a:pt x="12627" y="4599"/>
                    </a:cubicBezTo>
                    <a:cubicBezTo>
                      <a:pt x="12664" y="4993"/>
                      <a:pt x="12389" y="5334"/>
                      <a:pt x="12027" y="5470"/>
                    </a:cubicBezTo>
                    <a:cubicBezTo>
                      <a:pt x="12011" y="5387"/>
                      <a:pt x="11994" y="5318"/>
                      <a:pt x="11978" y="5248"/>
                    </a:cubicBezTo>
                    <a:cubicBezTo>
                      <a:pt x="11875" y="4977"/>
                      <a:pt x="11719" y="4702"/>
                      <a:pt x="11535" y="4443"/>
                    </a:cubicBezTo>
                    <a:lnTo>
                      <a:pt x="11535" y="4361"/>
                    </a:lnTo>
                    <a:cubicBezTo>
                      <a:pt x="11566" y="4111"/>
                      <a:pt x="11729" y="4010"/>
                      <a:pt x="11920" y="4010"/>
                    </a:cubicBezTo>
                    <a:close/>
                    <a:moveTo>
                      <a:pt x="12009" y="2966"/>
                    </a:moveTo>
                    <a:cubicBezTo>
                      <a:pt x="13010" y="2966"/>
                      <a:pt x="13922" y="4004"/>
                      <a:pt x="13707" y="5079"/>
                    </a:cubicBezTo>
                    <a:cubicBezTo>
                      <a:pt x="13534" y="5901"/>
                      <a:pt x="12869" y="6393"/>
                      <a:pt x="12130" y="6463"/>
                    </a:cubicBezTo>
                    <a:lnTo>
                      <a:pt x="12130" y="6020"/>
                    </a:lnTo>
                    <a:cubicBezTo>
                      <a:pt x="12150" y="6003"/>
                      <a:pt x="12167" y="6003"/>
                      <a:pt x="12183" y="6003"/>
                    </a:cubicBezTo>
                    <a:cubicBezTo>
                      <a:pt x="13518" y="5506"/>
                      <a:pt x="13567" y="3761"/>
                      <a:pt x="12233" y="3572"/>
                    </a:cubicBezTo>
                    <a:cubicBezTo>
                      <a:pt x="12182" y="3563"/>
                      <a:pt x="12129" y="3559"/>
                      <a:pt x="12077" y="3559"/>
                    </a:cubicBezTo>
                    <a:cubicBezTo>
                      <a:pt x="11726" y="3559"/>
                      <a:pt x="11356" y="3755"/>
                      <a:pt x="11206" y="4069"/>
                    </a:cubicBezTo>
                    <a:cubicBezTo>
                      <a:pt x="11071" y="3930"/>
                      <a:pt x="10935" y="3811"/>
                      <a:pt x="10779" y="3708"/>
                    </a:cubicBezTo>
                    <a:cubicBezTo>
                      <a:pt x="10779" y="3692"/>
                      <a:pt x="10763" y="3692"/>
                      <a:pt x="10763" y="3675"/>
                    </a:cubicBezTo>
                    <a:cubicBezTo>
                      <a:pt x="10849" y="3486"/>
                      <a:pt x="11021" y="3314"/>
                      <a:pt x="11227" y="3195"/>
                    </a:cubicBezTo>
                    <a:cubicBezTo>
                      <a:pt x="11481" y="3036"/>
                      <a:pt x="11748" y="2966"/>
                      <a:pt x="12009" y="2966"/>
                    </a:cubicBezTo>
                    <a:close/>
                    <a:moveTo>
                      <a:pt x="4176" y="5901"/>
                    </a:moveTo>
                    <a:cubicBezTo>
                      <a:pt x="4246" y="6036"/>
                      <a:pt x="4312" y="6139"/>
                      <a:pt x="4398" y="6241"/>
                    </a:cubicBezTo>
                    <a:cubicBezTo>
                      <a:pt x="4451" y="6291"/>
                      <a:pt x="4431" y="6344"/>
                      <a:pt x="4382" y="6393"/>
                    </a:cubicBezTo>
                    <a:cubicBezTo>
                      <a:pt x="4144" y="6701"/>
                      <a:pt x="3971" y="7030"/>
                      <a:pt x="3868" y="7371"/>
                    </a:cubicBezTo>
                    <a:cubicBezTo>
                      <a:pt x="3852" y="7354"/>
                      <a:pt x="3852" y="7354"/>
                      <a:pt x="3836" y="7338"/>
                    </a:cubicBezTo>
                    <a:cubicBezTo>
                      <a:pt x="3836" y="7149"/>
                      <a:pt x="3815" y="6960"/>
                      <a:pt x="3766" y="6755"/>
                    </a:cubicBezTo>
                    <a:cubicBezTo>
                      <a:pt x="3901" y="6480"/>
                      <a:pt x="4057" y="6209"/>
                      <a:pt x="4176" y="5901"/>
                    </a:cubicBezTo>
                    <a:close/>
                    <a:moveTo>
                      <a:pt x="1946" y="6179"/>
                    </a:moveTo>
                    <a:cubicBezTo>
                      <a:pt x="1987" y="6179"/>
                      <a:pt x="2028" y="6182"/>
                      <a:pt x="2070" y="6188"/>
                    </a:cubicBezTo>
                    <a:cubicBezTo>
                      <a:pt x="1988" y="6344"/>
                      <a:pt x="1918" y="6496"/>
                      <a:pt x="1865" y="6669"/>
                    </a:cubicBezTo>
                    <a:cubicBezTo>
                      <a:pt x="1762" y="6976"/>
                      <a:pt x="1696" y="7284"/>
                      <a:pt x="1713" y="7609"/>
                    </a:cubicBezTo>
                    <a:cubicBezTo>
                      <a:pt x="1729" y="7711"/>
                      <a:pt x="1729" y="7798"/>
                      <a:pt x="1762" y="7884"/>
                    </a:cubicBezTo>
                    <a:cubicBezTo>
                      <a:pt x="1782" y="7954"/>
                      <a:pt x="1799" y="8003"/>
                      <a:pt x="1832" y="8056"/>
                    </a:cubicBezTo>
                    <a:cubicBezTo>
                      <a:pt x="1351" y="7917"/>
                      <a:pt x="941" y="7473"/>
                      <a:pt x="1113" y="6857"/>
                    </a:cubicBezTo>
                    <a:cubicBezTo>
                      <a:pt x="1236" y="6456"/>
                      <a:pt x="1557" y="6179"/>
                      <a:pt x="1946" y="6179"/>
                    </a:cubicBezTo>
                    <a:close/>
                    <a:moveTo>
                      <a:pt x="9498" y="5934"/>
                    </a:moveTo>
                    <a:cubicBezTo>
                      <a:pt x="9514" y="5934"/>
                      <a:pt x="9514" y="5950"/>
                      <a:pt x="9514" y="5966"/>
                    </a:cubicBezTo>
                    <a:cubicBezTo>
                      <a:pt x="9736" y="6463"/>
                      <a:pt x="9995" y="6944"/>
                      <a:pt x="10282" y="7404"/>
                    </a:cubicBezTo>
                    <a:cubicBezTo>
                      <a:pt x="10438" y="7679"/>
                      <a:pt x="10660" y="7917"/>
                      <a:pt x="10898" y="8122"/>
                    </a:cubicBezTo>
                    <a:cubicBezTo>
                      <a:pt x="10935" y="8138"/>
                      <a:pt x="10951" y="8159"/>
                      <a:pt x="10984" y="8175"/>
                    </a:cubicBezTo>
                    <a:cubicBezTo>
                      <a:pt x="10951" y="8241"/>
                      <a:pt x="10935" y="8327"/>
                      <a:pt x="10898" y="8397"/>
                    </a:cubicBezTo>
                    <a:cubicBezTo>
                      <a:pt x="10882" y="8381"/>
                      <a:pt x="10865" y="8381"/>
                      <a:pt x="10849" y="8381"/>
                    </a:cubicBezTo>
                    <a:lnTo>
                      <a:pt x="10849" y="8364"/>
                    </a:lnTo>
                    <a:cubicBezTo>
                      <a:pt x="10865" y="8327"/>
                      <a:pt x="10865" y="8295"/>
                      <a:pt x="10865" y="8262"/>
                    </a:cubicBezTo>
                    <a:cubicBezTo>
                      <a:pt x="10849" y="8225"/>
                      <a:pt x="10849" y="8192"/>
                      <a:pt x="10832" y="8159"/>
                    </a:cubicBezTo>
                    <a:cubicBezTo>
                      <a:pt x="10816" y="8138"/>
                      <a:pt x="10816" y="8122"/>
                      <a:pt x="10795" y="8106"/>
                    </a:cubicBezTo>
                    <a:cubicBezTo>
                      <a:pt x="10779" y="8089"/>
                      <a:pt x="10763" y="8073"/>
                      <a:pt x="10746" y="8056"/>
                    </a:cubicBezTo>
                    <a:cubicBezTo>
                      <a:pt x="10693" y="8003"/>
                      <a:pt x="10611" y="8003"/>
                      <a:pt x="10541" y="8003"/>
                    </a:cubicBezTo>
                    <a:cubicBezTo>
                      <a:pt x="10405" y="8003"/>
                      <a:pt x="10282" y="8056"/>
                      <a:pt x="10180" y="8106"/>
                    </a:cubicBezTo>
                    <a:cubicBezTo>
                      <a:pt x="10147" y="8138"/>
                      <a:pt x="10097" y="8175"/>
                      <a:pt x="10060" y="8208"/>
                    </a:cubicBezTo>
                    <a:cubicBezTo>
                      <a:pt x="10028" y="7646"/>
                      <a:pt x="9839" y="7096"/>
                      <a:pt x="9481" y="6549"/>
                    </a:cubicBezTo>
                    <a:cubicBezTo>
                      <a:pt x="9445" y="6517"/>
                      <a:pt x="9428" y="6463"/>
                      <a:pt x="9395" y="6430"/>
                    </a:cubicBezTo>
                    <a:lnTo>
                      <a:pt x="9395" y="6414"/>
                    </a:lnTo>
                    <a:lnTo>
                      <a:pt x="9309" y="6209"/>
                    </a:lnTo>
                    <a:cubicBezTo>
                      <a:pt x="9342" y="6172"/>
                      <a:pt x="9379" y="6139"/>
                      <a:pt x="9395" y="6085"/>
                    </a:cubicBezTo>
                    <a:cubicBezTo>
                      <a:pt x="9428" y="6036"/>
                      <a:pt x="9461" y="5983"/>
                      <a:pt x="9498" y="5934"/>
                    </a:cubicBezTo>
                    <a:close/>
                    <a:moveTo>
                      <a:pt x="12997" y="9438"/>
                    </a:moveTo>
                    <a:cubicBezTo>
                      <a:pt x="13027" y="9438"/>
                      <a:pt x="13068" y="9454"/>
                      <a:pt x="13124" y="9510"/>
                    </a:cubicBezTo>
                    <a:cubicBezTo>
                      <a:pt x="13226" y="9596"/>
                      <a:pt x="13362" y="9834"/>
                      <a:pt x="13313" y="9970"/>
                    </a:cubicBezTo>
                    <a:lnTo>
                      <a:pt x="13296" y="9986"/>
                    </a:lnTo>
                    <a:cubicBezTo>
                      <a:pt x="13280" y="10007"/>
                      <a:pt x="13243" y="10023"/>
                      <a:pt x="13210" y="10023"/>
                    </a:cubicBezTo>
                    <a:cubicBezTo>
                      <a:pt x="13091" y="9986"/>
                      <a:pt x="12951" y="9765"/>
                      <a:pt x="12902" y="9613"/>
                    </a:cubicBezTo>
                    <a:cubicBezTo>
                      <a:pt x="12885" y="9543"/>
                      <a:pt x="12902" y="9494"/>
                      <a:pt x="12935" y="9457"/>
                    </a:cubicBezTo>
                    <a:cubicBezTo>
                      <a:pt x="12952" y="9449"/>
                      <a:pt x="12971" y="9438"/>
                      <a:pt x="12997" y="9438"/>
                    </a:cubicBezTo>
                    <a:close/>
                    <a:moveTo>
                      <a:pt x="4484" y="10434"/>
                    </a:moveTo>
                    <a:lnTo>
                      <a:pt x="4484" y="10434"/>
                    </a:lnTo>
                    <a:cubicBezTo>
                      <a:pt x="4636" y="10602"/>
                      <a:pt x="4825" y="10775"/>
                      <a:pt x="5030" y="10931"/>
                    </a:cubicBezTo>
                    <a:cubicBezTo>
                      <a:pt x="5203" y="11050"/>
                      <a:pt x="5375" y="11152"/>
                      <a:pt x="5560" y="11239"/>
                    </a:cubicBezTo>
                    <a:cubicBezTo>
                      <a:pt x="5441" y="11218"/>
                      <a:pt x="5338" y="11202"/>
                      <a:pt x="5236" y="11169"/>
                    </a:cubicBezTo>
                    <a:cubicBezTo>
                      <a:pt x="5133" y="11136"/>
                      <a:pt x="5047" y="11083"/>
                      <a:pt x="4965" y="11033"/>
                    </a:cubicBezTo>
                    <a:cubicBezTo>
                      <a:pt x="4879" y="10980"/>
                      <a:pt x="4792" y="10910"/>
                      <a:pt x="4722" y="10844"/>
                    </a:cubicBezTo>
                    <a:cubicBezTo>
                      <a:pt x="4603" y="10725"/>
                      <a:pt x="4534" y="10586"/>
                      <a:pt x="4484" y="10434"/>
                    </a:cubicBezTo>
                    <a:close/>
                    <a:moveTo>
                      <a:pt x="9239" y="10483"/>
                    </a:moveTo>
                    <a:lnTo>
                      <a:pt x="9239" y="10483"/>
                    </a:lnTo>
                    <a:cubicBezTo>
                      <a:pt x="9223" y="10623"/>
                      <a:pt x="9206" y="10758"/>
                      <a:pt x="9206" y="10894"/>
                    </a:cubicBezTo>
                    <a:cubicBezTo>
                      <a:pt x="9153" y="10947"/>
                      <a:pt x="9087" y="10980"/>
                      <a:pt x="9018" y="11033"/>
                    </a:cubicBezTo>
                    <a:cubicBezTo>
                      <a:pt x="8931" y="11083"/>
                      <a:pt x="8845" y="11136"/>
                      <a:pt x="8742" y="11169"/>
                    </a:cubicBezTo>
                    <a:cubicBezTo>
                      <a:pt x="8602" y="11210"/>
                      <a:pt x="8447" y="11243"/>
                      <a:pt x="8299" y="11243"/>
                    </a:cubicBezTo>
                    <a:cubicBezTo>
                      <a:pt x="8270" y="11243"/>
                      <a:pt x="8241" y="11241"/>
                      <a:pt x="8213" y="11239"/>
                    </a:cubicBezTo>
                    <a:cubicBezTo>
                      <a:pt x="8332" y="11185"/>
                      <a:pt x="8455" y="11115"/>
                      <a:pt x="8574" y="11050"/>
                    </a:cubicBezTo>
                    <a:cubicBezTo>
                      <a:pt x="8829" y="10894"/>
                      <a:pt x="9050" y="10705"/>
                      <a:pt x="9239" y="10483"/>
                    </a:cubicBezTo>
                    <a:close/>
                    <a:moveTo>
                      <a:pt x="12984" y="10944"/>
                    </a:moveTo>
                    <a:cubicBezTo>
                      <a:pt x="13065" y="10944"/>
                      <a:pt x="13161" y="10999"/>
                      <a:pt x="13193" y="11136"/>
                    </a:cubicBezTo>
                    <a:cubicBezTo>
                      <a:pt x="13210" y="11202"/>
                      <a:pt x="13210" y="11255"/>
                      <a:pt x="13177" y="11304"/>
                    </a:cubicBezTo>
                    <a:cubicBezTo>
                      <a:pt x="13156" y="11341"/>
                      <a:pt x="13140" y="11374"/>
                      <a:pt x="13107" y="11407"/>
                    </a:cubicBezTo>
                    <a:cubicBezTo>
                      <a:pt x="13062" y="11442"/>
                      <a:pt x="12995" y="11461"/>
                      <a:pt x="12935" y="11461"/>
                    </a:cubicBezTo>
                    <a:cubicBezTo>
                      <a:pt x="12903" y="11461"/>
                      <a:pt x="12873" y="11455"/>
                      <a:pt x="12849" y="11444"/>
                    </a:cubicBezTo>
                    <a:cubicBezTo>
                      <a:pt x="12799" y="11423"/>
                      <a:pt x="12729" y="11374"/>
                      <a:pt x="12713" y="11239"/>
                    </a:cubicBezTo>
                    <a:cubicBezTo>
                      <a:pt x="12713" y="11066"/>
                      <a:pt x="12832" y="10964"/>
                      <a:pt x="12951" y="10947"/>
                    </a:cubicBezTo>
                    <a:cubicBezTo>
                      <a:pt x="12962" y="10945"/>
                      <a:pt x="12972" y="10944"/>
                      <a:pt x="12984" y="10944"/>
                    </a:cubicBezTo>
                    <a:close/>
                    <a:moveTo>
                      <a:pt x="11124" y="10520"/>
                    </a:moveTo>
                    <a:cubicBezTo>
                      <a:pt x="11157" y="10536"/>
                      <a:pt x="11190" y="10553"/>
                      <a:pt x="11243" y="10569"/>
                    </a:cubicBezTo>
                    <a:cubicBezTo>
                      <a:pt x="11395" y="10688"/>
                      <a:pt x="11498" y="10861"/>
                      <a:pt x="11465" y="11050"/>
                    </a:cubicBezTo>
                    <a:cubicBezTo>
                      <a:pt x="11465" y="11115"/>
                      <a:pt x="11448" y="11169"/>
                      <a:pt x="11432" y="11218"/>
                    </a:cubicBezTo>
                    <a:cubicBezTo>
                      <a:pt x="11379" y="11341"/>
                      <a:pt x="11292" y="11423"/>
                      <a:pt x="11173" y="11460"/>
                    </a:cubicBezTo>
                    <a:cubicBezTo>
                      <a:pt x="11134" y="11475"/>
                      <a:pt x="11089" y="11483"/>
                      <a:pt x="11042" y="11483"/>
                    </a:cubicBezTo>
                    <a:cubicBezTo>
                      <a:pt x="10983" y="11483"/>
                      <a:pt x="10922" y="11471"/>
                      <a:pt x="10865" y="11444"/>
                    </a:cubicBezTo>
                    <a:cubicBezTo>
                      <a:pt x="10951" y="11218"/>
                      <a:pt x="11038" y="10996"/>
                      <a:pt x="11087" y="10775"/>
                    </a:cubicBezTo>
                    <a:cubicBezTo>
                      <a:pt x="11103" y="10688"/>
                      <a:pt x="11124" y="10602"/>
                      <a:pt x="11124" y="10520"/>
                    </a:cubicBezTo>
                    <a:close/>
                    <a:moveTo>
                      <a:pt x="4981" y="12778"/>
                    </a:moveTo>
                    <a:lnTo>
                      <a:pt x="4981" y="12778"/>
                    </a:lnTo>
                    <a:cubicBezTo>
                      <a:pt x="4965" y="12811"/>
                      <a:pt x="4944" y="12861"/>
                      <a:pt x="4944" y="12914"/>
                    </a:cubicBezTo>
                    <a:cubicBezTo>
                      <a:pt x="4928" y="12914"/>
                      <a:pt x="4928" y="12897"/>
                      <a:pt x="4928" y="12897"/>
                    </a:cubicBezTo>
                    <a:cubicBezTo>
                      <a:pt x="4944" y="12861"/>
                      <a:pt x="4944" y="12828"/>
                      <a:pt x="4981" y="12778"/>
                    </a:cubicBezTo>
                    <a:close/>
                    <a:moveTo>
                      <a:pt x="10468" y="12661"/>
                    </a:moveTo>
                    <a:cubicBezTo>
                      <a:pt x="10495" y="12661"/>
                      <a:pt x="10525" y="12666"/>
                      <a:pt x="10557" y="12676"/>
                    </a:cubicBezTo>
                    <a:cubicBezTo>
                      <a:pt x="10693" y="12692"/>
                      <a:pt x="10898" y="12778"/>
                      <a:pt x="10898" y="12897"/>
                    </a:cubicBezTo>
                    <a:cubicBezTo>
                      <a:pt x="10898" y="12914"/>
                      <a:pt x="10898" y="12930"/>
                      <a:pt x="10882" y="12930"/>
                    </a:cubicBezTo>
                    <a:cubicBezTo>
                      <a:pt x="10882" y="12947"/>
                      <a:pt x="10865" y="12963"/>
                      <a:pt x="10832" y="12984"/>
                    </a:cubicBezTo>
                    <a:cubicBezTo>
                      <a:pt x="10812" y="12994"/>
                      <a:pt x="10785" y="12998"/>
                      <a:pt x="10754" y="12998"/>
                    </a:cubicBezTo>
                    <a:cubicBezTo>
                      <a:pt x="10632" y="12998"/>
                      <a:pt x="10454" y="12929"/>
                      <a:pt x="10385" y="12861"/>
                    </a:cubicBezTo>
                    <a:cubicBezTo>
                      <a:pt x="10319" y="12811"/>
                      <a:pt x="10319" y="12778"/>
                      <a:pt x="10336" y="12741"/>
                    </a:cubicBezTo>
                    <a:cubicBezTo>
                      <a:pt x="10348" y="12694"/>
                      <a:pt x="10396" y="12661"/>
                      <a:pt x="10468" y="12661"/>
                    </a:cubicBezTo>
                    <a:close/>
                    <a:moveTo>
                      <a:pt x="4973" y="0"/>
                    </a:moveTo>
                    <a:cubicBezTo>
                      <a:pt x="3677" y="0"/>
                      <a:pt x="2821" y="686"/>
                      <a:pt x="2809" y="698"/>
                    </a:cubicBezTo>
                    <a:cubicBezTo>
                      <a:pt x="2788" y="698"/>
                      <a:pt x="2788" y="715"/>
                      <a:pt x="2788" y="747"/>
                    </a:cubicBezTo>
                    <a:cubicBezTo>
                      <a:pt x="2788" y="768"/>
                      <a:pt x="2891" y="2838"/>
                      <a:pt x="5067" y="3811"/>
                    </a:cubicBezTo>
                    <a:cubicBezTo>
                      <a:pt x="5289" y="3913"/>
                      <a:pt x="5494" y="4000"/>
                      <a:pt x="5700" y="4069"/>
                    </a:cubicBezTo>
                    <a:cubicBezTo>
                      <a:pt x="5921" y="4496"/>
                      <a:pt x="6197" y="4874"/>
                      <a:pt x="6537" y="5199"/>
                    </a:cubicBezTo>
                    <a:cubicBezTo>
                      <a:pt x="6229" y="5231"/>
                      <a:pt x="5921" y="5318"/>
                      <a:pt x="5614" y="5437"/>
                    </a:cubicBezTo>
                    <a:cubicBezTo>
                      <a:pt x="5568" y="5457"/>
                      <a:pt x="5540" y="5470"/>
                      <a:pt x="5520" y="5470"/>
                    </a:cubicBezTo>
                    <a:cubicBezTo>
                      <a:pt x="5489" y="5470"/>
                      <a:pt x="5480" y="5437"/>
                      <a:pt x="5457" y="5350"/>
                    </a:cubicBezTo>
                    <a:cubicBezTo>
                      <a:pt x="5392" y="5042"/>
                      <a:pt x="5289" y="4751"/>
                      <a:pt x="5084" y="4496"/>
                    </a:cubicBezTo>
                    <a:cubicBezTo>
                      <a:pt x="4884" y="4233"/>
                      <a:pt x="4636" y="4100"/>
                      <a:pt x="4344" y="4100"/>
                    </a:cubicBezTo>
                    <a:cubicBezTo>
                      <a:pt x="4258" y="4100"/>
                      <a:pt x="4167" y="4112"/>
                      <a:pt x="4074" y="4135"/>
                    </a:cubicBezTo>
                    <a:cubicBezTo>
                      <a:pt x="3680" y="4238"/>
                      <a:pt x="3355" y="4410"/>
                      <a:pt x="3080" y="4702"/>
                    </a:cubicBezTo>
                    <a:cubicBezTo>
                      <a:pt x="2875" y="4923"/>
                      <a:pt x="2686" y="5162"/>
                      <a:pt x="2517" y="5420"/>
                    </a:cubicBezTo>
                    <a:cubicBezTo>
                      <a:pt x="2344" y="5365"/>
                      <a:pt x="2165" y="5338"/>
                      <a:pt x="1989" y="5338"/>
                    </a:cubicBezTo>
                    <a:cubicBezTo>
                      <a:pt x="1399" y="5338"/>
                      <a:pt x="830" y="5640"/>
                      <a:pt x="514" y="6209"/>
                    </a:cubicBezTo>
                    <a:cubicBezTo>
                      <a:pt x="0" y="7096"/>
                      <a:pt x="308" y="8241"/>
                      <a:pt x="1216" y="8738"/>
                    </a:cubicBezTo>
                    <a:cubicBezTo>
                      <a:pt x="1319" y="8791"/>
                      <a:pt x="1421" y="8841"/>
                      <a:pt x="1524" y="8878"/>
                    </a:cubicBezTo>
                    <a:cubicBezTo>
                      <a:pt x="1577" y="8894"/>
                      <a:pt x="2004" y="8943"/>
                      <a:pt x="2021" y="8960"/>
                    </a:cubicBezTo>
                    <a:cubicBezTo>
                      <a:pt x="2107" y="9046"/>
                      <a:pt x="2021" y="9559"/>
                      <a:pt x="2021" y="9645"/>
                    </a:cubicBezTo>
                    <a:cubicBezTo>
                      <a:pt x="2021" y="10056"/>
                      <a:pt x="1934" y="10758"/>
                      <a:pt x="2193" y="11099"/>
                    </a:cubicBezTo>
                    <a:cubicBezTo>
                      <a:pt x="2294" y="11224"/>
                      <a:pt x="2449" y="11297"/>
                      <a:pt x="2607" y="11297"/>
                    </a:cubicBezTo>
                    <a:cubicBezTo>
                      <a:pt x="2687" y="11297"/>
                      <a:pt x="2767" y="11279"/>
                      <a:pt x="2842" y="11239"/>
                    </a:cubicBezTo>
                    <a:cubicBezTo>
                      <a:pt x="2912" y="11202"/>
                      <a:pt x="2961" y="11169"/>
                      <a:pt x="2994" y="11115"/>
                    </a:cubicBezTo>
                    <a:cubicBezTo>
                      <a:pt x="3064" y="11341"/>
                      <a:pt x="3166" y="11547"/>
                      <a:pt x="3285" y="11731"/>
                    </a:cubicBezTo>
                    <a:cubicBezTo>
                      <a:pt x="3474" y="12039"/>
                      <a:pt x="3696" y="12298"/>
                      <a:pt x="3971" y="12520"/>
                    </a:cubicBezTo>
                    <a:cubicBezTo>
                      <a:pt x="4246" y="12741"/>
                      <a:pt x="4554" y="12914"/>
                      <a:pt x="4879" y="13017"/>
                    </a:cubicBezTo>
                    <a:cubicBezTo>
                      <a:pt x="4889" y="13017"/>
                      <a:pt x="4893" y="13024"/>
                      <a:pt x="4899" y="13024"/>
                    </a:cubicBezTo>
                    <a:cubicBezTo>
                      <a:pt x="4902" y="13024"/>
                      <a:pt x="4906" y="13022"/>
                      <a:pt x="4911" y="13017"/>
                    </a:cubicBezTo>
                    <a:lnTo>
                      <a:pt x="4911" y="13017"/>
                    </a:lnTo>
                    <a:cubicBezTo>
                      <a:pt x="4879" y="13205"/>
                      <a:pt x="4842" y="13394"/>
                      <a:pt x="4809" y="13563"/>
                    </a:cubicBezTo>
                    <a:cubicBezTo>
                      <a:pt x="4809" y="13579"/>
                      <a:pt x="4809" y="13616"/>
                      <a:pt x="4825" y="13632"/>
                    </a:cubicBezTo>
                    <a:cubicBezTo>
                      <a:pt x="4842" y="13649"/>
                      <a:pt x="4862" y="13649"/>
                      <a:pt x="4895" y="13649"/>
                    </a:cubicBezTo>
                    <a:lnTo>
                      <a:pt x="9153" y="13649"/>
                    </a:lnTo>
                    <a:cubicBezTo>
                      <a:pt x="9174" y="13649"/>
                      <a:pt x="9190" y="13649"/>
                      <a:pt x="9206" y="13632"/>
                    </a:cubicBezTo>
                    <a:cubicBezTo>
                      <a:pt x="9223" y="13616"/>
                      <a:pt x="9239" y="13579"/>
                      <a:pt x="9223" y="13563"/>
                    </a:cubicBezTo>
                    <a:cubicBezTo>
                      <a:pt x="9206" y="13394"/>
                      <a:pt x="9174" y="13205"/>
                      <a:pt x="9120" y="13017"/>
                    </a:cubicBezTo>
                    <a:cubicBezTo>
                      <a:pt x="9445" y="12897"/>
                      <a:pt x="9753" y="12725"/>
                      <a:pt x="10011" y="12520"/>
                    </a:cubicBezTo>
                    <a:lnTo>
                      <a:pt x="10028" y="12520"/>
                    </a:lnTo>
                    <a:cubicBezTo>
                      <a:pt x="10044" y="12520"/>
                      <a:pt x="10060" y="12536"/>
                      <a:pt x="10077" y="12553"/>
                    </a:cubicBezTo>
                    <a:lnTo>
                      <a:pt x="10077" y="12741"/>
                    </a:lnTo>
                    <a:cubicBezTo>
                      <a:pt x="10077" y="12795"/>
                      <a:pt x="10077" y="12844"/>
                      <a:pt x="10114" y="12914"/>
                    </a:cubicBezTo>
                    <a:cubicBezTo>
                      <a:pt x="10163" y="12984"/>
                      <a:pt x="10249" y="13017"/>
                      <a:pt x="10336" y="13049"/>
                    </a:cubicBezTo>
                    <a:lnTo>
                      <a:pt x="10541" y="13136"/>
                    </a:lnTo>
                    <a:cubicBezTo>
                      <a:pt x="10617" y="13170"/>
                      <a:pt x="10694" y="13196"/>
                      <a:pt x="10770" y="13196"/>
                    </a:cubicBezTo>
                    <a:cubicBezTo>
                      <a:pt x="10813" y="13196"/>
                      <a:pt x="10855" y="13188"/>
                      <a:pt x="10898" y="13168"/>
                    </a:cubicBezTo>
                    <a:cubicBezTo>
                      <a:pt x="10951" y="13152"/>
                      <a:pt x="11001" y="13103"/>
                      <a:pt x="11038" y="13033"/>
                    </a:cubicBezTo>
                    <a:cubicBezTo>
                      <a:pt x="11071" y="13017"/>
                      <a:pt x="11087" y="12984"/>
                      <a:pt x="11103" y="12947"/>
                    </a:cubicBezTo>
                    <a:cubicBezTo>
                      <a:pt x="11173" y="12954"/>
                      <a:pt x="11243" y="12957"/>
                      <a:pt x="11313" y="12957"/>
                    </a:cubicBezTo>
                    <a:cubicBezTo>
                      <a:pt x="12114" y="12957"/>
                      <a:pt x="12880" y="12507"/>
                      <a:pt x="13243" y="11752"/>
                    </a:cubicBezTo>
                    <a:cubicBezTo>
                      <a:pt x="13464" y="11271"/>
                      <a:pt x="13501" y="10758"/>
                      <a:pt x="13362" y="10294"/>
                    </a:cubicBezTo>
                    <a:cubicBezTo>
                      <a:pt x="13432" y="10229"/>
                      <a:pt x="13485" y="10159"/>
                      <a:pt x="13534" y="10089"/>
                    </a:cubicBezTo>
                    <a:cubicBezTo>
                      <a:pt x="13534" y="10072"/>
                      <a:pt x="13551" y="10040"/>
                      <a:pt x="13567" y="10023"/>
                    </a:cubicBezTo>
                    <a:cubicBezTo>
                      <a:pt x="13567" y="10007"/>
                      <a:pt x="13588" y="9986"/>
                      <a:pt x="13588" y="9986"/>
                    </a:cubicBezTo>
                    <a:cubicBezTo>
                      <a:pt x="13604" y="9937"/>
                      <a:pt x="13588" y="9884"/>
                      <a:pt x="13588" y="9834"/>
                    </a:cubicBezTo>
                    <a:cubicBezTo>
                      <a:pt x="13534" y="9629"/>
                      <a:pt x="13415" y="9424"/>
                      <a:pt x="13259" y="9268"/>
                    </a:cubicBezTo>
                    <a:cubicBezTo>
                      <a:pt x="13243" y="9251"/>
                      <a:pt x="13210" y="9218"/>
                      <a:pt x="13177" y="9202"/>
                    </a:cubicBezTo>
                    <a:cubicBezTo>
                      <a:pt x="13159" y="9197"/>
                      <a:pt x="13144" y="9195"/>
                      <a:pt x="13130" y="9195"/>
                    </a:cubicBezTo>
                    <a:cubicBezTo>
                      <a:pt x="13101" y="9195"/>
                      <a:pt x="13078" y="9202"/>
                      <a:pt x="13054" y="9202"/>
                    </a:cubicBezTo>
                    <a:cubicBezTo>
                      <a:pt x="12951" y="9235"/>
                      <a:pt x="12849" y="9251"/>
                      <a:pt x="12746" y="9288"/>
                    </a:cubicBezTo>
                    <a:cubicBezTo>
                      <a:pt x="12594" y="9149"/>
                      <a:pt x="12421" y="9030"/>
                      <a:pt x="12216" y="8927"/>
                    </a:cubicBezTo>
                    <a:cubicBezTo>
                      <a:pt x="12081" y="8857"/>
                      <a:pt x="11925" y="8808"/>
                      <a:pt x="11773" y="8775"/>
                    </a:cubicBezTo>
                    <a:cubicBezTo>
                      <a:pt x="11670" y="8672"/>
                      <a:pt x="11551" y="8570"/>
                      <a:pt x="11411" y="8516"/>
                    </a:cubicBezTo>
                    <a:cubicBezTo>
                      <a:pt x="11465" y="8446"/>
                      <a:pt x="11498" y="8364"/>
                      <a:pt x="11551" y="8295"/>
                    </a:cubicBezTo>
                    <a:cubicBezTo>
                      <a:pt x="11719" y="8241"/>
                      <a:pt x="11859" y="8106"/>
                      <a:pt x="11908" y="7900"/>
                    </a:cubicBezTo>
                    <a:cubicBezTo>
                      <a:pt x="11962" y="7711"/>
                      <a:pt x="11962" y="7543"/>
                      <a:pt x="11945" y="7354"/>
                    </a:cubicBezTo>
                    <a:cubicBezTo>
                      <a:pt x="11978" y="7235"/>
                      <a:pt x="12011" y="7132"/>
                      <a:pt x="12048" y="7009"/>
                    </a:cubicBezTo>
                    <a:cubicBezTo>
                      <a:pt x="12475" y="7009"/>
                      <a:pt x="12902" y="6890"/>
                      <a:pt x="13280" y="6669"/>
                    </a:cubicBezTo>
                    <a:cubicBezTo>
                      <a:pt x="14696" y="5798"/>
                      <a:pt x="14680" y="3778"/>
                      <a:pt x="13399" y="2784"/>
                    </a:cubicBezTo>
                    <a:cubicBezTo>
                      <a:pt x="13000" y="2486"/>
                      <a:pt x="12511" y="2338"/>
                      <a:pt x="12029" y="2338"/>
                    </a:cubicBezTo>
                    <a:cubicBezTo>
                      <a:pt x="11349" y="2338"/>
                      <a:pt x="10682" y="2632"/>
                      <a:pt x="10303" y="3211"/>
                    </a:cubicBezTo>
                    <a:lnTo>
                      <a:pt x="9974" y="2989"/>
                    </a:lnTo>
                    <a:cubicBezTo>
                      <a:pt x="9974" y="2838"/>
                      <a:pt x="9925" y="2681"/>
                      <a:pt x="9806" y="2562"/>
                    </a:cubicBezTo>
                    <a:cubicBezTo>
                      <a:pt x="9789" y="2546"/>
                      <a:pt x="9769" y="2530"/>
                      <a:pt x="9753" y="2513"/>
                    </a:cubicBezTo>
                    <a:lnTo>
                      <a:pt x="11432" y="1877"/>
                    </a:lnTo>
                    <a:cubicBezTo>
                      <a:pt x="11465" y="1860"/>
                      <a:pt x="11481" y="1844"/>
                      <a:pt x="11481" y="1811"/>
                    </a:cubicBezTo>
                    <a:cubicBezTo>
                      <a:pt x="11481" y="1795"/>
                      <a:pt x="11465" y="1774"/>
                      <a:pt x="11448" y="1758"/>
                    </a:cubicBezTo>
                    <a:lnTo>
                      <a:pt x="10303" y="1092"/>
                    </a:lnTo>
                    <a:cubicBezTo>
                      <a:pt x="9666" y="721"/>
                      <a:pt x="8961" y="539"/>
                      <a:pt x="8255" y="539"/>
                    </a:cubicBezTo>
                    <a:cubicBezTo>
                      <a:pt x="7915" y="539"/>
                      <a:pt x="7574" y="581"/>
                      <a:pt x="7240" y="665"/>
                    </a:cubicBezTo>
                    <a:cubicBezTo>
                      <a:pt x="7051" y="563"/>
                      <a:pt x="6845" y="460"/>
                      <a:pt x="6624" y="374"/>
                    </a:cubicBezTo>
                    <a:cubicBezTo>
                      <a:pt x="6025" y="100"/>
                      <a:pt x="5467" y="0"/>
                      <a:pt x="4973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76200" cap="flat" cmpd="sng">
                <a:solidFill>
                  <a:schemeClr val="accent5"/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57150" dist="19050" dir="5400000" algn="bl" rotWithShape="0">
                  <a:srgbClr val="000000">
                    <a:alpha val="50000"/>
                  </a:srgbClr>
                </a:outerShdw>
              </a:effectLst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57" name="Google Shape;657;p25"/>
              <p:cNvSpPr/>
              <p:nvPr/>
            </p:nvSpPr>
            <p:spPr>
              <a:xfrm>
                <a:off x="830925" y="3279500"/>
                <a:ext cx="74050" cy="69575"/>
              </a:xfrm>
              <a:custGeom>
                <a:avLst/>
                <a:gdLst/>
                <a:ahLst/>
                <a:cxnLst/>
                <a:rect l="l" t="t" r="r" b="b"/>
                <a:pathLst>
                  <a:path w="2962" h="2783" extrusionOk="0">
                    <a:moveTo>
                      <a:pt x="1444" y="1"/>
                    </a:moveTo>
                    <a:cubicBezTo>
                      <a:pt x="1352" y="1"/>
                      <a:pt x="1258" y="9"/>
                      <a:pt x="1163" y="27"/>
                    </a:cubicBezTo>
                    <a:cubicBezTo>
                      <a:pt x="806" y="113"/>
                      <a:pt x="498" y="318"/>
                      <a:pt x="292" y="626"/>
                    </a:cubicBezTo>
                    <a:cubicBezTo>
                      <a:pt x="87" y="934"/>
                      <a:pt x="1" y="1308"/>
                      <a:pt x="87" y="1669"/>
                    </a:cubicBezTo>
                    <a:cubicBezTo>
                      <a:pt x="206" y="2335"/>
                      <a:pt x="789" y="2782"/>
                      <a:pt x="1438" y="2782"/>
                    </a:cubicBezTo>
                    <a:cubicBezTo>
                      <a:pt x="1541" y="2782"/>
                      <a:pt x="1627" y="2782"/>
                      <a:pt x="1713" y="2762"/>
                    </a:cubicBezTo>
                    <a:cubicBezTo>
                      <a:pt x="2465" y="2610"/>
                      <a:pt x="2961" y="1875"/>
                      <a:pt x="2805" y="1119"/>
                    </a:cubicBezTo>
                    <a:cubicBezTo>
                      <a:pt x="2740" y="762"/>
                      <a:pt x="2534" y="438"/>
                      <a:pt x="2210" y="232"/>
                    </a:cubicBezTo>
                    <a:cubicBezTo>
                      <a:pt x="1979" y="78"/>
                      <a:pt x="1719" y="1"/>
                      <a:pt x="144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 w="76200" cap="flat" cmpd="sng">
                <a:solidFill>
                  <a:schemeClr val="accent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658" name="Google Shape;658;p25"/>
            <p:cNvGrpSpPr/>
            <p:nvPr/>
          </p:nvGrpSpPr>
          <p:grpSpPr>
            <a:xfrm>
              <a:off x="815950" y="1738725"/>
              <a:ext cx="367425" cy="341250"/>
              <a:chOff x="815950" y="1738725"/>
              <a:chExt cx="367425" cy="341250"/>
            </a:xfrm>
          </p:grpSpPr>
          <p:sp>
            <p:nvSpPr>
              <p:cNvPr id="659" name="Google Shape;659;p25"/>
              <p:cNvSpPr/>
              <p:nvPr/>
            </p:nvSpPr>
            <p:spPr>
              <a:xfrm>
                <a:off x="815950" y="1872050"/>
                <a:ext cx="104825" cy="149125"/>
              </a:xfrm>
              <a:custGeom>
                <a:avLst/>
                <a:gdLst/>
                <a:ahLst/>
                <a:cxnLst/>
                <a:rect l="l" t="t" r="r" b="b"/>
                <a:pathLst>
                  <a:path w="4193" h="5965" extrusionOk="0">
                    <a:moveTo>
                      <a:pt x="1945" y="835"/>
                    </a:moveTo>
                    <a:cubicBezTo>
                      <a:pt x="2030" y="835"/>
                      <a:pt x="2118" y="848"/>
                      <a:pt x="2210" y="876"/>
                    </a:cubicBezTo>
                    <a:cubicBezTo>
                      <a:pt x="2686" y="1028"/>
                      <a:pt x="3133" y="1558"/>
                      <a:pt x="3014" y="2087"/>
                    </a:cubicBezTo>
                    <a:cubicBezTo>
                      <a:pt x="2901" y="2561"/>
                      <a:pt x="2535" y="2765"/>
                      <a:pt x="2151" y="2765"/>
                    </a:cubicBezTo>
                    <a:cubicBezTo>
                      <a:pt x="1550" y="2765"/>
                      <a:pt x="905" y="2266"/>
                      <a:pt x="1113" y="1525"/>
                    </a:cubicBezTo>
                    <a:cubicBezTo>
                      <a:pt x="1242" y="1116"/>
                      <a:pt x="1553" y="835"/>
                      <a:pt x="1945" y="835"/>
                    </a:cubicBezTo>
                    <a:close/>
                    <a:moveTo>
                      <a:pt x="1973" y="1"/>
                    </a:moveTo>
                    <a:cubicBezTo>
                      <a:pt x="1386" y="1"/>
                      <a:pt x="821" y="299"/>
                      <a:pt x="514" y="855"/>
                    </a:cubicBezTo>
                    <a:cubicBezTo>
                      <a:pt x="0" y="1763"/>
                      <a:pt x="308" y="2908"/>
                      <a:pt x="1216" y="3405"/>
                    </a:cubicBezTo>
                    <a:cubicBezTo>
                      <a:pt x="1319" y="3459"/>
                      <a:pt x="1421" y="3508"/>
                      <a:pt x="1524" y="3545"/>
                    </a:cubicBezTo>
                    <a:cubicBezTo>
                      <a:pt x="1577" y="3561"/>
                      <a:pt x="2004" y="3611"/>
                      <a:pt x="2021" y="3627"/>
                    </a:cubicBezTo>
                    <a:cubicBezTo>
                      <a:pt x="2107" y="3713"/>
                      <a:pt x="2021" y="4227"/>
                      <a:pt x="2021" y="4313"/>
                    </a:cubicBezTo>
                    <a:cubicBezTo>
                      <a:pt x="2021" y="4723"/>
                      <a:pt x="1934" y="5409"/>
                      <a:pt x="2193" y="5766"/>
                    </a:cubicBezTo>
                    <a:cubicBezTo>
                      <a:pt x="2294" y="5892"/>
                      <a:pt x="2449" y="5965"/>
                      <a:pt x="2607" y="5965"/>
                    </a:cubicBezTo>
                    <a:cubicBezTo>
                      <a:pt x="2687" y="5965"/>
                      <a:pt x="2767" y="5946"/>
                      <a:pt x="2842" y="5906"/>
                    </a:cubicBezTo>
                    <a:cubicBezTo>
                      <a:pt x="3096" y="5783"/>
                      <a:pt x="3096" y="5577"/>
                      <a:pt x="3080" y="5323"/>
                    </a:cubicBezTo>
                    <a:cubicBezTo>
                      <a:pt x="3064" y="4723"/>
                      <a:pt x="2875" y="4124"/>
                      <a:pt x="2620" y="3578"/>
                    </a:cubicBezTo>
                    <a:cubicBezTo>
                      <a:pt x="4193" y="3200"/>
                      <a:pt x="4160" y="1098"/>
                      <a:pt x="2945" y="293"/>
                    </a:cubicBezTo>
                    <a:cubicBezTo>
                      <a:pt x="2642" y="96"/>
                      <a:pt x="2304" y="1"/>
                      <a:pt x="1973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60" name="Google Shape;660;p25"/>
              <p:cNvSpPr/>
              <p:nvPr/>
            </p:nvSpPr>
            <p:spPr>
              <a:xfrm>
                <a:off x="1058300" y="1797050"/>
                <a:ext cx="125075" cy="116975"/>
              </a:xfrm>
              <a:custGeom>
                <a:avLst/>
                <a:gdLst/>
                <a:ahLst/>
                <a:cxnLst/>
                <a:rect l="l" t="t" r="r" b="b"/>
                <a:pathLst>
                  <a:path w="5003" h="4679" extrusionOk="0">
                    <a:moveTo>
                      <a:pt x="2333" y="1"/>
                    </a:moveTo>
                    <a:cubicBezTo>
                      <a:pt x="1523" y="1"/>
                      <a:pt x="731" y="421"/>
                      <a:pt x="420" y="1256"/>
                    </a:cubicBezTo>
                    <a:cubicBezTo>
                      <a:pt x="0" y="2332"/>
                      <a:pt x="849" y="3745"/>
                      <a:pt x="1981" y="3745"/>
                    </a:cubicBezTo>
                    <a:cubicBezTo>
                      <a:pt x="2145" y="3745"/>
                      <a:pt x="2316" y="3715"/>
                      <a:pt x="2489" y="3650"/>
                    </a:cubicBezTo>
                    <a:cubicBezTo>
                      <a:pt x="3824" y="3174"/>
                      <a:pt x="3873" y="1429"/>
                      <a:pt x="2539" y="1223"/>
                    </a:cubicBezTo>
                    <a:cubicBezTo>
                      <a:pt x="2494" y="1217"/>
                      <a:pt x="2450" y="1213"/>
                      <a:pt x="2404" y="1213"/>
                    </a:cubicBezTo>
                    <a:cubicBezTo>
                      <a:pt x="1871" y="1213"/>
                      <a:pt x="1289" y="1666"/>
                      <a:pt x="1463" y="2234"/>
                    </a:cubicBezTo>
                    <a:cubicBezTo>
                      <a:pt x="1487" y="2357"/>
                      <a:pt x="1713" y="2674"/>
                      <a:pt x="1880" y="2674"/>
                    </a:cubicBezTo>
                    <a:cubicBezTo>
                      <a:pt x="1941" y="2674"/>
                      <a:pt x="1993" y="2631"/>
                      <a:pt x="2025" y="2521"/>
                    </a:cubicBezTo>
                    <a:cubicBezTo>
                      <a:pt x="2079" y="2336"/>
                      <a:pt x="1804" y="2234"/>
                      <a:pt x="1841" y="2028"/>
                    </a:cubicBezTo>
                    <a:cubicBezTo>
                      <a:pt x="1872" y="1776"/>
                      <a:pt x="2038" y="1672"/>
                      <a:pt x="2231" y="1672"/>
                    </a:cubicBezTo>
                    <a:cubicBezTo>
                      <a:pt x="2538" y="1672"/>
                      <a:pt x="2913" y="1932"/>
                      <a:pt x="2933" y="2266"/>
                    </a:cubicBezTo>
                    <a:cubicBezTo>
                      <a:pt x="2970" y="2661"/>
                      <a:pt x="2695" y="3001"/>
                      <a:pt x="2333" y="3137"/>
                    </a:cubicBezTo>
                    <a:cubicBezTo>
                      <a:pt x="2231" y="3174"/>
                      <a:pt x="2131" y="3191"/>
                      <a:pt x="2033" y="3191"/>
                    </a:cubicBezTo>
                    <a:cubicBezTo>
                      <a:pt x="1542" y="3191"/>
                      <a:pt x="1126" y="2756"/>
                      <a:pt x="982" y="2283"/>
                    </a:cubicBezTo>
                    <a:cubicBezTo>
                      <a:pt x="814" y="1720"/>
                      <a:pt x="1019" y="1170"/>
                      <a:pt x="1533" y="862"/>
                    </a:cubicBezTo>
                    <a:cubicBezTo>
                      <a:pt x="1787" y="703"/>
                      <a:pt x="2054" y="633"/>
                      <a:pt x="2315" y="633"/>
                    </a:cubicBezTo>
                    <a:cubicBezTo>
                      <a:pt x="3316" y="633"/>
                      <a:pt x="4228" y="1672"/>
                      <a:pt x="4013" y="2747"/>
                    </a:cubicBezTo>
                    <a:cubicBezTo>
                      <a:pt x="3834" y="3649"/>
                      <a:pt x="3024" y="4146"/>
                      <a:pt x="2204" y="4146"/>
                    </a:cubicBezTo>
                    <a:cubicBezTo>
                      <a:pt x="1686" y="4146"/>
                      <a:pt x="1165" y="3948"/>
                      <a:pt x="793" y="3531"/>
                    </a:cubicBezTo>
                    <a:cubicBezTo>
                      <a:pt x="757" y="3486"/>
                      <a:pt x="707" y="3464"/>
                      <a:pt x="655" y="3464"/>
                    </a:cubicBezTo>
                    <a:cubicBezTo>
                      <a:pt x="591" y="3464"/>
                      <a:pt x="525" y="3499"/>
                      <a:pt x="486" y="3568"/>
                    </a:cubicBezTo>
                    <a:cubicBezTo>
                      <a:pt x="420" y="3687"/>
                      <a:pt x="555" y="3806"/>
                      <a:pt x="609" y="3892"/>
                    </a:cubicBezTo>
                    <a:cubicBezTo>
                      <a:pt x="847" y="4217"/>
                      <a:pt x="1241" y="4439"/>
                      <a:pt x="1615" y="4574"/>
                    </a:cubicBezTo>
                    <a:cubicBezTo>
                      <a:pt x="1839" y="4645"/>
                      <a:pt x="2073" y="4679"/>
                      <a:pt x="2307" y="4679"/>
                    </a:cubicBezTo>
                    <a:cubicBezTo>
                      <a:pt x="2755" y="4679"/>
                      <a:pt x="3203" y="4554"/>
                      <a:pt x="3586" y="4319"/>
                    </a:cubicBezTo>
                    <a:cubicBezTo>
                      <a:pt x="5002" y="3465"/>
                      <a:pt x="4986" y="1429"/>
                      <a:pt x="3705" y="451"/>
                    </a:cubicBezTo>
                    <a:cubicBezTo>
                      <a:pt x="3307" y="151"/>
                      <a:pt x="2817" y="1"/>
                      <a:pt x="2333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61" name="Google Shape;661;p25"/>
              <p:cNvSpPr/>
              <p:nvPr/>
            </p:nvSpPr>
            <p:spPr>
              <a:xfrm>
                <a:off x="1040550" y="1950250"/>
                <a:ext cx="115525" cy="118400"/>
              </a:xfrm>
              <a:custGeom>
                <a:avLst/>
                <a:gdLst/>
                <a:ahLst/>
                <a:cxnLst/>
                <a:rect l="l" t="t" r="r" b="b"/>
                <a:pathLst>
                  <a:path w="4621" h="4736" extrusionOk="0">
                    <a:moveTo>
                      <a:pt x="1391" y="295"/>
                    </a:moveTo>
                    <a:cubicBezTo>
                      <a:pt x="1420" y="295"/>
                      <a:pt x="1447" y="301"/>
                      <a:pt x="1471" y="314"/>
                    </a:cubicBezTo>
                    <a:cubicBezTo>
                      <a:pt x="1503" y="331"/>
                      <a:pt x="1524" y="364"/>
                      <a:pt x="1524" y="417"/>
                    </a:cubicBezTo>
                    <a:cubicBezTo>
                      <a:pt x="1524" y="433"/>
                      <a:pt x="1503" y="450"/>
                      <a:pt x="1503" y="466"/>
                    </a:cubicBezTo>
                    <a:cubicBezTo>
                      <a:pt x="1438" y="602"/>
                      <a:pt x="1216" y="791"/>
                      <a:pt x="1060" y="844"/>
                    </a:cubicBezTo>
                    <a:cubicBezTo>
                      <a:pt x="1017" y="860"/>
                      <a:pt x="983" y="869"/>
                      <a:pt x="953" y="869"/>
                    </a:cubicBezTo>
                    <a:cubicBezTo>
                      <a:pt x="924" y="869"/>
                      <a:pt x="898" y="860"/>
                      <a:pt x="871" y="844"/>
                    </a:cubicBezTo>
                    <a:cubicBezTo>
                      <a:pt x="838" y="807"/>
                      <a:pt x="805" y="741"/>
                      <a:pt x="908" y="622"/>
                    </a:cubicBezTo>
                    <a:cubicBezTo>
                      <a:pt x="995" y="476"/>
                      <a:pt x="1229" y="295"/>
                      <a:pt x="1391" y="295"/>
                    </a:cubicBezTo>
                    <a:close/>
                    <a:moveTo>
                      <a:pt x="4013" y="969"/>
                    </a:moveTo>
                    <a:cubicBezTo>
                      <a:pt x="4044" y="969"/>
                      <a:pt x="4084" y="986"/>
                      <a:pt x="4140" y="1033"/>
                    </a:cubicBezTo>
                    <a:cubicBezTo>
                      <a:pt x="4242" y="1136"/>
                      <a:pt x="4378" y="1374"/>
                      <a:pt x="4329" y="1493"/>
                    </a:cubicBezTo>
                    <a:cubicBezTo>
                      <a:pt x="4329" y="1509"/>
                      <a:pt x="4329" y="1509"/>
                      <a:pt x="4312" y="1526"/>
                    </a:cubicBezTo>
                    <a:cubicBezTo>
                      <a:pt x="4296" y="1546"/>
                      <a:pt x="4259" y="1563"/>
                      <a:pt x="4226" y="1563"/>
                    </a:cubicBezTo>
                    <a:cubicBezTo>
                      <a:pt x="4107" y="1526"/>
                      <a:pt x="3967" y="1287"/>
                      <a:pt x="3918" y="1152"/>
                    </a:cubicBezTo>
                    <a:cubicBezTo>
                      <a:pt x="3901" y="1082"/>
                      <a:pt x="3918" y="1033"/>
                      <a:pt x="3951" y="996"/>
                    </a:cubicBezTo>
                    <a:cubicBezTo>
                      <a:pt x="3968" y="981"/>
                      <a:pt x="3987" y="969"/>
                      <a:pt x="4013" y="969"/>
                    </a:cubicBezTo>
                    <a:close/>
                    <a:moveTo>
                      <a:pt x="1910" y="1224"/>
                    </a:moveTo>
                    <a:cubicBezTo>
                      <a:pt x="1966" y="1224"/>
                      <a:pt x="2030" y="1242"/>
                      <a:pt x="2103" y="1287"/>
                    </a:cubicBezTo>
                    <a:cubicBezTo>
                      <a:pt x="2206" y="1357"/>
                      <a:pt x="2275" y="1476"/>
                      <a:pt x="2259" y="1595"/>
                    </a:cubicBezTo>
                    <a:cubicBezTo>
                      <a:pt x="2259" y="1628"/>
                      <a:pt x="2243" y="1682"/>
                      <a:pt x="2222" y="1714"/>
                    </a:cubicBezTo>
                    <a:cubicBezTo>
                      <a:pt x="2189" y="1784"/>
                      <a:pt x="2140" y="1834"/>
                      <a:pt x="2070" y="1871"/>
                    </a:cubicBezTo>
                    <a:cubicBezTo>
                      <a:pt x="2043" y="1879"/>
                      <a:pt x="2014" y="1887"/>
                      <a:pt x="1980" y="1887"/>
                    </a:cubicBezTo>
                    <a:cubicBezTo>
                      <a:pt x="1946" y="1887"/>
                      <a:pt x="1908" y="1879"/>
                      <a:pt x="1865" y="1854"/>
                    </a:cubicBezTo>
                    <a:cubicBezTo>
                      <a:pt x="1832" y="1854"/>
                      <a:pt x="1795" y="1817"/>
                      <a:pt x="1762" y="1801"/>
                    </a:cubicBezTo>
                    <a:cubicBezTo>
                      <a:pt x="1606" y="1665"/>
                      <a:pt x="1627" y="1460"/>
                      <a:pt x="1709" y="1320"/>
                    </a:cubicBezTo>
                    <a:cubicBezTo>
                      <a:pt x="1752" y="1270"/>
                      <a:pt x="1820" y="1224"/>
                      <a:pt x="1910" y="1224"/>
                    </a:cubicBezTo>
                    <a:close/>
                    <a:moveTo>
                      <a:pt x="4000" y="2483"/>
                    </a:moveTo>
                    <a:cubicBezTo>
                      <a:pt x="4081" y="2483"/>
                      <a:pt x="4177" y="2538"/>
                      <a:pt x="4209" y="2675"/>
                    </a:cubicBezTo>
                    <a:cubicBezTo>
                      <a:pt x="4226" y="2741"/>
                      <a:pt x="4226" y="2794"/>
                      <a:pt x="4193" y="2844"/>
                    </a:cubicBezTo>
                    <a:cubicBezTo>
                      <a:pt x="4172" y="2881"/>
                      <a:pt x="4156" y="2913"/>
                      <a:pt x="4123" y="2946"/>
                    </a:cubicBezTo>
                    <a:cubicBezTo>
                      <a:pt x="4078" y="2981"/>
                      <a:pt x="4011" y="3000"/>
                      <a:pt x="3951" y="3000"/>
                    </a:cubicBezTo>
                    <a:cubicBezTo>
                      <a:pt x="3919" y="3000"/>
                      <a:pt x="3889" y="2995"/>
                      <a:pt x="3865" y="2983"/>
                    </a:cubicBezTo>
                    <a:cubicBezTo>
                      <a:pt x="3815" y="2963"/>
                      <a:pt x="3745" y="2913"/>
                      <a:pt x="3729" y="2778"/>
                    </a:cubicBezTo>
                    <a:cubicBezTo>
                      <a:pt x="3729" y="2605"/>
                      <a:pt x="3848" y="2503"/>
                      <a:pt x="3967" y="2486"/>
                    </a:cubicBezTo>
                    <a:cubicBezTo>
                      <a:pt x="3978" y="2484"/>
                      <a:pt x="3988" y="2483"/>
                      <a:pt x="4000" y="2483"/>
                    </a:cubicBezTo>
                    <a:close/>
                    <a:moveTo>
                      <a:pt x="1976" y="2018"/>
                    </a:moveTo>
                    <a:cubicBezTo>
                      <a:pt x="2061" y="2018"/>
                      <a:pt x="2156" y="2044"/>
                      <a:pt x="2259" y="2109"/>
                    </a:cubicBezTo>
                    <a:cubicBezTo>
                      <a:pt x="2411" y="2211"/>
                      <a:pt x="2514" y="2400"/>
                      <a:pt x="2481" y="2589"/>
                    </a:cubicBezTo>
                    <a:cubicBezTo>
                      <a:pt x="2481" y="2638"/>
                      <a:pt x="2464" y="2708"/>
                      <a:pt x="2448" y="2757"/>
                    </a:cubicBezTo>
                    <a:cubicBezTo>
                      <a:pt x="2395" y="2860"/>
                      <a:pt x="2308" y="2963"/>
                      <a:pt x="2189" y="3000"/>
                    </a:cubicBezTo>
                    <a:cubicBezTo>
                      <a:pt x="2150" y="3014"/>
                      <a:pt x="2105" y="3023"/>
                      <a:pt x="2058" y="3023"/>
                    </a:cubicBezTo>
                    <a:cubicBezTo>
                      <a:pt x="1999" y="3023"/>
                      <a:pt x="1938" y="3010"/>
                      <a:pt x="1881" y="2983"/>
                    </a:cubicBezTo>
                    <a:cubicBezTo>
                      <a:pt x="1848" y="2963"/>
                      <a:pt x="1795" y="2930"/>
                      <a:pt x="1746" y="2897"/>
                    </a:cubicBezTo>
                    <a:cubicBezTo>
                      <a:pt x="1503" y="2675"/>
                      <a:pt x="1524" y="2367"/>
                      <a:pt x="1660" y="2178"/>
                    </a:cubicBezTo>
                    <a:cubicBezTo>
                      <a:pt x="1724" y="2091"/>
                      <a:pt x="1835" y="2018"/>
                      <a:pt x="1976" y="2018"/>
                    </a:cubicBezTo>
                    <a:close/>
                    <a:moveTo>
                      <a:pt x="1519" y="4191"/>
                    </a:moveTo>
                    <a:cubicBezTo>
                      <a:pt x="1536" y="4191"/>
                      <a:pt x="1554" y="4192"/>
                      <a:pt x="1573" y="4195"/>
                    </a:cubicBezTo>
                    <a:cubicBezTo>
                      <a:pt x="1709" y="4232"/>
                      <a:pt x="1914" y="4318"/>
                      <a:pt x="1914" y="4437"/>
                    </a:cubicBezTo>
                    <a:cubicBezTo>
                      <a:pt x="1914" y="4453"/>
                      <a:pt x="1914" y="4453"/>
                      <a:pt x="1898" y="4470"/>
                    </a:cubicBezTo>
                    <a:cubicBezTo>
                      <a:pt x="1898" y="4486"/>
                      <a:pt x="1881" y="4503"/>
                      <a:pt x="1848" y="4523"/>
                    </a:cubicBezTo>
                    <a:cubicBezTo>
                      <a:pt x="1828" y="4533"/>
                      <a:pt x="1801" y="4537"/>
                      <a:pt x="1770" y="4537"/>
                    </a:cubicBezTo>
                    <a:cubicBezTo>
                      <a:pt x="1648" y="4537"/>
                      <a:pt x="1470" y="4469"/>
                      <a:pt x="1401" y="4400"/>
                    </a:cubicBezTo>
                    <a:cubicBezTo>
                      <a:pt x="1335" y="4351"/>
                      <a:pt x="1335" y="4297"/>
                      <a:pt x="1352" y="4281"/>
                    </a:cubicBezTo>
                    <a:cubicBezTo>
                      <a:pt x="1365" y="4226"/>
                      <a:pt x="1428" y="4191"/>
                      <a:pt x="1519" y="4191"/>
                    </a:cubicBezTo>
                    <a:close/>
                    <a:moveTo>
                      <a:pt x="1325" y="1"/>
                    </a:moveTo>
                    <a:cubicBezTo>
                      <a:pt x="1305" y="1"/>
                      <a:pt x="1285" y="2"/>
                      <a:pt x="1265" y="6"/>
                    </a:cubicBezTo>
                    <a:cubicBezTo>
                      <a:pt x="1232" y="23"/>
                      <a:pt x="1196" y="39"/>
                      <a:pt x="1163" y="72"/>
                    </a:cubicBezTo>
                    <a:cubicBezTo>
                      <a:pt x="1011" y="175"/>
                      <a:pt x="855" y="277"/>
                      <a:pt x="719" y="396"/>
                    </a:cubicBezTo>
                    <a:cubicBezTo>
                      <a:pt x="682" y="450"/>
                      <a:pt x="633" y="483"/>
                      <a:pt x="600" y="536"/>
                    </a:cubicBezTo>
                    <a:cubicBezTo>
                      <a:pt x="547" y="655"/>
                      <a:pt x="580" y="774"/>
                      <a:pt x="600" y="877"/>
                    </a:cubicBezTo>
                    <a:lnTo>
                      <a:pt x="666" y="1099"/>
                    </a:lnTo>
                    <a:cubicBezTo>
                      <a:pt x="563" y="1218"/>
                      <a:pt x="497" y="1357"/>
                      <a:pt x="428" y="1493"/>
                    </a:cubicBezTo>
                    <a:cubicBezTo>
                      <a:pt x="1" y="2417"/>
                      <a:pt x="292" y="3513"/>
                      <a:pt x="1093" y="4092"/>
                    </a:cubicBezTo>
                    <a:lnTo>
                      <a:pt x="1093" y="4281"/>
                    </a:lnTo>
                    <a:cubicBezTo>
                      <a:pt x="1093" y="4318"/>
                      <a:pt x="1093" y="4383"/>
                      <a:pt x="1130" y="4437"/>
                    </a:cubicBezTo>
                    <a:cubicBezTo>
                      <a:pt x="1179" y="4523"/>
                      <a:pt x="1265" y="4556"/>
                      <a:pt x="1352" y="4589"/>
                    </a:cubicBezTo>
                    <a:lnTo>
                      <a:pt x="1557" y="4675"/>
                    </a:lnTo>
                    <a:cubicBezTo>
                      <a:pt x="1633" y="4709"/>
                      <a:pt x="1710" y="4735"/>
                      <a:pt x="1786" y="4735"/>
                    </a:cubicBezTo>
                    <a:cubicBezTo>
                      <a:pt x="1829" y="4735"/>
                      <a:pt x="1871" y="4727"/>
                      <a:pt x="1914" y="4708"/>
                    </a:cubicBezTo>
                    <a:cubicBezTo>
                      <a:pt x="1967" y="4675"/>
                      <a:pt x="2017" y="4626"/>
                      <a:pt x="2054" y="4572"/>
                    </a:cubicBezTo>
                    <a:cubicBezTo>
                      <a:pt x="2087" y="4556"/>
                      <a:pt x="2103" y="4523"/>
                      <a:pt x="2119" y="4486"/>
                    </a:cubicBezTo>
                    <a:cubicBezTo>
                      <a:pt x="2189" y="4493"/>
                      <a:pt x="2259" y="4496"/>
                      <a:pt x="2329" y="4496"/>
                    </a:cubicBezTo>
                    <a:cubicBezTo>
                      <a:pt x="3130" y="4496"/>
                      <a:pt x="3896" y="4045"/>
                      <a:pt x="4259" y="3271"/>
                    </a:cubicBezTo>
                    <a:cubicBezTo>
                      <a:pt x="4480" y="2811"/>
                      <a:pt x="4517" y="2298"/>
                      <a:pt x="4378" y="1834"/>
                    </a:cubicBezTo>
                    <a:cubicBezTo>
                      <a:pt x="4448" y="1768"/>
                      <a:pt x="4501" y="1698"/>
                      <a:pt x="4550" y="1628"/>
                    </a:cubicBezTo>
                    <a:cubicBezTo>
                      <a:pt x="4550" y="1595"/>
                      <a:pt x="4567" y="1579"/>
                      <a:pt x="4583" y="1563"/>
                    </a:cubicBezTo>
                    <a:cubicBezTo>
                      <a:pt x="4583" y="1546"/>
                      <a:pt x="4604" y="1526"/>
                      <a:pt x="4604" y="1509"/>
                    </a:cubicBezTo>
                    <a:cubicBezTo>
                      <a:pt x="4620" y="1476"/>
                      <a:pt x="4604" y="1423"/>
                      <a:pt x="4604" y="1374"/>
                    </a:cubicBezTo>
                    <a:cubicBezTo>
                      <a:pt x="4550" y="1168"/>
                      <a:pt x="4431" y="963"/>
                      <a:pt x="4275" y="807"/>
                    </a:cubicBezTo>
                    <a:cubicBezTo>
                      <a:pt x="4259" y="774"/>
                      <a:pt x="4226" y="758"/>
                      <a:pt x="4193" y="741"/>
                    </a:cubicBezTo>
                    <a:cubicBezTo>
                      <a:pt x="4175" y="736"/>
                      <a:pt x="4160" y="734"/>
                      <a:pt x="4146" y="734"/>
                    </a:cubicBezTo>
                    <a:cubicBezTo>
                      <a:pt x="4117" y="734"/>
                      <a:pt x="4094" y="741"/>
                      <a:pt x="4070" y="741"/>
                    </a:cubicBezTo>
                    <a:cubicBezTo>
                      <a:pt x="3967" y="774"/>
                      <a:pt x="3865" y="791"/>
                      <a:pt x="3762" y="828"/>
                    </a:cubicBezTo>
                    <a:cubicBezTo>
                      <a:pt x="3610" y="672"/>
                      <a:pt x="3437" y="552"/>
                      <a:pt x="3232" y="466"/>
                    </a:cubicBezTo>
                    <a:cubicBezTo>
                      <a:pt x="2936" y="330"/>
                      <a:pt x="2622" y="266"/>
                      <a:pt x="2315" y="266"/>
                    </a:cubicBezTo>
                    <a:cubicBezTo>
                      <a:pt x="2198" y="266"/>
                      <a:pt x="2081" y="276"/>
                      <a:pt x="1967" y="294"/>
                    </a:cubicBezTo>
                    <a:cubicBezTo>
                      <a:pt x="1832" y="228"/>
                      <a:pt x="1692" y="142"/>
                      <a:pt x="1557" y="72"/>
                    </a:cubicBezTo>
                    <a:cubicBezTo>
                      <a:pt x="1487" y="32"/>
                      <a:pt x="1407" y="1"/>
                      <a:pt x="1325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62" name="Google Shape;662;p25"/>
              <p:cNvSpPr/>
              <p:nvPr/>
            </p:nvSpPr>
            <p:spPr>
              <a:xfrm>
                <a:off x="1019100" y="1981200"/>
                <a:ext cx="77025" cy="81625"/>
              </a:xfrm>
              <a:custGeom>
                <a:avLst/>
                <a:gdLst/>
                <a:ahLst/>
                <a:cxnLst/>
                <a:rect l="l" t="t" r="r" b="b"/>
                <a:pathLst>
                  <a:path w="3081" h="3265" extrusionOk="0">
                    <a:moveTo>
                      <a:pt x="1627" y="0"/>
                    </a:moveTo>
                    <a:cubicBezTo>
                      <a:pt x="1507" y="649"/>
                      <a:pt x="1388" y="1043"/>
                      <a:pt x="1097" y="1265"/>
                    </a:cubicBezTo>
                    <a:cubicBezTo>
                      <a:pt x="857" y="1460"/>
                      <a:pt x="526" y="1612"/>
                      <a:pt x="206" y="1612"/>
                    </a:cubicBezTo>
                    <a:cubicBezTo>
                      <a:pt x="137" y="1612"/>
                      <a:pt x="68" y="1605"/>
                      <a:pt x="0" y="1589"/>
                    </a:cubicBezTo>
                    <a:lnTo>
                      <a:pt x="0" y="1589"/>
                    </a:lnTo>
                    <a:cubicBezTo>
                      <a:pt x="0" y="1589"/>
                      <a:pt x="329" y="1848"/>
                      <a:pt x="534" y="2275"/>
                    </a:cubicBezTo>
                    <a:cubicBezTo>
                      <a:pt x="756" y="2686"/>
                      <a:pt x="961" y="3265"/>
                      <a:pt x="961" y="3265"/>
                    </a:cubicBezTo>
                    <a:cubicBezTo>
                      <a:pt x="1507" y="3080"/>
                      <a:pt x="3080" y="2205"/>
                      <a:pt x="2961" y="49"/>
                    </a:cubicBezTo>
                    <a:lnTo>
                      <a:pt x="1627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63" name="Google Shape;663;p25"/>
              <p:cNvSpPr/>
              <p:nvPr/>
            </p:nvSpPr>
            <p:spPr>
              <a:xfrm>
                <a:off x="1017450" y="1979450"/>
                <a:ext cx="44075" cy="43825"/>
              </a:xfrm>
              <a:custGeom>
                <a:avLst/>
                <a:gdLst/>
                <a:ahLst/>
                <a:cxnLst/>
                <a:rect l="l" t="t" r="r" b="b"/>
                <a:pathLst>
                  <a:path w="1763" h="1753" extrusionOk="0">
                    <a:moveTo>
                      <a:pt x="1693" y="0"/>
                    </a:moveTo>
                    <a:cubicBezTo>
                      <a:pt x="1660" y="0"/>
                      <a:pt x="1643" y="17"/>
                      <a:pt x="1627" y="50"/>
                    </a:cubicBezTo>
                    <a:cubicBezTo>
                      <a:pt x="1590" y="275"/>
                      <a:pt x="1541" y="481"/>
                      <a:pt x="1487" y="686"/>
                    </a:cubicBezTo>
                    <a:cubicBezTo>
                      <a:pt x="1421" y="871"/>
                      <a:pt x="1352" y="1076"/>
                      <a:pt x="1196" y="1216"/>
                    </a:cubicBezTo>
                    <a:cubicBezTo>
                      <a:pt x="1130" y="1281"/>
                      <a:pt x="1044" y="1335"/>
                      <a:pt x="958" y="1405"/>
                    </a:cubicBezTo>
                    <a:cubicBezTo>
                      <a:pt x="871" y="1454"/>
                      <a:pt x="785" y="1487"/>
                      <a:pt x="682" y="1540"/>
                    </a:cubicBezTo>
                    <a:cubicBezTo>
                      <a:pt x="561" y="1586"/>
                      <a:pt x="431" y="1616"/>
                      <a:pt x="298" y="1616"/>
                    </a:cubicBezTo>
                    <a:cubicBezTo>
                      <a:pt x="228" y="1616"/>
                      <a:pt x="157" y="1608"/>
                      <a:pt x="87" y="1589"/>
                    </a:cubicBezTo>
                    <a:cubicBezTo>
                      <a:pt x="50" y="1589"/>
                      <a:pt x="17" y="1610"/>
                      <a:pt x="17" y="1643"/>
                    </a:cubicBezTo>
                    <a:cubicBezTo>
                      <a:pt x="1" y="1676"/>
                      <a:pt x="34" y="1713"/>
                      <a:pt x="66" y="1729"/>
                    </a:cubicBezTo>
                    <a:cubicBezTo>
                      <a:pt x="138" y="1745"/>
                      <a:pt x="211" y="1752"/>
                      <a:pt x="284" y="1752"/>
                    </a:cubicBezTo>
                    <a:cubicBezTo>
                      <a:pt x="440" y="1752"/>
                      <a:pt x="596" y="1718"/>
                      <a:pt x="736" y="1659"/>
                    </a:cubicBezTo>
                    <a:cubicBezTo>
                      <a:pt x="838" y="1626"/>
                      <a:pt x="941" y="1573"/>
                      <a:pt x="1044" y="1524"/>
                    </a:cubicBezTo>
                    <a:cubicBezTo>
                      <a:pt x="1130" y="1454"/>
                      <a:pt x="1233" y="1405"/>
                      <a:pt x="1298" y="1318"/>
                    </a:cubicBezTo>
                    <a:cubicBezTo>
                      <a:pt x="1385" y="1232"/>
                      <a:pt x="1454" y="1130"/>
                      <a:pt x="1504" y="1027"/>
                    </a:cubicBezTo>
                    <a:cubicBezTo>
                      <a:pt x="1557" y="924"/>
                      <a:pt x="1590" y="822"/>
                      <a:pt x="1627" y="719"/>
                    </a:cubicBezTo>
                    <a:cubicBezTo>
                      <a:pt x="1676" y="497"/>
                      <a:pt x="1709" y="292"/>
                      <a:pt x="1746" y="70"/>
                    </a:cubicBezTo>
                    <a:cubicBezTo>
                      <a:pt x="1762" y="33"/>
                      <a:pt x="1729" y="17"/>
                      <a:pt x="169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64" name="Google Shape;664;p25"/>
              <p:cNvSpPr/>
              <p:nvPr/>
            </p:nvSpPr>
            <p:spPr>
              <a:xfrm>
                <a:off x="1041375" y="1980675"/>
                <a:ext cx="53925" cy="83650"/>
              </a:xfrm>
              <a:custGeom>
                <a:avLst/>
                <a:gdLst/>
                <a:ahLst/>
                <a:cxnLst/>
                <a:rect l="l" t="t" r="r" b="b"/>
                <a:pathLst>
                  <a:path w="2157" h="3346" extrusionOk="0">
                    <a:moveTo>
                      <a:pt x="2070" y="1"/>
                    </a:moveTo>
                    <a:cubicBezTo>
                      <a:pt x="2021" y="1"/>
                      <a:pt x="2004" y="38"/>
                      <a:pt x="2004" y="70"/>
                    </a:cubicBezTo>
                    <a:cubicBezTo>
                      <a:pt x="2004" y="243"/>
                      <a:pt x="2004" y="395"/>
                      <a:pt x="1984" y="567"/>
                    </a:cubicBezTo>
                    <a:lnTo>
                      <a:pt x="1984" y="686"/>
                    </a:lnTo>
                    <a:cubicBezTo>
                      <a:pt x="1967" y="740"/>
                      <a:pt x="1967" y="773"/>
                      <a:pt x="1967" y="822"/>
                    </a:cubicBezTo>
                    <a:cubicBezTo>
                      <a:pt x="1951" y="892"/>
                      <a:pt x="1934" y="978"/>
                      <a:pt x="1918" y="1064"/>
                    </a:cubicBezTo>
                    <a:cubicBezTo>
                      <a:pt x="1848" y="1388"/>
                      <a:pt x="1713" y="1696"/>
                      <a:pt x="1540" y="1972"/>
                    </a:cubicBezTo>
                    <a:cubicBezTo>
                      <a:pt x="1368" y="2259"/>
                      <a:pt x="1146" y="2501"/>
                      <a:pt x="892" y="2723"/>
                    </a:cubicBezTo>
                    <a:cubicBezTo>
                      <a:pt x="772" y="2826"/>
                      <a:pt x="633" y="2928"/>
                      <a:pt x="481" y="2998"/>
                    </a:cubicBezTo>
                    <a:cubicBezTo>
                      <a:pt x="341" y="3080"/>
                      <a:pt x="189" y="3166"/>
                      <a:pt x="33" y="3220"/>
                    </a:cubicBezTo>
                    <a:cubicBezTo>
                      <a:pt x="17" y="3236"/>
                      <a:pt x="1" y="3269"/>
                      <a:pt x="1" y="3306"/>
                    </a:cubicBezTo>
                    <a:cubicBezTo>
                      <a:pt x="13" y="3330"/>
                      <a:pt x="36" y="3345"/>
                      <a:pt x="60" y="3345"/>
                    </a:cubicBezTo>
                    <a:cubicBezTo>
                      <a:pt x="69" y="3345"/>
                      <a:pt x="78" y="3343"/>
                      <a:pt x="87" y="3339"/>
                    </a:cubicBezTo>
                    <a:cubicBezTo>
                      <a:pt x="411" y="3236"/>
                      <a:pt x="719" y="3064"/>
                      <a:pt x="994" y="2842"/>
                    </a:cubicBezTo>
                    <a:cubicBezTo>
                      <a:pt x="1265" y="2620"/>
                      <a:pt x="1507" y="2362"/>
                      <a:pt x="1676" y="2054"/>
                    </a:cubicBezTo>
                    <a:cubicBezTo>
                      <a:pt x="1865" y="1766"/>
                      <a:pt x="2004" y="1438"/>
                      <a:pt x="2070" y="1097"/>
                    </a:cubicBezTo>
                    <a:cubicBezTo>
                      <a:pt x="2140" y="756"/>
                      <a:pt x="2156" y="395"/>
                      <a:pt x="2123" y="54"/>
                    </a:cubicBezTo>
                    <a:cubicBezTo>
                      <a:pt x="2123" y="21"/>
                      <a:pt x="2086" y="1"/>
                      <a:pt x="207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65" name="Google Shape;665;p25"/>
              <p:cNvSpPr/>
              <p:nvPr/>
            </p:nvSpPr>
            <p:spPr>
              <a:xfrm>
                <a:off x="1051675" y="2015000"/>
                <a:ext cx="20525" cy="15400"/>
              </a:xfrm>
              <a:custGeom>
                <a:avLst/>
                <a:gdLst/>
                <a:ahLst/>
                <a:cxnLst/>
                <a:rect l="l" t="t" r="r" b="b"/>
                <a:pathLst>
                  <a:path w="821" h="616" extrusionOk="0">
                    <a:moveTo>
                      <a:pt x="179" y="1"/>
                    </a:moveTo>
                    <a:cubicBezTo>
                      <a:pt x="145" y="1"/>
                      <a:pt x="118" y="10"/>
                      <a:pt x="102" y="32"/>
                    </a:cubicBezTo>
                    <a:cubicBezTo>
                      <a:pt x="1" y="149"/>
                      <a:pt x="428" y="615"/>
                      <a:pt x="493" y="615"/>
                    </a:cubicBezTo>
                    <a:cubicBezTo>
                      <a:pt x="494" y="615"/>
                      <a:pt x="495" y="615"/>
                      <a:pt x="496" y="615"/>
                    </a:cubicBezTo>
                    <a:cubicBezTo>
                      <a:pt x="668" y="529"/>
                      <a:pt x="237" y="204"/>
                      <a:pt x="258" y="151"/>
                    </a:cubicBezTo>
                    <a:cubicBezTo>
                      <a:pt x="261" y="147"/>
                      <a:pt x="266" y="145"/>
                      <a:pt x="273" y="145"/>
                    </a:cubicBezTo>
                    <a:cubicBezTo>
                      <a:pt x="348" y="145"/>
                      <a:pt x="635" y="358"/>
                      <a:pt x="668" y="373"/>
                    </a:cubicBezTo>
                    <a:cubicBezTo>
                      <a:pt x="688" y="380"/>
                      <a:pt x="706" y="383"/>
                      <a:pt x="722" y="383"/>
                    </a:cubicBezTo>
                    <a:cubicBezTo>
                      <a:pt x="791" y="383"/>
                      <a:pt x="820" y="327"/>
                      <a:pt x="751" y="270"/>
                    </a:cubicBezTo>
                    <a:cubicBezTo>
                      <a:pt x="640" y="186"/>
                      <a:pt x="334" y="1"/>
                      <a:pt x="17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66" name="Google Shape;666;p25"/>
              <p:cNvSpPr/>
              <p:nvPr/>
            </p:nvSpPr>
            <p:spPr>
              <a:xfrm>
                <a:off x="1045275" y="2038050"/>
                <a:ext cx="4650" cy="2600"/>
              </a:xfrm>
              <a:custGeom>
                <a:avLst/>
                <a:gdLst/>
                <a:ahLst/>
                <a:cxnLst/>
                <a:rect l="l" t="t" r="r" b="b"/>
                <a:pathLst>
                  <a:path w="186" h="104" extrusionOk="0">
                    <a:moveTo>
                      <a:pt x="120" y="1"/>
                    </a:moveTo>
                    <a:cubicBezTo>
                      <a:pt x="83" y="17"/>
                      <a:pt x="66" y="17"/>
                      <a:pt x="33" y="34"/>
                    </a:cubicBezTo>
                    <a:cubicBezTo>
                      <a:pt x="1" y="50"/>
                      <a:pt x="1" y="67"/>
                      <a:pt x="1" y="87"/>
                    </a:cubicBezTo>
                    <a:cubicBezTo>
                      <a:pt x="1" y="104"/>
                      <a:pt x="33" y="104"/>
                      <a:pt x="50" y="104"/>
                    </a:cubicBezTo>
                    <a:cubicBezTo>
                      <a:pt x="103" y="104"/>
                      <a:pt x="136" y="87"/>
                      <a:pt x="169" y="50"/>
                    </a:cubicBezTo>
                    <a:cubicBezTo>
                      <a:pt x="185" y="50"/>
                      <a:pt x="185" y="34"/>
                      <a:pt x="185" y="17"/>
                    </a:cubicBezTo>
                    <a:cubicBezTo>
                      <a:pt x="169" y="1"/>
                      <a:pt x="136" y="1"/>
                      <a:pt x="12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67" name="Google Shape;667;p25"/>
              <p:cNvSpPr/>
              <p:nvPr/>
            </p:nvSpPr>
            <p:spPr>
              <a:xfrm>
                <a:off x="1047325" y="2042775"/>
                <a:ext cx="5150" cy="3000"/>
              </a:xfrm>
              <a:custGeom>
                <a:avLst/>
                <a:gdLst/>
                <a:ahLst/>
                <a:cxnLst/>
                <a:rect l="l" t="t" r="r" b="b"/>
                <a:pathLst>
                  <a:path w="206" h="120" extrusionOk="0">
                    <a:moveTo>
                      <a:pt x="140" y="1"/>
                    </a:moveTo>
                    <a:cubicBezTo>
                      <a:pt x="103" y="17"/>
                      <a:pt x="70" y="34"/>
                      <a:pt x="38" y="34"/>
                    </a:cubicBezTo>
                    <a:cubicBezTo>
                      <a:pt x="21" y="50"/>
                      <a:pt x="1" y="67"/>
                      <a:pt x="1" y="83"/>
                    </a:cubicBezTo>
                    <a:cubicBezTo>
                      <a:pt x="21" y="120"/>
                      <a:pt x="38" y="120"/>
                      <a:pt x="70" y="120"/>
                    </a:cubicBezTo>
                    <a:cubicBezTo>
                      <a:pt x="103" y="120"/>
                      <a:pt x="157" y="103"/>
                      <a:pt x="173" y="50"/>
                    </a:cubicBezTo>
                    <a:cubicBezTo>
                      <a:pt x="190" y="50"/>
                      <a:pt x="206" y="34"/>
                      <a:pt x="190" y="17"/>
                    </a:cubicBezTo>
                    <a:cubicBezTo>
                      <a:pt x="173" y="1"/>
                      <a:pt x="157" y="1"/>
                      <a:pt x="14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68" name="Google Shape;668;p25"/>
              <p:cNvSpPr/>
              <p:nvPr/>
            </p:nvSpPr>
            <p:spPr>
              <a:xfrm>
                <a:off x="1066625" y="2001200"/>
                <a:ext cx="3000" cy="492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97" extrusionOk="0">
                    <a:moveTo>
                      <a:pt x="70" y="1"/>
                    </a:moveTo>
                    <a:cubicBezTo>
                      <a:pt x="50" y="1"/>
                      <a:pt x="33" y="21"/>
                      <a:pt x="33" y="54"/>
                    </a:cubicBezTo>
                    <a:cubicBezTo>
                      <a:pt x="17" y="71"/>
                      <a:pt x="17" y="104"/>
                      <a:pt x="1" y="140"/>
                    </a:cubicBezTo>
                    <a:cubicBezTo>
                      <a:pt x="1" y="173"/>
                      <a:pt x="17" y="190"/>
                      <a:pt x="33" y="190"/>
                    </a:cubicBezTo>
                    <a:cubicBezTo>
                      <a:pt x="38" y="194"/>
                      <a:pt x="43" y="196"/>
                      <a:pt x="47" y="196"/>
                    </a:cubicBezTo>
                    <a:cubicBezTo>
                      <a:pt x="61" y="196"/>
                      <a:pt x="75" y="181"/>
                      <a:pt x="87" y="157"/>
                    </a:cubicBezTo>
                    <a:cubicBezTo>
                      <a:pt x="103" y="124"/>
                      <a:pt x="120" y="87"/>
                      <a:pt x="103" y="38"/>
                    </a:cubicBezTo>
                    <a:cubicBezTo>
                      <a:pt x="87" y="21"/>
                      <a:pt x="87" y="1"/>
                      <a:pt x="7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69" name="Google Shape;669;p25"/>
              <p:cNvSpPr/>
              <p:nvPr/>
            </p:nvSpPr>
            <p:spPr>
              <a:xfrm>
                <a:off x="1070950" y="2005100"/>
                <a:ext cx="2575" cy="4875"/>
              </a:xfrm>
              <a:custGeom>
                <a:avLst/>
                <a:gdLst/>
                <a:ahLst/>
                <a:cxnLst/>
                <a:rect l="l" t="t" r="r" b="b"/>
                <a:pathLst>
                  <a:path w="103" h="195" extrusionOk="0">
                    <a:moveTo>
                      <a:pt x="49" y="1"/>
                    </a:moveTo>
                    <a:cubicBezTo>
                      <a:pt x="33" y="1"/>
                      <a:pt x="33" y="17"/>
                      <a:pt x="16" y="34"/>
                    </a:cubicBezTo>
                    <a:cubicBezTo>
                      <a:pt x="16" y="71"/>
                      <a:pt x="0" y="104"/>
                      <a:pt x="0" y="136"/>
                    </a:cubicBezTo>
                    <a:cubicBezTo>
                      <a:pt x="0" y="173"/>
                      <a:pt x="0" y="190"/>
                      <a:pt x="33" y="190"/>
                    </a:cubicBezTo>
                    <a:cubicBezTo>
                      <a:pt x="36" y="193"/>
                      <a:pt x="39" y="194"/>
                      <a:pt x="42" y="194"/>
                    </a:cubicBezTo>
                    <a:cubicBezTo>
                      <a:pt x="55" y="194"/>
                      <a:pt x="66" y="169"/>
                      <a:pt x="66" y="153"/>
                    </a:cubicBezTo>
                    <a:cubicBezTo>
                      <a:pt x="103" y="120"/>
                      <a:pt x="103" y="71"/>
                      <a:pt x="82" y="34"/>
                    </a:cubicBezTo>
                    <a:cubicBezTo>
                      <a:pt x="82" y="17"/>
                      <a:pt x="82" y="1"/>
                      <a:pt x="4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70" name="Google Shape;670;p25"/>
              <p:cNvSpPr/>
              <p:nvPr/>
            </p:nvSpPr>
            <p:spPr>
              <a:xfrm>
                <a:off x="885250" y="1981200"/>
                <a:ext cx="77000" cy="81625"/>
              </a:xfrm>
              <a:custGeom>
                <a:avLst/>
                <a:gdLst/>
                <a:ahLst/>
                <a:cxnLst/>
                <a:rect l="l" t="t" r="r" b="b"/>
                <a:pathLst>
                  <a:path w="3080" h="3265" extrusionOk="0">
                    <a:moveTo>
                      <a:pt x="1454" y="0"/>
                    </a:moveTo>
                    <a:lnTo>
                      <a:pt x="140" y="49"/>
                    </a:lnTo>
                    <a:cubicBezTo>
                      <a:pt x="0" y="2205"/>
                      <a:pt x="1577" y="3080"/>
                      <a:pt x="2139" y="3265"/>
                    </a:cubicBezTo>
                    <a:cubicBezTo>
                      <a:pt x="2139" y="3265"/>
                      <a:pt x="2328" y="2686"/>
                      <a:pt x="2550" y="2275"/>
                    </a:cubicBezTo>
                    <a:cubicBezTo>
                      <a:pt x="2772" y="1848"/>
                      <a:pt x="3080" y="1589"/>
                      <a:pt x="3080" y="1589"/>
                    </a:cubicBezTo>
                    <a:lnTo>
                      <a:pt x="3080" y="1589"/>
                    </a:lnTo>
                    <a:cubicBezTo>
                      <a:pt x="3016" y="1605"/>
                      <a:pt x="2949" y="1612"/>
                      <a:pt x="2881" y="1612"/>
                    </a:cubicBezTo>
                    <a:cubicBezTo>
                      <a:pt x="2568" y="1612"/>
                      <a:pt x="2224" y="1460"/>
                      <a:pt x="1987" y="1265"/>
                    </a:cubicBezTo>
                    <a:cubicBezTo>
                      <a:pt x="1696" y="1043"/>
                      <a:pt x="1577" y="649"/>
                      <a:pt x="1454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71" name="Google Shape;671;p25"/>
              <p:cNvSpPr/>
              <p:nvPr/>
            </p:nvSpPr>
            <p:spPr>
              <a:xfrm>
                <a:off x="920350" y="1979450"/>
                <a:ext cx="43650" cy="43825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1753" extrusionOk="0">
                    <a:moveTo>
                      <a:pt x="50" y="0"/>
                    </a:moveTo>
                    <a:cubicBezTo>
                      <a:pt x="17" y="17"/>
                      <a:pt x="0" y="33"/>
                      <a:pt x="0" y="70"/>
                    </a:cubicBezTo>
                    <a:cubicBezTo>
                      <a:pt x="33" y="292"/>
                      <a:pt x="70" y="497"/>
                      <a:pt x="136" y="719"/>
                    </a:cubicBezTo>
                    <a:cubicBezTo>
                      <a:pt x="152" y="822"/>
                      <a:pt x="206" y="924"/>
                      <a:pt x="239" y="1027"/>
                    </a:cubicBezTo>
                    <a:cubicBezTo>
                      <a:pt x="292" y="1130"/>
                      <a:pt x="358" y="1232"/>
                      <a:pt x="444" y="1318"/>
                    </a:cubicBezTo>
                    <a:cubicBezTo>
                      <a:pt x="530" y="1405"/>
                      <a:pt x="616" y="1454"/>
                      <a:pt x="719" y="1524"/>
                    </a:cubicBezTo>
                    <a:cubicBezTo>
                      <a:pt x="805" y="1573"/>
                      <a:pt x="908" y="1626"/>
                      <a:pt x="1010" y="1659"/>
                    </a:cubicBezTo>
                    <a:cubicBezTo>
                      <a:pt x="1162" y="1718"/>
                      <a:pt x="1313" y="1752"/>
                      <a:pt x="1470" y="1752"/>
                    </a:cubicBezTo>
                    <a:cubicBezTo>
                      <a:pt x="1542" y="1752"/>
                      <a:pt x="1616" y="1745"/>
                      <a:pt x="1692" y="1729"/>
                    </a:cubicBezTo>
                    <a:cubicBezTo>
                      <a:pt x="1729" y="1713"/>
                      <a:pt x="1745" y="1676"/>
                      <a:pt x="1729" y="1643"/>
                    </a:cubicBezTo>
                    <a:cubicBezTo>
                      <a:pt x="1729" y="1610"/>
                      <a:pt x="1692" y="1589"/>
                      <a:pt x="1659" y="1589"/>
                    </a:cubicBezTo>
                    <a:cubicBezTo>
                      <a:pt x="1594" y="1608"/>
                      <a:pt x="1526" y="1616"/>
                      <a:pt x="1456" y="1616"/>
                    </a:cubicBezTo>
                    <a:cubicBezTo>
                      <a:pt x="1322" y="1616"/>
                      <a:pt x="1184" y="1586"/>
                      <a:pt x="1060" y="1540"/>
                    </a:cubicBezTo>
                    <a:cubicBezTo>
                      <a:pt x="957" y="1487"/>
                      <a:pt x="871" y="1454"/>
                      <a:pt x="789" y="1405"/>
                    </a:cubicBezTo>
                    <a:cubicBezTo>
                      <a:pt x="703" y="1335"/>
                      <a:pt x="616" y="1281"/>
                      <a:pt x="546" y="1216"/>
                    </a:cubicBezTo>
                    <a:cubicBezTo>
                      <a:pt x="411" y="1076"/>
                      <a:pt x="325" y="871"/>
                      <a:pt x="255" y="686"/>
                    </a:cubicBezTo>
                    <a:cubicBezTo>
                      <a:pt x="206" y="481"/>
                      <a:pt x="152" y="275"/>
                      <a:pt x="119" y="50"/>
                    </a:cubicBezTo>
                    <a:cubicBezTo>
                      <a:pt x="119" y="17"/>
                      <a:pt x="87" y="0"/>
                      <a:pt x="5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72" name="Google Shape;672;p25"/>
              <p:cNvSpPr/>
              <p:nvPr/>
            </p:nvSpPr>
            <p:spPr>
              <a:xfrm>
                <a:off x="886575" y="1980675"/>
                <a:ext cx="53925" cy="83650"/>
              </a:xfrm>
              <a:custGeom>
                <a:avLst/>
                <a:gdLst/>
                <a:ahLst/>
                <a:cxnLst/>
                <a:rect l="l" t="t" r="r" b="b"/>
                <a:pathLst>
                  <a:path w="2157" h="3346" extrusionOk="0">
                    <a:moveTo>
                      <a:pt x="87" y="1"/>
                    </a:moveTo>
                    <a:cubicBezTo>
                      <a:pt x="50" y="1"/>
                      <a:pt x="17" y="21"/>
                      <a:pt x="17" y="54"/>
                    </a:cubicBezTo>
                    <a:cubicBezTo>
                      <a:pt x="0" y="395"/>
                      <a:pt x="0" y="756"/>
                      <a:pt x="87" y="1097"/>
                    </a:cubicBezTo>
                    <a:cubicBezTo>
                      <a:pt x="152" y="1438"/>
                      <a:pt x="271" y="1766"/>
                      <a:pt x="460" y="2054"/>
                    </a:cubicBezTo>
                    <a:cubicBezTo>
                      <a:pt x="649" y="2362"/>
                      <a:pt x="871" y="2620"/>
                      <a:pt x="1146" y="2842"/>
                    </a:cubicBezTo>
                    <a:cubicBezTo>
                      <a:pt x="1421" y="3064"/>
                      <a:pt x="1729" y="3236"/>
                      <a:pt x="2054" y="3339"/>
                    </a:cubicBezTo>
                    <a:cubicBezTo>
                      <a:pt x="2062" y="3343"/>
                      <a:pt x="2073" y="3345"/>
                      <a:pt x="2083" y="3345"/>
                    </a:cubicBezTo>
                    <a:cubicBezTo>
                      <a:pt x="2111" y="3345"/>
                      <a:pt x="2140" y="3330"/>
                      <a:pt x="2140" y="3306"/>
                    </a:cubicBezTo>
                    <a:cubicBezTo>
                      <a:pt x="2156" y="3269"/>
                      <a:pt x="2140" y="3236"/>
                      <a:pt x="2103" y="3220"/>
                    </a:cubicBezTo>
                    <a:cubicBezTo>
                      <a:pt x="1951" y="3166"/>
                      <a:pt x="1795" y="3080"/>
                      <a:pt x="1659" y="2998"/>
                    </a:cubicBezTo>
                    <a:cubicBezTo>
                      <a:pt x="1524" y="2928"/>
                      <a:pt x="1384" y="2826"/>
                      <a:pt x="1249" y="2723"/>
                    </a:cubicBezTo>
                    <a:cubicBezTo>
                      <a:pt x="990" y="2501"/>
                      <a:pt x="768" y="2259"/>
                      <a:pt x="600" y="1972"/>
                    </a:cubicBezTo>
                    <a:cubicBezTo>
                      <a:pt x="427" y="1696"/>
                      <a:pt x="308" y="1388"/>
                      <a:pt x="222" y="1064"/>
                    </a:cubicBezTo>
                    <a:cubicBezTo>
                      <a:pt x="206" y="978"/>
                      <a:pt x="189" y="892"/>
                      <a:pt x="189" y="822"/>
                    </a:cubicBezTo>
                    <a:cubicBezTo>
                      <a:pt x="169" y="773"/>
                      <a:pt x="169" y="740"/>
                      <a:pt x="169" y="686"/>
                    </a:cubicBezTo>
                    <a:cubicBezTo>
                      <a:pt x="152" y="654"/>
                      <a:pt x="152" y="600"/>
                      <a:pt x="152" y="567"/>
                    </a:cubicBezTo>
                    <a:cubicBezTo>
                      <a:pt x="136" y="395"/>
                      <a:pt x="136" y="243"/>
                      <a:pt x="136" y="70"/>
                    </a:cubicBezTo>
                    <a:cubicBezTo>
                      <a:pt x="136" y="38"/>
                      <a:pt x="120" y="1"/>
                      <a:pt x="8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73" name="Google Shape;673;p25"/>
              <p:cNvSpPr/>
              <p:nvPr/>
            </p:nvSpPr>
            <p:spPr>
              <a:xfrm>
                <a:off x="909250" y="2015000"/>
                <a:ext cx="20525" cy="15400"/>
              </a:xfrm>
              <a:custGeom>
                <a:avLst/>
                <a:gdLst/>
                <a:ahLst/>
                <a:cxnLst/>
                <a:rect l="l" t="t" r="r" b="b"/>
                <a:pathLst>
                  <a:path w="821" h="616" extrusionOk="0">
                    <a:moveTo>
                      <a:pt x="651" y="1"/>
                    </a:moveTo>
                    <a:cubicBezTo>
                      <a:pt x="487" y="1"/>
                      <a:pt x="184" y="186"/>
                      <a:pt x="83" y="270"/>
                    </a:cubicBezTo>
                    <a:cubicBezTo>
                      <a:pt x="0" y="327"/>
                      <a:pt x="41" y="383"/>
                      <a:pt x="105" y="383"/>
                    </a:cubicBezTo>
                    <a:cubicBezTo>
                      <a:pt x="120" y="383"/>
                      <a:pt x="136" y="380"/>
                      <a:pt x="153" y="373"/>
                    </a:cubicBezTo>
                    <a:cubicBezTo>
                      <a:pt x="202" y="358"/>
                      <a:pt x="476" y="145"/>
                      <a:pt x="548" y="145"/>
                    </a:cubicBezTo>
                    <a:cubicBezTo>
                      <a:pt x="555" y="145"/>
                      <a:pt x="561" y="147"/>
                      <a:pt x="563" y="151"/>
                    </a:cubicBezTo>
                    <a:cubicBezTo>
                      <a:pt x="596" y="204"/>
                      <a:pt x="153" y="529"/>
                      <a:pt x="342" y="615"/>
                    </a:cubicBezTo>
                    <a:cubicBezTo>
                      <a:pt x="342" y="615"/>
                      <a:pt x="343" y="615"/>
                      <a:pt x="344" y="615"/>
                    </a:cubicBezTo>
                    <a:cubicBezTo>
                      <a:pt x="389" y="615"/>
                      <a:pt x="821" y="149"/>
                      <a:pt x="736" y="32"/>
                    </a:cubicBezTo>
                    <a:cubicBezTo>
                      <a:pt x="717" y="10"/>
                      <a:pt x="688" y="1"/>
                      <a:pt x="651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74" name="Google Shape;674;p25"/>
              <p:cNvSpPr/>
              <p:nvPr/>
            </p:nvSpPr>
            <p:spPr>
              <a:xfrm>
                <a:off x="931425" y="2038050"/>
                <a:ext cx="5175" cy="2600"/>
              </a:xfrm>
              <a:custGeom>
                <a:avLst/>
                <a:gdLst/>
                <a:ahLst/>
                <a:cxnLst/>
                <a:rect l="l" t="t" r="r" b="b"/>
                <a:pathLst>
                  <a:path w="207" h="104" extrusionOk="0">
                    <a:moveTo>
                      <a:pt x="71" y="1"/>
                    </a:moveTo>
                    <a:cubicBezTo>
                      <a:pt x="54" y="1"/>
                      <a:pt x="38" y="1"/>
                      <a:pt x="17" y="17"/>
                    </a:cubicBezTo>
                    <a:cubicBezTo>
                      <a:pt x="1" y="34"/>
                      <a:pt x="17" y="50"/>
                      <a:pt x="17" y="50"/>
                    </a:cubicBezTo>
                    <a:cubicBezTo>
                      <a:pt x="54" y="87"/>
                      <a:pt x="87" y="104"/>
                      <a:pt x="140" y="104"/>
                    </a:cubicBezTo>
                    <a:cubicBezTo>
                      <a:pt x="157" y="104"/>
                      <a:pt x="190" y="104"/>
                      <a:pt x="190" y="87"/>
                    </a:cubicBezTo>
                    <a:cubicBezTo>
                      <a:pt x="206" y="67"/>
                      <a:pt x="190" y="50"/>
                      <a:pt x="157" y="34"/>
                    </a:cubicBezTo>
                    <a:cubicBezTo>
                      <a:pt x="140" y="17"/>
                      <a:pt x="103" y="17"/>
                      <a:pt x="71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75" name="Google Shape;675;p25"/>
              <p:cNvSpPr/>
              <p:nvPr/>
            </p:nvSpPr>
            <p:spPr>
              <a:xfrm>
                <a:off x="929275" y="2042775"/>
                <a:ext cx="4750" cy="3000"/>
              </a:xfrm>
              <a:custGeom>
                <a:avLst/>
                <a:gdLst/>
                <a:ahLst/>
                <a:cxnLst/>
                <a:rect l="l" t="t" r="r" b="b"/>
                <a:pathLst>
                  <a:path w="190" h="120" extrusionOk="0">
                    <a:moveTo>
                      <a:pt x="70" y="1"/>
                    </a:moveTo>
                    <a:cubicBezTo>
                      <a:pt x="38" y="1"/>
                      <a:pt x="21" y="1"/>
                      <a:pt x="1" y="17"/>
                    </a:cubicBezTo>
                    <a:cubicBezTo>
                      <a:pt x="1" y="34"/>
                      <a:pt x="1" y="50"/>
                      <a:pt x="21" y="50"/>
                    </a:cubicBezTo>
                    <a:cubicBezTo>
                      <a:pt x="54" y="103"/>
                      <a:pt x="87" y="120"/>
                      <a:pt x="124" y="120"/>
                    </a:cubicBezTo>
                    <a:cubicBezTo>
                      <a:pt x="157" y="120"/>
                      <a:pt x="173" y="120"/>
                      <a:pt x="189" y="83"/>
                    </a:cubicBezTo>
                    <a:cubicBezTo>
                      <a:pt x="189" y="67"/>
                      <a:pt x="173" y="50"/>
                      <a:pt x="157" y="34"/>
                    </a:cubicBezTo>
                    <a:cubicBezTo>
                      <a:pt x="124" y="34"/>
                      <a:pt x="87" y="17"/>
                      <a:pt x="7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76" name="Google Shape;676;p25"/>
              <p:cNvSpPr/>
              <p:nvPr/>
            </p:nvSpPr>
            <p:spPr>
              <a:xfrm>
                <a:off x="908325" y="2004050"/>
                <a:ext cx="3925" cy="4225"/>
              </a:xfrm>
              <a:custGeom>
                <a:avLst/>
                <a:gdLst/>
                <a:ahLst/>
                <a:cxnLst/>
                <a:rect l="l" t="t" r="r" b="b"/>
                <a:pathLst>
                  <a:path w="157" h="169" extrusionOk="0">
                    <a:moveTo>
                      <a:pt x="121" y="1"/>
                    </a:moveTo>
                    <a:cubicBezTo>
                      <a:pt x="109" y="1"/>
                      <a:pt x="98" y="10"/>
                      <a:pt x="87" y="10"/>
                    </a:cubicBezTo>
                    <a:cubicBezTo>
                      <a:pt x="54" y="26"/>
                      <a:pt x="17" y="59"/>
                      <a:pt x="1" y="92"/>
                    </a:cubicBezTo>
                    <a:cubicBezTo>
                      <a:pt x="1" y="129"/>
                      <a:pt x="1" y="146"/>
                      <a:pt x="17" y="162"/>
                    </a:cubicBezTo>
                    <a:cubicBezTo>
                      <a:pt x="23" y="167"/>
                      <a:pt x="29" y="169"/>
                      <a:pt x="34" y="169"/>
                    </a:cubicBezTo>
                    <a:cubicBezTo>
                      <a:pt x="48" y="169"/>
                      <a:pt x="59" y="157"/>
                      <a:pt x="71" y="146"/>
                    </a:cubicBezTo>
                    <a:cubicBezTo>
                      <a:pt x="87" y="129"/>
                      <a:pt x="120" y="92"/>
                      <a:pt x="141" y="59"/>
                    </a:cubicBezTo>
                    <a:cubicBezTo>
                      <a:pt x="141" y="43"/>
                      <a:pt x="157" y="26"/>
                      <a:pt x="141" y="10"/>
                    </a:cubicBezTo>
                    <a:cubicBezTo>
                      <a:pt x="134" y="3"/>
                      <a:pt x="127" y="1"/>
                      <a:pt x="121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77" name="Google Shape;677;p25"/>
              <p:cNvSpPr/>
              <p:nvPr/>
            </p:nvSpPr>
            <p:spPr>
              <a:xfrm>
                <a:off x="913475" y="2004525"/>
                <a:ext cx="4325" cy="4275"/>
              </a:xfrm>
              <a:custGeom>
                <a:avLst/>
                <a:gdLst/>
                <a:ahLst/>
                <a:cxnLst/>
                <a:rect l="l" t="t" r="r" b="b"/>
                <a:pathLst>
                  <a:path w="173" h="171" extrusionOk="0">
                    <a:moveTo>
                      <a:pt x="139" y="0"/>
                    </a:moveTo>
                    <a:cubicBezTo>
                      <a:pt x="127" y="0"/>
                      <a:pt x="114" y="7"/>
                      <a:pt x="103" y="7"/>
                    </a:cubicBezTo>
                    <a:cubicBezTo>
                      <a:pt x="70" y="24"/>
                      <a:pt x="37" y="57"/>
                      <a:pt x="17" y="110"/>
                    </a:cubicBezTo>
                    <a:cubicBezTo>
                      <a:pt x="17" y="127"/>
                      <a:pt x="0" y="159"/>
                      <a:pt x="37" y="159"/>
                    </a:cubicBezTo>
                    <a:cubicBezTo>
                      <a:pt x="44" y="166"/>
                      <a:pt x="51" y="170"/>
                      <a:pt x="58" y="170"/>
                    </a:cubicBezTo>
                    <a:cubicBezTo>
                      <a:pt x="67" y="170"/>
                      <a:pt x="77" y="162"/>
                      <a:pt x="86" y="143"/>
                    </a:cubicBezTo>
                    <a:cubicBezTo>
                      <a:pt x="103" y="127"/>
                      <a:pt x="119" y="94"/>
                      <a:pt x="156" y="73"/>
                    </a:cubicBezTo>
                    <a:cubicBezTo>
                      <a:pt x="156" y="57"/>
                      <a:pt x="173" y="24"/>
                      <a:pt x="156" y="7"/>
                    </a:cubicBezTo>
                    <a:cubicBezTo>
                      <a:pt x="151" y="2"/>
                      <a:pt x="145" y="0"/>
                      <a:pt x="13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78" name="Google Shape;678;p25"/>
              <p:cNvSpPr/>
              <p:nvPr/>
            </p:nvSpPr>
            <p:spPr>
              <a:xfrm>
                <a:off x="938300" y="2012800"/>
                <a:ext cx="106500" cy="65425"/>
              </a:xfrm>
              <a:custGeom>
                <a:avLst/>
                <a:gdLst/>
                <a:ahLst/>
                <a:cxnLst/>
                <a:rect l="l" t="t" r="r" b="b"/>
                <a:pathLst>
                  <a:path w="4260" h="2617" extrusionOk="0">
                    <a:moveTo>
                      <a:pt x="2124" y="1"/>
                    </a:moveTo>
                    <a:cubicBezTo>
                      <a:pt x="650" y="1"/>
                      <a:pt x="153" y="1438"/>
                      <a:pt x="1" y="2616"/>
                    </a:cubicBezTo>
                    <a:lnTo>
                      <a:pt x="4259" y="2616"/>
                    </a:lnTo>
                    <a:cubicBezTo>
                      <a:pt x="4091" y="1438"/>
                      <a:pt x="3594" y="1"/>
                      <a:pt x="2124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79" name="Google Shape;679;p25"/>
              <p:cNvSpPr/>
              <p:nvPr/>
            </p:nvSpPr>
            <p:spPr>
              <a:xfrm>
                <a:off x="959250" y="2041050"/>
                <a:ext cx="64600" cy="37175"/>
              </a:xfrm>
              <a:custGeom>
                <a:avLst/>
                <a:gdLst/>
                <a:ahLst/>
                <a:cxnLst/>
                <a:rect l="l" t="t" r="r" b="b"/>
                <a:pathLst>
                  <a:path w="2584" h="1487" extrusionOk="0">
                    <a:moveTo>
                      <a:pt x="1286" y="0"/>
                    </a:moveTo>
                    <a:cubicBezTo>
                      <a:pt x="497" y="0"/>
                      <a:pt x="136" y="735"/>
                      <a:pt x="1" y="1486"/>
                    </a:cubicBezTo>
                    <a:lnTo>
                      <a:pt x="2583" y="1486"/>
                    </a:lnTo>
                    <a:cubicBezTo>
                      <a:pt x="2431" y="735"/>
                      <a:pt x="2087" y="0"/>
                      <a:pt x="1286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80" name="Google Shape;680;p25"/>
              <p:cNvSpPr/>
              <p:nvPr/>
            </p:nvSpPr>
            <p:spPr>
              <a:xfrm>
                <a:off x="969925" y="2051675"/>
                <a:ext cx="32975" cy="26550"/>
              </a:xfrm>
              <a:custGeom>
                <a:avLst/>
                <a:gdLst/>
                <a:ahLst/>
                <a:cxnLst/>
                <a:rect l="l" t="t" r="r" b="b"/>
                <a:pathLst>
                  <a:path w="1319" h="1062" extrusionOk="0">
                    <a:moveTo>
                      <a:pt x="740" y="0"/>
                    </a:moveTo>
                    <a:cubicBezTo>
                      <a:pt x="597" y="0"/>
                      <a:pt x="474" y="97"/>
                      <a:pt x="378" y="207"/>
                    </a:cubicBezTo>
                    <a:cubicBezTo>
                      <a:pt x="173" y="446"/>
                      <a:pt x="38" y="737"/>
                      <a:pt x="1" y="1061"/>
                    </a:cubicBezTo>
                    <a:lnTo>
                      <a:pt x="1319" y="1061"/>
                    </a:lnTo>
                    <a:cubicBezTo>
                      <a:pt x="1302" y="790"/>
                      <a:pt x="1232" y="515"/>
                      <a:pt x="1097" y="277"/>
                    </a:cubicBezTo>
                    <a:cubicBezTo>
                      <a:pt x="1011" y="158"/>
                      <a:pt x="908" y="18"/>
                      <a:pt x="773" y="2"/>
                    </a:cubicBezTo>
                    <a:cubicBezTo>
                      <a:pt x="761" y="1"/>
                      <a:pt x="750" y="0"/>
                      <a:pt x="740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81" name="Google Shape;681;p25"/>
              <p:cNvSpPr/>
              <p:nvPr/>
            </p:nvSpPr>
            <p:spPr>
              <a:xfrm>
                <a:off x="936150" y="2010650"/>
                <a:ext cx="110800" cy="69325"/>
              </a:xfrm>
              <a:custGeom>
                <a:avLst/>
                <a:gdLst/>
                <a:ahLst/>
                <a:cxnLst/>
                <a:rect l="l" t="t" r="r" b="b"/>
                <a:pathLst>
                  <a:path w="4432" h="2773" extrusionOk="0">
                    <a:moveTo>
                      <a:pt x="2210" y="1302"/>
                    </a:moveTo>
                    <a:cubicBezTo>
                      <a:pt x="2378" y="1302"/>
                      <a:pt x="2551" y="1335"/>
                      <a:pt x="2686" y="1421"/>
                    </a:cubicBezTo>
                    <a:cubicBezTo>
                      <a:pt x="2826" y="1491"/>
                      <a:pt x="2945" y="1610"/>
                      <a:pt x="3047" y="1746"/>
                    </a:cubicBezTo>
                    <a:cubicBezTo>
                      <a:pt x="3150" y="1881"/>
                      <a:pt x="3216" y="2054"/>
                      <a:pt x="3286" y="2210"/>
                    </a:cubicBezTo>
                    <a:cubicBezTo>
                      <a:pt x="3339" y="2345"/>
                      <a:pt x="3372" y="2481"/>
                      <a:pt x="3405" y="2620"/>
                    </a:cubicBezTo>
                    <a:lnTo>
                      <a:pt x="1011" y="2620"/>
                    </a:lnTo>
                    <a:cubicBezTo>
                      <a:pt x="1044" y="2481"/>
                      <a:pt x="1097" y="2345"/>
                      <a:pt x="1146" y="2210"/>
                    </a:cubicBezTo>
                    <a:cubicBezTo>
                      <a:pt x="1200" y="2054"/>
                      <a:pt x="1286" y="1881"/>
                      <a:pt x="1368" y="1746"/>
                    </a:cubicBezTo>
                    <a:cubicBezTo>
                      <a:pt x="1471" y="1610"/>
                      <a:pt x="1594" y="1491"/>
                      <a:pt x="1746" y="1421"/>
                    </a:cubicBezTo>
                    <a:cubicBezTo>
                      <a:pt x="1881" y="1335"/>
                      <a:pt x="2054" y="1302"/>
                      <a:pt x="2210" y="1302"/>
                    </a:cubicBezTo>
                    <a:close/>
                    <a:moveTo>
                      <a:pt x="2210" y="157"/>
                    </a:moveTo>
                    <a:cubicBezTo>
                      <a:pt x="3594" y="157"/>
                      <a:pt x="4090" y="1471"/>
                      <a:pt x="4263" y="2620"/>
                    </a:cubicBezTo>
                    <a:lnTo>
                      <a:pt x="3577" y="2620"/>
                    </a:lnTo>
                    <a:cubicBezTo>
                      <a:pt x="3507" y="2292"/>
                      <a:pt x="3388" y="1951"/>
                      <a:pt x="3183" y="1659"/>
                    </a:cubicBezTo>
                    <a:cubicBezTo>
                      <a:pt x="3080" y="1491"/>
                      <a:pt x="2945" y="1352"/>
                      <a:pt x="2772" y="1265"/>
                    </a:cubicBezTo>
                    <a:cubicBezTo>
                      <a:pt x="2600" y="1163"/>
                      <a:pt x="2395" y="1113"/>
                      <a:pt x="2210" y="1113"/>
                    </a:cubicBezTo>
                    <a:cubicBezTo>
                      <a:pt x="2021" y="1113"/>
                      <a:pt x="1832" y="1163"/>
                      <a:pt x="1660" y="1265"/>
                    </a:cubicBezTo>
                    <a:cubicBezTo>
                      <a:pt x="1491" y="1352"/>
                      <a:pt x="1335" y="1491"/>
                      <a:pt x="1233" y="1659"/>
                    </a:cubicBezTo>
                    <a:cubicBezTo>
                      <a:pt x="1027" y="1951"/>
                      <a:pt x="925" y="2292"/>
                      <a:pt x="855" y="2620"/>
                    </a:cubicBezTo>
                    <a:lnTo>
                      <a:pt x="173" y="2620"/>
                    </a:lnTo>
                    <a:cubicBezTo>
                      <a:pt x="342" y="1471"/>
                      <a:pt x="838" y="157"/>
                      <a:pt x="2210" y="157"/>
                    </a:cubicBezTo>
                    <a:close/>
                    <a:moveTo>
                      <a:pt x="2210" y="1"/>
                    </a:moveTo>
                    <a:cubicBezTo>
                      <a:pt x="703" y="1"/>
                      <a:pt x="173" y="1454"/>
                      <a:pt x="1" y="2686"/>
                    </a:cubicBezTo>
                    <a:cubicBezTo>
                      <a:pt x="1" y="2702"/>
                      <a:pt x="1" y="2739"/>
                      <a:pt x="17" y="2756"/>
                    </a:cubicBezTo>
                    <a:cubicBezTo>
                      <a:pt x="34" y="2756"/>
                      <a:pt x="54" y="2772"/>
                      <a:pt x="87" y="2772"/>
                    </a:cubicBezTo>
                    <a:lnTo>
                      <a:pt x="4345" y="2772"/>
                    </a:lnTo>
                    <a:cubicBezTo>
                      <a:pt x="4366" y="2772"/>
                      <a:pt x="4382" y="2756"/>
                      <a:pt x="4398" y="2756"/>
                    </a:cubicBezTo>
                    <a:cubicBezTo>
                      <a:pt x="4415" y="2739"/>
                      <a:pt x="4431" y="2702"/>
                      <a:pt x="4415" y="2686"/>
                    </a:cubicBezTo>
                    <a:cubicBezTo>
                      <a:pt x="4242" y="1454"/>
                      <a:pt x="3729" y="1"/>
                      <a:pt x="221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82" name="Google Shape;682;p25"/>
              <p:cNvSpPr/>
              <p:nvPr/>
            </p:nvSpPr>
            <p:spPr>
              <a:xfrm>
                <a:off x="1016525" y="2039300"/>
                <a:ext cx="3925" cy="4100"/>
              </a:xfrm>
              <a:custGeom>
                <a:avLst/>
                <a:gdLst/>
                <a:ahLst/>
                <a:cxnLst/>
                <a:rect l="l" t="t" r="r" b="b"/>
                <a:pathLst>
                  <a:path w="157" h="164" extrusionOk="0">
                    <a:moveTo>
                      <a:pt x="54" y="0"/>
                    </a:moveTo>
                    <a:cubicBezTo>
                      <a:pt x="38" y="0"/>
                      <a:pt x="21" y="0"/>
                      <a:pt x="1" y="17"/>
                    </a:cubicBezTo>
                    <a:cubicBezTo>
                      <a:pt x="1" y="37"/>
                      <a:pt x="1" y="54"/>
                      <a:pt x="21" y="70"/>
                    </a:cubicBezTo>
                    <a:lnTo>
                      <a:pt x="87" y="140"/>
                    </a:lnTo>
                    <a:cubicBezTo>
                      <a:pt x="99" y="151"/>
                      <a:pt x="112" y="163"/>
                      <a:pt x="125" y="163"/>
                    </a:cubicBezTo>
                    <a:cubicBezTo>
                      <a:pt x="130" y="163"/>
                      <a:pt x="136" y="161"/>
                      <a:pt x="140" y="156"/>
                    </a:cubicBezTo>
                    <a:cubicBezTo>
                      <a:pt x="157" y="140"/>
                      <a:pt x="157" y="119"/>
                      <a:pt x="140" y="86"/>
                    </a:cubicBezTo>
                    <a:cubicBezTo>
                      <a:pt x="124" y="54"/>
                      <a:pt x="103" y="17"/>
                      <a:pt x="5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83" name="Google Shape;683;p25"/>
              <p:cNvSpPr/>
              <p:nvPr/>
            </p:nvSpPr>
            <p:spPr>
              <a:xfrm>
                <a:off x="1019100" y="2035500"/>
                <a:ext cx="4325" cy="4000"/>
              </a:xfrm>
              <a:custGeom>
                <a:avLst/>
                <a:gdLst/>
                <a:ahLst/>
                <a:cxnLst/>
                <a:rect l="l" t="t" r="r" b="b"/>
                <a:pathLst>
                  <a:path w="173" h="160" extrusionOk="0">
                    <a:moveTo>
                      <a:pt x="54" y="0"/>
                    </a:moveTo>
                    <a:cubicBezTo>
                      <a:pt x="37" y="0"/>
                      <a:pt x="21" y="0"/>
                      <a:pt x="21" y="17"/>
                    </a:cubicBezTo>
                    <a:cubicBezTo>
                      <a:pt x="0" y="33"/>
                      <a:pt x="0" y="50"/>
                      <a:pt x="21" y="66"/>
                    </a:cubicBezTo>
                    <a:cubicBezTo>
                      <a:pt x="54" y="87"/>
                      <a:pt x="70" y="119"/>
                      <a:pt x="87" y="136"/>
                    </a:cubicBezTo>
                    <a:cubicBezTo>
                      <a:pt x="98" y="147"/>
                      <a:pt x="112" y="159"/>
                      <a:pt x="131" y="159"/>
                    </a:cubicBezTo>
                    <a:cubicBezTo>
                      <a:pt x="138" y="159"/>
                      <a:pt x="147" y="157"/>
                      <a:pt x="157" y="152"/>
                    </a:cubicBezTo>
                    <a:cubicBezTo>
                      <a:pt x="173" y="136"/>
                      <a:pt x="157" y="119"/>
                      <a:pt x="157" y="87"/>
                    </a:cubicBezTo>
                    <a:cubicBezTo>
                      <a:pt x="140" y="50"/>
                      <a:pt x="103" y="17"/>
                      <a:pt x="5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84" name="Google Shape;684;p25"/>
              <p:cNvSpPr/>
              <p:nvPr/>
            </p:nvSpPr>
            <p:spPr>
              <a:xfrm>
                <a:off x="858050" y="1842500"/>
                <a:ext cx="254800" cy="182350"/>
              </a:xfrm>
              <a:custGeom>
                <a:avLst/>
                <a:gdLst/>
                <a:ahLst/>
                <a:cxnLst/>
                <a:rect l="l" t="t" r="r" b="b"/>
                <a:pathLst>
                  <a:path w="10192" h="7294" extrusionOk="0">
                    <a:moveTo>
                      <a:pt x="2661" y="1"/>
                    </a:moveTo>
                    <a:cubicBezTo>
                      <a:pt x="2337" y="1"/>
                      <a:pt x="1930" y="156"/>
                      <a:pt x="1449" y="600"/>
                    </a:cubicBezTo>
                    <a:cubicBezTo>
                      <a:pt x="731" y="1237"/>
                      <a:pt x="250" y="2345"/>
                      <a:pt x="115" y="2912"/>
                    </a:cubicBezTo>
                    <a:cubicBezTo>
                      <a:pt x="0" y="3453"/>
                      <a:pt x="57" y="4093"/>
                      <a:pt x="595" y="4093"/>
                    </a:cubicBezTo>
                    <a:cubicBezTo>
                      <a:pt x="617" y="4093"/>
                      <a:pt x="638" y="4093"/>
                      <a:pt x="661" y="4090"/>
                    </a:cubicBezTo>
                    <a:cubicBezTo>
                      <a:pt x="1261" y="4041"/>
                      <a:pt x="1552" y="3372"/>
                      <a:pt x="1909" y="2826"/>
                    </a:cubicBezTo>
                    <a:cubicBezTo>
                      <a:pt x="2254" y="2263"/>
                      <a:pt x="2492" y="1647"/>
                      <a:pt x="2492" y="1647"/>
                    </a:cubicBezTo>
                    <a:cubicBezTo>
                      <a:pt x="2579" y="1853"/>
                      <a:pt x="2747" y="2021"/>
                      <a:pt x="2887" y="2124"/>
                    </a:cubicBezTo>
                    <a:cubicBezTo>
                      <a:pt x="2390" y="2674"/>
                      <a:pt x="2098" y="3392"/>
                      <a:pt x="2098" y="4177"/>
                    </a:cubicBezTo>
                    <a:cubicBezTo>
                      <a:pt x="2098" y="5889"/>
                      <a:pt x="3486" y="7293"/>
                      <a:pt x="5194" y="7293"/>
                    </a:cubicBezTo>
                    <a:cubicBezTo>
                      <a:pt x="6906" y="7293"/>
                      <a:pt x="8290" y="5889"/>
                      <a:pt x="8290" y="4177"/>
                    </a:cubicBezTo>
                    <a:cubicBezTo>
                      <a:pt x="8290" y="3372"/>
                      <a:pt x="8036" y="2674"/>
                      <a:pt x="7522" y="2124"/>
                    </a:cubicBezTo>
                    <a:cubicBezTo>
                      <a:pt x="7641" y="1972"/>
                      <a:pt x="7744" y="1816"/>
                      <a:pt x="7830" y="1664"/>
                    </a:cubicBezTo>
                    <a:cubicBezTo>
                      <a:pt x="8155" y="2399"/>
                      <a:pt x="8496" y="3150"/>
                      <a:pt x="9029" y="3750"/>
                    </a:cubicBezTo>
                    <a:cubicBezTo>
                      <a:pt x="9148" y="3885"/>
                      <a:pt x="9284" y="4008"/>
                      <a:pt x="9456" y="4074"/>
                    </a:cubicBezTo>
                    <a:cubicBezTo>
                      <a:pt x="9532" y="4109"/>
                      <a:pt x="9622" y="4131"/>
                      <a:pt x="9711" y="4131"/>
                    </a:cubicBezTo>
                    <a:cubicBezTo>
                      <a:pt x="9801" y="4131"/>
                      <a:pt x="9892" y="4109"/>
                      <a:pt x="9970" y="4058"/>
                    </a:cubicBezTo>
                    <a:cubicBezTo>
                      <a:pt x="10159" y="3922"/>
                      <a:pt x="10191" y="3663"/>
                      <a:pt x="10191" y="3425"/>
                    </a:cubicBezTo>
                    <a:cubicBezTo>
                      <a:pt x="10191" y="2998"/>
                      <a:pt x="10056" y="2571"/>
                      <a:pt x="9883" y="2161"/>
                    </a:cubicBezTo>
                    <a:cubicBezTo>
                      <a:pt x="9695" y="1766"/>
                      <a:pt x="9543" y="1389"/>
                      <a:pt x="9267" y="1048"/>
                    </a:cubicBezTo>
                    <a:cubicBezTo>
                      <a:pt x="8976" y="670"/>
                      <a:pt x="8549" y="313"/>
                      <a:pt x="8122" y="124"/>
                    </a:cubicBezTo>
                    <a:cubicBezTo>
                      <a:pt x="8003" y="54"/>
                      <a:pt x="7847" y="21"/>
                      <a:pt x="7711" y="21"/>
                    </a:cubicBezTo>
                    <a:cubicBezTo>
                      <a:pt x="7678" y="17"/>
                      <a:pt x="7645" y="15"/>
                      <a:pt x="7611" y="15"/>
                    </a:cubicBezTo>
                    <a:cubicBezTo>
                      <a:pt x="7502" y="15"/>
                      <a:pt x="7392" y="37"/>
                      <a:pt x="7301" y="87"/>
                    </a:cubicBezTo>
                    <a:cubicBezTo>
                      <a:pt x="6615" y="481"/>
                      <a:pt x="6566" y="1286"/>
                      <a:pt x="6545" y="1405"/>
                    </a:cubicBezTo>
                    <a:cubicBezTo>
                      <a:pt x="6135" y="1200"/>
                      <a:pt x="5691" y="1081"/>
                      <a:pt x="5194" y="1081"/>
                    </a:cubicBezTo>
                    <a:cubicBezTo>
                      <a:pt x="4681" y="1081"/>
                      <a:pt x="4205" y="1216"/>
                      <a:pt x="3773" y="1442"/>
                    </a:cubicBezTo>
                    <a:cubicBezTo>
                      <a:pt x="3671" y="859"/>
                      <a:pt x="3416" y="243"/>
                      <a:pt x="3055" y="87"/>
                    </a:cubicBezTo>
                    <a:cubicBezTo>
                      <a:pt x="2942" y="34"/>
                      <a:pt x="2811" y="1"/>
                      <a:pt x="2661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85" name="Google Shape;685;p25"/>
              <p:cNvSpPr/>
              <p:nvPr/>
            </p:nvSpPr>
            <p:spPr>
              <a:xfrm>
                <a:off x="951550" y="1892600"/>
                <a:ext cx="71475" cy="32775"/>
              </a:xfrm>
              <a:custGeom>
                <a:avLst/>
                <a:gdLst/>
                <a:ahLst/>
                <a:cxnLst/>
                <a:rect l="l" t="t" r="r" b="b"/>
                <a:pathLst>
                  <a:path w="2859" h="1311" extrusionOk="0">
                    <a:moveTo>
                      <a:pt x="2789" y="1"/>
                    </a:moveTo>
                    <a:cubicBezTo>
                      <a:pt x="2826" y="157"/>
                      <a:pt x="2805" y="325"/>
                      <a:pt x="2723" y="444"/>
                    </a:cubicBezTo>
                    <a:cubicBezTo>
                      <a:pt x="2643" y="574"/>
                      <a:pt x="2502" y="672"/>
                      <a:pt x="2361" y="672"/>
                    </a:cubicBezTo>
                    <a:cubicBezTo>
                      <a:pt x="2350" y="672"/>
                      <a:pt x="2340" y="671"/>
                      <a:pt x="2329" y="670"/>
                    </a:cubicBezTo>
                    <a:cubicBezTo>
                      <a:pt x="2275" y="670"/>
                      <a:pt x="2210" y="670"/>
                      <a:pt x="2173" y="703"/>
                    </a:cubicBezTo>
                    <a:cubicBezTo>
                      <a:pt x="2140" y="719"/>
                      <a:pt x="2140" y="736"/>
                      <a:pt x="2124" y="752"/>
                    </a:cubicBezTo>
                    <a:cubicBezTo>
                      <a:pt x="2021" y="908"/>
                      <a:pt x="1832" y="957"/>
                      <a:pt x="1660" y="994"/>
                    </a:cubicBezTo>
                    <a:cubicBezTo>
                      <a:pt x="1603" y="1001"/>
                      <a:pt x="1544" y="1005"/>
                      <a:pt x="1483" y="1005"/>
                    </a:cubicBezTo>
                    <a:cubicBezTo>
                      <a:pt x="1398" y="1005"/>
                      <a:pt x="1312" y="997"/>
                      <a:pt x="1232" y="978"/>
                    </a:cubicBezTo>
                    <a:cubicBezTo>
                      <a:pt x="1097" y="924"/>
                      <a:pt x="957" y="855"/>
                      <a:pt x="875" y="736"/>
                    </a:cubicBezTo>
                    <a:cubicBezTo>
                      <a:pt x="838" y="719"/>
                      <a:pt x="822" y="703"/>
                      <a:pt x="805" y="686"/>
                    </a:cubicBezTo>
                    <a:cubicBezTo>
                      <a:pt x="794" y="681"/>
                      <a:pt x="783" y="679"/>
                      <a:pt x="772" y="679"/>
                    </a:cubicBezTo>
                    <a:cubicBezTo>
                      <a:pt x="748" y="679"/>
                      <a:pt x="725" y="686"/>
                      <a:pt x="703" y="686"/>
                    </a:cubicBezTo>
                    <a:cubicBezTo>
                      <a:pt x="670" y="693"/>
                      <a:pt x="637" y="696"/>
                      <a:pt x="605" y="696"/>
                    </a:cubicBezTo>
                    <a:cubicBezTo>
                      <a:pt x="479" y="696"/>
                      <a:pt x="354" y="649"/>
                      <a:pt x="259" y="567"/>
                    </a:cubicBezTo>
                    <a:cubicBezTo>
                      <a:pt x="136" y="465"/>
                      <a:pt x="70" y="292"/>
                      <a:pt x="87" y="120"/>
                    </a:cubicBezTo>
                    <a:cubicBezTo>
                      <a:pt x="33" y="120"/>
                      <a:pt x="33" y="157"/>
                      <a:pt x="17" y="206"/>
                    </a:cubicBezTo>
                    <a:cubicBezTo>
                      <a:pt x="1" y="481"/>
                      <a:pt x="190" y="752"/>
                      <a:pt x="444" y="838"/>
                    </a:cubicBezTo>
                    <a:cubicBezTo>
                      <a:pt x="547" y="875"/>
                      <a:pt x="670" y="892"/>
                      <a:pt x="752" y="941"/>
                    </a:cubicBezTo>
                    <a:cubicBezTo>
                      <a:pt x="822" y="994"/>
                      <a:pt x="875" y="1060"/>
                      <a:pt x="941" y="1113"/>
                    </a:cubicBezTo>
                    <a:cubicBezTo>
                      <a:pt x="1085" y="1241"/>
                      <a:pt x="1276" y="1310"/>
                      <a:pt x="1464" y="1310"/>
                    </a:cubicBezTo>
                    <a:cubicBezTo>
                      <a:pt x="1501" y="1310"/>
                      <a:pt x="1537" y="1308"/>
                      <a:pt x="1573" y="1302"/>
                    </a:cubicBezTo>
                    <a:cubicBezTo>
                      <a:pt x="1799" y="1286"/>
                      <a:pt x="2004" y="1146"/>
                      <a:pt x="2156" y="978"/>
                    </a:cubicBezTo>
                    <a:cubicBezTo>
                      <a:pt x="2189" y="941"/>
                      <a:pt x="2210" y="892"/>
                      <a:pt x="2259" y="875"/>
                    </a:cubicBezTo>
                    <a:lnTo>
                      <a:pt x="2345" y="875"/>
                    </a:lnTo>
                    <a:cubicBezTo>
                      <a:pt x="2354" y="876"/>
                      <a:pt x="2364" y="876"/>
                      <a:pt x="2373" y="876"/>
                    </a:cubicBezTo>
                    <a:cubicBezTo>
                      <a:pt x="2552" y="876"/>
                      <a:pt x="2726" y="727"/>
                      <a:pt x="2789" y="567"/>
                    </a:cubicBezTo>
                    <a:cubicBezTo>
                      <a:pt x="2859" y="378"/>
                      <a:pt x="2842" y="189"/>
                      <a:pt x="2789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86" name="Google Shape;686;p25"/>
              <p:cNvSpPr/>
              <p:nvPr/>
            </p:nvSpPr>
            <p:spPr>
              <a:xfrm>
                <a:off x="1023825" y="1869925"/>
                <a:ext cx="300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200" h="1170" extrusionOk="0">
                    <a:moveTo>
                      <a:pt x="961" y="0"/>
                    </a:moveTo>
                    <a:cubicBezTo>
                      <a:pt x="789" y="103"/>
                      <a:pt x="0" y="838"/>
                      <a:pt x="411" y="1113"/>
                    </a:cubicBezTo>
                    <a:cubicBezTo>
                      <a:pt x="468" y="1152"/>
                      <a:pt x="524" y="1169"/>
                      <a:pt x="579" y="1169"/>
                    </a:cubicBezTo>
                    <a:cubicBezTo>
                      <a:pt x="910" y="1169"/>
                      <a:pt x="1199" y="567"/>
                      <a:pt x="1199" y="567"/>
                    </a:cubicBezTo>
                    <a:lnTo>
                      <a:pt x="96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87" name="Google Shape;687;p25"/>
              <p:cNvSpPr/>
              <p:nvPr/>
            </p:nvSpPr>
            <p:spPr>
              <a:xfrm>
                <a:off x="920350" y="1869100"/>
                <a:ext cx="24475" cy="29550"/>
              </a:xfrm>
              <a:custGeom>
                <a:avLst/>
                <a:gdLst/>
                <a:ahLst/>
                <a:cxnLst/>
                <a:rect l="l" t="t" r="r" b="b"/>
                <a:pathLst>
                  <a:path w="979" h="1182" extrusionOk="0">
                    <a:moveTo>
                      <a:pt x="206" y="0"/>
                    </a:moveTo>
                    <a:lnTo>
                      <a:pt x="0" y="583"/>
                    </a:lnTo>
                    <a:cubicBezTo>
                      <a:pt x="103" y="822"/>
                      <a:pt x="444" y="1162"/>
                      <a:pt x="600" y="1179"/>
                    </a:cubicBezTo>
                    <a:cubicBezTo>
                      <a:pt x="615" y="1181"/>
                      <a:pt x="631" y="1182"/>
                      <a:pt x="648" y="1182"/>
                    </a:cubicBezTo>
                    <a:cubicBezTo>
                      <a:pt x="796" y="1182"/>
                      <a:pt x="978" y="1090"/>
                      <a:pt x="838" y="735"/>
                    </a:cubicBezTo>
                    <a:cubicBezTo>
                      <a:pt x="686" y="341"/>
                      <a:pt x="206" y="0"/>
                      <a:pt x="206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88" name="Google Shape;688;p25"/>
              <p:cNvSpPr/>
              <p:nvPr/>
            </p:nvSpPr>
            <p:spPr>
              <a:xfrm>
                <a:off x="910500" y="1940950"/>
                <a:ext cx="154825" cy="83900"/>
              </a:xfrm>
              <a:custGeom>
                <a:avLst/>
                <a:gdLst/>
                <a:ahLst/>
                <a:cxnLst/>
                <a:rect l="l" t="t" r="r" b="b"/>
                <a:pathLst>
                  <a:path w="6193" h="3356" extrusionOk="0">
                    <a:moveTo>
                      <a:pt x="17" y="1"/>
                    </a:moveTo>
                    <a:cubicBezTo>
                      <a:pt x="0" y="87"/>
                      <a:pt x="0" y="152"/>
                      <a:pt x="0" y="239"/>
                    </a:cubicBezTo>
                    <a:cubicBezTo>
                      <a:pt x="0" y="1951"/>
                      <a:pt x="1388" y="3355"/>
                      <a:pt x="3096" y="3355"/>
                    </a:cubicBezTo>
                    <a:cubicBezTo>
                      <a:pt x="4808" y="3355"/>
                      <a:pt x="6192" y="1951"/>
                      <a:pt x="6192" y="239"/>
                    </a:cubicBezTo>
                    <a:lnTo>
                      <a:pt x="6192" y="1"/>
                    </a:lnTo>
                    <a:cubicBezTo>
                      <a:pt x="6057" y="1590"/>
                      <a:pt x="4722" y="2842"/>
                      <a:pt x="3096" y="2842"/>
                    </a:cubicBezTo>
                    <a:cubicBezTo>
                      <a:pt x="1470" y="2842"/>
                      <a:pt x="136" y="1590"/>
                      <a:pt x="17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89" name="Google Shape;689;p25"/>
              <p:cNvSpPr/>
              <p:nvPr/>
            </p:nvSpPr>
            <p:spPr>
              <a:xfrm>
                <a:off x="985325" y="2000225"/>
                <a:ext cx="7725" cy="5725"/>
              </a:xfrm>
              <a:custGeom>
                <a:avLst/>
                <a:gdLst/>
                <a:ahLst/>
                <a:cxnLst/>
                <a:rect l="l" t="t" r="r" b="b"/>
                <a:pathLst>
                  <a:path w="309" h="229" extrusionOk="0">
                    <a:moveTo>
                      <a:pt x="162" y="1"/>
                    </a:moveTo>
                    <a:cubicBezTo>
                      <a:pt x="110" y="1"/>
                      <a:pt x="45" y="20"/>
                      <a:pt x="17" y="60"/>
                    </a:cubicBezTo>
                    <a:cubicBezTo>
                      <a:pt x="1" y="93"/>
                      <a:pt x="17" y="126"/>
                      <a:pt x="38" y="143"/>
                    </a:cubicBezTo>
                    <a:cubicBezTo>
                      <a:pt x="70" y="196"/>
                      <a:pt x="120" y="229"/>
                      <a:pt x="173" y="229"/>
                    </a:cubicBezTo>
                    <a:cubicBezTo>
                      <a:pt x="222" y="229"/>
                      <a:pt x="292" y="179"/>
                      <a:pt x="292" y="126"/>
                    </a:cubicBezTo>
                    <a:cubicBezTo>
                      <a:pt x="309" y="77"/>
                      <a:pt x="259" y="7"/>
                      <a:pt x="206" y="7"/>
                    </a:cubicBezTo>
                    <a:cubicBezTo>
                      <a:pt x="194" y="3"/>
                      <a:pt x="178" y="1"/>
                      <a:pt x="162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90" name="Google Shape;690;p25"/>
              <p:cNvSpPr/>
              <p:nvPr/>
            </p:nvSpPr>
            <p:spPr>
              <a:xfrm>
                <a:off x="858350" y="1841225"/>
                <a:ext cx="257075" cy="185900"/>
              </a:xfrm>
              <a:custGeom>
                <a:avLst/>
                <a:gdLst/>
                <a:ahLst/>
                <a:cxnLst/>
                <a:rect l="l" t="t" r="r" b="b"/>
                <a:pathLst>
                  <a:path w="10283" h="7436" extrusionOk="0">
                    <a:moveTo>
                      <a:pt x="2645" y="135"/>
                    </a:moveTo>
                    <a:cubicBezTo>
                      <a:pt x="2721" y="135"/>
                      <a:pt x="2798" y="147"/>
                      <a:pt x="2875" y="175"/>
                    </a:cubicBezTo>
                    <a:cubicBezTo>
                      <a:pt x="3113" y="241"/>
                      <a:pt x="3269" y="413"/>
                      <a:pt x="3388" y="618"/>
                    </a:cubicBezTo>
                    <a:cubicBezTo>
                      <a:pt x="3523" y="857"/>
                      <a:pt x="3610" y="1115"/>
                      <a:pt x="3659" y="1390"/>
                    </a:cubicBezTo>
                    <a:cubicBezTo>
                      <a:pt x="3679" y="1493"/>
                      <a:pt x="3659" y="1596"/>
                      <a:pt x="3679" y="1698"/>
                    </a:cubicBezTo>
                    <a:cubicBezTo>
                      <a:pt x="3696" y="1731"/>
                      <a:pt x="3712" y="1764"/>
                      <a:pt x="3745" y="1764"/>
                    </a:cubicBezTo>
                    <a:cubicBezTo>
                      <a:pt x="3782" y="1764"/>
                      <a:pt x="3798" y="1731"/>
                      <a:pt x="3798" y="1698"/>
                    </a:cubicBezTo>
                    <a:cubicBezTo>
                      <a:pt x="3798" y="1661"/>
                      <a:pt x="3815" y="1645"/>
                      <a:pt x="3815" y="1612"/>
                    </a:cubicBezTo>
                    <a:cubicBezTo>
                      <a:pt x="3798" y="1559"/>
                      <a:pt x="3815" y="1542"/>
                      <a:pt x="3864" y="1526"/>
                    </a:cubicBezTo>
                    <a:cubicBezTo>
                      <a:pt x="4020" y="1440"/>
                      <a:pt x="4193" y="1370"/>
                      <a:pt x="4361" y="1321"/>
                    </a:cubicBezTo>
                    <a:cubicBezTo>
                      <a:pt x="4637" y="1246"/>
                      <a:pt x="4910" y="1210"/>
                      <a:pt x="5180" y="1210"/>
                    </a:cubicBezTo>
                    <a:cubicBezTo>
                      <a:pt x="5598" y="1210"/>
                      <a:pt x="6010" y="1298"/>
                      <a:pt x="6414" y="1473"/>
                    </a:cubicBezTo>
                    <a:cubicBezTo>
                      <a:pt x="6467" y="1493"/>
                      <a:pt x="6484" y="1509"/>
                      <a:pt x="6484" y="1559"/>
                    </a:cubicBezTo>
                    <a:cubicBezTo>
                      <a:pt x="6467" y="1612"/>
                      <a:pt x="6467" y="1661"/>
                      <a:pt x="6484" y="1715"/>
                    </a:cubicBezTo>
                    <a:cubicBezTo>
                      <a:pt x="6484" y="1731"/>
                      <a:pt x="6500" y="1780"/>
                      <a:pt x="6533" y="1780"/>
                    </a:cubicBezTo>
                    <a:cubicBezTo>
                      <a:pt x="6570" y="1780"/>
                      <a:pt x="6603" y="1748"/>
                      <a:pt x="6603" y="1698"/>
                    </a:cubicBezTo>
                    <a:cubicBezTo>
                      <a:pt x="6603" y="1612"/>
                      <a:pt x="6619" y="1526"/>
                      <a:pt x="6619" y="1440"/>
                    </a:cubicBezTo>
                    <a:cubicBezTo>
                      <a:pt x="6673" y="1115"/>
                      <a:pt x="6775" y="807"/>
                      <a:pt x="6964" y="516"/>
                    </a:cubicBezTo>
                    <a:cubicBezTo>
                      <a:pt x="7131" y="279"/>
                      <a:pt x="7353" y="156"/>
                      <a:pt x="7624" y="156"/>
                    </a:cubicBezTo>
                    <a:cubicBezTo>
                      <a:pt x="7686" y="156"/>
                      <a:pt x="7751" y="162"/>
                      <a:pt x="7818" y="175"/>
                    </a:cubicBezTo>
                    <a:cubicBezTo>
                      <a:pt x="8196" y="241"/>
                      <a:pt x="8520" y="430"/>
                      <a:pt x="8791" y="705"/>
                    </a:cubicBezTo>
                    <a:cubicBezTo>
                      <a:pt x="9223" y="1148"/>
                      <a:pt x="9563" y="1678"/>
                      <a:pt x="9839" y="2228"/>
                    </a:cubicBezTo>
                    <a:cubicBezTo>
                      <a:pt x="10023" y="2622"/>
                      <a:pt x="10147" y="3033"/>
                      <a:pt x="10126" y="3476"/>
                    </a:cubicBezTo>
                    <a:cubicBezTo>
                      <a:pt x="10126" y="3628"/>
                      <a:pt x="10110" y="3768"/>
                      <a:pt x="10044" y="3887"/>
                    </a:cubicBezTo>
                    <a:cubicBezTo>
                      <a:pt x="9974" y="4006"/>
                      <a:pt x="9871" y="4076"/>
                      <a:pt x="9736" y="4076"/>
                    </a:cubicBezTo>
                    <a:cubicBezTo>
                      <a:pt x="9722" y="4077"/>
                      <a:pt x="9707" y="4078"/>
                      <a:pt x="9693" y="4078"/>
                    </a:cubicBezTo>
                    <a:cubicBezTo>
                      <a:pt x="9538" y="4078"/>
                      <a:pt x="9396" y="3997"/>
                      <a:pt x="9272" y="3903"/>
                    </a:cubicBezTo>
                    <a:cubicBezTo>
                      <a:pt x="9034" y="3698"/>
                      <a:pt x="8828" y="3476"/>
                      <a:pt x="8672" y="3201"/>
                    </a:cubicBezTo>
                    <a:cubicBezTo>
                      <a:pt x="8245" y="2520"/>
                      <a:pt x="7888" y="1801"/>
                      <a:pt x="7629" y="1045"/>
                    </a:cubicBezTo>
                    <a:cubicBezTo>
                      <a:pt x="7613" y="1013"/>
                      <a:pt x="7613" y="980"/>
                      <a:pt x="7597" y="943"/>
                    </a:cubicBezTo>
                    <a:cubicBezTo>
                      <a:pt x="7580" y="928"/>
                      <a:pt x="7568" y="920"/>
                      <a:pt x="7557" y="920"/>
                    </a:cubicBezTo>
                    <a:cubicBezTo>
                      <a:pt x="7545" y="920"/>
                      <a:pt x="7536" y="932"/>
                      <a:pt x="7527" y="959"/>
                    </a:cubicBezTo>
                    <a:cubicBezTo>
                      <a:pt x="7510" y="996"/>
                      <a:pt x="7510" y="1045"/>
                      <a:pt x="7527" y="1082"/>
                    </a:cubicBezTo>
                    <a:cubicBezTo>
                      <a:pt x="7543" y="1115"/>
                      <a:pt x="7527" y="1132"/>
                      <a:pt x="7510" y="1148"/>
                    </a:cubicBezTo>
                    <a:cubicBezTo>
                      <a:pt x="7441" y="1185"/>
                      <a:pt x="7391" y="1234"/>
                      <a:pt x="7354" y="1267"/>
                    </a:cubicBezTo>
                    <a:cubicBezTo>
                      <a:pt x="7235" y="1390"/>
                      <a:pt x="7149" y="1509"/>
                      <a:pt x="7046" y="1629"/>
                    </a:cubicBezTo>
                    <a:cubicBezTo>
                      <a:pt x="6981" y="1731"/>
                      <a:pt x="6927" y="1834"/>
                      <a:pt x="6878" y="1937"/>
                    </a:cubicBezTo>
                    <a:cubicBezTo>
                      <a:pt x="6862" y="1969"/>
                      <a:pt x="6841" y="2006"/>
                      <a:pt x="6894" y="2023"/>
                    </a:cubicBezTo>
                    <a:cubicBezTo>
                      <a:pt x="6903" y="2027"/>
                      <a:pt x="6911" y="2029"/>
                      <a:pt x="6918" y="2029"/>
                    </a:cubicBezTo>
                    <a:cubicBezTo>
                      <a:pt x="6937" y="2029"/>
                      <a:pt x="6953" y="2013"/>
                      <a:pt x="6981" y="1986"/>
                    </a:cubicBezTo>
                    <a:cubicBezTo>
                      <a:pt x="7046" y="1834"/>
                      <a:pt x="7149" y="1698"/>
                      <a:pt x="7252" y="1575"/>
                    </a:cubicBezTo>
                    <a:cubicBezTo>
                      <a:pt x="7354" y="1440"/>
                      <a:pt x="7457" y="1337"/>
                      <a:pt x="7560" y="1218"/>
                    </a:cubicBezTo>
                    <a:cubicBezTo>
                      <a:pt x="7629" y="1370"/>
                      <a:pt x="7662" y="1526"/>
                      <a:pt x="7749" y="1661"/>
                    </a:cubicBezTo>
                    <a:cubicBezTo>
                      <a:pt x="7749" y="1678"/>
                      <a:pt x="7749" y="1698"/>
                      <a:pt x="7732" y="1715"/>
                    </a:cubicBezTo>
                    <a:cubicBezTo>
                      <a:pt x="7613" y="1904"/>
                      <a:pt x="7510" y="2088"/>
                      <a:pt x="7322" y="2212"/>
                    </a:cubicBezTo>
                    <a:cubicBezTo>
                      <a:pt x="7289" y="2228"/>
                      <a:pt x="7272" y="2244"/>
                      <a:pt x="7235" y="2261"/>
                    </a:cubicBezTo>
                    <a:cubicBezTo>
                      <a:pt x="7202" y="2277"/>
                      <a:pt x="7186" y="2294"/>
                      <a:pt x="7202" y="2331"/>
                    </a:cubicBezTo>
                    <a:cubicBezTo>
                      <a:pt x="7211" y="2355"/>
                      <a:pt x="7223" y="2364"/>
                      <a:pt x="7238" y="2364"/>
                    </a:cubicBezTo>
                    <a:cubicBezTo>
                      <a:pt x="7253" y="2364"/>
                      <a:pt x="7270" y="2355"/>
                      <a:pt x="7289" y="2347"/>
                    </a:cubicBezTo>
                    <a:cubicBezTo>
                      <a:pt x="7338" y="2331"/>
                      <a:pt x="7391" y="2294"/>
                      <a:pt x="7441" y="2261"/>
                    </a:cubicBezTo>
                    <a:cubicBezTo>
                      <a:pt x="7456" y="2254"/>
                      <a:pt x="7468" y="2250"/>
                      <a:pt x="7477" y="2250"/>
                    </a:cubicBezTo>
                    <a:cubicBezTo>
                      <a:pt x="7491" y="2250"/>
                      <a:pt x="7501" y="2258"/>
                      <a:pt x="7510" y="2277"/>
                    </a:cubicBezTo>
                    <a:cubicBezTo>
                      <a:pt x="7580" y="2364"/>
                      <a:pt x="7646" y="2466"/>
                      <a:pt x="7716" y="2552"/>
                    </a:cubicBezTo>
                    <a:cubicBezTo>
                      <a:pt x="8570" y="3887"/>
                      <a:pt x="8278" y="5632"/>
                      <a:pt x="7046" y="6605"/>
                    </a:cubicBezTo>
                    <a:cubicBezTo>
                      <a:pt x="6495" y="7042"/>
                      <a:pt x="5845" y="7246"/>
                      <a:pt x="5202" y="7246"/>
                    </a:cubicBezTo>
                    <a:cubicBezTo>
                      <a:pt x="4031" y="7246"/>
                      <a:pt x="2885" y="6567"/>
                      <a:pt x="2411" y="5373"/>
                    </a:cubicBezTo>
                    <a:cubicBezTo>
                      <a:pt x="1984" y="4298"/>
                      <a:pt x="2140" y="3287"/>
                      <a:pt x="2838" y="2347"/>
                    </a:cubicBezTo>
                    <a:cubicBezTo>
                      <a:pt x="2859" y="2316"/>
                      <a:pt x="2879" y="2298"/>
                      <a:pt x="2905" y="2298"/>
                    </a:cubicBezTo>
                    <a:cubicBezTo>
                      <a:pt x="2925" y="2298"/>
                      <a:pt x="2948" y="2308"/>
                      <a:pt x="2977" y="2331"/>
                    </a:cubicBezTo>
                    <a:cubicBezTo>
                      <a:pt x="2977" y="2331"/>
                      <a:pt x="2994" y="2347"/>
                      <a:pt x="3010" y="2347"/>
                    </a:cubicBezTo>
                    <a:cubicBezTo>
                      <a:pt x="3023" y="2347"/>
                      <a:pt x="3037" y="2350"/>
                      <a:pt x="3050" y="2350"/>
                    </a:cubicBezTo>
                    <a:cubicBezTo>
                      <a:pt x="3069" y="2350"/>
                      <a:pt x="3086" y="2344"/>
                      <a:pt x="3096" y="2314"/>
                    </a:cubicBezTo>
                    <a:cubicBezTo>
                      <a:pt x="3096" y="2277"/>
                      <a:pt x="3080" y="2261"/>
                      <a:pt x="3043" y="2244"/>
                    </a:cubicBezTo>
                    <a:cubicBezTo>
                      <a:pt x="2940" y="2212"/>
                      <a:pt x="2858" y="2125"/>
                      <a:pt x="2788" y="2039"/>
                    </a:cubicBezTo>
                    <a:cubicBezTo>
                      <a:pt x="2686" y="1937"/>
                      <a:pt x="2616" y="1834"/>
                      <a:pt x="2550" y="1715"/>
                    </a:cubicBezTo>
                    <a:cubicBezTo>
                      <a:pt x="2530" y="1698"/>
                      <a:pt x="2530" y="1678"/>
                      <a:pt x="2550" y="1645"/>
                    </a:cubicBezTo>
                    <a:cubicBezTo>
                      <a:pt x="2616" y="1509"/>
                      <a:pt x="2653" y="1353"/>
                      <a:pt x="2719" y="1202"/>
                    </a:cubicBezTo>
                    <a:cubicBezTo>
                      <a:pt x="2719" y="1218"/>
                      <a:pt x="2735" y="1218"/>
                      <a:pt x="2735" y="1218"/>
                    </a:cubicBezTo>
                    <a:cubicBezTo>
                      <a:pt x="2940" y="1440"/>
                      <a:pt x="3146" y="1678"/>
                      <a:pt x="3302" y="1953"/>
                    </a:cubicBezTo>
                    <a:cubicBezTo>
                      <a:pt x="3318" y="1969"/>
                      <a:pt x="3318" y="1986"/>
                      <a:pt x="3334" y="2006"/>
                    </a:cubicBezTo>
                    <a:cubicBezTo>
                      <a:pt x="3351" y="2023"/>
                      <a:pt x="3371" y="2023"/>
                      <a:pt x="3404" y="2023"/>
                    </a:cubicBezTo>
                    <a:cubicBezTo>
                      <a:pt x="3421" y="2006"/>
                      <a:pt x="3421" y="1986"/>
                      <a:pt x="3421" y="1953"/>
                    </a:cubicBezTo>
                    <a:cubicBezTo>
                      <a:pt x="3421" y="1937"/>
                      <a:pt x="3404" y="1920"/>
                      <a:pt x="3388" y="1904"/>
                    </a:cubicBezTo>
                    <a:cubicBezTo>
                      <a:pt x="3318" y="1731"/>
                      <a:pt x="3215" y="1596"/>
                      <a:pt x="3096" y="1456"/>
                    </a:cubicBezTo>
                    <a:cubicBezTo>
                      <a:pt x="3010" y="1353"/>
                      <a:pt x="2924" y="1251"/>
                      <a:pt x="2821" y="1165"/>
                    </a:cubicBezTo>
                    <a:cubicBezTo>
                      <a:pt x="2772" y="1132"/>
                      <a:pt x="2735" y="1099"/>
                      <a:pt x="2772" y="1013"/>
                    </a:cubicBezTo>
                    <a:cubicBezTo>
                      <a:pt x="2772" y="980"/>
                      <a:pt x="2772" y="926"/>
                      <a:pt x="2719" y="910"/>
                    </a:cubicBezTo>
                    <a:cubicBezTo>
                      <a:pt x="2686" y="910"/>
                      <a:pt x="2669" y="959"/>
                      <a:pt x="2669" y="996"/>
                    </a:cubicBezTo>
                    <a:cubicBezTo>
                      <a:pt x="2411" y="1698"/>
                      <a:pt x="2086" y="2380"/>
                      <a:pt x="1708" y="3033"/>
                    </a:cubicBezTo>
                    <a:cubicBezTo>
                      <a:pt x="1540" y="3304"/>
                      <a:pt x="1351" y="3563"/>
                      <a:pt x="1113" y="3784"/>
                    </a:cubicBezTo>
                    <a:cubicBezTo>
                      <a:pt x="1027" y="3870"/>
                      <a:pt x="941" y="3936"/>
                      <a:pt x="838" y="4006"/>
                    </a:cubicBezTo>
                    <a:cubicBezTo>
                      <a:pt x="759" y="4042"/>
                      <a:pt x="670" y="4066"/>
                      <a:pt x="582" y="4066"/>
                    </a:cubicBezTo>
                    <a:cubicBezTo>
                      <a:pt x="422" y="4066"/>
                      <a:pt x="266" y="3988"/>
                      <a:pt x="189" y="3768"/>
                    </a:cubicBezTo>
                    <a:cubicBezTo>
                      <a:pt x="169" y="3665"/>
                      <a:pt x="152" y="3563"/>
                      <a:pt x="152" y="3460"/>
                    </a:cubicBezTo>
                    <a:cubicBezTo>
                      <a:pt x="136" y="3135"/>
                      <a:pt x="206" y="2807"/>
                      <a:pt x="325" y="2520"/>
                    </a:cubicBezTo>
                    <a:cubicBezTo>
                      <a:pt x="546" y="1920"/>
                      <a:pt x="887" y="1407"/>
                      <a:pt x="1281" y="910"/>
                    </a:cubicBezTo>
                    <a:cubicBezTo>
                      <a:pt x="1556" y="569"/>
                      <a:pt x="1881" y="310"/>
                      <a:pt x="2308" y="191"/>
                    </a:cubicBezTo>
                    <a:cubicBezTo>
                      <a:pt x="2420" y="160"/>
                      <a:pt x="2532" y="135"/>
                      <a:pt x="2645" y="135"/>
                    </a:cubicBezTo>
                    <a:close/>
                    <a:moveTo>
                      <a:pt x="2648" y="0"/>
                    </a:moveTo>
                    <a:cubicBezTo>
                      <a:pt x="2562" y="0"/>
                      <a:pt x="2471" y="12"/>
                      <a:pt x="2378" y="35"/>
                    </a:cubicBezTo>
                    <a:cubicBezTo>
                      <a:pt x="1984" y="138"/>
                      <a:pt x="1659" y="310"/>
                      <a:pt x="1384" y="602"/>
                    </a:cubicBezTo>
                    <a:cubicBezTo>
                      <a:pt x="854" y="1185"/>
                      <a:pt x="427" y="1817"/>
                      <a:pt x="169" y="2569"/>
                    </a:cubicBezTo>
                    <a:cubicBezTo>
                      <a:pt x="66" y="2877"/>
                      <a:pt x="0" y="3185"/>
                      <a:pt x="17" y="3509"/>
                    </a:cubicBezTo>
                    <a:cubicBezTo>
                      <a:pt x="33" y="3612"/>
                      <a:pt x="33" y="3698"/>
                      <a:pt x="66" y="3784"/>
                    </a:cubicBezTo>
                    <a:cubicBezTo>
                      <a:pt x="138" y="4055"/>
                      <a:pt x="331" y="4195"/>
                      <a:pt x="581" y="4195"/>
                    </a:cubicBezTo>
                    <a:cubicBezTo>
                      <a:pt x="631" y="4195"/>
                      <a:pt x="682" y="4189"/>
                      <a:pt x="735" y="4178"/>
                    </a:cubicBezTo>
                    <a:cubicBezTo>
                      <a:pt x="871" y="4141"/>
                      <a:pt x="973" y="4076"/>
                      <a:pt x="1076" y="3990"/>
                    </a:cubicBezTo>
                    <a:cubicBezTo>
                      <a:pt x="1384" y="3731"/>
                      <a:pt x="1643" y="3443"/>
                      <a:pt x="1832" y="3082"/>
                    </a:cubicBezTo>
                    <a:cubicBezTo>
                      <a:pt x="2053" y="2672"/>
                      <a:pt x="2291" y="2261"/>
                      <a:pt x="2480" y="1801"/>
                    </a:cubicBezTo>
                    <a:cubicBezTo>
                      <a:pt x="2550" y="1937"/>
                      <a:pt x="2616" y="2039"/>
                      <a:pt x="2702" y="2142"/>
                    </a:cubicBezTo>
                    <a:cubicBezTo>
                      <a:pt x="2755" y="2191"/>
                      <a:pt x="2735" y="2244"/>
                      <a:pt x="2686" y="2294"/>
                    </a:cubicBezTo>
                    <a:cubicBezTo>
                      <a:pt x="2140" y="3012"/>
                      <a:pt x="1914" y="3834"/>
                      <a:pt x="2053" y="4741"/>
                    </a:cubicBezTo>
                    <a:cubicBezTo>
                      <a:pt x="2189" y="5616"/>
                      <a:pt x="2616" y="6318"/>
                      <a:pt x="3334" y="6831"/>
                    </a:cubicBezTo>
                    <a:cubicBezTo>
                      <a:pt x="3883" y="7235"/>
                      <a:pt x="4528" y="7436"/>
                      <a:pt x="5177" y="7436"/>
                    </a:cubicBezTo>
                    <a:cubicBezTo>
                      <a:pt x="5762" y="7436"/>
                      <a:pt x="6351" y="7273"/>
                      <a:pt x="6878" y="6950"/>
                    </a:cubicBezTo>
                    <a:cubicBezTo>
                      <a:pt x="7391" y="6626"/>
                      <a:pt x="7802" y="6178"/>
                      <a:pt x="8040" y="5616"/>
                    </a:cubicBezTo>
                    <a:cubicBezTo>
                      <a:pt x="8537" y="4519"/>
                      <a:pt x="8451" y="3460"/>
                      <a:pt x="7785" y="2450"/>
                    </a:cubicBezTo>
                    <a:cubicBezTo>
                      <a:pt x="7732" y="2364"/>
                      <a:pt x="7646" y="2277"/>
                      <a:pt x="7597" y="2212"/>
                    </a:cubicBezTo>
                    <a:cubicBezTo>
                      <a:pt x="7580" y="2175"/>
                      <a:pt x="7560" y="2175"/>
                      <a:pt x="7580" y="2142"/>
                    </a:cubicBezTo>
                    <a:cubicBezTo>
                      <a:pt x="7629" y="2088"/>
                      <a:pt x="7662" y="2039"/>
                      <a:pt x="7699" y="1986"/>
                    </a:cubicBezTo>
                    <a:cubicBezTo>
                      <a:pt x="7732" y="1937"/>
                      <a:pt x="7765" y="1883"/>
                      <a:pt x="7802" y="1834"/>
                    </a:cubicBezTo>
                    <a:cubicBezTo>
                      <a:pt x="7818" y="1834"/>
                      <a:pt x="7818" y="1850"/>
                      <a:pt x="7818" y="1867"/>
                    </a:cubicBezTo>
                    <a:cubicBezTo>
                      <a:pt x="8040" y="2364"/>
                      <a:pt x="8299" y="2844"/>
                      <a:pt x="8586" y="3304"/>
                    </a:cubicBezTo>
                    <a:cubicBezTo>
                      <a:pt x="8742" y="3579"/>
                      <a:pt x="8964" y="3817"/>
                      <a:pt x="9202" y="4006"/>
                    </a:cubicBezTo>
                    <a:cubicBezTo>
                      <a:pt x="9325" y="4109"/>
                      <a:pt x="9444" y="4178"/>
                      <a:pt x="9596" y="4195"/>
                    </a:cubicBezTo>
                    <a:cubicBezTo>
                      <a:pt x="9635" y="4201"/>
                      <a:pt x="9672" y="4204"/>
                      <a:pt x="9708" y="4204"/>
                    </a:cubicBezTo>
                    <a:cubicBezTo>
                      <a:pt x="9958" y="4204"/>
                      <a:pt x="10137" y="4056"/>
                      <a:pt x="10212" y="3801"/>
                    </a:cubicBezTo>
                    <a:cubicBezTo>
                      <a:pt x="10282" y="3579"/>
                      <a:pt x="10266" y="3341"/>
                      <a:pt x="10249" y="3115"/>
                    </a:cubicBezTo>
                    <a:cubicBezTo>
                      <a:pt x="10163" y="2536"/>
                      <a:pt x="9904" y="2023"/>
                      <a:pt x="9596" y="1526"/>
                    </a:cubicBezTo>
                    <a:cubicBezTo>
                      <a:pt x="9358" y="1185"/>
                      <a:pt x="9136" y="824"/>
                      <a:pt x="8812" y="549"/>
                    </a:cubicBezTo>
                    <a:cubicBezTo>
                      <a:pt x="8520" y="261"/>
                      <a:pt x="8159" y="89"/>
                      <a:pt x="7765" y="35"/>
                    </a:cubicBezTo>
                    <a:cubicBezTo>
                      <a:pt x="7709" y="25"/>
                      <a:pt x="7654" y="20"/>
                      <a:pt x="7600" y="20"/>
                    </a:cubicBezTo>
                    <a:cubicBezTo>
                      <a:pt x="7395" y="20"/>
                      <a:pt x="7209" y="94"/>
                      <a:pt x="7046" y="241"/>
                    </a:cubicBezTo>
                    <a:cubicBezTo>
                      <a:pt x="6825" y="430"/>
                      <a:pt x="6706" y="672"/>
                      <a:pt x="6603" y="926"/>
                    </a:cubicBezTo>
                    <a:cubicBezTo>
                      <a:pt x="6570" y="1045"/>
                      <a:pt x="6533" y="1185"/>
                      <a:pt x="6500" y="1304"/>
                    </a:cubicBezTo>
                    <a:cubicBezTo>
                      <a:pt x="6500" y="1336"/>
                      <a:pt x="6493" y="1354"/>
                      <a:pt x="6480" y="1354"/>
                    </a:cubicBezTo>
                    <a:cubicBezTo>
                      <a:pt x="6472" y="1354"/>
                      <a:pt x="6463" y="1349"/>
                      <a:pt x="6451" y="1337"/>
                    </a:cubicBezTo>
                    <a:cubicBezTo>
                      <a:pt x="6035" y="1160"/>
                      <a:pt x="5616" y="1075"/>
                      <a:pt x="5198" y="1075"/>
                    </a:cubicBezTo>
                    <a:cubicBezTo>
                      <a:pt x="4769" y="1075"/>
                      <a:pt x="4341" y="1165"/>
                      <a:pt x="3918" y="1337"/>
                    </a:cubicBezTo>
                    <a:cubicBezTo>
                      <a:pt x="3872" y="1357"/>
                      <a:pt x="3844" y="1370"/>
                      <a:pt x="3824" y="1370"/>
                    </a:cubicBezTo>
                    <a:cubicBezTo>
                      <a:pt x="3793" y="1370"/>
                      <a:pt x="3784" y="1337"/>
                      <a:pt x="3761" y="1251"/>
                    </a:cubicBezTo>
                    <a:cubicBezTo>
                      <a:pt x="3696" y="943"/>
                      <a:pt x="3593" y="651"/>
                      <a:pt x="3388" y="397"/>
                    </a:cubicBezTo>
                    <a:cubicBezTo>
                      <a:pt x="3188" y="134"/>
                      <a:pt x="2940" y="0"/>
                      <a:pt x="264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91" name="Google Shape;691;p25"/>
              <p:cNvSpPr/>
              <p:nvPr/>
            </p:nvSpPr>
            <p:spPr>
              <a:xfrm>
                <a:off x="951975" y="1891775"/>
                <a:ext cx="71050" cy="27725"/>
              </a:xfrm>
              <a:custGeom>
                <a:avLst/>
                <a:gdLst/>
                <a:ahLst/>
                <a:cxnLst/>
                <a:rect l="l" t="t" r="r" b="b"/>
                <a:pathLst>
                  <a:path w="2842" h="1109" extrusionOk="0">
                    <a:moveTo>
                      <a:pt x="2054" y="218"/>
                    </a:moveTo>
                    <a:cubicBezTo>
                      <a:pt x="2111" y="218"/>
                      <a:pt x="2162" y="253"/>
                      <a:pt x="2193" y="325"/>
                    </a:cubicBezTo>
                    <a:lnTo>
                      <a:pt x="2193" y="395"/>
                    </a:lnTo>
                    <a:cubicBezTo>
                      <a:pt x="2193" y="461"/>
                      <a:pt x="2193" y="514"/>
                      <a:pt x="2156" y="580"/>
                    </a:cubicBezTo>
                    <a:cubicBezTo>
                      <a:pt x="2156" y="594"/>
                      <a:pt x="2147" y="607"/>
                      <a:pt x="2131" y="607"/>
                    </a:cubicBezTo>
                    <a:cubicBezTo>
                      <a:pt x="2124" y="607"/>
                      <a:pt x="2116" y="605"/>
                      <a:pt x="2107" y="600"/>
                    </a:cubicBezTo>
                    <a:cubicBezTo>
                      <a:pt x="2020" y="563"/>
                      <a:pt x="1950" y="498"/>
                      <a:pt x="1934" y="395"/>
                    </a:cubicBezTo>
                    <a:cubicBezTo>
                      <a:pt x="1918" y="309"/>
                      <a:pt x="1950" y="239"/>
                      <a:pt x="2020" y="222"/>
                    </a:cubicBezTo>
                    <a:cubicBezTo>
                      <a:pt x="2032" y="220"/>
                      <a:pt x="2043" y="218"/>
                      <a:pt x="2054" y="218"/>
                    </a:cubicBezTo>
                    <a:close/>
                    <a:moveTo>
                      <a:pt x="866" y="265"/>
                    </a:moveTo>
                    <a:cubicBezTo>
                      <a:pt x="891" y="265"/>
                      <a:pt x="912" y="281"/>
                      <a:pt x="924" y="309"/>
                    </a:cubicBezTo>
                    <a:cubicBezTo>
                      <a:pt x="977" y="395"/>
                      <a:pt x="940" y="461"/>
                      <a:pt x="891" y="530"/>
                    </a:cubicBezTo>
                    <a:cubicBezTo>
                      <a:pt x="858" y="563"/>
                      <a:pt x="821" y="617"/>
                      <a:pt x="788" y="617"/>
                    </a:cubicBezTo>
                    <a:cubicBezTo>
                      <a:pt x="735" y="600"/>
                      <a:pt x="735" y="530"/>
                      <a:pt x="719" y="477"/>
                    </a:cubicBezTo>
                    <a:cubicBezTo>
                      <a:pt x="719" y="395"/>
                      <a:pt x="756" y="325"/>
                      <a:pt x="838" y="272"/>
                    </a:cubicBezTo>
                    <a:cubicBezTo>
                      <a:pt x="847" y="267"/>
                      <a:pt x="857" y="265"/>
                      <a:pt x="866" y="265"/>
                    </a:cubicBezTo>
                    <a:close/>
                    <a:moveTo>
                      <a:pt x="2772" y="1"/>
                    </a:moveTo>
                    <a:cubicBezTo>
                      <a:pt x="2755" y="1"/>
                      <a:pt x="2755" y="34"/>
                      <a:pt x="2739" y="50"/>
                    </a:cubicBezTo>
                    <a:cubicBezTo>
                      <a:pt x="2739" y="136"/>
                      <a:pt x="2722" y="222"/>
                      <a:pt x="2706" y="309"/>
                    </a:cubicBezTo>
                    <a:cubicBezTo>
                      <a:pt x="2669" y="530"/>
                      <a:pt x="2550" y="633"/>
                      <a:pt x="2328" y="650"/>
                    </a:cubicBezTo>
                    <a:cubicBezTo>
                      <a:pt x="2275" y="650"/>
                      <a:pt x="2275" y="633"/>
                      <a:pt x="2295" y="600"/>
                    </a:cubicBezTo>
                    <a:cubicBezTo>
                      <a:pt x="2328" y="498"/>
                      <a:pt x="2328" y="395"/>
                      <a:pt x="2295" y="292"/>
                    </a:cubicBezTo>
                    <a:cubicBezTo>
                      <a:pt x="2266" y="168"/>
                      <a:pt x="2173" y="88"/>
                      <a:pt x="2068" y="88"/>
                    </a:cubicBezTo>
                    <a:cubicBezTo>
                      <a:pt x="2042" y="88"/>
                      <a:pt x="2015" y="93"/>
                      <a:pt x="1987" y="103"/>
                    </a:cubicBezTo>
                    <a:cubicBezTo>
                      <a:pt x="1848" y="153"/>
                      <a:pt x="1782" y="292"/>
                      <a:pt x="1831" y="444"/>
                    </a:cubicBezTo>
                    <a:cubicBezTo>
                      <a:pt x="1864" y="547"/>
                      <a:pt x="1934" y="633"/>
                      <a:pt x="2020" y="682"/>
                    </a:cubicBezTo>
                    <a:cubicBezTo>
                      <a:pt x="2090" y="719"/>
                      <a:pt x="2070" y="736"/>
                      <a:pt x="2037" y="769"/>
                    </a:cubicBezTo>
                    <a:cubicBezTo>
                      <a:pt x="1918" y="888"/>
                      <a:pt x="1762" y="925"/>
                      <a:pt x="1610" y="957"/>
                    </a:cubicBezTo>
                    <a:cubicBezTo>
                      <a:pt x="1554" y="972"/>
                      <a:pt x="1500" y="978"/>
                      <a:pt x="1448" y="978"/>
                    </a:cubicBezTo>
                    <a:cubicBezTo>
                      <a:pt x="1245" y="978"/>
                      <a:pt x="1071" y="880"/>
                      <a:pt x="908" y="769"/>
                    </a:cubicBezTo>
                    <a:cubicBezTo>
                      <a:pt x="875" y="736"/>
                      <a:pt x="875" y="719"/>
                      <a:pt x="908" y="703"/>
                    </a:cubicBezTo>
                    <a:cubicBezTo>
                      <a:pt x="1010" y="600"/>
                      <a:pt x="1096" y="498"/>
                      <a:pt x="1064" y="342"/>
                    </a:cubicBezTo>
                    <a:cubicBezTo>
                      <a:pt x="1064" y="255"/>
                      <a:pt x="1027" y="190"/>
                      <a:pt x="940" y="153"/>
                    </a:cubicBezTo>
                    <a:cubicBezTo>
                      <a:pt x="918" y="144"/>
                      <a:pt x="896" y="140"/>
                      <a:pt x="875" y="140"/>
                    </a:cubicBezTo>
                    <a:cubicBezTo>
                      <a:pt x="820" y="140"/>
                      <a:pt x="769" y="167"/>
                      <a:pt x="719" y="206"/>
                    </a:cubicBezTo>
                    <a:cubicBezTo>
                      <a:pt x="600" y="292"/>
                      <a:pt x="567" y="444"/>
                      <a:pt x="632" y="600"/>
                    </a:cubicBezTo>
                    <a:cubicBezTo>
                      <a:pt x="653" y="650"/>
                      <a:pt x="632" y="650"/>
                      <a:pt x="583" y="650"/>
                    </a:cubicBezTo>
                    <a:cubicBezTo>
                      <a:pt x="577" y="650"/>
                      <a:pt x="571" y="650"/>
                      <a:pt x="564" y="650"/>
                    </a:cubicBezTo>
                    <a:cubicBezTo>
                      <a:pt x="375" y="650"/>
                      <a:pt x="104" y="420"/>
                      <a:pt x="140" y="206"/>
                    </a:cubicBezTo>
                    <a:cubicBezTo>
                      <a:pt x="140" y="169"/>
                      <a:pt x="119" y="153"/>
                      <a:pt x="119" y="120"/>
                    </a:cubicBezTo>
                    <a:cubicBezTo>
                      <a:pt x="119" y="103"/>
                      <a:pt x="119" y="66"/>
                      <a:pt x="86" y="66"/>
                    </a:cubicBezTo>
                    <a:cubicBezTo>
                      <a:pt x="70" y="66"/>
                      <a:pt x="53" y="87"/>
                      <a:pt x="53" y="103"/>
                    </a:cubicBezTo>
                    <a:cubicBezTo>
                      <a:pt x="0" y="169"/>
                      <a:pt x="0" y="255"/>
                      <a:pt x="16" y="342"/>
                    </a:cubicBezTo>
                    <a:cubicBezTo>
                      <a:pt x="83" y="603"/>
                      <a:pt x="349" y="787"/>
                      <a:pt x="626" y="787"/>
                    </a:cubicBezTo>
                    <a:cubicBezTo>
                      <a:pt x="640" y="787"/>
                      <a:pt x="655" y="786"/>
                      <a:pt x="669" y="785"/>
                    </a:cubicBezTo>
                    <a:cubicBezTo>
                      <a:pt x="682" y="781"/>
                      <a:pt x="693" y="779"/>
                      <a:pt x="702" y="779"/>
                    </a:cubicBezTo>
                    <a:cubicBezTo>
                      <a:pt x="729" y="779"/>
                      <a:pt x="745" y="795"/>
                      <a:pt x="772" y="822"/>
                    </a:cubicBezTo>
                    <a:cubicBezTo>
                      <a:pt x="1004" y="1014"/>
                      <a:pt x="1230" y="1108"/>
                      <a:pt x="1466" y="1108"/>
                    </a:cubicBezTo>
                    <a:cubicBezTo>
                      <a:pt x="1648" y="1108"/>
                      <a:pt x="1836" y="1052"/>
                      <a:pt x="2037" y="941"/>
                    </a:cubicBezTo>
                    <a:cubicBezTo>
                      <a:pt x="2090" y="908"/>
                      <a:pt x="2139" y="855"/>
                      <a:pt x="2172" y="806"/>
                    </a:cubicBezTo>
                    <a:cubicBezTo>
                      <a:pt x="2209" y="769"/>
                      <a:pt x="2226" y="752"/>
                      <a:pt x="2258" y="752"/>
                    </a:cubicBezTo>
                    <a:cubicBezTo>
                      <a:pt x="2279" y="757"/>
                      <a:pt x="2301" y="759"/>
                      <a:pt x="2323" y="759"/>
                    </a:cubicBezTo>
                    <a:cubicBezTo>
                      <a:pt x="2377" y="759"/>
                      <a:pt x="2434" y="747"/>
                      <a:pt x="2480" y="736"/>
                    </a:cubicBezTo>
                    <a:cubicBezTo>
                      <a:pt x="2685" y="682"/>
                      <a:pt x="2788" y="547"/>
                      <a:pt x="2825" y="358"/>
                    </a:cubicBezTo>
                    <a:cubicBezTo>
                      <a:pt x="2825" y="255"/>
                      <a:pt x="2842" y="153"/>
                      <a:pt x="2825" y="50"/>
                    </a:cubicBezTo>
                    <a:cubicBezTo>
                      <a:pt x="2809" y="34"/>
                      <a:pt x="2809" y="1"/>
                      <a:pt x="2772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92" name="Google Shape;692;p25"/>
              <p:cNvSpPr/>
              <p:nvPr/>
            </p:nvSpPr>
            <p:spPr>
              <a:xfrm>
                <a:off x="874150" y="1918275"/>
                <a:ext cx="5575" cy="8525"/>
              </a:xfrm>
              <a:custGeom>
                <a:avLst/>
                <a:gdLst/>
                <a:ahLst/>
                <a:cxnLst/>
                <a:rect l="l" t="t" r="r" b="b"/>
                <a:pathLst>
                  <a:path w="223" h="341" extrusionOk="0">
                    <a:moveTo>
                      <a:pt x="33" y="0"/>
                    </a:moveTo>
                    <a:cubicBezTo>
                      <a:pt x="17" y="17"/>
                      <a:pt x="1" y="33"/>
                      <a:pt x="1" y="53"/>
                    </a:cubicBezTo>
                    <a:cubicBezTo>
                      <a:pt x="33" y="156"/>
                      <a:pt x="87" y="238"/>
                      <a:pt x="153" y="324"/>
                    </a:cubicBezTo>
                    <a:cubicBezTo>
                      <a:pt x="173" y="341"/>
                      <a:pt x="189" y="341"/>
                      <a:pt x="206" y="341"/>
                    </a:cubicBezTo>
                    <a:cubicBezTo>
                      <a:pt x="222" y="324"/>
                      <a:pt x="222" y="308"/>
                      <a:pt x="222" y="275"/>
                    </a:cubicBezTo>
                    <a:cubicBezTo>
                      <a:pt x="189" y="189"/>
                      <a:pt x="136" y="86"/>
                      <a:pt x="87" y="17"/>
                    </a:cubicBezTo>
                    <a:cubicBezTo>
                      <a:pt x="70" y="0"/>
                      <a:pt x="50" y="0"/>
                      <a:pt x="3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93" name="Google Shape;693;p25"/>
              <p:cNvSpPr/>
              <p:nvPr/>
            </p:nvSpPr>
            <p:spPr>
              <a:xfrm>
                <a:off x="1085825" y="1900825"/>
                <a:ext cx="5675" cy="8700"/>
              </a:xfrm>
              <a:custGeom>
                <a:avLst/>
                <a:gdLst/>
                <a:ahLst/>
                <a:cxnLst/>
                <a:rect l="l" t="t" r="r" b="b"/>
                <a:pathLst>
                  <a:path w="227" h="348" extrusionOk="0">
                    <a:moveTo>
                      <a:pt x="175" y="0"/>
                    </a:moveTo>
                    <a:cubicBezTo>
                      <a:pt x="165" y="0"/>
                      <a:pt x="156" y="4"/>
                      <a:pt x="156" y="12"/>
                    </a:cubicBezTo>
                    <a:cubicBezTo>
                      <a:pt x="87" y="99"/>
                      <a:pt x="37" y="185"/>
                      <a:pt x="0" y="288"/>
                    </a:cubicBezTo>
                    <a:cubicBezTo>
                      <a:pt x="0" y="304"/>
                      <a:pt x="0" y="341"/>
                      <a:pt x="37" y="341"/>
                    </a:cubicBezTo>
                    <a:cubicBezTo>
                      <a:pt x="42" y="346"/>
                      <a:pt x="47" y="348"/>
                      <a:pt x="51" y="348"/>
                    </a:cubicBezTo>
                    <a:cubicBezTo>
                      <a:pt x="63" y="348"/>
                      <a:pt x="75" y="335"/>
                      <a:pt x="87" y="320"/>
                    </a:cubicBezTo>
                    <a:cubicBezTo>
                      <a:pt x="156" y="255"/>
                      <a:pt x="189" y="168"/>
                      <a:pt x="226" y="66"/>
                    </a:cubicBezTo>
                    <a:cubicBezTo>
                      <a:pt x="226" y="49"/>
                      <a:pt x="226" y="12"/>
                      <a:pt x="206" y="12"/>
                    </a:cubicBezTo>
                    <a:cubicBezTo>
                      <a:pt x="198" y="4"/>
                      <a:pt x="185" y="0"/>
                      <a:pt x="17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94" name="Google Shape;694;p25"/>
              <p:cNvSpPr/>
              <p:nvPr/>
            </p:nvSpPr>
            <p:spPr>
              <a:xfrm>
                <a:off x="869025" y="1922400"/>
                <a:ext cx="5975" cy="8200"/>
              </a:xfrm>
              <a:custGeom>
                <a:avLst/>
                <a:gdLst/>
                <a:ahLst/>
                <a:cxnLst/>
                <a:rect l="l" t="t" r="r" b="b"/>
                <a:pathLst>
                  <a:path w="239" h="328" extrusionOk="0">
                    <a:moveTo>
                      <a:pt x="48" y="1"/>
                    </a:moveTo>
                    <a:cubicBezTo>
                      <a:pt x="43" y="1"/>
                      <a:pt x="38" y="3"/>
                      <a:pt x="33" y="8"/>
                    </a:cubicBezTo>
                    <a:cubicBezTo>
                      <a:pt x="0" y="8"/>
                      <a:pt x="0" y="24"/>
                      <a:pt x="17" y="57"/>
                    </a:cubicBezTo>
                    <a:cubicBezTo>
                      <a:pt x="33" y="143"/>
                      <a:pt x="87" y="229"/>
                      <a:pt x="152" y="316"/>
                    </a:cubicBezTo>
                    <a:cubicBezTo>
                      <a:pt x="162" y="324"/>
                      <a:pt x="172" y="328"/>
                      <a:pt x="180" y="328"/>
                    </a:cubicBezTo>
                    <a:cubicBezTo>
                      <a:pt x="189" y="328"/>
                      <a:pt x="197" y="324"/>
                      <a:pt x="206" y="316"/>
                    </a:cubicBezTo>
                    <a:cubicBezTo>
                      <a:pt x="238" y="299"/>
                      <a:pt x="222" y="279"/>
                      <a:pt x="222" y="262"/>
                    </a:cubicBezTo>
                    <a:cubicBezTo>
                      <a:pt x="189" y="176"/>
                      <a:pt x="119" y="94"/>
                      <a:pt x="70" y="24"/>
                    </a:cubicBezTo>
                    <a:cubicBezTo>
                      <a:pt x="70" y="12"/>
                      <a:pt x="60" y="1"/>
                      <a:pt x="48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95" name="Google Shape;695;p25"/>
              <p:cNvSpPr/>
              <p:nvPr/>
            </p:nvSpPr>
            <p:spPr>
              <a:xfrm>
                <a:off x="910900" y="1865700"/>
                <a:ext cx="3525" cy="9375"/>
              </a:xfrm>
              <a:custGeom>
                <a:avLst/>
                <a:gdLst/>
                <a:ahLst/>
                <a:cxnLst/>
                <a:rect l="l" t="t" r="r" b="b"/>
                <a:pathLst>
                  <a:path w="141" h="375" extrusionOk="0">
                    <a:moveTo>
                      <a:pt x="103" y="1"/>
                    </a:moveTo>
                    <a:cubicBezTo>
                      <a:pt x="87" y="1"/>
                      <a:pt x="54" y="17"/>
                      <a:pt x="54" y="34"/>
                    </a:cubicBezTo>
                    <a:cubicBezTo>
                      <a:pt x="17" y="120"/>
                      <a:pt x="1" y="223"/>
                      <a:pt x="1" y="342"/>
                    </a:cubicBezTo>
                    <a:cubicBezTo>
                      <a:pt x="1" y="358"/>
                      <a:pt x="17" y="374"/>
                      <a:pt x="38" y="374"/>
                    </a:cubicBezTo>
                    <a:cubicBezTo>
                      <a:pt x="54" y="374"/>
                      <a:pt x="70" y="358"/>
                      <a:pt x="87" y="342"/>
                    </a:cubicBezTo>
                    <a:cubicBezTo>
                      <a:pt x="120" y="255"/>
                      <a:pt x="140" y="153"/>
                      <a:pt x="140" y="34"/>
                    </a:cubicBezTo>
                    <a:cubicBezTo>
                      <a:pt x="140" y="17"/>
                      <a:pt x="120" y="1"/>
                      <a:pt x="103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96" name="Google Shape;696;p25"/>
              <p:cNvSpPr/>
              <p:nvPr/>
            </p:nvSpPr>
            <p:spPr>
              <a:xfrm>
                <a:off x="904550" y="1865950"/>
                <a:ext cx="3000" cy="912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365" extrusionOk="0">
                    <a:moveTo>
                      <a:pt x="71" y="1"/>
                    </a:moveTo>
                    <a:cubicBezTo>
                      <a:pt x="57" y="1"/>
                      <a:pt x="45" y="16"/>
                      <a:pt x="33" y="40"/>
                    </a:cubicBezTo>
                    <a:cubicBezTo>
                      <a:pt x="16" y="126"/>
                      <a:pt x="0" y="229"/>
                      <a:pt x="0" y="332"/>
                    </a:cubicBezTo>
                    <a:cubicBezTo>
                      <a:pt x="16" y="348"/>
                      <a:pt x="16" y="364"/>
                      <a:pt x="49" y="364"/>
                    </a:cubicBezTo>
                    <a:cubicBezTo>
                      <a:pt x="66" y="364"/>
                      <a:pt x="86" y="348"/>
                      <a:pt x="86" y="315"/>
                    </a:cubicBezTo>
                    <a:cubicBezTo>
                      <a:pt x="119" y="229"/>
                      <a:pt x="119" y="143"/>
                      <a:pt x="119" y="40"/>
                    </a:cubicBezTo>
                    <a:cubicBezTo>
                      <a:pt x="119" y="24"/>
                      <a:pt x="119" y="7"/>
                      <a:pt x="86" y="7"/>
                    </a:cubicBezTo>
                    <a:cubicBezTo>
                      <a:pt x="81" y="3"/>
                      <a:pt x="76" y="1"/>
                      <a:pt x="71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97" name="Google Shape;697;p25"/>
              <p:cNvSpPr/>
              <p:nvPr/>
            </p:nvSpPr>
            <p:spPr>
              <a:xfrm>
                <a:off x="986250" y="1890850"/>
                <a:ext cx="8125" cy="6400"/>
              </a:xfrm>
              <a:custGeom>
                <a:avLst/>
                <a:gdLst/>
                <a:ahLst/>
                <a:cxnLst/>
                <a:rect l="l" t="t" r="r" b="b"/>
                <a:pathLst>
                  <a:path w="325" h="256" extrusionOk="0">
                    <a:moveTo>
                      <a:pt x="272" y="1"/>
                    </a:moveTo>
                    <a:cubicBezTo>
                      <a:pt x="169" y="54"/>
                      <a:pt x="83" y="103"/>
                      <a:pt x="17" y="190"/>
                    </a:cubicBezTo>
                    <a:cubicBezTo>
                      <a:pt x="1" y="190"/>
                      <a:pt x="1" y="227"/>
                      <a:pt x="17" y="243"/>
                    </a:cubicBezTo>
                    <a:cubicBezTo>
                      <a:pt x="17" y="251"/>
                      <a:pt x="21" y="255"/>
                      <a:pt x="29" y="255"/>
                    </a:cubicBezTo>
                    <a:cubicBezTo>
                      <a:pt x="37" y="255"/>
                      <a:pt x="50" y="251"/>
                      <a:pt x="66" y="243"/>
                    </a:cubicBezTo>
                    <a:cubicBezTo>
                      <a:pt x="152" y="206"/>
                      <a:pt x="239" y="157"/>
                      <a:pt x="325" y="71"/>
                    </a:cubicBezTo>
                    <a:lnTo>
                      <a:pt x="325" y="21"/>
                    </a:lnTo>
                    <a:cubicBezTo>
                      <a:pt x="308" y="1"/>
                      <a:pt x="288" y="1"/>
                      <a:pt x="272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98" name="Google Shape;698;p25"/>
              <p:cNvSpPr/>
              <p:nvPr/>
            </p:nvSpPr>
            <p:spPr>
              <a:xfrm>
                <a:off x="981125" y="1886650"/>
                <a:ext cx="8125" cy="6050"/>
              </a:xfrm>
              <a:custGeom>
                <a:avLst/>
                <a:gdLst/>
                <a:ahLst/>
                <a:cxnLst/>
                <a:rect l="l" t="t" r="r" b="b"/>
                <a:pathLst>
                  <a:path w="325" h="242" extrusionOk="0">
                    <a:moveTo>
                      <a:pt x="255" y="0"/>
                    </a:moveTo>
                    <a:cubicBezTo>
                      <a:pt x="169" y="33"/>
                      <a:pt x="82" y="103"/>
                      <a:pt x="17" y="169"/>
                    </a:cubicBezTo>
                    <a:cubicBezTo>
                      <a:pt x="0" y="189"/>
                      <a:pt x="0" y="206"/>
                      <a:pt x="17" y="222"/>
                    </a:cubicBezTo>
                    <a:cubicBezTo>
                      <a:pt x="24" y="236"/>
                      <a:pt x="31" y="241"/>
                      <a:pt x="37" y="241"/>
                    </a:cubicBezTo>
                    <a:cubicBezTo>
                      <a:pt x="47" y="241"/>
                      <a:pt x="56" y="232"/>
                      <a:pt x="66" y="222"/>
                    </a:cubicBezTo>
                    <a:cubicBezTo>
                      <a:pt x="152" y="189"/>
                      <a:pt x="222" y="120"/>
                      <a:pt x="308" y="66"/>
                    </a:cubicBezTo>
                    <a:cubicBezTo>
                      <a:pt x="325" y="50"/>
                      <a:pt x="325" y="33"/>
                      <a:pt x="308" y="17"/>
                    </a:cubicBezTo>
                    <a:cubicBezTo>
                      <a:pt x="308" y="0"/>
                      <a:pt x="288" y="0"/>
                      <a:pt x="25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699" name="Google Shape;699;p25"/>
              <p:cNvSpPr/>
              <p:nvPr/>
            </p:nvSpPr>
            <p:spPr>
              <a:xfrm>
                <a:off x="1090550" y="1905025"/>
                <a:ext cx="6500" cy="8300"/>
              </a:xfrm>
              <a:custGeom>
                <a:avLst/>
                <a:gdLst/>
                <a:ahLst/>
                <a:cxnLst/>
                <a:rect l="l" t="t" r="r" b="b"/>
                <a:pathLst>
                  <a:path w="260" h="332" extrusionOk="0">
                    <a:moveTo>
                      <a:pt x="206" y="0"/>
                    </a:moveTo>
                    <a:cubicBezTo>
                      <a:pt x="189" y="0"/>
                      <a:pt x="173" y="17"/>
                      <a:pt x="173" y="33"/>
                    </a:cubicBezTo>
                    <a:cubicBezTo>
                      <a:pt x="119" y="103"/>
                      <a:pt x="70" y="173"/>
                      <a:pt x="37" y="255"/>
                    </a:cubicBezTo>
                    <a:cubicBezTo>
                      <a:pt x="17" y="276"/>
                      <a:pt x="0" y="308"/>
                      <a:pt x="37" y="325"/>
                    </a:cubicBezTo>
                    <a:cubicBezTo>
                      <a:pt x="47" y="330"/>
                      <a:pt x="55" y="332"/>
                      <a:pt x="62" y="332"/>
                    </a:cubicBezTo>
                    <a:cubicBezTo>
                      <a:pt x="80" y="332"/>
                      <a:pt x="91" y="320"/>
                      <a:pt x="103" y="308"/>
                    </a:cubicBezTo>
                    <a:cubicBezTo>
                      <a:pt x="156" y="239"/>
                      <a:pt x="206" y="152"/>
                      <a:pt x="243" y="70"/>
                    </a:cubicBezTo>
                    <a:cubicBezTo>
                      <a:pt x="243" y="50"/>
                      <a:pt x="259" y="17"/>
                      <a:pt x="20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00" name="Google Shape;700;p25"/>
              <p:cNvSpPr/>
              <p:nvPr/>
            </p:nvSpPr>
            <p:spPr>
              <a:xfrm>
                <a:off x="948825" y="1912175"/>
                <a:ext cx="22875" cy="13950"/>
              </a:xfrm>
              <a:custGeom>
                <a:avLst/>
                <a:gdLst/>
                <a:ahLst/>
                <a:cxnLst/>
                <a:rect l="l" t="t" r="r" b="b"/>
                <a:pathLst>
                  <a:path w="915" h="558" extrusionOk="0">
                    <a:moveTo>
                      <a:pt x="250" y="1"/>
                    </a:moveTo>
                    <a:cubicBezTo>
                      <a:pt x="178" y="1"/>
                      <a:pt x="120" y="22"/>
                      <a:pt x="93" y="72"/>
                    </a:cubicBezTo>
                    <a:cubicBezTo>
                      <a:pt x="1" y="231"/>
                      <a:pt x="310" y="557"/>
                      <a:pt x="557" y="557"/>
                    </a:cubicBezTo>
                    <a:cubicBezTo>
                      <a:pt x="627" y="557"/>
                      <a:pt x="693" y="531"/>
                      <a:pt x="742" y="466"/>
                    </a:cubicBezTo>
                    <a:cubicBezTo>
                      <a:pt x="914" y="256"/>
                      <a:pt x="500" y="1"/>
                      <a:pt x="250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01" name="Google Shape;701;p25"/>
              <p:cNvSpPr/>
              <p:nvPr/>
            </p:nvSpPr>
            <p:spPr>
              <a:xfrm>
                <a:off x="948575" y="1910925"/>
                <a:ext cx="21375" cy="16400"/>
              </a:xfrm>
              <a:custGeom>
                <a:avLst/>
                <a:gdLst/>
                <a:ahLst/>
                <a:cxnLst/>
                <a:rect l="l" t="t" r="r" b="b"/>
                <a:pathLst>
                  <a:path w="855" h="656" extrusionOk="0">
                    <a:moveTo>
                      <a:pt x="264" y="103"/>
                    </a:moveTo>
                    <a:cubicBezTo>
                      <a:pt x="335" y="103"/>
                      <a:pt x="408" y="130"/>
                      <a:pt x="428" y="142"/>
                    </a:cubicBezTo>
                    <a:cubicBezTo>
                      <a:pt x="514" y="175"/>
                      <a:pt x="584" y="208"/>
                      <a:pt x="649" y="261"/>
                    </a:cubicBezTo>
                    <a:cubicBezTo>
                      <a:pt x="703" y="311"/>
                      <a:pt x="752" y="380"/>
                      <a:pt x="736" y="467"/>
                    </a:cubicBezTo>
                    <a:cubicBezTo>
                      <a:pt x="736" y="478"/>
                      <a:pt x="711" y="541"/>
                      <a:pt x="612" y="541"/>
                    </a:cubicBezTo>
                    <a:cubicBezTo>
                      <a:pt x="570" y="541"/>
                      <a:pt x="516" y="530"/>
                      <a:pt x="444" y="499"/>
                    </a:cubicBezTo>
                    <a:cubicBezTo>
                      <a:pt x="325" y="450"/>
                      <a:pt x="239" y="380"/>
                      <a:pt x="173" y="278"/>
                    </a:cubicBezTo>
                    <a:cubicBezTo>
                      <a:pt x="136" y="245"/>
                      <a:pt x="120" y="191"/>
                      <a:pt x="136" y="159"/>
                    </a:cubicBezTo>
                    <a:cubicBezTo>
                      <a:pt x="165" y="116"/>
                      <a:pt x="214" y="103"/>
                      <a:pt x="264" y="103"/>
                    </a:cubicBezTo>
                    <a:close/>
                    <a:moveTo>
                      <a:pt x="263" y="0"/>
                    </a:moveTo>
                    <a:cubicBezTo>
                      <a:pt x="184" y="0"/>
                      <a:pt x="104" y="22"/>
                      <a:pt x="50" y="89"/>
                    </a:cubicBezTo>
                    <a:cubicBezTo>
                      <a:pt x="1" y="175"/>
                      <a:pt x="17" y="278"/>
                      <a:pt x="70" y="364"/>
                    </a:cubicBezTo>
                    <a:cubicBezTo>
                      <a:pt x="152" y="467"/>
                      <a:pt x="255" y="532"/>
                      <a:pt x="378" y="586"/>
                    </a:cubicBezTo>
                    <a:cubicBezTo>
                      <a:pt x="444" y="618"/>
                      <a:pt x="530" y="655"/>
                      <a:pt x="600" y="655"/>
                    </a:cubicBezTo>
                    <a:cubicBezTo>
                      <a:pt x="649" y="655"/>
                      <a:pt x="703" y="635"/>
                      <a:pt x="736" y="618"/>
                    </a:cubicBezTo>
                    <a:cubicBezTo>
                      <a:pt x="805" y="586"/>
                      <a:pt x="855" y="532"/>
                      <a:pt x="855" y="450"/>
                    </a:cubicBezTo>
                    <a:cubicBezTo>
                      <a:pt x="855" y="397"/>
                      <a:pt x="838" y="347"/>
                      <a:pt x="805" y="294"/>
                    </a:cubicBezTo>
                    <a:cubicBezTo>
                      <a:pt x="789" y="245"/>
                      <a:pt x="736" y="191"/>
                      <a:pt x="686" y="159"/>
                    </a:cubicBezTo>
                    <a:cubicBezTo>
                      <a:pt x="633" y="122"/>
                      <a:pt x="563" y="89"/>
                      <a:pt x="514" y="56"/>
                    </a:cubicBezTo>
                    <a:cubicBezTo>
                      <a:pt x="466" y="35"/>
                      <a:pt x="364" y="0"/>
                      <a:pt x="26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02" name="Google Shape;702;p25"/>
              <p:cNvSpPr/>
              <p:nvPr/>
            </p:nvSpPr>
            <p:spPr>
              <a:xfrm>
                <a:off x="1006225" y="1911925"/>
                <a:ext cx="20925" cy="12625"/>
              </a:xfrm>
              <a:custGeom>
                <a:avLst/>
                <a:gdLst/>
                <a:ahLst/>
                <a:cxnLst/>
                <a:rect l="l" t="t" r="r" b="b"/>
                <a:pathLst>
                  <a:path w="837" h="505" extrusionOk="0">
                    <a:moveTo>
                      <a:pt x="574" y="0"/>
                    </a:moveTo>
                    <a:cubicBezTo>
                      <a:pt x="335" y="0"/>
                      <a:pt x="1" y="224"/>
                      <a:pt x="72" y="390"/>
                    </a:cubicBezTo>
                    <a:cubicBezTo>
                      <a:pt x="102" y="468"/>
                      <a:pt x="205" y="504"/>
                      <a:pt x="325" y="504"/>
                    </a:cubicBezTo>
                    <a:cubicBezTo>
                      <a:pt x="552" y="504"/>
                      <a:pt x="836" y="374"/>
                      <a:pt x="791" y="151"/>
                    </a:cubicBezTo>
                    <a:cubicBezTo>
                      <a:pt x="764" y="43"/>
                      <a:pt x="678" y="0"/>
                      <a:pt x="574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03" name="Google Shape;703;p25"/>
              <p:cNvSpPr/>
              <p:nvPr/>
            </p:nvSpPr>
            <p:spPr>
              <a:xfrm>
                <a:off x="1005450" y="1910475"/>
                <a:ext cx="22700" cy="15525"/>
              </a:xfrm>
              <a:custGeom>
                <a:avLst/>
                <a:gdLst/>
                <a:ahLst/>
                <a:cxnLst/>
                <a:rect l="l" t="t" r="r" b="b"/>
                <a:pathLst>
                  <a:path w="908" h="621" extrusionOk="0">
                    <a:moveTo>
                      <a:pt x="546" y="107"/>
                    </a:moveTo>
                    <a:cubicBezTo>
                      <a:pt x="633" y="107"/>
                      <a:pt x="703" y="107"/>
                      <a:pt x="772" y="160"/>
                    </a:cubicBezTo>
                    <a:cubicBezTo>
                      <a:pt x="789" y="193"/>
                      <a:pt x="838" y="312"/>
                      <a:pt x="600" y="415"/>
                    </a:cubicBezTo>
                    <a:cubicBezTo>
                      <a:pt x="497" y="468"/>
                      <a:pt x="378" y="501"/>
                      <a:pt x="259" y="501"/>
                    </a:cubicBezTo>
                    <a:cubicBezTo>
                      <a:pt x="206" y="501"/>
                      <a:pt x="173" y="485"/>
                      <a:pt x="156" y="431"/>
                    </a:cubicBezTo>
                    <a:cubicBezTo>
                      <a:pt x="119" y="312"/>
                      <a:pt x="292" y="226"/>
                      <a:pt x="325" y="209"/>
                    </a:cubicBezTo>
                    <a:cubicBezTo>
                      <a:pt x="395" y="160"/>
                      <a:pt x="481" y="123"/>
                      <a:pt x="546" y="107"/>
                    </a:cubicBezTo>
                    <a:close/>
                    <a:moveTo>
                      <a:pt x="592" y="0"/>
                    </a:moveTo>
                    <a:cubicBezTo>
                      <a:pt x="562" y="0"/>
                      <a:pt x="532" y="4"/>
                      <a:pt x="497" y="21"/>
                    </a:cubicBezTo>
                    <a:cubicBezTo>
                      <a:pt x="427" y="37"/>
                      <a:pt x="378" y="58"/>
                      <a:pt x="308" y="90"/>
                    </a:cubicBezTo>
                    <a:cubicBezTo>
                      <a:pt x="222" y="140"/>
                      <a:pt x="0" y="279"/>
                      <a:pt x="54" y="468"/>
                    </a:cubicBezTo>
                    <a:cubicBezTo>
                      <a:pt x="70" y="571"/>
                      <a:pt x="173" y="620"/>
                      <a:pt x="259" y="620"/>
                    </a:cubicBezTo>
                    <a:cubicBezTo>
                      <a:pt x="395" y="620"/>
                      <a:pt x="514" y="587"/>
                      <a:pt x="633" y="534"/>
                    </a:cubicBezTo>
                    <a:cubicBezTo>
                      <a:pt x="719" y="501"/>
                      <a:pt x="772" y="448"/>
                      <a:pt x="822" y="398"/>
                    </a:cubicBezTo>
                    <a:cubicBezTo>
                      <a:pt x="854" y="365"/>
                      <a:pt x="875" y="312"/>
                      <a:pt x="891" y="279"/>
                    </a:cubicBezTo>
                    <a:cubicBezTo>
                      <a:pt x="908" y="209"/>
                      <a:pt x="891" y="123"/>
                      <a:pt x="822" y="74"/>
                    </a:cubicBezTo>
                    <a:cubicBezTo>
                      <a:pt x="789" y="37"/>
                      <a:pt x="735" y="21"/>
                      <a:pt x="686" y="4"/>
                    </a:cubicBezTo>
                    <a:cubicBezTo>
                      <a:pt x="651" y="4"/>
                      <a:pt x="621" y="0"/>
                      <a:pt x="59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04" name="Google Shape;704;p25"/>
              <p:cNvSpPr/>
              <p:nvPr/>
            </p:nvSpPr>
            <p:spPr>
              <a:xfrm>
                <a:off x="1029875" y="1966625"/>
                <a:ext cx="17075" cy="11450"/>
              </a:xfrm>
              <a:custGeom>
                <a:avLst/>
                <a:gdLst/>
                <a:ahLst/>
                <a:cxnLst/>
                <a:rect l="l" t="t" r="r" b="b"/>
                <a:pathLst>
                  <a:path w="683" h="458" extrusionOk="0">
                    <a:moveTo>
                      <a:pt x="322" y="0"/>
                    </a:moveTo>
                    <a:cubicBezTo>
                      <a:pt x="248" y="0"/>
                      <a:pt x="172" y="23"/>
                      <a:pt x="103" y="70"/>
                    </a:cubicBezTo>
                    <a:cubicBezTo>
                      <a:pt x="50" y="103"/>
                      <a:pt x="1" y="173"/>
                      <a:pt x="1" y="238"/>
                    </a:cubicBezTo>
                    <a:cubicBezTo>
                      <a:pt x="1" y="324"/>
                      <a:pt x="50" y="357"/>
                      <a:pt x="103" y="394"/>
                    </a:cubicBezTo>
                    <a:cubicBezTo>
                      <a:pt x="176" y="434"/>
                      <a:pt x="254" y="458"/>
                      <a:pt x="332" y="458"/>
                    </a:cubicBezTo>
                    <a:cubicBezTo>
                      <a:pt x="381" y="458"/>
                      <a:pt x="430" y="448"/>
                      <a:pt x="477" y="427"/>
                    </a:cubicBezTo>
                    <a:cubicBezTo>
                      <a:pt x="547" y="411"/>
                      <a:pt x="617" y="357"/>
                      <a:pt x="633" y="275"/>
                    </a:cubicBezTo>
                    <a:cubicBezTo>
                      <a:pt x="682" y="103"/>
                      <a:pt x="514" y="49"/>
                      <a:pt x="428" y="17"/>
                    </a:cubicBezTo>
                    <a:cubicBezTo>
                      <a:pt x="394" y="6"/>
                      <a:pt x="358" y="0"/>
                      <a:pt x="322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05" name="Google Shape;705;p25"/>
              <p:cNvSpPr/>
              <p:nvPr/>
            </p:nvSpPr>
            <p:spPr>
              <a:xfrm>
                <a:off x="1036250" y="1973900"/>
                <a:ext cx="3000" cy="3000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20" extrusionOk="0">
                    <a:moveTo>
                      <a:pt x="70" y="1"/>
                    </a:moveTo>
                    <a:cubicBezTo>
                      <a:pt x="33" y="1"/>
                      <a:pt x="17" y="17"/>
                      <a:pt x="17" y="50"/>
                    </a:cubicBezTo>
                    <a:cubicBezTo>
                      <a:pt x="0" y="87"/>
                      <a:pt x="33" y="120"/>
                      <a:pt x="70" y="120"/>
                    </a:cubicBezTo>
                    <a:cubicBezTo>
                      <a:pt x="103" y="120"/>
                      <a:pt x="119" y="103"/>
                      <a:pt x="119" y="66"/>
                    </a:cubicBezTo>
                    <a:cubicBezTo>
                      <a:pt x="119" y="33"/>
                      <a:pt x="103" y="1"/>
                      <a:pt x="7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06" name="Google Shape;706;p25"/>
              <p:cNvSpPr/>
              <p:nvPr/>
            </p:nvSpPr>
            <p:spPr>
              <a:xfrm>
                <a:off x="1039225" y="1968775"/>
                <a:ext cx="3000" cy="3000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20" extrusionOk="0">
                    <a:moveTo>
                      <a:pt x="70" y="0"/>
                    </a:moveTo>
                    <a:cubicBezTo>
                      <a:pt x="37" y="0"/>
                      <a:pt x="0" y="17"/>
                      <a:pt x="0" y="50"/>
                    </a:cubicBezTo>
                    <a:cubicBezTo>
                      <a:pt x="17" y="103"/>
                      <a:pt x="37" y="119"/>
                      <a:pt x="70" y="119"/>
                    </a:cubicBezTo>
                    <a:cubicBezTo>
                      <a:pt x="103" y="119"/>
                      <a:pt x="119" y="103"/>
                      <a:pt x="119" y="66"/>
                    </a:cubicBezTo>
                    <a:cubicBezTo>
                      <a:pt x="119" y="17"/>
                      <a:pt x="103" y="0"/>
                      <a:pt x="7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07" name="Google Shape;707;p25"/>
              <p:cNvSpPr/>
              <p:nvPr/>
            </p:nvSpPr>
            <p:spPr>
              <a:xfrm>
                <a:off x="1033275" y="1968775"/>
                <a:ext cx="2575" cy="3000"/>
              </a:xfrm>
              <a:custGeom>
                <a:avLst/>
                <a:gdLst/>
                <a:ahLst/>
                <a:cxnLst/>
                <a:rect l="l" t="t" r="r" b="b"/>
                <a:pathLst>
                  <a:path w="103" h="120" extrusionOk="0">
                    <a:moveTo>
                      <a:pt x="49" y="0"/>
                    </a:moveTo>
                    <a:cubicBezTo>
                      <a:pt x="17" y="0"/>
                      <a:pt x="0" y="17"/>
                      <a:pt x="0" y="50"/>
                    </a:cubicBezTo>
                    <a:cubicBezTo>
                      <a:pt x="0" y="87"/>
                      <a:pt x="17" y="119"/>
                      <a:pt x="49" y="119"/>
                    </a:cubicBezTo>
                    <a:cubicBezTo>
                      <a:pt x="86" y="119"/>
                      <a:pt x="103" y="87"/>
                      <a:pt x="103" y="50"/>
                    </a:cubicBezTo>
                    <a:cubicBezTo>
                      <a:pt x="103" y="17"/>
                      <a:pt x="86" y="0"/>
                      <a:pt x="4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08" name="Google Shape;708;p25"/>
              <p:cNvSpPr/>
              <p:nvPr/>
            </p:nvSpPr>
            <p:spPr>
              <a:xfrm>
                <a:off x="931850" y="1966625"/>
                <a:ext cx="17150" cy="11450"/>
              </a:xfrm>
              <a:custGeom>
                <a:avLst/>
                <a:gdLst/>
                <a:ahLst/>
                <a:cxnLst/>
                <a:rect l="l" t="t" r="r" b="b"/>
                <a:pathLst>
                  <a:path w="686" h="458" extrusionOk="0">
                    <a:moveTo>
                      <a:pt x="325" y="0"/>
                    </a:moveTo>
                    <a:cubicBezTo>
                      <a:pt x="250" y="0"/>
                      <a:pt x="172" y="23"/>
                      <a:pt x="103" y="70"/>
                    </a:cubicBezTo>
                    <a:cubicBezTo>
                      <a:pt x="54" y="103"/>
                      <a:pt x="0" y="173"/>
                      <a:pt x="0" y="238"/>
                    </a:cubicBezTo>
                    <a:cubicBezTo>
                      <a:pt x="0" y="324"/>
                      <a:pt x="54" y="357"/>
                      <a:pt x="103" y="394"/>
                    </a:cubicBezTo>
                    <a:cubicBezTo>
                      <a:pt x="178" y="434"/>
                      <a:pt x="258" y="458"/>
                      <a:pt x="335" y="458"/>
                    </a:cubicBezTo>
                    <a:cubicBezTo>
                      <a:pt x="385" y="458"/>
                      <a:pt x="434" y="448"/>
                      <a:pt x="481" y="427"/>
                    </a:cubicBezTo>
                    <a:cubicBezTo>
                      <a:pt x="550" y="411"/>
                      <a:pt x="616" y="357"/>
                      <a:pt x="637" y="275"/>
                    </a:cubicBezTo>
                    <a:cubicBezTo>
                      <a:pt x="686" y="103"/>
                      <a:pt x="514" y="49"/>
                      <a:pt x="431" y="17"/>
                    </a:cubicBezTo>
                    <a:cubicBezTo>
                      <a:pt x="398" y="6"/>
                      <a:pt x="362" y="0"/>
                      <a:pt x="325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09" name="Google Shape;709;p25"/>
              <p:cNvSpPr/>
              <p:nvPr/>
            </p:nvSpPr>
            <p:spPr>
              <a:xfrm>
                <a:off x="938300" y="1973500"/>
                <a:ext cx="3025" cy="3100"/>
              </a:xfrm>
              <a:custGeom>
                <a:avLst/>
                <a:gdLst/>
                <a:ahLst/>
                <a:cxnLst/>
                <a:rect l="l" t="t" r="r" b="b"/>
                <a:pathLst>
                  <a:path w="121" h="124" extrusionOk="0">
                    <a:moveTo>
                      <a:pt x="71" y="0"/>
                    </a:moveTo>
                    <a:cubicBezTo>
                      <a:pt x="34" y="0"/>
                      <a:pt x="17" y="33"/>
                      <a:pt x="17" y="66"/>
                    </a:cubicBezTo>
                    <a:cubicBezTo>
                      <a:pt x="1" y="103"/>
                      <a:pt x="34" y="119"/>
                      <a:pt x="71" y="119"/>
                    </a:cubicBezTo>
                    <a:cubicBezTo>
                      <a:pt x="77" y="122"/>
                      <a:pt x="82" y="124"/>
                      <a:pt x="87" y="124"/>
                    </a:cubicBezTo>
                    <a:cubicBezTo>
                      <a:pt x="109" y="124"/>
                      <a:pt x="120" y="96"/>
                      <a:pt x="120" y="66"/>
                    </a:cubicBezTo>
                    <a:cubicBezTo>
                      <a:pt x="120" y="33"/>
                      <a:pt x="104" y="0"/>
                      <a:pt x="7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10" name="Google Shape;710;p25"/>
              <p:cNvSpPr/>
              <p:nvPr/>
            </p:nvSpPr>
            <p:spPr>
              <a:xfrm>
                <a:off x="935325" y="1969175"/>
                <a:ext cx="3000" cy="312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125" extrusionOk="0">
                    <a:moveTo>
                      <a:pt x="67" y="1"/>
                    </a:moveTo>
                    <a:cubicBezTo>
                      <a:pt x="34" y="1"/>
                      <a:pt x="17" y="17"/>
                      <a:pt x="17" y="50"/>
                    </a:cubicBezTo>
                    <a:cubicBezTo>
                      <a:pt x="1" y="87"/>
                      <a:pt x="34" y="120"/>
                      <a:pt x="50" y="120"/>
                    </a:cubicBezTo>
                    <a:cubicBezTo>
                      <a:pt x="57" y="123"/>
                      <a:pt x="64" y="124"/>
                      <a:pt x="70" y="124"/>
                    </a:cubicBezTo>
                    <a:cubicBezTo>
                      <a:pt x="98" y="124"/>
                      <a:pt x="120" y="97"/>
                      <a:pt x="120" y="71"/>
                    </a:cubicBezTo>
                    <a:cubicBezTo>
                      <a:pt x="120" y="34"/>
                      <a:pt x="87" y="1"/>
                      <a:pt x="6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11" name="Google Shape;711;p25"/>
              <p:cNvSpPr/>
              <p:nvPr/>
            </p:nvSpPr>
            <p:spPr>
              <a:xfrm>
                <a:off x="942100" y="1969175"/>
                <a:ext cx="2600" cy="2700"/>
              </a:xfrm>
              <a:custGeom>
                <a:avLst/>
                <a:gdLst/>
                <a:ahLst/>
                <a:cxnLst/>
                <a:rect l="l" t="t" r="r" b="b"/>
                <a:pathLst>
                  <a:path w="104" h="108" extrusionOk="0">
                    <a:moveTo>
                      <a:pt x="71" y="1"/>
                    </a:moveTo>
                    <a:cubicBezTo>
                      <a:pt x="38" y="1"/>
                      <a:pt x="21" y="17"/>
                      <a:pt x="1" y="50"/>
                    </a:cubicBezTo>
                    <a:cubicBezTo>
                      <a:pt x="1" y="87"/>
                      <a:pt x="38" y="103"/>
                      <a:pt x="54" y="103"/>
                    </a:cubicBezTo>
                    <a:cubicBezTo>
                      <a:pt x="61" y="107"/>
                      <a:pt x="66" y="108"/>
                      <a:pt x="71" y="108"/>
                    </a:cubicBezTo>
                    <a:cubicBezTo>
                      <a:pt x="93" y="108"/>
                      <a:pt x="104" y="84"/>
                      <a:pt x="104" y="71"/>
                    </a:cubicBezTo>
                    <a:cubicBezTo>
                      <a:pt x="104" y="34"/>
                      <a:pt x="87" y="1"/>
                      <a:pt x="71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12" name="Google Shape;712;p25"/>
              <p:cNvSpPr/>
              <p:nvPr/>
            </p:nvSpPr>
            <p:spPr>
              <a:xfrm>
                <a:off x="882250" y="1975475"/>
                <a:ext cx="44075" cy="13325"/>
              </a:xfrm>
              <a:custGeom>
                <a:avLst/>
                <a:gdLst/>
                <a:ahLst/>
                <a:cxnLst/>
                <a:rect l="l" t="t" r="r" b="b"/>
                <a:pathLst>
                  <a:path w="1763" h="533" extrusionOk="0">
                    <a:moveTo>
                      <a:pt x="1680" y="1"/>
                    </a:moveTo>
                    <a:cubicBezTo>
                      <a:pt x="1660" y="1"/>
                      <a:pt x="1640" y="3"/>
                      <a:pt x="1627" y="3"/>
                    </a:cubicBezTo>
                    <a:cubicBezTo>
                      <a:pt x="1438" y="40"/>
                      <a:pt x="1249" y="57"/>
                      <a:pt x="1060" y="106"/>
                    </a:cubicBezTo>
                    <a:cubicBezTo>
                      <a:pt x="650" y="192"/>
                      <a:pt x="481" y="209"/>
                      <a:pt x="120" y="414"/>
                    </a:cubicBezTo>
                    <a:cubicBezTo>
                      <a:pt x="87" y="451"/>
                      <a:pt x="1" y="500"/>
                      <a:pt x="17" y="517"/>
                    </a:cubicBezTo>
                    <a:cubicBezTo>
                      <a:pt x="23" y="528"/>
                      <a:pt x="34" y="532"/>
                      <a:pt x="50" y="532"/>
                    </a:cubicBezTo>
                    <a:cubicBezTo>
                      <a:pt x="85" y="532"/>
                      <a:pt x="137" y="511"/>
                      <a:pt x="173" y="500"/>
                    </a:cubicBezTo>
                    <a:cubicBezTo>
                      <a:pt x="670" y="278"/>
                      <a:pt x="978" y="209"/>
                      <a:pt x="1524" y="127"/>
                    </a:cubicBezTo>
                    <a:cubicBezTo>
                      <a:pt x="1594" y="106"/>
                      <a:pt x="1763" y="73"/>
                      <a:pt x="1746" y="40"/>
                    </a:cubicBezTo>
                    <a:cubicBezTo>
                      <a:pt x="1746" y="7"/>
                      <a:pt x="1713" y="1"/>
                      <a:pt x="1680" y="1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13" name="Google Shape;713;p25"/>
              <p:cNvSpPr/>
              <p:nvPr/>
            </p:nvSpPr>
            <p:spPr>
              <a:xfrm>
                <a:off x="875900" y="1957900"/>
                <a:ext cx="48775" cy="5350"/>
              </a:xfrm>
              <a:custGeom>
                <a:avLst/>
                <a:gdLst/>
                <a:ahLst/>
                <a:cxnLst/>
                <a:rect l="l" t="t" r="r" b="b"/>
                <a:pathLst>
                  <a:path w="1951" h="214" extrusionOk="0">
                    <a:moveTo>
                      <a:pt x="1009" y="1"/>
                    </a:moveTo>
                    <a:cubicBezTo>
                      <a:pt x="748" y="1"/>
                      <a:pt x="490" y="27"/>
                      <a:pt x="239" y="74"/>
                    </a:cubicBezTo>
                    <a:cubicBezTo>
                      <a:pt x="152" y="90"/>
                      <a:pt x="0" y="127"/>
                      <a:pt x="17" y="160"/>
                    </a:cubicBezTo>
                    <a:cubicBezTo>
                      <a:pt x="17" y="177"/>
                      <a:pt x="33" y="181"/>
                      <a:pt x="54" y="181"/>
                    </a:cubicBezTo>
                    <a:cubicBezTo>
                      <a:pt x="75" y="181"/>
                      <a:pt x="101" y="177"/>
                      <a:pt x="119" y="177"/>
                    </a:cubicBezTo>
                    <a:cubicBezTo>
                      <a:pt x="288" y="160"/>
                      <a:pt x="444" y="160"/>
                      <a:pt x="596" y="144"/>
                    </a:cubicBezTo>
                    <a:cubicBezTo>
                      <a:pt x="757" y="136"/>
                      <a:pt x="915" y="129"/>
                      <a:pt x="1070" y="129"/>
                    </a:cubicBezTo>
                    <a:cubicBezTo>
                      <a:pt x="1263" y="129"/>
                      <a:pt x="1452" y="140"/>
                      <a:pt x="1643" y="177"/>
                    </a:cubicBezTo>
                    <a:cubicBezTo>
                      <a:pt x="1725" y="193"/>
                      <a:pt x="1795" y="193"/>
                      <a:pt x="1881" y="214"/>
                    </a:cubicBezTo>
                    <a:cubicBezTo>
                      <a:pt x="1897" y="214"/>
                      <a:pt x="1930" y="214"/>
                      <a:pt x="1930" y="177"/>
                    </a:cubicBezTo>
                    <a:cubicBezTo>
                      <a:pt x="1951" y="160"/>
                      <a:pt x="1897" y="127"/>
                      <a:pt x="1848" y="111"/>
                    </a:cubicBezTo>
                    <a:cubicBezTo>
                      <a:pt x="1778" y="90"/>
                      <a:pt x="1725" y="74"/>
                      <a:pt x="1659" y="58"/>
                    </a:cubicBezTo>
                    <a:cubicBezTo>
                      <a:pt x="1442" y="19"/>
                      <a:pt x="1224" y="1"/>
                      <a:pt x="1009" y="1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14" name="Google Shape;714;p25"/>
              <p:cNvSpPr/>
              <p:nvPr/>
            </p:nvSpPr>
            <p:spPr>
              <a:xfrm>
                <a:off x="877950" y="1967125"/>
                <a:ext cx="47150" cy="9850"/>
              </a:xfrm>
              <a:custGeom>
                <a:avLst/>
                <a:gdLst/>
                <a:ahLst/>
                <a:cxnLst/>
                <a:rect l="l" t="t" r="r" b="b"/>
                <a:pathLst>
                  <a:path w="1886" h="394" extrusionOk="0">
                    <a:moveTo>
                      <a:pt x="1522" y="0"/>
                    </a:moveTo>
                    <a:cubicBezTo>
                      <a:pt x="1254" y="0"/>
                      <a:pt x="988" y="35"/>
                      <a:pt x="719" y="99"/>
                    </a:cubicBezTo>
                    <a:cubicBezTo>
                      <a:pt x="514" y="132"/>
                      <a:pt x="308" y="185"/>
                      <a:pt x="124" y="288"/>
                    </a:cubicBezTo>
                    <a:cubicBezTo>
                      <a:pt x="87" y="304"/>
                      <a:pt x="1" y="358"/>
                      <a:pt x="21" y="391"/>
                    </a:cubicBezTo>
                    <a:cubicBezTo>
                      <a:pt x="23" y="393"/>
                      <a:pt x="27" y="394"/>
                      <a:pt x="33" y="394"/>
                    </a:cubicBezTo>
                    <a:cubicBezTo>
                      <a:pt x="65" y="394"/>
                      <a:pt x="147" y="355"/>
                      <a:pt x="189" y="337"/>
                    </a:cubicBezTo>
                    <a:cubicBezTo>
                      <a:pt x="600" y="218"/>
                      <a:pt x="1027" y="132"/>
                      <a:pt x="1475" y="116"/>
                    </a:cubicBezTo>
                    <a:lnTo>
                      <a:pt x="1799" y="116"/>
                    </a:lnTo>
                    <a:cubicBezTo>
                      <a:pt x="1832" y="116"/>
                      <a:pt x="1885" y="116"/>
                      <a:pt x="1885" y="66"/>
                    </a:cubicBezTo>
                    <a:cubicBezTo>
                      <a:pt x="1885" y="13"/>
                      <a:pt x="1832" y="13"/>
                      <a:pt x="1799" y="13"/>
                    </a:cubicBezTo>
                    <a:cubicBezTo>
                      <a:pt x="1706" y="5"/>
                      <a:pt x="1614" y="0"/>
                      <a:pt x="1522" y="0"/>
                    </a:cubicBezTo>
                    <a:close/>
                  </a:path>
                </a:pathLst>
              </a:custGeom>
              <a:solidFill>
                <a:srgbClr val="2B2B2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15" name="Google Shape;715;p25"/>
              <p:cNvSpPr/>
              <p:nvPr/>
            </p:nvSpPr>
            <p:spPr>
              <a:xfrm>
                <a:off x="1049075" y="1974625"/>
                <a:ext cx="42825" cy="15050"/>
              </a:xfrm>
              <a:custGeom>
                <a:avLst/>
                <a:gdLst/>
                <a:ahLst/>
                <a:cxnLst/>
                <a:rect l="l" t="t" r="r" b="b"/>
                <a:pathLst>
                  <a:path w="1713" h="602" extrusionOk="0">
                    <a:moveTo>
                      <a:pt x="70" y="0"/>
                    </a:moveTo>
                    <a:cubicBezTo>
                      <a:pt x="47" y="0"/>
                      <a:pt x="25" y="4"/>
                      <a:pt x="17" y="21"/>
                    </a:cubicBezTo>
                    <a:cubicBezTo>
                      <a:pt x="0" y="74"/>
                      <a:pt x="173" y="107"/>
                      <a:pt x="239" y="124"/>
                    </a:cubicBezTo>
                    <a:cubicBezTo>
                      <a:pt x="789" y="226"/>
                      <a:pt x="1043" y="329"/>
                      <a:pt x="1540" y="551"/>
                    </a:cubicBezTo>
                    <a:cubicBezTo>
                      <a:pt x="1578" y="577"/>
                      <a:pt x="1641" y="601"/>
                      <a:pt x="1674" y="601"/>
                    </a:cubicBezTo>
                    <a:cubicBezTo>
                      <a:pt x="1688" y="601"/>
                      <a:pt x="1696" y="597"/>
                      <a:pt x="1696" y="588"/>
                    </a:cubicBezTo>
                    <a:cubicBezTo>
                      <a:pt x="1713" y="571"/>
                      <a:pt x="1626" y="518"/>
                      <a:pt x="1594" y="485"/>
                    </a:cubicBezTo>
                    <a:cubicBezTo>
                      <a:pt x="1232" y="263"/>
                      <a:pt x="1113" y="210"/>
                      <a:pt x="703" y="107"/>
                    </a:cubicBezTo>
                    <a:cubicBezTo>
                      <a:pt x="514" y="74"/>
                      <a:pt x="325" y="37"/>
                      <a:pt x="136" y="4"/>
                    </a:cubicBezTo>
                    <a:cubicBezTo>
                      <a:pt x="120" y="4"/>
                      <a:pt x="94" y="0"/>
                      <a:pt x="7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16" name="Google Shape;716;p25"/>
              <p:cNvSpPr/>
              <p:nvPr/>
            </p:nvSpPr>
            <p:spPr>
              <a:xfrm>
                <a:off x="1051225" y="1957550"/>
                <a:ext cx="48800" cy="5075"/>
              </a:xfrm>
              <a:custGeom>
                <a:avLst/>
                <a:gdLst/>
                <a:ahLst/>
                <a:cxnLst/>
                <a:rect l="l" t="t" r="r" b="b"/>
                <a:pathLst>
                  <a:path w="1952" h="203" extrusionOk="0">
                    <a:moveTo>
                      <a:pt x="827" y="1"/>
                    </a:moveTo>
                    <a:cubicBezTo>
                      <a:pt x="649" y="1"/>
                      <a:pt x="470" y="13"/>
                      <a:pt x="292" y="39"/>
                    </a:cubicBezTo>
                    <a:cubicBezTo>
                      <a:pt x="222" y="55"/>
                      <a:pt x="173" y="72"/>
                      <a:pt x="103" y="88"/>
                    </a:cubicBezTo>
                    <a:cubicBezTo>
                      <a:pt x="50" y="104"/>
                      <a:pt x="1" y="125"/>
                      <a:pt x="17" y="158"/>
                    </a:cubicBezTo>
                    <a:cubicBezTo>
                      <a:pt x="17" y="191"/>
                      <a:pt x="50" y="191"/>
                      <a:pt x="70" y="191"/>
                    </a:cubicBezTo>
                    <a:cubicBezTo>
                      <a:pt x="136" y="174"/>
                      <a:pt x="222" y="174"/>
                      <a:pt x="309" y="158"/>
                    </a:cubicBezTo>
                    <a:cubicBezTo>
                      <a:pt x="460" y="134"/>
                      <a:pt x="611" y="125"/>
                      <a:pt x="765" y="125"/>
                    </a:cubicBezTo>
                    <a:cubicBezTo>
                      <a:pt x="957" y="125"/>
                      <a:pt x="1153" y="139"/>
                      <a:pt x="1352" y="158"/>
                    </a:cubicBezTo>
                    <a:cubicBezTo>
                      <a:pt x="1508" y="158"/>
                      <a:pt x="1660" y="191"/>
                      <a:pt x="1832" y="191"/>
                    </a:cubicBezTo>
                    <a:cubicBezTo>
                      <a:pt x="1840" y="199"/>
                      <a:pt x="1866" y="203"/>
                      <a:pt x="1890" y="203"/>
                    </a:cubicBezTo>
                    <a:cubicBezTo>
                      <a:pt x="1913" y="203"/>
                      <a:pt x="1935" y="199"/>
                      <a:pt x="1935" y="191"/>
                    </a:cubicBezTo>
                    <a:cubicBezTo>
                      <a:pt x="1951" y="141"/>
                      <a:pt x="1795" y="104"/>
                      <a:pt x="1713" y="88"/>
                    </a:cubicBezTo>
                    <a:cubicBezTo>
                      <a:pt x="1422" y="34"/>
                      <a:pt x="1125" y="1"/>
                      <a:pt x="82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17" name="Google Shape;717;p25"/>
              <p:cNvSpPr/>
              <p:nvPr/>
            </p:nvSpPr>
            <p:spPr>
              <a:xfrm>
                <a:off x="1050400" y="1966350"/>
                <a:ext cx="47050" cy="10825"/>
              </a:xfrm>
              <a:custGeom>
                <a:avLst/>
                <a:gdLst/>
                <a:ahLst/>
                <a:cxnLst/>
                <a:rect l="l" t="t" r="r" b="b"/>
                <a:pathLst>
                  <a:path w="1882" h="433" extrusionOk="0">
                    <a:moveTo>
                      <a:pt x="332" y="1"/>
                    </a:moveTo>
                    <a:cubicBezTo>
                      <a:pt x="255" y="1"/>
                      <a:pt x="179" y="4"/>
                      <a:pt x="103" y="11"/>
                    </a:cubicBezTo>
                    <a:cubicBezTo>
                      <a:pt x="50" y="11"/>
                      <a:pt x="1" y="11"/>
                      <a:pt x="1" y="60"/>
                    </a:cubicBezTo>
                    <a:cubicBezTo>
                      <a:pt x="1" y="93"/>
                      <a:pt x="20" y="100"/>
                      <a:pt x="42" y="100"/>
                    </a:cubicBezTo>
                    <a:cubicBezTo>
                      <a:pt x="56" y="100"/>
                      <a:pt x="70" y="97"/>
                      <a:pt x="83" y="97"/>
                    </a:cubicBezTo>
                    <a:cubicBezTo>
                      <a:pt x="206" y="114"/>
                      <a:pt x="309" y="114"/>
                      <a:pt x="428" y="114"/>
                    </a:cubicBezTo>
                    <a:cubicBezTo>
                      <a:pt x="855" y="147"/>
                      <a:pt x="1282" y="249"/>
                      <a:pt x="1693" y="389"/>
                    </a:cubicBezTo>
                    <a:cubicBezTo>
                      <a:pt x="1733" y="401"/>
                      <a:pt x="1802" y="433"/>
                      <a:pt x="1840" y="433"/>
                    </a:cubicBezTo>
                    <a:cubicBezTo>
                      <a:pt x="1852" y="433"/>
                      <a:pt x="1861" y="430"/>
                      <a:pt x="1865" y="422"/>
                    </a:cubicBezTo>
                    <a:cubicBezTo>
                      <a:pt x="1881" y="405"/>
                      <a:pt x="1795" y="335"/>
                      <a:pt x="1762" y="319"/>
                    </a:cubicBezTo>
                    <a:cubicBezTo>
                      <a:pt x="1573" y="216"/>
                      <a:pt x="1368" y="163"/>
                      <a:pt x="1179" y="114"/>
                    </a:cubicBezTo>
                    <a:cubicBezTo>
                      <a:pt x="898" y="46"/>
                      <a:pt x="614" y="1"/>
                      <a:pt x="332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18" name="Google Shape;718;p25"/>
              <p:cNvSpPr/>
              <p:nvPr/>
            </p:nvSpPr>
            <p:spPr>
              <a:xfrm>
                <a:off x="975050" y="1946750"/>
                <a:ext cx="25300" cy="14925"/>
              </a:xfrm>
              <a:custGeom>
                <a:avLst/>
                <a:gdLst/>
                <a:ahLst/>
                <a:cxnLst/>
                <a:rect l="l" t="t" r="r" b="b"/>
                <a:pathLst>
                  <a:path w="1012" h="597" extrusionOk="0">
                    <a:moveTo>
                      <a:pt x="583" y="1"/>
                    </a:moveTo>
                    <a:cubicBezTo>
                      <a:pt x="501" y="1"/>
                      <a:pt x="420" y="9"/>
                      <a:pt x="346" y="23"/>
                    </a:cubicBezTo>
                    <a:cubicBezTo>
                      <a:pt x="243" y="60"/>
                      <a:pt x="173" y="109"/>
                      <a:pt x="87" y="179"/>
                    </a:cubicBezTo>
                    <a:cubicBezTo>
                      <a:pt x="1" y="249"/>
                      <a:pt x="87" y="352"/>
                      <a:pt x="157" y="401"/>
                    </a:cubicBezTo>
                    <a:cubicBezTo>
                      <a:pt x="223" y="454"/>
                      <a:pt x="309" y="520"/>
                      <a:pt x="395" y="557"/>
                    </a:cubicBezTo>
                    <a:cubicBezTo>
                      <a:pt x="458" y="581"/>
                      <a:pt x="530" y="596"/>
                      <a:pt x="604" y="596"/>
                    </a:cubicBezTo>
                    <a:cubicBezTo>
                      <a:pt x="632" y="596"/>
                      <a:pt x="659" y="594"/>
                      <a:pt x="687" y="590"/>
                    </a:cubicBezTo>
                    <a:cubicBezTo>
                      <a:pt x="806" y="557"/>
                      <a:pt x="892" y="454"/>
                      <a:pt x="962" y="331"/>
                    </a:cubicBezTo>
                    <a:cubicBezTo>
                      <a:pt x="978" y="298"/>
                      <a:pt x="995" y="265"/>
                      <a:pt x="1011" y="212"/>
                    </a:cubicBezTo>
                    <a:cubicBezTo>
                      <a:pt x="1011" y="179"/>
                      <a:pt x="1011" y="126"/>
                      <a:pt x="978" y="93"/>
                    </a:cubicBezTo>
                    <a:cubicBezTo>
                      <a:pt x="962" y="77"/>
                      <a:pt x="925" y="60"/>
                      <a:pt x="892" y="44"/>
                    </a:cubicBezTo>
                    <a:cubicBezTo>
                      <a:pt x="795" y="14"/>
                      <a:pt x="688" y="1"/>
                      <a:pt x="58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19" name="Google Shape;719;p25"/>
              <p:cNvSpPr/>
              <p:nvPr/>
            </p:nvSpPr>
            <p:spPr>
              <a:xfrm>
                <a:off x="974125" y="1933125"/>
                <a:ext cx="26225" cy="17325"/>
              </a:xfrm>
              <a:custGeom>
                <a:avLst/>
                <a:gdLst/>
                <a:ahLst/>
                <a:cxnLst/>
                <a:rect l="l" t="t" r="r" b="b"/>
                <a:pathLst>
                  <a:path w="1049" h="693" extrusionOk="0">
                    <a:moveTo>
                      <a:pt x="609" y="1"/>
                    </a:moveTo>
                    <a:cubicBezTo>
                      <a:pt x="478" y="1"/>
                      <a:pt x="341" y="63"/>
                      <a:pt x="243" y="158"/>
                    </a:cubicBezTo>
                    <a:cubicBezTo>
                      <a:pt x="160" y="257"/>
                      <a:pt x="0" y="693"/>
                      <a:pt x="233" y="693"/>
                    </a:cubicBezTo>
                    <a:cubicBezTo>
                      <a:pt x="242" y="693"/>
                      <a:pt x="250" y="692"/>
                      <a:pt x="260" y="691"/>
                    </a:cubicBezTo>
                    <a:cubicBezTo>
                      <a:pt x="399" y="654"/>
                      <a:pt x="518" y="605"/>
                      <a:pt x="654" y="589"/>
                    </a:cubicBezTo>
                    <a:cubicBezTo>
                      <a:pt x="691" y="589"/>
                      <a:pt x="1048" y="589"/>
                      <a:pt x="1048" y="622"/>
                    </a:cubicBezTo>
                    <a:cubicBezTo>
                      <a:pt x="1048" y="519"/>
                      <a:pt x="1032" y="400"/>
                      <a:pt x="999" y="297"/>
                    </a:cubicBezTo>
                    <a:cubicBezTo>
                      <a:pt x="945" y="194"/>
                      <a:pt x="876" y="108"/>
                      <a:pt x="773" y="38"/>
                    </a:cubicBezTo>
                    <a:cubicBezTo>
                      <a:pt x="722" y="12"/>
                      <a:pt x="666" y="1"/>
                      <a:pt x="60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20" name="Google Shape;720;p25"/>
              <p:cNvSpPr/>
              <p:nvPr/>
            </p:nvSpPr>
            <p:spPr>
              <a:xfrm>
                <a:off x="980600" y="1950175"/>
                <a:ext cx="10300" cy="5375"/>
              </a:xfrm>
              <a:custGeom>
                <a:avLst/>
                <a:gdLst/>
                <a:ahLst/>
                <a:cxnLst/>
                <a:rect l="l" t="t" r="r" b="b"/>
                <a:pathLst>
                  <a:path w="412" h="215" extrusionOk="0">
                    <a:moveTo>
                      <a:pt x="260" y="1"/>
                    </a:moveTo>
                    <a:cubicBezTo>
                      <a:pt x="219" y="1"/>
                      <a:pt x="175" y="14"/>
                      <a:pt x="140" y="26"/>
                    </a:cubicBezTo>
                    <a:cubicBezTo>
                      <a:pt x="103" y="42"/>
                      <a:pt x="54" y="42"/>
                      <a:pt x="38" y="75"/>
                    </a:cubicBezTo>
                    <a:cubicBezTo>
                      <a:pt x="1" y="112"/>
                      <a:pt x="1" y="161"/>
                      <a:pt x="38" y="194"/>
                    </a:cubicBezTo>
                    <a:cubicBezTo>
                      <a:pt x="54" y="215"/>
                      <a:pt x="70" y="215"/>
                      <a:pt x="87" y="215"/>
                    </a:cubicBezTo>
                    <a:lnTo>
                      <a:pt x="259" y="215"/>
                    </a:lnTo>
                    <a:cubicBezTo>
                      <a:pt x="309" y="194"/>
                      <a:pt x="346" y="178"/>
                      <a:pt x="378" y="161"/>
                    </a:cubicBezTo>
                    <a:cubicBezTo>
                      <a:pt x="411" y="128"/>
                      <a:pt x="411" y="75"/>
                      <a:pt x="395" y="42"/>
                    </a:cubicBezTo>
                    <a:cubicBezTo>
                      <a:pt x="378" y="26"/>
                      <a:pt x="346" y="9"/>
                      <a:pt x="309" y="9"/>
                    </a:cubicBezTo>
                    <a:cubicBezTo>
                      <a:pt x="294" y="3"/>
                      <a:pt x="277" y="1"/>
                      <a:pt x="260" y="1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21" name="Google Shape;721;p25"/>
              <p:cNvSpPr/>
              <p:nvPr/>
            </p:nvSpPr>
            <p:spPr>
              <a:xfrm>
                <a:off x="980200" y="1963525"/>
                <a:ext cx="17150" cy="13275"/>
              </a:xfrm>
              <a:custGeom>
                <a:avLst/>
                <a:gdLst/>
                <a:ahLst/>
                <a:cxnLst/>
                <a:rect l="l" t="t" r="r" b="b"/>
                <a:pathLst>
                  <a:path w="686" h="531" extrusionOk="0">
                    <a:moveTo>
                      <a:pt x="345" y="1"/>
                    </a:moveTo>
                    <a:cubicBezTo>
                      <a:pt x="338" y="1"/>
                      <a:pt x="331" y="2"/>
                      <a:pt x="325" y="5"/>
                    </a:cubicBezTo>
                    <a:cubicBezTo>
                      <a:pt x="308" y="5"/>
                      <a:pt x="292" y="21"/>
                      <a:pt x="275" y="21"/>
                    </a:cubicBezTo>
                    <a:cubicBezTo>
                      <a:pt x="189" y="108"/>
                      <a:pt x="103" y="157"/>
                      <a:pt x="0" y="210"/>
                    </a:cubicBezTo>
                    <a:cubicBezTo>
                      <a:pt x="17" y="243"/>
                      <a:pt x="17" y="297"/>
                      <a:pt x="54" y="329"/>
                    </a:cubicBezTo>
                    <a:cubicBezTo>
                      <a:pt x="70" y="379"/>
                      <a:pt x="103" y="448"/>
                      <a:pt x="140" y="465"/>
                    </a:cubicBezTo>
                    <a:cubicBezTo>
                      <a:pt x="173" y="481"/>
                      <a:pt x="189" y="502"/>
                      <a:pt x="222" y="518"/>
                    </a:cubicBezTo>
                    <a:cubicBezTo>
                      <a:pt x="257" y="526"/>
                      <a:pt x="292" y="531"/>
                      <a:pt x="326" y="531"/>
                    </a:cubicBezTo>
                    <a:cubicBezTo>
                      <a:pt x="361" y="531"/>
                      <a:pt x="394" y="526"/>
                      <a:pt x="427" y="518"/>
                    </a:cubicBezTo>
                    <a:cubicBezTo>
                      <a:pt x="481" y="518"/>
                      <a:pt x="514" y="502"/>
                      <a:pt x="550" y="465"/>
                    </a:cubicBezTo>
                    <a:cubicBezTo>
                      <a:pt x="583" y="448"/>
                      <a:pt x="616" y="416"/>
                      <a:pt x="633" y="379"/>
                    </a:cubicBezTo>
                    <a:cubicBezTo>
                      <a:pt x="653" y="346"/>
                      <a:pt x="670" y="297"/>
                      <a:pt x="686" y="243"/>
                    </a:cubicBezTo>
                    <a:cubicBezTo>
                      <a:pt x="583" y="194"/>
                      <a:pt x="497" y="124"/>
                      <a:pt x="427" y="54"/>
                    </a:cubicBezTo>
                    <a:cubicBezTo>
                      <a:pt x="400" y="27"/>
                      <a:pt x="374" y="1"/>
                      <a:pt x="345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22" name="Google Shape;722;p25"/>
              <p:cNvSpPr/>
              <p:nvPr/>
            </p:nvSpPr>
            <p:spPr>
              <a:xfrm>
                <a:off x="966125" y="1979250"/>
                <a:ext cx="45300" cy="21950"/>
              </a:xfrm>
              <a:custGeom>
                <a:avLst/>
                <a:gdLst/>
                <a:ahLst/>
                <a:cxnLst/>
                <a:rect l="l" t="t" r="r" b="b"/>
                <a:pathLst>
                  <a:path w="1812" h="878" extrusionOk="0">
                    <a:moveTo>
                      <a:pt x="1317" y="0"/>
                    </a:moveTo>
                    <a:cubicBezTo>
                      <a:pt x="1142" y="0"/>
                      <a:pt x="965" y="67"/>
                      <a:pt x="838" y="197"/>
                    </a:cubicBezTo>
                    <a:cubicBezTo>
                      <a:pt x="706" y="114"/>
                      <a:pt x="558" y="71"/>
                      <a:pt x="410" y="71"/>
                    </a:cubicBezTo>
                    <a:cubicBezTo>
                      <a:pt x="347" y="71"/>
                      <a:pt x="284" y="79"/>
                      <a:pt x="222" y="95"/>
                    </a:cubicBezTo>
                    <a:cubicBezTo>
                      <a:pt x="153" y="111"/>
                      <a:pt x="103" y="127"/>
                      <a:pt x="50" y="160"/>
                    </a:cubicBezTo>
                    <a:lnTo>
                      <a:pt x="1" y="214"/>
                    </a:lnTo>
                    <a:cubicBezTo>
                      <a:pt x="190" y="538"/>
                      <a:pt x="461" y="830"/>
                      <a:pt x="736" y="862"/>
                    </a:cubicBezTo>
                    <a:cubicBezTo>
                      <a:pt x="817" y="872"/>
                      <a:pt x="894" y="878"/>
                      <a:pt x="967" y="878"/>
                    </a:cubicBezTo>
                    <a:cubicBezTo>
                      <a:pt x="1295" y="878"/>
                      <a:pt x="1548" y="765"/>
                      <a:pt x="1746" y="403"/>
                    </a:cubicBezTo>
                    <a:cubicBezTo>
                      <a:pt x="1746" y="386"/>
                      <a:pt x="1779" y="300"/>
                      <a:pt x="1812" y="214"/>
                    </a:cubicBezTo>
                    <a:cubicBezTo>
                      <a:pt x="1709" y="111"/>
                      <a:pt x="1573" y="41"/>
                      <a:pt x="1421" y="8"/>
                    </a:cubicBezTo>
                    <a:cubicBezTo>
                      <a:pt x="1387" y="3"/>
                      <a:pt x="1352" y="0"/>
                      <a:pt x="1317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23" name="Google Shape;723;p25"/>
              <p:cNvSpPr/>
              <p:nvPr/>
            </p:nvSpPr>
            <p:spPr>
              <a:xfrm>
                <a:off x="973825" y="1984075"/>
                <a:ext cx="13675" cy="11675"/>
              </a:xfrm>
              <a:custGeom>
                <a:avLst/>
                <a:gdLst/>
                <a:ahLst/>
                <a:cxnLst/>
                <a:rect l="l" t="t" r="r" b="b"/>
                <a:pathLst>
                  <a:path w="547" h="467" extrusionOk="0">
                    <a:moveTo>
                      <a:pt x="183" y="0"/>
                    </a:moveTo>
                    <a:cubicBezTo>
                      <a:pt x="87" y="0"/>
                      <a:pt x="1" y="51"/>
                      <a:pt x="34" y="173"/>
                    </a:cubicBezTo>
                    <a:cubicBezTo>
                      <a:pt x="34" y="242"/>
                      <a:pt x="87" y="296"/>
                      <a:pt x="136" y="345"/>
                    </a:cubicBezTo>
                    <a:cubicBezTo>
                      <a:pt x="199" y="408"/>
                      <a:pt x="301" y="467"/>
                      <a:pt x="395" y="467"/>
                    </a:cubicBezTo>
                    <a:cubicBezTo>
                      <a:pt x="406" y="467"/>
                      <a:pt x="417" y="466"/>
                      <a:pt x="428" y="464"/>
                    </a:cubicBezTo>
                    <a:cubicBezTo>
                      <a:pt x="461" y="464"/>
                      <a:pt x="498" y="448"/>
                      <a:pt x="514" y="415"/>
                    </a:cubicBezTo>
                    <a:cubicBezTo>
                      <a:pt x="547" y="378"/>
                      <a:pt x="530" y="296"/>
                      <a:pt x="514" y="242"/>
                    </a:cubicBezTo>
                    <a:cubicBezTo>
                      <a:pt x="461" y="156"/>
                      <a:pt x="395" y="90"/>
                      <a:pt x="325" y="37"/>
                    </a:cubicBezTo>
                    <a:cubicBezTo>
                      <a:pt x="285" y="13"/>
                      <a:pt x="232" y="0"/>
                      <a:pt x="183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24" name="Google Shape;724;p25"/>
              <p:cNvSpPr/>
              <p:nvPr/>
            </p:nvSpPr>
            <p:spPr>
              <a:xfrm>
                <a:off x="951150" y="1945825"/>
                <a:ext cx="72700" cy="56950"/>
              </a:xfrm>
              <a:custGeom>
                <a:avLst/>
                <a:gdLst/>
                <a:ahLst/>
                <a:cxnLst/>
                <a:rect l="l" t="t" r="r" b="b"/>
                <a:pathLst>
                  <a:path w="2908" h="2278" extrusionOk="0">
                    <a:moveTo>
                      <a:pt x="1589" y="114"/>
                    </a:moveTo>
                    <a:cubicBezTo>
                      <a:pt x="1676" y="114"/>
                      <a:pt x="1762" y="130"/>
                      <a:pt x="1848" y="146"/>
                    </a:cubicBezTo>
                    <a:cubicBezTo>
                      <a:pt x="1918" y="163"/>
                      <a:pt x="1918" y="183"/>
                      <a:pt x="1897" y="249"/>
                    </a:cubicBezTo>
                    <a:cubicBezTo>
                      <a:pt x="1864" y="335"/>
                      <a:pt x="1795" y="421"/>
                      <a:pt x="1729" y="471"/>
                    </a:cubicBezTo>
                    <a:cubicBezTo>
                      <a:pt x="1676" y="524"/>
                      <a:pt x="1626" y="541"/>
                      <a:pt x="1573" y="557"/>
                    </a:cubicBezTo>
                    <a:cubicBezTo>
                      <a:pt x="1555" y="560"/>
                      <a:pt x="1536" y="561"/>
                      <a:pt x="1518" y="561"/>
                    </a:cubicBezTo>
                    <a:cubicBezTo>
                      <a:pt x="1434" y="561"/>
                      <a:pt x="1352" y="532"/>
                      <a:pt x="1281" y="491"/>
                    </a:cubicBezTo>
                    <a:cubicBezTo>
                      <a:pt x="1232" y="454"/>
                      <a:pt x="1179" y="421"/>
                      <a:pt x="1129" y="368"/>
                    </a:cubicBezTo>
                    <a:cubicBezTo>
                      <a:pt x="1060" y="319"/>
                      <a:pt x="1060" y="265"/>
                      <a:pt x="1129" y="216"/>
                    </a:cubicBezTo>
                    <a:cubicBezTo>
                      <a:pt x="1232" y="163"/>
                      <a:pt x="1318" y="130"/>
                      <a:pt x="1421" y="114"/>
                    </a:cubicBezTo>
                    <a:close/>
                    <a:moveTo>
                      <a:pt x="1573" y="799"/>
                    </a:moveTo>
                    <a:cubicBezTo>
                      <a:pt x="1626" y="849"/>
                      <a:pt x="1676" y="918"/>
                      <a:pt x="1745" y="951"/>
                    </a:cubicBezTo>
                    <a:cubicBezTo>
                      <a:pt x="1762" y="951"/>
                      <a:pt x="1762" y="968"/>
                      <a:pt x="1762" y="984"/>
                    </a:cubicBezTo>
                    <a:cubicBezTo>
                      <a:pt x="1745" y="1037"/>
                      <a:pt x="1729" y="1087"/>
                      <a:pt x="1692" y="1140"/>
                    </a:cubicBezTo>
                    <a:cubicBezTo>
                      <a:pt x="1659" y="1173"/>
                      <a:pt x="1610" y="1189"/>
                      <a:pt x="1556" y="1189"/>
                    </a:cubicBezTo>
                    <a:cubicBezTo>
                      <a:pt x="1507" y="1173"/>
                      <a:pt x="1454" y="1173"/>
                      <a:pt x="1405" y="1156"/>
                    </a:cubicBezTo>
                    <a:cubicBezTo>
                      <a:pt x="1318" y="1156"/>
                      <a:pt x="1281" y="1087"/>
                      <a:pt x="1232" y="1021"/>
                    </a:cubicBezTo>
                    <a:cubicBezTo>
                      <a:pt x="1232" y="1005"/>
                      <a:pt x="1232" y="1005"/>
                      <a:pt x="1248" y="984"/>
                    </a:cubicBezTo>
                    <a:cubicBezTo>
                      <a:pt x="1318" y="951"/>
                      <a:pt x="1384" y="902"/>
                      <a:pt x="1454" y="832"/>
                    </a:cubicBezTo>
                    <a:cubicBezTo>
                      <a:pt x="1454" y="881"/>
                      <a:pt x="1454" y="935"/>
                      <a:pt x="1470" y="968"/>
                    </a:cubicBezTo>
                    <a:cubicBezTo>
                      <a:pt x="1470" y="1005"/>
                      <a:pt x="1470" y="1037"/>
                      <a:pt x="1507" y="1037"/>
                    </a:cubicBezTo>
                    <a:cubicBezTo>
                      <a:pt x="1540" y="1037"/>
                      <a:pt x="1540" y="1005"/>
                      <a:pt x="1540" y="984"/>
                    </a:cubicBezTo>
                    <a:cubicBezTo>
                      <a:pt x="1556" y="951"/>
                      <a:pt x="1556" y="918"/>
                      <a:pt x="1556" y="881"/>
                    </a:cubicBezTo>
                    <a:cubicBezTo>
                      <a:pt x="1556" y="849"/>
                      <a:pt x="1556" y="832"/>
                      <a:pt x="1573" y="799"/>
                    </a:cubicBezTo>
                    <a:close/>
                    <a:moveTo>
                      <a:pt x="1897" y="1021"/>
                    </a:moveTo>
                    <a:cubicBezTo>
                      <a:pt x="2020" y="1070"/>
                      <a:pt x="2140" y="1070"/>
                      <a:pt x="2275" y="1087"/>
                    </a:cubicBezTo>
                    <a:cubicBezTo>
                      <a:pt x="2345" y="1087"/>
                      <a:pt x="2431" y="1070"/>
                      <a:pt x="2513" y="1054"/>
                    </a:cubicBezTo>
                    <a:lnTo>
                      <a:pt x="2513" y="1054"/>
                    </a:lnTo>
                    <a:cubicBezTo>
                      <a:pt x="2480" y="1189"/>
                      <a:pt x="2431" y="1329"/>
                      <a:pt x="2378" y="1464"/>
                    </a:cubicBezTo>
                    <a:cubicBezTo>
                      <a:pt x="2361" y="1464"/>
                      <a:pt x="2361" y="1464"/>
                      <a:pt x="2361" y="1448"/>
                    </a:cubicBezTo>
                    <a:cubicBezTo>
                      <a:pt x="2242" y="1345"/>
                      <a:pt x="2103" y="1313"/>
                      <a:pt x="1951" y="1292"/>
                    </a:cubicBezTo>
                    <a:cubicBezTo>
                      <a:pt x="1916" y="1284"/>
                      <a:pt x="1882" y="1280"/>
                      <a:pt x="1846" y="1280"/>
                    </a:cubicBezTo>
                    <a:cubicBezTo>
                      <a:pt x="1810" y="1280"/>
                      <a:pt x="1772" y="1284"/>
                      <a:pt x="1729" y="1292"/>
                    </a:cubicBezTo>
                    <a:cubicBezTo>
                      <a:pt x="1643" y="1292"/>
                      <a:pt x="1556" y="1345"/>
                      <a:pt x="1487" y="1415"/>
                    </a:cubicBezTo>
                    <a:cubicBezTo>
                      <a:pt x="1467" y="1434"/>
                      <a:pt x="1459" y="1442"/>
                      <a:pt x="1446" y="1442"/>
                    </a:cubicBezTo>
                    <a:cubicBezTo>
                      <a:pt x="1437" y="1442"/>
                      <a:pt x="1425" y="1438"/>
                      <a:pt x="1405" y="1432"/>
                    </a:cubicBezTo>
                    <a:cubicBezTo>
                      <a:pt x="1283" y="1365"/>
                      <a:pt x="1161" y="1335"/>
                      <a:pt x="1035" y="1335"/>
                    </a:cubicBezTo>
                    <a:cubicBezTo>
                      <a:pt x="965" y="1335"/>
                      <a:pt x="894" y="1344"/>
                      <a:pt x="821" y="1362"/>
                    </a:cubicBezTo>
                    <a:cubicBezTo>
                      <a:pt x="768" y="1378"/>
                      <a:pt x="719" y="1415"/>
                      <a:pt x="665" y="1448"/>
                    </a:cubicBezTo>
                    <a:cubicBezTo>
                      <a:pt x="643" y="1463"/>
                      <a:pt x="631" y="1471"/>
                      <a:pt x="621" y="1471"/>
                    </a:cubicBezTo>
                    <a:cubicBezTo>
                      <a:pt x="609" y="1471"/>
                      <a:pt x="601" y="1459"/>
                      <a:pt x="583" y="1432"/>
                    </a:cubicBezTo>
                    <a:cubicBezTo>
                      <a:pt x="546" y="1345"/>
                      <a:pt x="513" y="1259"/>
                      <a:pt x="481" y="1173"/>
                    </a:cubicBezTo>
                    <a:cubicBezTo>
                      <a:pt x="444" y="1140"/>
                      <a:pt x="427" y="1087"/>
                      <a:pt x="411" y="1037"/>
                    </a:cubicBezTo>
                    <a:lnTo>
                      <a:pt x="411" y="1037"/>
                    </a:lnTo>
                    <a:cubicBezTo>
                      <a:pt x="460" y="1054"/>
                      <a:pt x="513" y="1054"/>
                      <a:pt x="563" y="1070"/>
                    </a:cubicBezTo>
                    <a:cubicBezTo>
                      <a:pt x="628" y="1084"/>
                      <a:pt x="695" y="1090"/>
                      <a:pt x="763" y="1090"/>
                    </a:cubicBezTo>
                    <a:cubicBezTo>
                      <a:pt x="875" y="1090"/>
                      <a:pt x="989" y="1074"/>
                      <a:pt x="1097" y="1054"/>
                    </a:cubicBezTo>
                    <a:cubicBezTo>
                      <a:pt x="1121" y="1048"/>
                      <a:pt x="1136" y="1044"/>
                      <a:pt x="1146" y="1044"/>
                    </a:cubicBezTo>
                    <a:cubicBezTo>
                      <a:pt x="1164" y="1044"/>
                      <a:pt x="1168" y="1055"/>
                      <a:pt x="1179" y="1087"/>
                    </a:cubicBezTo>
                    <a:cubicBezTo>
                      <a:pt x="1216" y="1173"/>
                      <a:pt x="1265" y="1243"/>
                      <a:pt x="1368" y="1276"/>
                    </a:cubicBezTo>
                    <a:cubicBezTo>
                      <a:pt x="1454" y="1292"/>
                      <a:pt x="1524" y="1292"/>
                      <a:pt x="1589" y="1292"/>
                    </a:cubicBezTo>
                    <a:cubicBezTo>
                      <a:pt x="1659" y="1292"/>
                      <a:pt x="1729" y="1259"/>
                      <a:pt x="1778" y="1210"/>
                    </a:cubicBezTo>
                    <a:cubicBezTo>
                      <a:pt x="1815" y="1156"/>
                      <a:pt x="1832" y="1107"/>
                      <a:pt x="1848" y="1054"/>
                    </a:cubicBezTo>
                    <a:cubicBezTo>
                      <a:pt x="1864" y="1021"/>
                      <a:pt x="1881" y="1021"/>
                      <a:pt x="1897" y="1021"/>
                    </a:cubicBezTo>
                    <a:close/>
                    <a:moveTo>
                      <a:pt x="1832" y="1415"/>
                    </a:moveTo>
                    <a:cubicBezTo>
                      <a:pt x="1951" y="1415"/>
                      <a:pt x="2070" y="1432"/>
                      <a:pt x="2172" y="1481"/>
                    </a:cubicBezTo>
                    <a:cubicBezTo>
                      <a:pt x="2226" y="1497"/>
                      <a:pt x="2259" y="1551"/>
                      <a:pt x="2291" y="1584"/>
                    </a:cubicBezTo>
                    <a:cubicBezTo>
                      <a:pt x="2291" y="1600"/>
                      <a:pt x="2308" y="1600"/>
                      <a:pt x="2291" y="1620"/>
                    </a:cubicBezTo>
                    <a:cubicBezTo>
                      <a:pt x="2205" y="1789"/>
                      <a:pt x="2140" y="1945"/>
                      <a:pt x="1967" y="2031"/>
                    </a:cubicBezTo>
                    <a:cubicBezTo>
                      <a:pt x="1881" y="2080"/>
                      <a:pt x="1778" y="2113"/>
                      <a:pt x="1676" y="2134"/>
                    </a:cubicBezTo>
                    <a:cubicBezTo>
                      <a:pt x="1626" y="2150"/>
                      <a:pt x="1573" y="2150"/>
                      <a:pt x="1524" y="2150"/>
                    </a:cubicBezTo>
                    <a:cubicBezTo>
                      <a:pt x="1421" y="2150"/>
                      <a:pt x="1335" y="2134"/>
                      <a:pt x="1248" y="2097"/>
                    </a:cubicBezTo>
                    <a:cubicBezTo>
                      <a:pt x="1146" y="2064"/>
                      <a:pt x="1060" y="2011"/>
                      <a:pt x="994" y="1945"/>
                    </a:cubicBezTo>
                    <a:cubicBezTo>
                      <a:pt x="891" y="1842"/>
                      <a:pt x="789" y="1723"/>
                      <a:pt x="702" y="1600"/>
                    </a:cubicBezTo>
                    <a:cubicBezTo>
                      <a:pt x="686" y="1567"/>
                      <a:pt x="686" y="1567"/>
                      <a:pt x="719" y="1551"/>
                    </a:cubicBezTo>
                    <a:cubicBezTo>
                      <a:pt x="816" y="1487"/>
                      <a:pt x="928" y="1458"/>
                      <a:pt x="1038" y="1458"/>
                    </a:cubicBezTo>
                    <a:cubicBezTo>
                      <a:pt x="1197" y="1458"/>
                      <a:pt x="1352" y="1518"/>
                      <a:pt x="1454" y="1620"/>
                    </a:cubicBezTo>
                    <a:cubicBezTo>
                      <a:pt x="1487" y="1670"/>
                      <a:pt x="1540" y="1703"/>
                      <a:pt x="1556" y="1756"/>
                    </a:cubicBezTo>
                    <a:lnTo>
                      <a:pt x="1626" y="1826"/>
                    </a:lnTo>
                    <a:cubicBezTo>
                      <a:pt x="1637" y="1826"/>
                      <a:pt x="1648" y="1833"/>
                      <a:pt x="1664" y="1833"/>
                    </a:cubicBezTo>
                    <a:cubicBezTo>
                      <a:pt x="1672" y="1833"/>
                      <a:pt x="1681" y="1831"/>
                      <a:pt x="1692" y="1826"/>
                    </a:cubicBezTo>
                    <a:cubicBezTo>
                      <a:pt x="1712" y="1805"/>
                      <a:pt x="1712" y="1789"/>
                      <a:pt x="1692" y="1772"/>
                    </a:cubicBezTo>
                    <a:cubicBezTo>
                      <a:pt x="1676" y="1686"/>
                      <a:pt x="1643" y="1620"/>
                      <a:pt x="1573" y="1567"/>
                    </a:cubicBezTo>
                    <a:cubicBezTo>
                      <a:pt x="1540" y="1518"/>
                      <a:pt x="1524" y="1518"/>
                      <a:pt x="1589" y="1481"/>
                    </a:cubicBezTo>
                    <a:cubicBezTo>
                      <a:pt x="1659" y="1432"/>
                      <a:pt x="1745" y="1415"/>
                      <a:pt x="1832" y="1415"/>
                    </a:cubicBezTo>
                    <a:close/>
                    <a:moveTo>
                      <a:pt x="1540" y="0"/>
                    </a:moveTo>
                    <a:cubicBezTo>
                      <a:pt x="1474" y="0"/>
                      <a:pt x="1406" y="4"/>
                      <a:pt x="1335" y="11"/>
                    </a:cubicBezTo>
                    <a:cubicBezTo>
                      <a:pt x="1232" y="27"/>
                      <a:pt x="1146" y="60"/>
                      <a:pt x="1060" y="130"/>
                    </a:cubicBezTo>
                    <a:cubicBezTo>
                      <a:pt x="941" y="216"/>
                      <a:pt x="924" y="335"/>
                      <a:pt x="1027" y="438"/>
                    </a:cubicBezTo>
                    <a:cubicBezTo>
                      <a:pt x="1129" y="541"/>
                      <a:pt x="1232" y="610"/>
                      <a:pt x="1368" y="660"/>
                    </a:cubicBezTo>
                    <a:cubicBezTo>
                      <a:pt x="1421" y="676"/>
                      <a:pt x="1421" y="676"/>
                      <a:pt x="1384" y="713"/>
                    </a:cubicBezTo>
                    <a:cubicBezTo>
                      <a:pt x="1318" y="799"/>
                      <a:pt x="1216" y="865"/>
                      <a:pt x="1113" y="902"/>
                    </a:cubicBezTo>
                    <a:cubicBezTo>
                      <a:pt x="1002" y="943"/>
                      <a:pt x="890" y="959"/>
                      <a:pt x="778" y="959"/>
                    </a:cubicBezTo>
                    <a:cubicBezTo>
                      <a:pt x="666" y="959"/>
                      <a:pt x="555" y="943"/>
                      <a:pt x="444" y="918"/>
                    </a:cubicBezTo>
                    <a:cubicBezTo>
                      <a:pt x="325" y="881"/>
                      <a:pt x="238" y="816"/>
                      <a:pt x="136" y="762"/>
                    </a:cubicBezTo>
                    <a:cubicBezTo>
                      <a:pt x="119" y="746"/>
                      <a:pt x="103" y="713"/>
                      <a:pt x="70" y="713"/>
                    </a:cubicBezTo>
                    <a:cubicBezTo>
                      <a:pt x="60" y="705"/>
                      <a:pt x="51" y="701"/>
                      <a:pt x="42" y="701"/>
                    </a:cubicBezTo>
                    <a:cubicBezTo>
                      <a:pt x="33" y="701"/>
                      <a:pt x="25" y="705"/>
                      <a:pt x="17" y="713"/>
                    </a:cubicBezTo>
                    <a:cubicBezTo>
                      <a:pt x="0" y="729"/>
                      <a:pt x="0" y="746"/>
                      <a:pt x="17" y="762"/>
                    </a:cubicBezTo>
                    <a:cubicBezTo>
                      <a:pt x="33" y="779"/>
                      <a:pt x="49" y="816"/>
                      <a:pt x="70" y="832"/>
                    </a:cubicBezTo>
                    <a:cubicBezTo>
                      <a:pt x="119" y="881"/>
                      <a:pt x="189" y="935"/>
                      <a:pt x="255" y="968"/>
                    </a:cubicBezTo>
                    <a:cubicBezTo>
                      <a:pt x="308" y="984"/>
                      <a:pt x="325" y="1021"/>
                      <a:pt x="325" y="1070"/>
                    </a:cubicBezTo>
                    <a:cubicBezTo>
                      <a:pt x="378" y="1210"/>
                      <a:pt x="427" y="1362"/>
                      <a:pt x="497" y="1497"/>
                    </a:cubicBezTo>
                    <a:cubicBezTo>
                      <a:pt x="600" y="1670"/>
                      <a:pt x="719" y="1842"/>
                      <a:pt x="871" y="1994"/>
                    </a:cubicBezTo>
                    <a:cubicBezTo>
                      <a:pt x="973" y="2113"/>
                      <a:pt x="1097" y="2199"/>
                      <a:pt x="1248" y="2236"/>
                    </a:cubicBezTo>
                    <a:cubicBezTo>
                      <a:pt x="1337" y="2265"/>
                      <a:pt x="1429" y="2278"/>
                      <a:pt x="1523" y="2278"/>
                    </a:cubicBezTo>
                    <a:cubicBezTo>
                      <a:pt x="1646" y="2278"/>
                      <a:pt x="1771" y="2255"/>
                      <a:pt x="1897" y="2216"/>
                    </a:cubicBezTo>
                    <a:cubicBezTo>
                      <a:pt x="2070" y="2150"/>
                      <a:pt x="2205" y="2048"/>
                      <a:pt x="2291" y="1891"/>
                    </a:cubicBezTo>
                    <a:cubicBezTo>
                      <a:pt x="2447" y="1637"/>
                      <a:pt x="2550" y="1378"/>
                      <a:pt x="2616" y="1087"/>
                    </a:cubicBezTo>
                    <a:cubicBezTo>
                      <a:pt x="2636" y="1021"/>
                      <a:pt x="2669" y="984"/>
                      <a:pt x="2718" y="951"/>
                    </a:cubicBezTo>
                    <a:cubicBezTo>
                      <a:pt x="2788" y="918"/>
                      <a:pt x="2842" y="865"/>
                      <a:pt x="2875" y="779"/>
                    </a:cubicBezTo>
                    <a:cubicBezTo>
                      <a:pt x="2891" y="762"/>
                      <a:pt x="2907" y="746"/>
                      <a:pt x="2891" y="713"/>
                    </a:cubicBezTo>
                    <a:cubicBezTo>
                      <a:pt x="2891" y="702"/>
                      <a:pt x="2891" y="688"/>
                      <a:pt x="2880" y="688"/>
                    </a:cubicBezTo>
                    <a:cubicBezTo>
                      <a:pt x="2875" y="688"/>
                      <a:pt x="2868" y="690"/>
                      <a:pt x="2858" y="697"/>
                    </a:cubicBezTo>
                    <a:cubicBezTo>
                      <a:pt x="2821" y="713"/>
                      <a:pt x="2805" y="729"/>
                      <a:pt x="2788" y="746"/>
                    </a:cubicBezTo>
                    <a:cubicBezTo>
                      <a:pt x="2669" y="865"/>
                      <a:pt x="2534" y="935"/>
                      <a:pt x="2361" y="951"/>
                    </a:cubicBezTo>
                    <a:cubicBezTo>
                      <a:pt x="2336" y="956"/>
                      <a:pt x="2309" y="958"/>
                      <a:pt x="2282" y="958"/>
                    </a:cubicBezTo>
                    <a:cubicBezTo>
                      <a:pt x="2216" y="958"/>
                      <a:pt x="2147" y="946"/>
                      <a:pt x="2086" y="935"/>
                    </a:cubicBezTo>
                    <a:cubicBezTo>
                      <a:pt x="1897" y="918"/>
                      <a:pt x="1762" y="832"/>
                      <a:pt x="1643" y="713"/>
                    </a:cubicBezTo>
                    <a:cubicBezTo>
                      <a:pt x="1626" y="697"/>
                      <a:pt x="1626" y="697"/>
                      <a:pt x="1626" y="676"/>
                    </a:cubicBezTo>
                    <a:cubicBezTo>
                      <a:pt x="1659" y="660"/>
                      <a:pt x="1712" y="643"/>
                      <a:pt x="1762" y="610"/>
                    </a:cubicBezTo>
                    <a:cubicBezTo>
                      <a:pt x="1864" y="541"/>
                      <a:pt x="1951" y="438"/>
                      <a:pt x="2000" y="319"/>
                    </a:cubicBezTo>
                    <a:cubicBezTo>
                      <a:pt x="2020" y="286"/>
                      <a:pt x="2020" y="249"/>
                      <a:pt x="2020" y="200"/>
                    </a:cubicBezTo>
                    <a:cubicBezTo>
                      <a:pt x="2037" y="130"/>
                      <a:pt x="2000" y="97"/>
                      <a:pt x="1934" y="60"/>
                    </a:cubicBezTo>
                    <a:cubicBezTo>
                      <a:pt x="1897" y="44"/>
                      <a:pt x="1864" y="27"/>
                      <a:pt x="1815" y="27"/>
                    </a:cubicBezTo>
                    <a:cubicBezTo>
                      <a:pt x="1724" y="8"/>
                      <a:pt x="1634" y="0"/>
                      <a:pt x="154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25" name="Google Shape;725;p25"/>
              <p:cNvSpPr/>
              <p:nvPr/>
            </p:nvSpPr>
            <p:spPr>
              <a:xfrm>
                <a:off x="981525" y="1939925"/>
                <a:ext cx="13275" cy="4325"/>
              </a:xfrm>
              <a:custGeom>
                <a:avLst/>
                <a:gdLst/>
                <a:ahLst/>
                <a:cxnLst/>
                <a:rect l="l" t="t" r="r" b="b"/>
                <a:pathLst>
                  <a:path w="531" h="173" extrusionOk="0">
                    <a:moveTo>
                      <a:pt x="290" y="0"/>
                    </a:moveTo>
                    <a:cubicBezTo>
                      <a:pt x="269" y="0"/>
                      <a:pt x="246" y="3"/>
                      <a:pt x="222" y="9"/>
                    </a:cubicBezTo>
                    <a:lnTo>
                      <a:pt x="190" y="9"/>
                    </a:lnTo>
                    <a:cubicBezTo>
                      <a:pt x="120" y="9"/>
                      <a:pt x="66" y="42"/>
                      <a:pt x="17" y="91"/>
                    </a:cubicBezTo>
                    <a:cubicBezTo>
                      <a:pt x="1" y="111"/>
                      <a:pt x="1" y="128"/>
                      <a:pt x="1" y="161"/>
                    </a:cubicBezTo>
                    <a:cubicBezTo>
                      <a:pt x="9" y="169"/>
                      <a:pt x="21" y="173"/>
                      <a:pt x="33" y="173"/>
                    </a:cubicBezTo>
                    <a:cubicBezTo>
                      <a:pt x="46" y="173"/>
                      <a:pt x="58" y="169"/>
                      <a:pt x="66" y="161"/>
                    </a:cubicBezTo>
                    <a:cubicBezTo>
                      <a:pt x="87" y="161"/>
                      <a:pt x="103" y="161"/>
                      <a:pt x="120" y="144"/>
                    </a:cubicBezTo>
                    <a:cubicBezTo>
                      <a:pt x="190" y="111"/>
                      <a:pt x="255" y="111"/>
                      <a:pt x="309" y="111"/>
                    </a:cubicBezTo>
                    <a:cubicBezTo>
                      <a:pt x="358" y="128"/>
                      <a:pt x="411" y="144"/>
                      <a:pt x="444" y="161"/>
                    </a:cubicBezTo>
                    <a:cubicBezTo>
                      <a:pt x="477" y="161"/>
                      <a:pt x="514" y="161"/>
                      <a:pt x="530" y="128"/>
                    </a:cubicBezTo>
                    <a:cubicBezTo>
                      <a:pt x="530" y="111"/>
                      <a:pt x="530" y="74"/>
                      <a:pt x="497" y="58"/>
                    </a:cubicBezTo>
                    <a:cubicBezTo>
                      <a:pt x="477" y="58"/>
                      <a:pt x="461" y="42"/>
                      <a:pt x="461" y="42"/>
                    </a:cubicBezTo>
                    <a:cubicBezTo>
                      <a:pt x="398" y="18"/>
                      <a:pt x="347" y="0"/>
                      <a:pt x="29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26" name="Google Shape;726;p25"/>
              <p:cNvSpPr/>
              <p:nvPr/>
            </p:nvSpPr>
            <p:spPr>
              <a:xfrm>
                <a:off x="932350" y="1922925"/>
                <a:ext cx="38025" cy="37850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514" extrusionOk="0">
                    <a:moveTo>
                      <a:pt x="776" y="1"/>
                    </a:moveTo>
                    <a:cubicBezTo>
                      <a:pt x="757" y="1"/>
                      <a:pt x="738" y="2"/>
                      <a:pt x="719" y="3"/>
                    </a:cubicBezTo>
                    <a:cubicBezTo>
                      <a:pt x="288" y="19"/>
                      <a:pt x="1" y="430"/>
                      <a:pt x="17" y="771"/>
                    </a:cubicBezTo>
                    <a:cubicBezTo>
                      <a:pt x="34" y="1099"/>
                      <a:pt x="186" y="1457"/>
                      <a:pt x="736" y="1510"/>
                    </a:cubicBezTo>
                    <a:cubicBezTo>
                      <a:pt x="759" y="1513"/>
                      <a:pt x="783" y="1514"/>
                      <a:pt x="806" y="1514"/>
                    </a:cubicBezTo>
                    <a:cubicBezTo>
                      <a:pt x="1201" y="1514"/>
                      <a:pt x="1520" y="1125"/>
                      <a:pt x="1520" y="722"/>
                    </a:cubicBezTo>
                    <a:cubicBezTo>
                      <a:pt x="1504" y="329"/>
                      <a:pt x="1178" y="1"/>
                      <a:pt x="776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27" name="Google Shape;727;p25"/>
              <p:cNvSpPr/>
              <p:nvPr/>
            </p:nvSpPr>
            <p:spPr>
              <a:xfrm>
                <a:off x="923425" y="1921200"/>
                <a:ext cx="57825" cy="40675"/>
              </a:xfrm>
              <a:custGeom>
                <a:avLst/>
                <a:gdLst/>
                <a:ahLst/>
                <a:cxnLst/>
                <a:rect l="l" t="t" r="r" b="b"/>
                <a:pathLst>
                  <a:path w="2313" h="1627" extrusionOk="0">
                    <a:moveTo>
                      <a:pt x="805" y="291"/>
                    </a:moveTo>
                    <a:cubicBezTo>
                      <a:pt x="814" y="291"/>
                      <a:pt x="824" y="292"/>
                      <a:pt x="834" y="294"/>
                    </a:cubicBezTo>
                    <a:cubicBezTo>
                      <a:pt x="986" y="294"/>
                      <a:pt x="1006" y="570"/>
                      <a:pt x="818" y="570"/>
                    </a:cubicBezTo>
                    <a:cubicBezTo>
                      <a:pt x="812" y="570"/>
                      <a:pt x="807" y="569"/>
                      <a:pt x="801" y="569"/>
                    </a:cubicBezTo>
                    <a:cubicBezTo>
                      <a:pt x="638" y="553"/>
                      <a:pt x="644" y="291"/>
                      <a:pt x="805" y="291"/>
                    </a:cubicBezTo>
                    <a:close/>
                    <a:moveTo>
                      <a:pt x="469" y="753"/>
                    </a:moveTo>
                    <a:cubicBezTo>
                      <a:pt x="472" y="753"/>
                      <a:pt x="474" y="754"/>
                      <a:pt x="477" y="758"/>
                    </a:cubicBezTo>
                    <a:cubicBezTo>
                      <a:pt x="493" y="758"/>
                      <a:pt x="699" y="1029"/>
                      <a:pt x="1126" y="1029"/>
                    </a:cubicBezTo>
                    <a:cubicBezTo>
                      <a:pt x="1553" y="1029"/>
                      <a:pt x="1725" y="807"/>
                      <a:pt x="1774" y="774"/>
                    </a:cubicBezTo>
                    <a:cubicBezTo>
                      <a:pt x="1778" y="772"/>
                      <a:pt x="1782" y="772"/>
                      <a:pt x="1785" y="772"/>
                    </a:cubicBezTo>
                    <a:cubicBezTo>
                      <a:pt x="1808" y="772"/>
                      <a:pt x="1797" y="825"/>
                      <a:pt x="1811" y="840"/>
                    </a:cubicBezTo>
                    <a:cubicBezTo>
                      <a:pt x="1811" y="1082"/>
                      <a:pt x="1655" y="1287"/>
                      <a:pt x="1466" y="1406"/>
                    </a:cubicBezTo>
                    <a:cubicBezTo>
                      <a:pt x="1362" y="1471"/>
                      <a:pt x="1247" y="1501"/>
                      <a:pt x="1131" y="1501"/>
                    </a:cubicBezTo>
                    <a:cubicBezTo>
                      <a:pt x="850" y="1501"/>
                      <a:pt x="573" y="1325"/>
                      <a:pt x="477" y="1045"/>
                    </a:cubicBezTo>
                    <a:cubicBezTo>
                      <a:pt x="460" y="979"/>
                      <a:pt x="440" y="893"/>
                      <a:pt x="440" y="807"/>
                    </a:cubicBezTo>
                    <a:cubicBezTo>
                      <a:pt x="440" y="793"/>
                      <a:pt x="454" y="753"/>
                      <a:pt x="469" y="753"/>
                    </a:cubicBezTo>
                    <a:close/>
                    <a:moveTo>
                      <a:pt x="1092" y="1"/>
                    </a:moveTo>
                    <a:cubicBezTo>
                      <a:pt x="327" y="1"/>
                      <a:pt x="0" y="1089"/>
                      <a:pt x="699" y="1509"/>
                    </a:cubicBezTo>
                    <a:cubicBezTo>
                      <a:pt x="850" y="1591"/>
                      <a:pt x="995" y="1626"/>
                      <a:pt x="1128" y="1626"/>
                    </a:cubicBezTo>
                    <a:cubicBezTo>
                      <a:pt x="1916" y="1626"/>
                      <a:pt x="2313" y="390"/>
                      <a:pt x="1347" y="39"/>
                    </a:cubicBezTo>
                    <a:cubicBezTo>
                      <a:pt x="1258" y="13"/>
                      <a:pt x="1172" y="1"/>
                      <a:pt x="1092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28" name="Google Shape;728;p25"/>
              <p:cNvSpPr/>
              <p:nvPr/>
            </p:nvSpPr>
            <p:spPr>
              <a:xfrm>
                <a:off x="1006275" y="1922925"/>
                <a:ext cx="38500" cy="37850"/>
              </a:xfrm>
              <a:custGeom>
                <a:avLst/>
                <a:gdLst/>
                <a:ahLst/>
                <a:cxnLst/>
                <a:rect l="l" t="t" r="r" b="b"/>
                <a:pathLst>
                  <a:path w="1540" h="1514" extrusionOk="0">
                    <a:moveTo>
                      <a:pt x="776" y="1"/>
                    </a:moveTo>
                    <a:cubicBezTo>
                      <a:pt x="757" y="1"/>
                      <a:pt x="738" y="2"/>
                      <a:pt x="719" y="3"/>
                    </a:cubicBezTo>
                    <a:cubicBezTo>
                      <a:pt x="292" y="19"/>
                      <a:pt x="0" y="430"/>
                      <a:pt x="21" y="771"/>
                    </a:cubicBezTo>
                    <a:cubicBezTo>
                      <a:pt x="37" y="1099"/>
                      <a:pt x="189" y="1457"/>
                      <a:pt x="756" y="1510"/>
                    </a:cubicBezTo>
                    <a:cubicBezTo>
                      <a:pt x="778" y="1513"/>
                      <a:pt x="801" y="1514"/>
                      <a:pt x="823" y="1514"/>
                    </a:cubicBezTo>
                    <a:cubicBezTo>
                      <a:pt x="1206" y="1514"/>
                      <a:pt x="1539" y="1125"/>
                      <a:pt x="1524" y="722"/>
                    </a:cubicBezTo>
                    <a:cubicBezTo>
                      <a:pt x="1508" y="329"/>
                      <a:pt x="1181" y="1"/>
                      <a:pt x="776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29" name="Google Shape;729;p25"/>
              <p:cNvSpPr/>
              <p:nvPr/>
            </p:nvSpPr>
            <p:spPr>
              <a:xfrm>
                <a:off x="997425" y="1921200"/>
                <a:ext cx="57850" cy="40675"/>
              </a:xfrm>
              <a:custGeom>
                <a:avLst/>
                <a:gdLst/>
                <a:ahLst/>
                <a:cxnLst/>
                <a:rect l="l" t="t" r="r" b="b"/>
                <a:pathLst>
                  <a:path w="2314" h="1627" extrusionOk="0">
                    <a:moveTo>
                      <a:pt x="862" y="291"/>
                    </a:moveTo>
                    <a:cubicBezTo>
                      <a:pt x="870" y="291"/>
                      <a:pt x="879" y="292"/>
                      <a:pt x="888" y="294"/>
                    </a:cubicBezTo>
                    <a:cubicBezTo>
                      <a:pt x="1036" y="294"/>
                      <a:pt x="1055" y="570"/>
                      <a:pt x="867" y="570"/>
                    </a:cubicBezTo>
                    <a:cubicBezTo>
                      <a:pt x="862" y="570"/>
                      <a:pt x="857" y="569"/>
                      <a:pt x="851" y="569"/>
                    </a:cubicBezTo>
                    <a:cubicBezTo>
                      <a:pt x="692" y="553"/>
                      <a:pt x="713" y="291"/>
                      <a:pt x="862" y="291"/>
                    </a:cubicBezTo>
                    <a:close/>
                    <a:moveTo>
                      <a:pt x="468" y="753"/>
                    </a:moveTo>
                    <a:cubicBezTo>
                      <a:pt x="471" y="753"/>
                      <a:pt x="474" y="754"/>
                      <a:pt x="477" y="758"/>
                    </a:cubicBezTo>
                    <a:cubicBezTo>
                      <a:pt x="494" y="758"/>
                      <a:pt x="699" y="1029"/>
                      <a:pt x="1126" y="1029"/>
                    </a:cubicBezTo>
                    <a:cubicBezTo>
                      <a:pt x="1553" y="1029"/>
                      <a:pt x="1726" y="807"/>
                      <a:pt x="1775" y="774"/>
                    </a:cubicBezTo>
                    <a:cubicBezTo>
                      <a:pt x="1779" y="772"/>
                      <a:pt x="1783" y="772"/>
                      <a:pt x="1786" y="772"/>
                    </a:cubicBezTo>
                    <a:cubicBezTo>
                      <a:pt x="1812" y="772"/>
                      <a:pt x="1812" y="825"/>
                      <a:pt x="1812" y="840"/>
                    </a:cubicBezTo>
                    <a:cubicBezTo>
                      <a:pt x="1812" y="1082"/>
                      <a:pt x="1656" y="1287"/>
                      <a:pt x="1467" y="1406"/>
                    </a:cubicBezTo>
                    <a:cubicBezTo>
                      <a:pt x="1363" y="1471"/>
                      <a:pt x="1247" y="1501"/>
                      <a:pt x="1132" y="1501"/>
                    </a:cubicBezTo>
                    <a:cubicBezTo>
                      <a:pt x="851" y="1501"/>
                      <a:pt x="573" y="1325"/>
                      <a:pt x="477" y="1045"/>
                    </a:cubicBezTo>
                    <a:cubicBezTo>
                      <a:pt x="457" y="979"/>
                      <a:pt x="440" y="893"/>
                      <a:pt x="440" y="807"/>
                    </a:cubicBezTo>
                    <a:cubicBezTo>
                      <a:pt x="440" y="793"/>
                      <a:pt x="452" y="753"/>
                      <a:pt x="468" y="753"/>
                    </a:cubicBezTo>
                    <a:close/>
                    <a:moveTo>
                      <a:pt x="1092" y="1"/>
                    </a:moveTo>
                    <a:cubicBezTo>
                      <a:pt x="327" y="1"/>
                      <a:pt x="1" y="1089"/>
                      <a:pt x="699" y="1509"/>
                    </a:cubicBezTo>
                    <a:cubicBezTo>
                      <a:pt x="850" y="1591"/>
                      <a:pt x="995" y="1626"/>
                      <a:pt x="1129" y="1626"/>
                    </a:cubicBezTo>
                    <a:cubicBezTo>
                      <a:pt x="1916" y="1626"/>
                      <a:pt x="2313" y="390"/>
                      <a:pt x="1348" y="39"/>
                    </a:cubicBezTo>
                    <a:cubicBezTo>
                      <a:pt x="1258" y="13"/>
                      <a:pt x="1173" y="1"/>
                      <a:pt x="1092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30" name="Google Shape;730;p25"/>
              <p:cNvSpPr/>
              <p:nvPr/>
            </p:nvSpPr>
            <p:spPr>
              <a:xfrm>
                <a:off x="1055550" y="1940125"/>
                <a:ext cx="58525" cy="55150"/>
              </a:xfrm>
              <a:custGeom>
                <a:avLst/>
                <a:gdLst/>
                <a:ahLst/>
                <a:cxnLst/>
                <a:rect l="l" t="t" r="r" b="b"/>
                <a:pathLst>
                  <a:path w="2341" h="2206" extrusionOk="0">
                    <a:moveTo>
                      <a:pt x="957" y="1"/>
                    </a:moveTo>
                    <a:cubicBezTo>
                      <a:pt x="871" y="1"/>
                      <a:pt x="801" y="34"/>
                      <a:pt x="719" y="66"/>
                    </a:cubicBezTo>
                    <a:cubicBezTo>
                      <a:pt x="632" y="120"/>
                      <a:pt x="563" y="169"/>
                      <a:pt x="493" y="222"/>
                    </a:cubicBezTo>
                    <a:cubicBezTo>
                      <a:pt x="341" y="325"/>
                      <a:pt x="238" y="477"/>
                      <a:pt x="152" y="649"/>
                    </a:cubicBezTo>
                    <a:cubicBezTo>
                      <a:pt x="82" y="822"/>
                      <a:pt x="33" y="990"/>
                      <a:pt x="17" y="1179"/>
                    </a:cubicBezTo>
                    <a:cubicBezTo>
                      <a:pt x="0" y="1212"/>
                      <a:pt x="17" y="1249"/>
                      <a:pt x="17" y="1298"/>
                    </a:cubicBezTo>
                    <a:cubicBezTo>
                      <a:pt x="66" y="1848"/>
                      <a:pt x="493" y="2206"/>
                      <a:pt x="1129" y="2206"/>
                    </a:cubicBezTo>
                    <a:cubicBezTo>
                      <a:pt x="1762" y="2189"/>
                      <a:pt x="2341" y="1848"/>
                      <a:pt x="2341" y="1282"/>
                    </a:cubicBezTo>
                    <a:cubicBezTo>
                      <a:pt x="2325" y="724"/>
                      <a:pt x="1888" y="372"/>
                      <a:pt x="1263" y="372"/>
                    </a:cubicBezTo>
                    <a:cubicBezTo>
                      <a:pt x="1235" y="372"/>
                      <a:pt x="1207" y="373"/>
                      <a:pt x="1179" y="374"/>
                    </a:cubicBezTo>
                    <a:cubicBezTo>
                      <a:pt x="1211" y="325"/>
                      <a:pt x="1232" y="239"/>
                      <a:pt x="1211" y="185"/>
                    </a:cubicBezTo>
                    <a:cubicBezTo>
                      <a:pt x="1211" y="153"/>
                      <a:pt x="1195" y="136"/>
                      <a:pt x="1179" y="103"/>
                    </a:cubicBezTo>
                    <a:cubicBezTo>
                      <a:pt x="1146" y="34"/>
                      <a:pt x="1043" y="1"/>
                      <a:pt x="957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31" name="Google Shape;731;p25"/>
              <p:cNvSpPr/>
              <p:nvPr/>
            </p:nvSpPr>
            <p:spPr>
              <a:xfrm>
                <a:off x="1064475" y="1956725"/>
                <a:ext cx="35950" cy="30375"/>
              </a:xfrm>
              <a:custGeom>
                <a:avLst/>
                <a:gdLst/>
                <a:ahLst/>
                <a:cxnLst/>
                <a:rect l="l" t="t" r="r" b="b"/>
                <a:pathLst>
                  <a:path w="1438" h="1215" extrusionOk="0">
                    <a:moveTo>
                      <a:pt x="751" y="0"/>
                    </a:moveTo>
                    <a:cubicBezTo>
                      <a:pt x="639" y="0"/>
                      <a:pt x="527" y="33"/>
                      <a:pt x="427" y="88"/>
                    </a:cubicBezTo>
                    <a:cubicBezTo>
                      <a:pt x="292" y="158"/>
                      <a:pt x="173" y="261"/>
                      <a:pt x="103" y="380"/>
                    </a:cubicBezTo>
                    <a:cubicBezTo>
                      <a:pt x="33" y="515"/>
                      <a:pt x="0" y="671"/>
                      <a:pt x="54" y="807"/>
                    </a:cubicBezTo>
                    <a:cubicBezTo>
                      <a:pt x="87" y="909"/>
                      <a:pt x="173" y="1012"/>
                      <a:pt x="259" y="1082"/>
                    </a:cubicBezTo>
                    <a:cubicBezTo>
                      <a:pt x="384" y="1164"/>
                      <a:pt x="540" y="1215"/>
                      <a:pt x="693" y="1215"/>
                    </a:cubicBezTo>
                    <a:cubicBezTo>
                      <a:pt x="792" y="1215"/>
                      <a:pt x="889" y="1194"/>
                      <a:pt x="978" y="1148"/>
                    </a:cubicBezTo>
                    <a:cubicBezTo>
                      <a:pt x="1421" y="926"/>
                      <a:pt x="1438" y="207"/>
                      <a:pt x="941" y="35"/>
                    </a:cubicBezTo>
                    <a:cubicBezTo>
                      <a:pt x="879" y="11"/>
                      <a:pt x="816" y="0"/>
                      <a:pt x="751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32" name="Google Shape;732;p25"/>
              <p:cNvSpPr/>
              <p:nvPr/>
            </p:nvSpPr>
            <p:spPr>
              <a:xfrm>
                <a:off x="1053375" y="1938800"/>
                <a:ext cx="65825" cy="57725"/>
              </a:xfrm>
              <a:custGeom>
                <a:avLst/>
                <a:gdLst/>
                <a:ahLst/>
                <a:cxnLst/>
                <a:rect l="l" t="t" r="r" b="b"/>
                <a:pathLst>
                  <a:path w="2633" h="2309" extrusionOk="0">
                    <a:moveTo>
                      <a:pt x="1044" y="136"/>
                    </a:moveTo>
                    <a:cubicBezTo>
                      <a:pt x="1093" y="136"/>
                      <a:pt x="1130" y="156"/>
                      <a:pt x="1163" y="173"/>
                    </a:cubicBezTo>
                    <a:cubicBezTo>
                      <a:pt x="1163" y="189"/>
                      <a:pt x="1163" y="189"/>
                      <a:pt x="1179" y="189"/>
                    </a:cubicBezTo>
                    <a:cubicBezTo>
                      <a:pt x="1179" y="206"/>
                      <a:pt x="1179" y="206"/>
                      <a:pt x="1196" y="222"/>
                    </a:cubicBezTo>
                    <a:cubicBezTo>
                      <a:pt x="1196" y="238"/>
                      <a:pt x="1216" y="259"/>
                      <a:pt x="1216" y="275"/>
                    </a:cubicBezTo>
                    <a:cubicBezTo>
                      <a:pt x="1216" y="308"/>
                      <a:pt x="1216" y="341"/>
                      <a:pt x="1179" y="395"/>
                    </a:cubicBezTo>
                    <a:cubicBezTo>
                      <a:pt x="1163" y="444"/>
                      <a:pt x="1147" y="497"/>
                      <a:pt x="1130" y="546"/>
                    </a:cubicBezTo>
                    <a:cubicBezTo>
                      <a:pt x="1077" y="633"/>
                      <a:pt x="1011" y="719"/>
                      <a:pt x="925" y="789"/>
                    </a:cubicBezTo>
                    <a:cubicBezTo>
                      <a:pt x="908" y="805"/>
                      <a:pt x="908" y="838"/>
                      <a:pt x="925" y="854"/>
                    </a:cubicBezTo>
                    <a:cubicBezTo>
                      <a:pt x="941" y="875"/>
                      <a:pt x="958" y="875"/>
                      <a:pt x="990" y="875"/>
                    </a:cubicBezTo>
                    <a:cubicBezTo>
                      <a:pt x="1093" y="805"/>
                      <a:pt x="1179" y="719"/>
                      <a:pt x="1233" y="616"/>
                    </a:cubicBezTo>
                    <a:cubicBezTo>
                      <a:pt x="1266" y="583"/>
                      <a:pt x="1282" y="530"/>
                      <a:pt x="1298" y="497"/>
                    </a:cubicBezTo>
                    <a:cubicBezTo>
                      <a:pt x="1487" y="497"/>
                      <a:pt x="1660" y="546"/>
                      <a:pt x="1849" y="633"/>
                    </a:cubicBezTo>
                    <a:cubicBezTo>
                      <a:pt x="2017" y="702"/>
                      <a:pt x="2157" y="822"/>
                      <a:pt x="2259" y="994"/>
                    </a:cubicBezTo>
                    <a:cubicBezTo>
                      <a:pt x="2243" y="978"/>
                      <a:pt x="2222" y="978"/>
                      <a:pt x="2222" y="978"/>
                    </a:cubicBezTo>
                    <a:cubicBezTo>
                      <a:pt x="2073" y="921"/>
                      <a:pt x="1923" y="890"/>
                      <a:pt x="1770" y="890"/>
                    </a:cubicBezTo>
                    <a:cubicBezTo>
                      <a:pt x="1644" y="890"/>
                      <a:pt x="1516" y="911"/>
                      <a:pt x="1385" y="957"/>
                    </a:cubicBezTo>
                    <a:cubicBezTo>
                      <a:pt x="1335" y="994"/>
                      <a:pt x="1266" y="1010"/>
                      <a:pt x="1216" y="1060"/>
                    </a:cubicBezTo>
                    <a:cubicBezTo>
                      <a:pt x="1216" y="1060"/>
                      <a:pt x="1196" y="1080"/>
                      <a:pt x="1196" y="1113"/>
                    </a:cubicBezTo>
                    <a:cubicBezTo>
                      <a:pt x="1203" y="1119"/>
                      <a:pt x="1209" y="1120"/>
                      <a:pt x="1215" y="1120"/>
                    </a:cubicBezTo>
                    <a:cubicBezTo>
                      <a:pt x="1227" y="1120"/>
                      <a:pt x="1238" y="1113"/>
                      <a:pt x="1249" y="1113"/>
                    </a:cubicBezTo>
                    <a:cubicBezTo>
                      <a:pt x="1298" y="1097"/>
                      <a:pt x="1368" y="1097"/>
                      <a:pt x="1422" y="1080"/>
                    </a:cubicBezTo>
                    <a:cubicBezTo>
                      <a:pt x="1546" y="1048"/>
                      <a:pt x="1670" y="1023"/>
                      <a:pt x="1798" y="1023"/>
                    </a:cubicBezTo>
                    <a:cubicBezTo>
                      <a:pt x="1881" y="1023"/>
                      <a:pt x="1966" y="1034"/>
                      <a:pt x="2054" y="1060"/>
                    </a:cubicBezTo>
                    <a:cubicBezTo>
                      <a:pt x="2362" y="1146"/>
                      <a:pt x="2378" y="1162"/>
                      <a:pt x="2309" y="1524"/>
                    </a:cubicBezTo>
                    <a:cubicBezTo>
                      <a:pt x="2300" y="1580"/>
                      <a:pt x="2291" y="1605"/>
                      <a:pt x="2270" y="1605"/>
                    </a:cubicBezTo>
                    <a:cubicBezTo>
                      <a:pt x="2253" y="1605"/>
                      <a:pt x="2228" y="1588"/>
                      <a:pt x="2189" y="1557"/>
                    </a:cubicBezTo>
                    <a:cubicBezTo>
                      <a:pt x="2028" y="1470"/>
                      <a:pt x="1857" y="1426"/>
                      <a:pt x="1684" y="1426"/>
                    </a:cubicBezTo>
                    <a:cubicBezTo>
                      <a:pt x="1585" y="1426"/>
                      <a:pt x="1485" y="1440"/>
                      <a:pt x="1385" y="1470"/>
                    </a:cubicBezTo>
                    <a:cubicBezTo>
                      <a:pt x="1352" y="1470"/>
                      <a:pt x="1298" y="1491"/>
                      <a:pt x="1319" y="1540"/>
                    </a:cubicBezTo>
                    <a:cubicBezTo>
                      <a:pt x="1319" y="1563"/>
                      <a:pt x="1328" y="1569"/>
                      <a:pt x="1340" y="1569"/>
                    </a:cubicBezTo>
                    <a:cubicBezTo>
                      <a:pt x="1357" y="1569"/>
                      <a:pt x="1382" y="1557"/>
                      <a:pt x="1401" y="1557"/>
                    </a:cubicBezTo>
                    <a:lnTo>
                      <a:pt x="1438" y="1557"/>
                    </a:lnTo>
                    <a:cubicBezTo>
                      <a:pt x="1490" y="1553"/>
                      <a:pt x="1541" y="1551"/>
                      <a:pt x="1591" y="1551"/>
                    </a:cubicBezTo>
                    <a:cubicBezTo>
                      <a:pt x="1784" y="1551"/>
                      <a:pt x="1961" y="1581"/>
                      <a:pt x="2140" y="1676"/>
                    </a:cubicBezTo>
                    <a:cubicBezTo>
                      <a:pt x="2206" y="1729"/>
                      <a:pt x="2189" y="1745"/>
                      <a:pt x="2157" y="1778"/>
                    </a:cubicBezTo>
                    <a:cubicBezTo>
                      <a:pt x="1984" y="1984"/>
                      <a:pt x="1746" y="2107"/>
                      <a:pt x="1487" y="2156"/>
                    </a:cubicBezTo>
                    <a:cubicBezTo>
                      <a:pt x="1395" y="2170"/>
                      <a:pt x="1305" y="2178"/>
                      <a:pt x="1218" y="2178"/>
                    </a:cubicBezTo>
                    <a:cubicBezTo>
                      <a:pt x="981" y="2178"/>
                      <a:pt x="760" y="2121"/>
                      <a:pt x="547" y="1984"/>
                    </a:cubicBezTo>
                    <a:cubicBezTo>
                      <a:pt x="395" y="1865"/>
                      <a:pt x="256" y="1729"/>
                      <a:pt x="206" y="1540"/>
                    </a:cubicBezTo>
                    <a:cubicBezTo>
                      <a:pt x="190" y="1421"/>
                      <a:pt x="169" y="1232"/>
                      <a:pt x="169" y="1232"/>
                    </a:cubicBezTo>
                    <a:cubicBezTo>
                      <a:pt x="169" y="1043"/>
                      <a:pt x="239" y="854"/>
                      <a:pt x="325" y="686"/>
                    </a:cubicBezTo>
                    <a:cubicBezTo>
                      <a:pt x="375" y="600"/>
                      <a:pt x="444" y="514"/>
                      <a:pt x="514" y="427"/>
                    </a:cubicBezTo>
                    <a:cubicBezTo>
                      <a:pt x="600" y="362"/>
                      <a:pt x="683" y="292"/>
                      <a:pt x="769" y="238"/>
                    </a:cubicBezTo>
                    <a:cubicBezTo>
                      <a:pt x="855" y="189"/>
                      <a:pt x="958" y="136"/>
                      <a:pt x="1044" y="136"/>
                    </a:cubicBezTo>
                    <a:close/>
                    <a:moveTo>
                      <a:pt x="1044" y="0"/>
                    </a:moveTo>
                    <a:cubicBezTo>
                      <a:pt x="908" y="0"/>
                      <a:pt x="785" y="54"/>
                      <a:pt x="683" y="103"/>
                    </a:cubicBezTo>
                    <a:cubicBezTo>
                      <a:pt x="580" y="173"/>
                      <a:pt x="498" y="259"/>
                      <a:pt x="412" y="341"/>
                    </a:cubicBezTo>
                    <a:cubicBezTo>
                      <a:pt x="342" y="427"/>
                      <a:pt x="256" y="514"/>
                      <a:pt x="206" y="633"/>
                    </a:cubicBezTo>
                    <a:cubicBezTo>
                      <a:pt x="104" y="822"/>
                      <a:pt x="1" y="1060"/>
                      <a:pt x="17" y="1265"/>
                    </a:cubicBezTo>
                    <a:cubicBezTo>
                      <a:pt x="17" y="1594"/>
                      <a:pt x="153" y="1832"/>
                      <a:pt x="412" y="2037"/>
                    </a:cubicBezTo>
                    <a:cubicBezTo>
                      <a:pt x="655" y="2225"/>
                      <a:pt x="930" y="2308"/>
                      <a:pt x="1221" y="2308"/>
                    </a:cubicBezTo>
                    <a:cubicBezTo>
                      <a:pt x="1298" y="2308"/>
                      <a:pt x="1376" y="2303"/>
                      <a:pt x="1454" y="2292"/>
                    </a:cubicBezTo>
                    <a:cubicBezTo>
                      <a:pt x="1746" y="2259"/>
                      <a:pt x="2017" y="2140"/>
                      <a:pt x="2222" y="1918"/>
                    </a:cubicBezTo>
                    <a:cubicBezTo>
                      <a:pt x="2411" y="1713"/>
                      <a:pt x="2633" y="1335"/>
                      <a:pt x="2346" y="875"/>
                    </a:cubicBezTo>
                    <a:cubicBezTo>
                      <a:pt x="2206" y="649"/>
                      <a:pt x="2001" y="514"/>
                      <a:pt x="1746" y="444"/>
                    </a:cubicBezTo>
                    <a:cubicBezTo>
                      <a:pt x="1606" y="411"/>
                      <a:pt x="1487" y="395"/>
                      <a:pt x="1352" y="378"/>
                    </a:cubicBezTo>
                    <a:lnTo>
                      <a:pt x="1352" y="362"/>
                    </a:lnTo>
                    <a:cubicBezTo>
                      <a:pt x="1368" y="325"/>
                      <a:pt x="1368" y="292"/>
                      <a:pt x="1368" y="259"/>
                    </a:cubicBezTo>
                    <a:cubicBezTo>
                      <a:pt x="1352" y="222"/>
                      <a:pt x="1352" y="173"/>
                      <a:pt x="1335" y="156"/>
                    </a:cubicBezTo>
                    <a:cubicBezTo>
                      <a:pt x="1319" y="136"/>
                      <a:pt x="1319" y="119"/>
                      <a:pt x="1298" y="103"/>
                    </a:cubicBezTo>
                    <a:cubicBezTo>
                      <a:pt x="1282" y="87"/>
                      <a:pt x="1266" y="70"/>
                      <a:pt x="1249" y="54"/>
                    </a:cubicBezTo>
                    <a:cubicBezTo>
                      <a:pt x="1196" y="0"/>
                      <a:pt x="1114" y="0"/>
                      <a:pt x="104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33" name="Google Shape;733;p25"/>
              <p:cNvSpPr/>
              <p:nvPr/>
            </p:nvSpPr>
            <p:spPr>
              <a:xfrm>
                <a:off x="872825" y="1920200"/>
                <a:ext cx="64175" cy="76025"/>
              </a:xfrm>
              <a:custGeom>
                <a:avLst/>
                <a:gdLst/>
                <a:ahLst/>
                <a:cxnLst/>
                <a:rect l="l" t="t" r="r" b="b"/>
                <a:pathLst>
                  <a:path w="2567" h="3041" extrusionOk="0">
                    <a:moveTo>
                      <a:pt x="1264" y="1"/>
                    </a:moveTo>
                    <a:cubicBezTo>
                      <a:pt x="1248" y="1"/>
                      <a:pt x="1231" y="3"/>
                      <a:pt x="1216" y="9"/>
                    </a:cubicBezTo>
                    <a:cubicBezTo>
                      <a:pt x="945" y="112"/>
                      <a:pt x="1080" y="798"/>
                      <a:pt x="1216" y="1171"/>
                    </a:cubicBezTo>
                    <a:cubicBezTo>
                      <a:pt x="1130" y="1059"/>
                      <a:pt x="963" y="875"/>
                      <a:pt x="800" y="875"/>
                    </a:cubicBezTo>
                    <a:cubicBezTo>
                      <a:pt x="767" y="875"/>
                      <a:pt x="734" y="883"/>
                      <a:pt x="702" y="900"/>
                    </a:cubicBezTo>
                    <a:cubicBezTo>
                      <a:pt x="600" y="933"/>
                      <a:pt x="567" y="1085"/>
                      <a:pt x="567" y="1208"/>
                    </a:cubicBezTo>
                    <a:cubicBezTo>
                      <a:pt x="553" y="1310"/>
                      <a:pt x="587" y="1424"/>
                      <a:pt x="651" y="1519"/>
                    </a:cubicBezTo>
                    <a:lnTo>
                      <a:pt x="651" y="1519"/>
                    </a:lnTo>
                    <a:cubicBezTo>
                      <a:pt x="563" y="1408"/>
                      <a:pt x="402" y="1236"/>
                      <a:pt x="237" y="1236"/>
                    </a:cubicBezTo>
                    <a:cubicBezTo>
                      <a:pt x="205" y="1236"/>
                      <a:pt x="172" y="1243"/>
                      <a:pt x="140" y="1258"/>
                    </a:cubicBezTo>
                    <a:cubicBezTo>
                      <a:pt x="37" y="1311"/>
                      <a:pt x="0" y="1463"/>
                      <a:pt x="0" y="1566"/>
                    </a:cubicBezTo>
                    <a:cubicBezTo>
                      <a:pt x="0" y="1738"/>
                      <a:pt x="86" y="1906"/>
                      <a:pt x="206" y="2030"/>
                    </a:cubicBezTo>
                    <a:cubicBezTo>
                      <a:pt x="177" y="2468"/>
                      <a:pt x="559" y="3040"/>
                      <a:pt x="1236" y="3040"/>
                    </a:cubicBezTo>
                    <a:cubicBezTo>
                      <a:pt x="1352" y="3040"/>
                      <a:pt x="1477" y="3024"/>
                      <a:pt x="1610" y="2986"/>
                    </a:cubicBezTo>
                    <a:cubicBezTo>
                      <a:pt x="2037" y="2867"/>
                      <a:pt x="2567" y="2301"/>
                      <a:pt x="2259" y="1668"/>
                    </a:cubicBezTo>
                    <a:cubicBezTo>
                      <a:pt x="2209" y="1549"/>
                      <a:pt x="2107" y="1463"/>
                      <a:pt x="1988" y="1393"/>
                    </a:cubicBezTo>
                    <a:cubicBezTo>
                      <a:pt x="1951" y="1188"/>
                      <a:pt x="1885" y="982"/>
                      <a:pt x="1832" y="798"/>
                    </a:cubicBezTo>
                    <a:cubicBezTo>
                      <a:pt x="1745" y="539"/>
                      <a:pt x="1663" y="301"/>
                      <a:pt x="1491" y="112"/>
                    </a:cubicBezTo>
                    <a:cubicBezTo>
                      <a:pt x="1420" y="55"/>
                      <a:pt x="1339" y="1"/>
                      <a:pt x="1264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34" name="Google Shape;734;p25"/>
              <p:cNvSpPr/>
              <p:nvPr/>
            </p:nvSpPr>
            <p:spPr>
              <a:xfrm>
                <a:off x="891300" y="1964675"/>
                <a:ext cx="23950" cy="18900"/>
              </a:xfrm>
              <a:custGeom>
                <a:avLst/>
                <a:gdLst/>
                <a:ahLst/>
                <a:cxnLst/>
                <a:rect l="l" t="t" r="r" b="b"/>
                <a:pathLst>
                  <a:path w="958" h="756" extrusionOk="0">
                    <a:moveTo>
                      <a:pt x="119" y="1"/>
                    </a:moveTo>
                    <a:cubicBezTo>
                      <a:pt x="114" y="1"/>
                      <a:pt x="108" y="3"/>
                      <a:pt x="103" y="8"/>
                    </a:cubicBezTo>
                    <a:lnTo>
                      <a:pt x="103" y="25"/>
                    </a:lnTo>
                    <a:cubicBezTo>
                      <a:pt x="82" y="78"/>
                      <a:pt x="103" y="148"/>
                      <a:pt x="119" y="197"/>
                    </a:cubicBezTo>
                    <a:cubicBezTo>
                      <a:pt x="119" y="300"/>
                      <a:pt x="103" y="435"/>
                      <a:pt x="17" y="505"/>
                    </a:cubicBezTo>
                    <a:lnTo>
                      <a:pt x="0" y="522"/>
                    </a:lnTo>
                    <a:cubicBezTo>
                      <a:pt x="0" y="538"/>
                      <a:pt x="0" y="559"/>
                      <a:pt x="17" y="559"/>
                    </a:cubicBezTo>
                    <a:cubicBezTo>
                      <a:pt x="82" y="678"/>
                      <a:pt x="222" y="727"/>
                      <a:pt x="358" y="743"/>
                    </a:cubicBezTo>
                    <a:cubicBezTo>
                      <a:pt x="403" y="751"/>
                      <a:pt x="449" y="756"/>
                      <a:pt x="493" y="756"/>
                    </a:cubicBezTo>
                    <a:cubicBezTo>
                      <a:pt x="565" y="756"/>
                      <a:pt x="635" y="743"/>
                      <a:pt x="698" y="710"/>
                    </a:cubicBezTo>
                    <a:cubicBezTo>
                      <a:pt x="822" y="661"/>
                      <a:pt x="957" y="505"/>
                      <a:pt x="941" y="353"/>
                    </a:cubicBezTo>
                    <a:cubicBezTo>
                      <a:pt x="924" y="283"/>
                      <a:pt x="854" y="283"/>
                      <a:pt x="801" y="251"/>
                    </a:cubicBezTo>
                    <a:cubicBezTo>
                      <a:pt x="719" y="214"/>
                      <a:pt x="666" y="148"/>
                      <a:pt x="596" y="78"/>
                    </a:cubicBezTo>
                    <a:cubicBezTo>
                      <a:pt x="553" y="124"/>
                      <a:pt x="487" y="147"/>
                      <a:pt x="418" y="147"/>
                    </a:cubicBezTo>
                    <a:cubicBezTo>
                      <a:pt x="381" y="147"/>
                      <a:pt x="344" y="140"/>
                      <a:pt x="308" y="127"/>
                    </a:cubicBezTo>
                    <a:cubicBezTo>
                      <a:pt x="255" y="95"/>
                      <a:pt x="206" y="45"/>
                      <a:pt x="152" y="8"/>
                    </a:cubicBezTo>
                    <a:cubicBezTo>
                      <a:pt x="141" y="8"/>
                      <a:pt x="130" y="1"/>
                      <a:pt x="11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35" name="Google Shape;735;p25"/>
              <p:cNvSpPr/>
              <p:nvPr/>
            </p:nvSpPr>
            <p:spPr>
              <a:xfrm>
                <a:off x="871175" y="1918275"/>
                <a:ext cx="62450" cy="79750"/>
              </a:xfrm>
              <a:custGeom>
                <a:avLst/>
                <a:gdLst/>
                <a:ahLst/>
                <a:cxnLst/>
                <a:rect l="l" t="t" r="r" b="b"/>
                <a:pathLst>
                  <a:path w="2498" h="3190" extrusionOk="0">
                    <a:moveTo>
                      <a:pt x="1335" y="156"/>
                    </a:moveTo>
                    <a:cubicBezTo>
                      <a:pt x="1368" y="156"/>
                      <a:pt x="1401" y="173"/>
                      <a:pt x="1454" y="205"/>
                    </a:cubicBezTo>
                    <a:cubicBezTo>
                      <a:pt x="1487" y="222"/>
                      <a:pt x="1524" y="275"/>
                      <a:pt x="1557" y="308"/>
                    </a:cubicBezTo>
                    <a:cubicBezTo>
                      <a:pt x="1590" y="361"/>
                      <a:pt x="1627" y="411"/>
                      <a:pt x="1659" y="464"/>
                    </a:cubicBezTo>
                    <a:cubicBezTo>
                      <a:pt x="1709" y="567"/>
                      <a:pt x="1746" y="669"/>
                      <a:pt x="1795" y="788"/>
                    </a:cubicBezTo>
                    <a:cubicBezTo>
                      <a:pt x="1848" y="977"/>
                      <a:pt x="1914" y="1162"/>
                      <a:pt x="1967" y="1351"/>
                    </a:cubicBezTo>
                    <a:cubicBezTo>
                      <a:pt x="1951" y="1335"/>
                      <a:pt x="1935" y="1335"/>
                      <a:pt x="1914" y="1318"/>
                    </a:cubicBezTo>
                    <a:cubicBezTo>
                      <a:pt x="1848" y="1302"/>
                      <a:pt x="1778" y="1285"/>
                      <a:pt x="1729" y="1265"/>
                    </a:cubicBezTo>
                    <a:cubicBezTo>
                      <a:pt x="1694" y="1257"/>
                      <a:pt x="1659" y="1252"/>
                      <a:pt x="1622" y="1252"/>
                    </a:cubicBezTo>
                    <a:cubicBezTo>
                      <a:pt x="1586" y="1252"/>
                      <a:pt x="1546" y="1257"/>
                      <a:pt x="1503" y="1265"/>
                    </a:cubicBezTo>
                    <a:cubicBezTo>
                      <a:pt x="1471" y="1265"/>
                      <a:pt x="1438" y="1285"/>
                      <a:pt x="1401" y="1302"/>
                    </a:cubicBezTo>
                    <a:cubicBezTo>
                      <a:pt x="1384" y="1285"/>
                      <a:pt x="1368" y="1248"/>
                      <a:pt x="1335" y="1216"/>
                    </a:cubicBezTo>
                    <a:cubicBezTo>
                      <a:pt x="1298" y="1096"/>
                      <a:pt x="1265" y="994"/>
                      <a:pt x="1249" y="875"/>
                    </a:cubicBezTo>
                    <a:cubicBezTo>
                      <a:pt x="1232" y="752"/>
                      <a:pt x="1216" y="632"/>
                      <a:pt x="1195" y="513"/>
                    </a:cubicBezTo>
                    <a:cubicBezTo>
                      <a:pt x="1195" y="464"/>
                      <a:pt x="1195" y="411"/>
                      <a:pt x="1216" y="361"/>
                    </a:cubicBezTo>
                    <a:cubicBezTo>
                      <a:pt x="1216" y="292"/>
                      <a:pt x="1232" y="238"/>
                      <a:pt x="1249" y="205"/>
                    </a:cubicBezTo>
                    <a:cubicBezTo>
                      <a:pt x="1265" y="173"/>
                      <a:pt x="1298" y="156"/>
                      <a:pt x="1335" y="156"/>
                    </a:cubicBezTo>
                    <a:close/>
                    <a:moveTo>
                      <a:pt x="859" y="1011"/>
                    </a:moveTo>
                    <a:cubicBezTo>
                      <a:pt x="1066" y="1011"/>
                      <a:pt x="1282" y="1353"/>
                      <a:pt x="1282" y="1367"/>
                    </a:cubicBezTo>
                    <a:lnTo>
                      <a:pt x="1298" y="1388"/>
                    </a:lnTo>
                    <a:cubicBezTo>
                      <a:pt x="1216" y="1491"/>
                      <a:pt x="1195" y="1643"/>
                      <a:pt x="1232" y="1778"/>
                    </a:cubicBezTo>
                    <a:cubicBezTo>
                      <a:pt x="1249" y="1848"/>
                      <a:pt x="1282" y="1901"/>
                      <a:pt x="1319" y="1951"/>
                    </a:cubicBezTo>
                    <a:cubicBezTo>
                      <a:pt x="1319" y="1967"/>
                      <a:pt x="1298" y="1967"/>
                      <a:pt x="1282" y="1967"/>
                    </a:cubicBezTo>
                    <a:cubicBezTo>
                      <a:pt x="1276" y="1968"/>
                      <a:pt x="1270" y="1968"/>
                      <a:pt x="1265" y="1968"/>
                    </a:cubicBezTo>
                    <a:cubicBezTo>
                      <a:pt x="1178" y="1968"/>
                      <a:pt x="1057" y="1862"/>
                      <a:pt x="1011" y="1831"/>
                    </a:cubicBezTo>
                    <a:cubicBezTo>
                      <a:pt x="924" y="1762"/>
                      <a:pt x="871" y="1696"/>
                      <a:pt x="822" y="1643"/>
                    </a:cubicBezTo>
                    <a:cubicBezTo>
                      <a:pt x="822" y="1626"/>
                      <a:pt x="805" y="1626"/>
                      <a:pt x="805" y="1610"/>
                    </a:cubicBezTo>
                    <a:cubicBezTo>
                      <a:pt x="719" y="1507"/>
                      <a:pt x="682" y="1388"/>
                      <a:pt x="682" y="1285"/>
                    </a:cubicBezTo>
                    <a:cubicBezTo>
                      <a:pt x="703" y="1183"/>
                      <a:pt x="719" y="1059"/>
                      <a:pt x="785" y="1027"/>
                    </a:cubicBezTo>
                    <a:cubicBezTo>
                      <a:pt x="809" y="1016"/>
                      <a:pt x="834" y="1011"/>
                      <a:pt x="859" y="1011"/>
                    </a:cubicBezTo>
                    <a:close/>
                    <a:moveTo>
                      <a:pt x="305" y="1374"/>
                    </a:moveTo>
                    <a:cubicBezTo>
                      <a:pt x="444" y="1374"/>
                      <a:pt x="594" y="1544"/>
                      <a:pt x="682" y="1675"/>
                    </a:cubicBezTo>
                    <a:cubicBezTo>
                      <a:pt x="703" y="1675"/>
                      <a:pt x="719" y="1696"/>
                      <a:pt x="719" y="1712"/>
                    </a:cubicBezTo>
                    <a:lnTo>
                      <a:pt x="736" y="1729"/>
                    </a:lnTo>
                    <a:lnTo>
                      <a:pt x="752" y="1778"/>
                    </a:lnTo>
                    <a:cubicBezTo>
                      <a:pt x="822" y="1881"/>
                      <a:pt x="887" y="1967"/>
                      <a:pt x="887" y="2086"/>
                    </a:cubicBezTo>
                    <a:cubicBezTo>
                      <a:pt x="887" y="2226"/>
                      <a:pt x="822" y="2312"/>
                      <a:pt x="719" y="2345"/>
                    </a:cubicBezTo>
                    <a:cubicBezTo>
                      <a:pt x="715" y="2346"/>
                      <a:pt x="710" y="2346"/>
                      <a:pt x="705" y="2346"/>
                    </a:cubicBezTo>
                    <a:cubicBezTo>
                      <a:pt x="630" y="2346"/>
                      <a:pt x="494" y="2239"/>
                      <a:pt x="444" y="2189"/>
                    </a:cubicBezTo>
                    <a:cubicBezTo>
                      <a:pt x="395" y="2156"/>
                      <a:pt x="358" y="2107"/>
                      <a:pt x="325" y="2070"/>
                    </a:cubicBezTo>
                    <a:cubicBezTo>
                      <a:pt x="189" y="1934"/>
                      <a:pt x="120" y="1778"/>
                      <a:pt x="136" y="1643"/>
                    </a:cubicBezTo>
                    <a:cubicBezTo>
                      <a:pt x="136" y="1540"/>
                      <a:pt x="169" y="1421"/>
                      <a:pt x="239" y="1388"/>
                    </a:cubicBezTo>
                    <a:cubicBezTo>
                      <a:pt x="260" y="1378"/>
                      <a:pt x="282" y="1374"/>
                      <a:pt x="305" y="1374"/>
                    </a:cubicBezTo>
                    <a:close/>
                    <a:moveTo>
                      <a:pt x="1614" y="1380"/>
                    </a:moveTo>
                    <a:cubicBezTo>
                      <a:pt x="1641" y="1380"/>
                      <a:pt x="1667" y="1383"/>
                      <a:pt x="1692" y="1388"/>
                    </a:cubicBezTo>
                    <a:cubicBezTo>
                      <a:pt x="1914" y="1437"/>
                      <a:pt x="2156" y="1556"/>
                      <a:pt x="2259" y="1745"/>
                    </a:cubicBezTo>
                    <a:cubicBezTo>
                      <a:pt x="2308" y="1848"/>
                      <a:pt x="2345" y="1951"/>
                      <a:pt x="2345" y="2070"/>
                    </a:cubicBezTo>
                    <a:cubicBezTo>
                      <a:pt x="2362" y="2189"/>
                      <a:pt x="2345" y="2291"/>
                      <a:pt x="2308" y="2394"/>
                    </a:cubicBezTo>
                    <a:cubicBezTo>
                      <a:pt x="2222" y="2620"/>
                      <a:pt x="2054" y="2788"/>
                      <a:pt x="1848" y="2907"/>
                    </a:cubicBezTo>
                    <a:cubicBezTo>
                      <a:pt x="1811" y="2944"/>
                      <a:pt x="1746" y="2961"/>
                      <a:pt x="1692" y="2977"/>
                    </a:cubicBezTo>
                    <a:cubicBezTo>
                      <a:pt x="1676" y="2993"/>
                      <a:pt x="1643" y="2993"/>
                      <a:pt x="1627" y="3010"/>
                    </a:cubicBezTo>
                    <a:cubicBezTo>
                      <a:pt x="1590" y="3010"/>
                      <a:pt x="1557" y="3010"/>
                      <a:pt x="1540" y="3030"/>
                    </a:cubicBezTo>
                    <a:cubicBezTo>
                      <a:pt x="1421" y="3047"/>
                      <a:pt x="1298" y="3047"/>
                      <a:pt x="1179" y="3047"/>
                    </a:cubicBezTo>
                    <a:cubicBezTo>
                      <a:pt x="957" y="3010"/>
                      <a:pt x="736" y="2907"/>
                      <a:pt x="579" y="2739"/>
                    </a:cubicBezTo>
                    <a:cubicBezTo>
                      <a:pt x="460" y="2599"/>
                      <a:pt x="374" y="2447"/>
                      <a:pt x="341" y="2275"/>
                    </a:cubicBezTo>
                    <a:cubicBezTo>
                      <a:pt x="358" y="2275"/>
                      <a:pt x="358" y="2275"/>
                      <a:pt x="358" y="2291"/>
                    </a:cubicBezTo>
                    <a:cubicBezTo>
                      <a:pt x="428" y="2345"/>
                      <a:pt x="547" y="2447"/>
                      <a:pt x="666" y="2464"/>
                    </a:cubicBezTo>
                    <a:lnTo>
                      <a:pt x="752" y="2464"/>
                    </a:lnTo>
                    <a:cubicBezTo>
                      <a:pt x="908" y="2415"/>
                      <a:pt x="1011" y="2275"/>
                      <a:pt x="1011" y="2086"/>
                    </a:cubicBezTo>
                    <a:cubicBezTo>
                      <a:pt x="1011" y="2053"/>
                      <a:pt x="1011" y="2020"/>
                      <a:pt x="990" y="1983"/>
                    </a:cubicBezTo>
                    <a:lnTo>
                      <a:pt x="990" y="1983"/>
                    </a:lnTo>
                    <a:cubicBezTo>
                      <a:pt x="1060" y="2037"/>
                      <a:pt x="1146" y="2086"/>
                      <a:pt x="1216" y="2086"/>
                    </a:cubicBezTo>
                    <a:cubicBezTo>
                      <a:pt x="1232" y="2096"/>
                      <a:pt x="1249" y="2101"/>
                      <a:pt x="1266" y="2101"/>
                    </a:cubicBezTo>
                    <a:cubicBezTo>
                      <a:pt x="1283" y="2101"/>
                      <a:pt x="1300" y="2096"/>
                      <a:pt x="1319" y="2086"/>
                    </a:cubicBezTo>
                    <a:cubicBezTo>
                      <a:pt x="1351" y="2086"/>
                      <a:pt x="1384" y="2070"/>
                      <a:pt x="1401" y="2053"/>
                    </a:cubicBezTo>
                    <a:cubicBezTo>
                      <a:pt x="1421" y="2070"/>
                      <a:pt x="1438" y="2086"/>
                      <a:pt x="1454" y="2107"/>
                    </a:cubicBezTo>
                    <a:cubicBezTo>
                      <a:pt x="1503" y="2139"/>
                      <a:pt x="1573" y="2172"/>
                      <a:pt x="1643" y="2189"/>
                    </a:cubicBezTo>
                    <a:cubicBezTo>
                      <a:pt x="1692" y="2226"/>
                      <a:pt x="1762" y="2242"/>
                      <a:pt x="1832" y="2242"/>
                    </a:cubicBezTo>
                    <a:cubicBezTo>
                      <a:pt x="1836" y="2246"/>
                      <a:pt x="1841" y="2248"/>
                      <a:pt x="1845" y="2248"/>
                    </a:cubicBezTo>
                    <a:cubicBezTo>
                      <a:pt x="1857" y="2248"/>
                      <a:pt x="1869" y="2233"/>
                      <a:pt x="1881" y="2209"/>
                    </a:cubicBezTo>
                    <a:cubicBezTo>
                      <a:pt x="1881" y="2189"/>
                      <a:pt x="1865" y="2156"/>
                      <a:pt x="1848" y="2156"/>
                    </a:cubicBezTo>
                    <a:cubicBezTo>
                      <a:pt x="1729" y="2123"/>
                      <a:pt x="1606" y="2086"/>
                      <a:pt x="1524" y="2020"/>
                    </a:cubicBezTo>
                    <a:cubicBezTo>
                      <a:pt x="1438" y="1934"/>
                      <a:pt x="1368" y="1848"/>
                      <a:pt x="1351" y="1745"/>
                    </a:cubicBezTo>
                    <a:cubicBezTo>
                      <a:pt x="1319" y="1643"/>
                      <a:pt x="1335" y="1523"/>
                      <a:pt x="1401" y="1454"/>
                    </a:cubicBezTo>
                    <a:cubicBezTo>
                      <a:pt x="1453" y="1404"/>
                      <a:pt x="1534" y="1380"/>
                      <a:pt x="1614" y="1380"/>
                    </a:cubicBezTo>
                    <a:close/>
                    <a:moveTo>
                      <a:pt x="1335" y="0"/>
                    </a:moveTo>
                    <a:cubicBezTo>
                      <a:pt x="1282" y="0"/>
                      <a:pt x="1232" y="17"/>
                      <a:pt x="1195" y="33"/>
                    </a:cubicBezTo>
                    <a:cubicBezTo>
                      <a:pt x="1163" y="70"/>
                      <a:pt x="1130" y="103"/>
                      <a:pt x="1113" y="136"/>
                    </a:cubicBezTo>
                    <a:cubicBezTo>
                      <a:pt x="1076" y="205"/>
                      <a:pt x="1060" y="275"/>
                      <a:pt x="1060" y="341"/>
                    </a:cubicBezTo>
                    <a:cubicBezTo>
                      <a:pt x="1043" y="394"/>
                      <a:pt x="1043" y="464"/>
                      <a:pt x="1060" y="530"/>
                    </a:cubicBezTo>
                    <a:cubicBezTo>
                      <a:pt x="1060" y="686"/>
                      <a:pt x="1093" y="854"/>
                      <a:pt x="1146" y="1010"/>
                    </a:cubicBezTo>
                    <a:cubicBezTo>
                      <a:pt x="1060" y="936"/>
                      <a:pt x="956" y="879"/>
                      <a:pt x="853" y="879"/>
                    </a:cubicBezTo>
                    <a:cubicBezTo>
                      <a:pt x="813" y="879"/>
                      <a:pt x="773" y="888"/>
                      <a:pt x="736" y="908"/>
                    </a:cubicBezTo>
                    <a:cubicBezTo>
                      <a:pt x="600" y="977"/>
                      <a:pt x="563" y="1199"/>
                      <a:pt x="563" y="1285"/>
                    </a:cubicBezTo>
                    <a:lnTo>
                      <a:pt x="563" y="1367"/>
                    </a:lnTo>
                    <a:cubicBezTo>
                      <a:pt x="493" y="1298"/>
                      <a:pt x="409" y="1253"/>
                      <a:pt x="319" y="1253"/>
                    </a:cubicBezTo>
                    <a:cubicBezTo>
                      <a:pt x="277" y="1253"/>
                      <a:pt x="233" y="1263"/>
                      <a:pt x="189" y="1285"/>
                    </a:cubicBezTo>
                    <a:cubicBezTo>
                      <a:pt x="33" y="1351"/>
                      <a:pt x="17" y="1556"/>
                      <a:pt x="1" y="1643"/>
                    </a:cubicBezTo>
                    <a:cubicBezTo>
                      <a:pt x="1" y="1848"/>
                      <a:pt x="103" y="2020"/>
                      <a:pt x="206" y="2139"/>
                    </a:cubicBezTo>
                    <a:cubicBezTo>
                      <a:pt x="206" y="2394"/>
                      <a:pt x="308" y="2636"/>
                      <a:pt x="477" y="2825"/>
                    </a:cubicBezTo>
                    <a:cubicBezTo>
                      <a:pt x="649" y="3030"/>
                      <a:pt x="908" y="3150"/>
                      <a:pt x="1163" y="3182"/>
                    </a:cubicBezTo>
                    <a:cubicBezTo>
                      <a:pt x="1202" y="3187"/>
                      <a:pt x="1242" y="3189"/>
                      <a:pt x="1282" y="3189"/>
                    </a:cubicBezTo>
                    <a:cubicBezTo>
                      <a:pt x="1378" y="3189"/>
                      <a:pt x="1473" y="3178"/>
                      <a:pt x="1557" y="3166"/>
                    </a:cubicBezTo>
                    <a:cubicBezTo>
                      <a:pt x="1590" y="3166"/>
                      <a:pt x="1627" y="3150"/>
                      <a:pt x="1659" y="3150"/>
                    </a:cubicBezTo>
                    <a:cubicBezTo>
                      <a:pt x="1676" y="3133"/>
                      <a:pt x="1709" y="3133"/>
                      <a:pt x="1746" y="3113"/>
                    </a:cubicBezTo>
                    <a:cubicBezTo>
                      <a:pt x="1811" y="3096"/>
                      <a:pt x="1865" y="3063"/>
                      <a:pt x="1935" y="3030"/>
                    </a:cubicBezTo>
                    <a:cubicBezTo>
                      <a:pt x="2037" y="2977"/>
                      <a:pt x="2140" y="2891"/>
                      <a:pt x="2222" y="2788"/>
                    </a:cubicBezTo>
                    <a:cubicBezTo>
                      <a:pt x="2308" y="2686"/>
                      <a:pt x="2394" y="2583"/>
                      <a:pt x="2427" y="2447"/>
                    </a:cubicBezTo>
                    <a:cubicBezTo>
                      <a:pt x="2481" y="2328"/>
                      <a:pt x="2497" y="2189"/>
                      <a:pt x="2497" y="2053"/>
                    </a:cubicBezTo>
                    <a:cubicBezTo>
                      <a:pt x="2481" y="1934"/>
                      <a:pt x="2448" y="1799"/>
                      <a:pt x="2378" y="1675"/>
                    </a:cubicBezTo>
                    <a:cubicBezTo>
                      <a:pt x="2308" y="1573"/>
                      <a:pt x="2222" y="1491"/>
                      <a:pt x="2119" y="1421"/>
                    </a:cubicBezTo>
                    <a:cubicBezTo>
                      <a:pt x="2070" y="1183"/>
                      <a:pt x="2000" y="957"/>
                      <a:pt x="1935" y="735"/>
                    </a:cubicBezTo>
                    <a:cubicBezTo>
                      <a:pt x="1898" y="616"/>
                      <a:pt x="1848" y="497"/>
                      <a:pt x="1795" y="394"/>
                    </a:cubicBezTo>
                    <a:cubicBezTo>
                      <a:pt x="1762" y="324"/>
                      <a:pt x="1729" y="275"/>
                      <a:pt x="1676" y="222"/>
                    </a:cubicBezTo>
                    <a:cubicBezTo>
                      <a:pt x="1643" y="173"/>
                      <a:pt x="1606" y="119"/>
                      <a:pt x="1540" y="70"/>
                    </a:cubicBezTo>
                    <a:cubicBezTo>
                      <a:pt x="1487" y="33"/>
                      <a:pt x="1421" y="0"/>
                      <a:pt x="133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36" name="Google Shape;736;p25"/>
              <p:cNvSpPr/>
              <p:nvPr/>
            </p:nvSpPr>
            <p:spPr>
              <a:xfrm>
                <a:off x="1052450" y="1819000"/>
                <a:ext cx="71475" cy="155350"/>
              </a:xfrm>
              <a:custGeom>
                <a:avLst/>
                <a:gdLst/>
                <a:ahLst/>
                <a:cxnLst/>
                <a:rect l="l" t="t" r="r" b="b"/>
                <a:pathLst>
                  <a:path w="2859" h="6214" extrusionOk="0">
                    <a:moveTo>
                      <a:pt x="395" y="1"/>
                    </a:moveTo>
                    <a:lnTo>
                      <a:pt x="243" y="448"/>
                    </a:lnTo>
                    <a:lnTo>
                      <a:pt x="1" y="1167"/>
                    </a:lnTo>
                    <a:cubicBezTo>
                      <a:pt x="703" y="1405"/>
                      <a:pt x="1319" y="1766"/>
                      <a:pt x="1664" y="2398"/>
                    </a:cubicBezTo>
                    <a:cubicBezTo>
                      <a:pt x="1849" y="2723"/>
                      <a:pt x="1919" y="3101"/>
                      <a:pt x="1919" y="3474"/>
                    </a:cubicBezTo>
                    <a:cubicBezTo>
                      <a:pt x="1919" y="4365"/>
                      <a:pt x="1508" y="5306"/>
                      <a:pt x="1064" y="6024"/>
                    </a:cubicBezTo>
                    <a:cubicBezTo>
                      <a:pt x="1027" y="6078"/>
                      <a:pt x="1027" y="6143"/>
                      <a:pt x="1081" y="6180"/>
                    </a:cubicBezTo>
                    <a:cubicBezTo>
                      <a:pt x="1097" y="6197"/>
                      <a:pt x="1114" y="6197"/>
                      <a:pt x="1151" y="6213"/>
                    </a:cubicBezTo>
                    <a:cubicBezTo>
                      <a:pt x="1184" y="6213"/>
                      <a:pt x="1216" y="6197"/>
                      <a:pt x="1233" y="6160"/>
                    </a:cubicBezTo>
                    <a:cubicBezTo>
                      <a:pt x="1438" y="5954"/>
                      <a:pt x="1594" y="5716"/>
                      <a:pt x="1767" y="5494"/>
                    </a:cubicBezTo>
                    <a:cubicBezTo>
                      <a:pt x="2415" y="4501"/>
                      <a:pt x="2859" y="3236"/>
                      <a:pt x="2448" y="2054"/>
                    </a:cubicBezTo>
                    <a:cubicBezTo>
                      <a:pt x="2226" y="1438"/>
                      <a:pt x="1799" y="924"/>
                      <a:pt x="1286" y="551"/>
                    </a:cubicBezTo>
                    <a:cubicBezTo>
                      <a:pt x="1184" y="448"/>
                      <a:pt x="1011" y="345"/>
                      <a:pt x="892" y="276"/>
                    </a:cubicBezTo>
                    <a:cubicBezTo>
                      <a:pt x="720" y="173"/>
                      <a:pt x="568" y="70"/>
                      <a:pt x="395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37" name="Google Shape;737;p25"/>
              <p:cNvSpPr/>
              <p:nvPr/>
            </p:nvSpPr>
            <p:spPr>
              <a:xfrm>
                <a:off x="1052450" y="1830200"/>
                <a:ext cx="57825" cy="144150"/>
              </a:xfrm>
              <a:custGeom>
                <a:avLst/>
                <a:gdLst/>
                <a:ahLst/>
                <a:cxnLst/>
                <a:rect l="l" t="t" r="r" b="b"/>
                <a:pathLst>
                  <a:path w="2313" h="5766" extrusionOk="0">
                    <a:moveTo>
                      <a:pt x="243" y="0"/>
                    </a:moveTo>
                    <a:lnTo>
                      <a:pt x="1" y="719"/>
                    </a:lnTo>
                    <a:cubicBezTo>
                      <a:pt x="703" y="957"/>
                      <a:pt x="1319" y="1318"/>
                      <a:pt x="1664" y="1950"/>
                    </a:cubicBezTo>
                    <a:cubicBezTo>
                      <a:pt x="1849" y="2275"/>
                      <a:pt x="1919" y="2653"/>
                      <a:pt x="1919" y="3026"/>
                    </a:cubicBezTo>
                    <a:cubicBezTo>
                      <a:pt x="1919" y="3917"/>
                      <a:pt x="1508" y="4858"/>
                      <a:pt x="1064" y="5576"/>
                    </a:cubicBezTo>
                    <a:cubicBezTo>
                      <a:pt x="1027" y="5630"/>
                      <a:pt x="1027" y="5695"/>
                      <a:pt x="1081" y="5732"/>
                    </a:cubicBezTo>
                    <a:cubicBezTo>
                      <a:pt x="1097" y="5749"/>
                      <a:pt x="1114" y="5749"/>
                      <a:pt x="1151" y="5765"/>
                    </a:cubicBezTo>
                    <a:cubicBezTo>
                      <a:pt x="1253" y="5609"/>
                      <a:pt x="1356" y="5457"/>
                      <a:pt x="1438" y="5301"/>
                    </a:cubicBezTo>
                    <a:cubicBezTo>
                      <a:pt x="1832" y="4652"/>
                      <a:pt x="2140" y="3934"/>
                      <a:pt x="2226" y="3182"/>
                    </a:cubicBezTo>
                    <a:cubicBezTo>
                      <a:pt x="2313" y="2427"/>
                      <a:pt x="2140" y="1643"/>
                      <a:pt x="1680" y="1043"/>
                    </a:cubicBezTo>
                    <a:cubicBezTo>
                      <a:pt x="1303" y="579"/>
                      <a:pt x="789" y="271"/>
                      <a:pt x="276" y="16"/>
                    </a:cubicBezTo>
                    <a:cubicBezTo>
                      <a:pt x="260" y="16"/>
                      <a:pt x="260" y="16"/>
                      <a:pt x="243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38" name="Google Shape;738;p25"/>
              <p:cNvSpPr/>
              <p:nvPr/>
            </p:nvSpPr>
            <p:spPr>
              <a:xfrm>
                <a:off x="1050825" y="1817350"/>
                <a:ext cx="76600" cy="158225"/>
              </a:xfrm>
              <a:custGeom>
                <a:avLst/>
                <a:gdLst/>
                <a:ahLst/>
                <a:cxnLst/>
                <a:rect l="l" t="t" r="r" b="b"/>
                <a:pathLst>
                  <a:path w="3064" h="6329" extrusionOk="0">
                    <a:moveTo>
                      <a:pt x="497" y="153"/>
                    </a:moveTo>
                    <a:cubicBezTo>
                      <a:pt x="600" y="206"/>
                      <a:pt x="702" y="255"/>
                      <a:pt x="785" y="325"/>
                    </a:cubicBezTo>
                    <a:cubicBezTo>
                      <a:pt x="838" y="342"/>
                      <a:pt x="887" y="374"/>
                      <a:pt x="924" y="395"/>
                    </a:cubicBezTo>
                    <a:cubicBezTo>
                      <a:pt x="957" y="411"/>
                      <a:pt x="990" y="444"/>
                      <a:pt x="1027" y="461"/>
                    </a:cubicBezTo>
                    <a:cubicBezTo>
                      <a:pt x="1129" y="530"/>
                      <a:pt x="1232" y="600"/>
                      <a:pt x="1298" y="666"/>
                    </a:cubicBezTo>
                    <a:cubicBezTo>
                      <a:pt x="1864" y="1077"/>
                      <a:pt x="2259" y="1590"/>
                      <a:pt x="2448" y="2157"/>
                    </a:cubicBezTo>
                    <a:cubicBezTo>
                      <a:pt x="2924" y="3475"/>
                      <a:pt x="2222" y="4825"/>
                      <a:pt x="1762" y="5507"/>
                    </a:cubicBezTo>
                    <a:cubicBezTo>
                      <a:pt x="1589" y="5782"/>
                      <a:pt x="1437" y="5988"/>
                      <a:pt x="1265" y="6193"/>
                    </a:cubicBezTo>
                    <a:cubicBezTo>
                      <a:pt x="1249" y="6201"/>
                      <a:pt x="1236" y="6205"/>
                      <a:pt x="1223" y="6205"/>
                    </a:cubicBezTo>
                    <a:cubicBezTo>
                      <a:pt x="1211" y="6205"/>
                      <a:pt x="1197" y="6201"/>
                      <a:pt x="1179" y="6193"/>
                    </a:cubicBezTo>
                    <a:cubicBezTo>
                      <a:pt x="1162" y="6176"/>
                      <a:pt x="1162" y="6144"/>
                      <a:pt x="1179" y="6123"/>
                    </a:cubicBezTo>
                    <a:cubicBezTo>
                      <a:pt x="1589" y="5458"/>
                      <a:pt x="2497" y="3762"/>
                      <a:pt x="1795" y="2428"/>
                    </a:cubicBezTo>
                    <a:cubicBezTo>
                      <a:pt x="1487" y="1881"/>
                      <a:pt x="973" y="1487"/>
                      <a:pt x="152" y="1179"/>
                    </a:cubicBezTo>
                    <a:lnTo>
                      <a:pt x="497" y="153"/>
                    </a:lnTo>
                    <a:close/>
                    <a:moveTo>
                      <a:pt x="427" y="1"/>
                    </a:moveTo>
                    <a:cubicBezTo>
                      <a:pt x="411" y="17"/>
                      <a:pt x="394" y="34"/>
                      <a:pt x="394" y="50"/>
                    </a:cubicBezTo>
                    <a:lnTo>
                      <a:pt x="17" y="1196"/>
                    </a:lnTo>
                    <a:cubicBezTo>
                      <a:pt x="0" y="1233"/>
                      <a:pt x="17" y="1282"/>
                      <a:pt x="50" y="1282"/>
                    </a:cubicBezTo>
                    <a:cubicBezTo>
                      <a:pt x="871" y="1573"/>
                      <a:pt x="1384" y="1951"/>
                      <a:pt x="1676" y="2481"/>
                    </a:cubicBezTo>
                    <a:cubicBezTo>
                      <a:pt x="2345" y="3762"/>
                      <a:pt x="1470" y="5404"/>
                      <a:pt x="1076" y="6057"/>
                    </a:cubicBezTo>
                    <a:cubicBezTo>
                      <a:pt x="1010" y="6123"/>
                      <a:pt x="1027" y="6226"/>
                      <a:pt x="1092" y="6295"/>
                    </a:cubicBezTo>
                    <a:cubicBezTo>
                      <a:pt x="1129" y="6328"/>
                      <a:pt x="1179" y="6328"/>
                      <a:pt x="1216" y="6328"/>
                    </a:cubicBezTo>
                    <a:cubicBezTo>
                      <a:pt x="1265" y="6328"/>
                      <a:pt x="1318" y="6312"/>
                      <a:pt x="1351" y="6279"/>
                    </a:cubicBezTo>
                    <a:cubicBezTo>
                      <a:pt x="1540" y="6074"/>
                      <a:pt x="1708" y="5852"/>
                      <a:pt x="1881" y="5593"/>
                    </a:cubicBezTo>
                    <a:cubicBezTo>
                      <a:pt x="2345" y="4875"/>
                      <a:pt x="3063" y="3475"/>
                      <a:pt x="2583" y="2103"/>
                    </a:cubicBezTo>
                    <a:cubicBezTo>
                      <a:pt x="2361" y="1524"/>
                      <a:pt x="1951" y="990"/>
                      <a:pt x="1384" y="563"/>
                    </a:cubicBezTo>
                    <a:cubicBezTo>
                      <a:pt x="1318" y="498"/>
                      <a:pt x="1195" y="411"/>
                      <a:pt x="1092" y="358"/>
                    </a:cubicBezTo>
                    <a:cubicBezTo>
                      <a:pt x="1060" y="325"/>
                      <a:pt x="1027" y="309"/>
                      <a:pt x="990" y="292"/>
                    </a:cubicBezTo>
                    <a:cubicBezTo>
                      <a:pt x="957" y="255"/>
                      <a:pt x="908" y="239"/>
                      <a:pt x="854" y="206"/>
                    </a:cubicBezTo>
                    <a:cubicBezTo>
                      <a:pt x="735" y="136"/>
                      <a:pt x="616" y="50"/>
                      <a:pt x="477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39" name="Google Shape;739;p25"/>
              <p:cNvSpPr/>
              <p:nvPr/>
            </p:nvSpPr>
            <p:spPr>
              <a:xfrm>
                <a:off x="1039625" y="1809650"/>
                <a:ext cx="39050" cy="45400"/>
              </a:xfrm>
              <a:custGeom>
                <a:avLst/>
                <a:gdLst/>
                <a:ahLst/>
                <a:cxnLst/>
                <a:rect l="l" t="t" r="r" b="b"/>
                <a:pathLst>
                  <a:path w="1562" h="1816" extrusionOk="0">
                    <a:moveTo>
                      <a:pt x="719" y="1"/>
                    </a:moveTo>
                    <a:lnTo>
                      <a:pt x="1" y="1606"/>
                    </a:lnTo>
                    <a:lnTo>
                      <a:pt x="859" y="1812"/>
                    </a:lnTo>
                    <a:cubicBezTo>
                      <a:pt x="873" y="1815"/>
                      <a:pt x="888" y="1816"/>
                      <a:pt x="903" y="1816"/>
                    </a:cubicBezTo>
                    <a:cubicBezTo>
                      <a:pt x="994" y="1816"/>
                      <a:pt x="1088" y="1764"/>
                      <a:pt x="1130" y="1676"/>
                    </a:cubicBezTo>
                    <a:lnTo>
                      <a:pt x="1508" y="806"/>
                    </a:lnTo>
                    <a:cubicBezTo>
                      <a:pt x="1561" y="703"/>
                      <a:pt x="1524" y="580"/>
                      <a:pt x="1438" y="514"/>
                    </a:cubicBezTo>
                    <a:lnTo>
                      <a:pt x="71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40" name="Google Shape;740;p25"/>
              <p:cNvSpPr/>
              <p:nvPr/>
            </p:nvSpPr>
            <p:spPr>
              <a:xfrm>
                <a:off x="1053800" y="1838225"/>
                <a:ext cx="12450" cy="10050"/>
              </a:xfrm>
              <a:custGeom>
                <a:avLst/>
                <a:gdLst/>
                <a:ahLst/>
                <a:cxnLst/>
                <a:rect l="l" t="t" r="r" b="b"/>
                <a:pathLst>
                  <a:path w="498" h="402" extrusionOk="0">
                    <a:moveTo>
                      <a:pt x="289" y="0"/>
                    </a:moveTo>
                    <a:cubicBezTo>
                      <a:pt x="277" y="0"/>
                      <a:pt x="266" y="1"/>
                      <a:pt x="255" y="3"/>
                    </a:cubicBezTo>
                    <a:cubicBezTo>
                      <a:pt x="173" y="3"/>
                      <a:pt x="103" y="53"/>
                      <a:pt x="70" y="139"/>
                    </a:cubicBezTo>
                    <a:cubicBezTo>
                      <a:pt x="0" y="279"/>
                      <a:pt x="119" y="381"/>
                      <a:pt x="255" y="398"/>
                    </a:cubicBezTo>
                    <a:cubicBezTo>
                      <a:pt x="267" y="401"/>
                      <a:pt x="279" y="402"/>
                      <a:pt x="292" y="402"/>
                    </a:cubicBezTo>
                    <a:cubicBezTo>
                      <a:pt x="349" y="402"/>
                      <a:pt x="403" y="372"/>
                      <a:pt x="444" y="328"/>
                    </a:cubicBezTo>
                    <a:cubicBezTo>
                      <a:pt x="497" y="279"/>
                      <a:pt x="497" y="176"/>
                      <a:pt x="460" y="106"/>
                    </a:cubicBezTo>
                    <a:cubicBezTo>
                      <a:pt x="432" y="45"/>
                      <a:pt x="363" y="0"/>
                      <a:pt x="289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41" name="Google Shape;741;p25"/>
              <p:cNvSpPr/>
              <p:nvPr/>
            </p:nvSpPr>
            <p:spPr>
              <a:xfrm>
                <a:off x="1038000" y="1808150"/>
                <a:ext cx="42300" cy="48550"/>
              </a:xfrm>
              <a:custGeom>
                <a:avLst/>
                <a:gdLst/>
                <a:ahLst/>
                <a:cxnLst/>
                <a:rect l="l" t="t" r="r" b="b"/>
                <a:pathLst>
                  <a:path w="1692" h="1942" extrusionOk="0">
                    <a:moveTo>
                      <a:pt x="805" y="163"/>
                    </a:moveTo>
                    <a:lnTo>
                      <a:pt x="1454" y="623"/>
                    </a:lnTo>
                    <a:cubicBezTo>
                      <a:pt x="1523" y="677"/>
                      <a:pt x="1556" y="763"/>
                      <a:pt x="1523" y="845"/>
                    </a:cubicBezTo>
                    <a:lnTo>
                      <a:pt x="1129" y="1703"/>
                    </a:lnTo>
                    <a:cubicBezTo>
                      <a:pt x="1098" y="1775"/>
                      <a:pt x="1036" y="1810"/>
                      <a:pt x="976" y="1810"/>
                    </a:cubicBezTo>
                    <a:cubicBezTo>
                      <a:pt x="964" y="1810"/>
                      <a:pt x="952" y="1809"/>
                      <a:pt x="940" y="1806"/>
                    </a:cubicBezTo>
                    <a:lnTo>
                      <a:pt x="152" y="1617"/>
                    </a:lnTo>
                    <a:lnTo>
                      <a:pt x="805" y="163"/>
                    </a:lnTo>
                    <a:close/>
                    <a:moveTo>
                      <a:pt x="785" y="0"/>
                    </a:moveTo>
                    <a:cubicBezTo>
                      <a:pt x="779" y="0"/>
                      <a:pt x="773" y="2"/>
                      <a:pt x="768" y="7"/>
                    </a:cubicBezTo>
                    <a:cubicBezTo>
                      <a:pt x="751" y="7"/>
                      <a:pt x="735" y="24"/>
                      <a:pt x="719" y="44"/>
                    </a:cubicBezTo>
                    <a:lnTo>
                      <a:pt x="0" y="1650"/>
                    </a:lnTo>
                    <a:lnTo>
                      <a:pt x="0" y="1703"/>
                    </a:lnTo>
                    <a:cubicBezTo>
                      <a:pt x="16" y="1720"/>
                      <a:pt x="33" y="1736"/>
                      <a:pt x="49" y="1736"/>
                    </a:cubicBezTo>
                    <a:lnTo>
                      <a:pt x="907" y="1941"/>
                    </a:lnTo>
                    <a:lnTo>
                      <a:pt x="973" y="1941"/>
                    </a:lnTo>
                    <a:cubicBezTo>
                      <a:pt x="1092" y="1941"/>
                      <a:pt x="1195" y="1872"/>
                      <a:pt x="1248" y="1753"/>
                    </a:cubicBezTo>
                    <a:lnTo>
                      <a:pt x="1642" y="898"/>
                    </a:lnTo>
                    <a:cubicBezTo>
                      <a:pt x="1692" y="763"/>
                      <a:pt x="1659" y="607"/>
                      <a:pt x="1540" y="521"/>
                    </a:cubicBezTo>
                    <a:lnTo>
                      <a:pt x="821" y="7"/>
                    </a:lnTo>
                    <a:cubicBezTo>
                      <a:pt x="810" y="7"/>
                      <a:pt x="798" y="0"/>
                      <a:pt x="78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42" name="Google Shape;742;p25"/>
              <p:cNvSpPr/>
              <p:nvPr/>
            </p:nvSpPr>
            <p:spPr>
              <a:xfrm>
                <a:off x="953700" y="1823300"/>
                <a:ext cx="95400" cy="76625"/>
              </a:xfrm>
              <a:custGeom>
                <a:avLst/>
                <a:gdLst/>
                <a:ahLst/>
                <a:cxnLst/>
                <a:rect l="l" t="t" r="r" b="b"/>
                <a:pathLst>
                  <a:path w="3816" h="306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358" y="1249"/>
                      <a:pt x="1319" y="2226"/>
                      <a:pt x="2551" y="2637"/>
                    </a:cubicBezTo>
                    <a:lnTo>
                      <a:pt x="3815" y="3064"/>
                    </a:lnTo>
                    <a:lnTo>
                      <a:pt x="3815" y="3064"/>
                    </a:lnTo>
                    <a:lnTo>
                      <a:pt x="3011" y="925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43" name="Google Shape;743;p25"/>
              <p:cNvSpPr/>
              <p:nvPr/>
            </p:nvSpPr>
            <p:spPr>
              <a:xfrm>
                <a:off x="972900" y="1850725"/>
                <a:ext cx="62950" cy="38100"/>
              </a:xfrm>
              <a:custGeom>
                <a:avLst/>
                <a:gdLst/>
                <a:ahLst/>
                <a:cxnLst/>
                <a:rect l="l" t="t" r="r" b="b"/>
                <a:pathLst>
                  <a:path w="2518" h="1524" extrusionOk="0">
                    <a:moveTo>
                      <a:pt x="1" y="0"/>
                    </a:moveTo>
                    <a:cubicBezTo>
                      <a:pt x="1" y="136"/>
                      <a:pt x="292" y="325"/>
                      <a:pt x="395" y="411"/>
                    </a:cubicBezTo>
                    <a:cubicBezTo>
                      <a:pt x="567" y="546"/>
                      <a:pt x="756" y="665"/>
                      <a:pt x="925" y="785"/>
                    </a:cubicBezTo>
                    <a:cubicBezTo>
                      <a:pt x="1405" y="1129"/>
                      <a:pt x="1918" y="1470"/>
                      <a:pt x="2518" y="1524"/>
                    </a:cubicBezTo>
                    <a:cubicBezTo>
                      <a:pt x="2432" y="1232"/>
                      <a:pt x="2345" y="941"/>
                      <a:pt x="2259" y="649"/>
                    </a:cubicBezTo>
                    <a:cubicBezTo>
                      <a:pt x="2243" y="616"/>
                      <a:pt x="2243" y="579"/>
                      <a:pt x="2210" y="546"/>
                    </a:cubicBezTo>
                    <a:cubicBezTo>
                      <a:pt x="2156" y="460"/>
                      <a:pt x="2054" y="444"/>
                      <a:pt x="1951" y="427"/>
                    </a:cubicBezTo>
                    <a:cubicBezTo>
                      <a:pt x="1627" y="358"/>
                      <a:pt x="1302" y="325"/>
                      <a:pt x="962" y="255"/>
                    </a:cubicBezTo>
                    <a:cubicBezTo>
                      <a:pt x="637" y="206"/>
                      <a:pt x="329" y="87"/>
                      <a:pt x="1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44" name="Google Shape;744;p25"/>
              <p:cNvSpPr/>
              <p:nvPr/>
            </p:nvSpPr>
            <p:spPr>
              <a:xfrm>
                <a:off x="951550" y="1821875"/>
                <a:ext cx="99300" cy="79775"/>
              </a:xfrm>
              <a:custGeom>
                <a:avLst/>
                <a:gdLst/>
                <a:ahLst/>
                <a:cxnLst/>
                <a:rect l="l" t="t" r="r" b="b"/>
                <a:pathLst>
                  <a:path w="3972" h="3191" extrusionOk="0">
                    <a:moveTo>
                      <a:pt x="190" y="161"/>
                    </a:moveTo>
                    <a:lnTo>
                      <a:pt x="3047" y="1035"/>
                    </a:lnTo>
                    <a:lnTo>
                      <a:pt x="3782" y="3002"/>
                    </a:lnTo>
                    <a:lnTo>
                      <a:pt x="2653" y="2624"/>
                    </a:lnTo>
                    <a:cubicBezTo>
                      <a:pt x="1491" y="2247"/>
                      <a:pt x="567" y="1323"/>
                      <a:pt x="190" y="161"/>
                    </a:cubicBezTo>
                    <a:close/>
                    <a:moveTo>
                      <a:pt x="78" y="0"/>
                    </a:moveTo>
                    <a:cubicBezTo>
                      <a:pt x="60" y="0"/>
                      <a:pt x="48" y="14"/>
                      <a:pt x="33" y="25"/>
                    </a:cubicBezTo>
                    <a:cubicBezTo>
                      <a:pt x="17" y="42"/>
                      <a:pt x="1" y="58"/>
                      <a:pt x="17" y="91"/>
                    </a:cubicBezTo>
                    <a:cubicBezTo>
                      <a:pt x="395" y="1343"/>
                      <a:pt x="1368" y="2349"/>
                      <a:pt x="2620" y="2760"/>
                    </a:cubicBezTo>
                    <a:lnTo>
                      <a:pt x="3885" y="3170"/>
                    </a:lnTo>
                    <a:lnTo>
                      <a:pt x="3901" y="3191"/>
                    </a:lnTo>
                    <a:cubicBezTo>
                      <a:pt x="3918" y="3191"/>
                      <a:pt x="3934" y="3170"/>
                      <a:pt x="3955" y="3154"/>
                    </a:cubicBezTo>
                    <a:cubicBezTo>
                      <a:pt x="3971" y="3138"/>
                      <a:pt x="3971" y="3121"/>
                      <a:pt x="3971" y="3088"/>
                    </a:cubicBezTo>
                    <a:lnTo>
                      <a:pt x="3150" y="965"/>
                    </a:lnTo>
                    <a:cubicBezTo>
                      <a:pt x="3150" y="949"/>
                      <a:pt x="3134" y="933"/>
                      <a:pt x="3113" y="912"/>
                    </a:cubicBezTo>
                    <a:lnTo>
                      <a:pt x="103" y="9"/>
                    </a:lnTo>
                    <a:cubicBezTo>
                      <a:pt x="93" y="3"/>
                      <a:pt x="85" y="0"/>
                      <a:pt x="7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45" name="Google Shape;745;p25"/>
              <p:cNvSpPr/>
              <p:nvPr/>
            </p:nvSpPr>
            <p:spPr>
              <a:xfrm>
                <a:off x="980600" y="1753800"/>
                <a:ext cx="120650" cy="50350"/>
              </a:xfrm>
              <a:custGeom>
                <a:avLst/>
                <a:gdLst/>
                <a:ahLst/>
                <a:cxnLst/>
                <a:rect l="l" t="t" r="r" b="b"/>
                <a:pathLst>
                  <a:path w="4826" h="2014" extrusionOk="0">
                    <a:moveTo>
                      <a:pt x="1672" y="1"/>
                    </a:moveTo>
                    <a:cubicBezTo>
                      <a:pt x="1103" y="1"/>
                      <a:pt x="533" y="123"/>
                      <a:pt x="1" y="371"/>
                    </a:cubicBezTo>
                    <a:lnTo>
                      <a:pt x="2690" y="2013"/>
                    </a:lnTo>
                    <a:lnTo>
                      <a:pt x="4825" y="1208"/>
                    </a:lnTo>
                    <a:lnTo>
                      <a:pt x="3680" y="539"/>
                    </a:lnTo>
                    <a:cubicBezTo>
                      <a:pt x="3059" y="182"/>
                      <a:pt x="2367" y="1"/>
                      <a:pt x="1672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46" name="Google Shape;746;p25"/>
              <p:cNvSpPr/>
              <p:nvPr/>
            </p:nvSpPr>
            <p:spPr>
              <a:xfrm>
                <a:off x="1013550" y="1758150"/>
                <a:ext cx="50725" cy="36575"/>
              </a:xfrm>
              <a:custGeom>
                <a:avLst/>
                <a:gdLst/>
                <a:ahLst/>
                <a:cxnLst/>
                <a:rect l="l" t="t" r="r" b="b"/>
                <a:pathLst>
                  <a:path w="2029" h="1463" extrusionOk="0">
                    <a:moveTo>
                      <a:pt x="139" y="0"/>
                    </a:moveTo>
                    <a:cubicBezTo>
                      <a:pt x="122" y="0"/>
                      <a:pt x="105" y="2"/>
                      <a:pt x="87" y="8"/>
                    </a:cubicBezTo>
                    <a:cubicBezTo>
                      <a:pt x="38" y="24"/>
                      <a:pt x="1" y="73"/>
                      <a:pt x="17" y="127"/>
                    </a:cubicBezTo>
                    <a:lnTo>
                      <a:pt x="71" y="176"/>
                    </a:lnTo>
                    <a:cubicBezTo>
                      <a:pt x="120" y="213"/>
                      <a:pt x="190" y="246"/>
                      <a:pt x="259" y="279"/>
                    </a:cubicBezTo>
                    <a:cubicBezTo>
                      <a:pt x="411" y="381"/>
                      <a:pt x="584" y="468"/>
                      <a:pt x="736" y="570"/>
                    </a:cubicBezTo>
                    <a:cubicBezTo>
                      <a:pt x="1011" y="759"/>
                      <a:pt x="1270" y="948"/>
                      <a:pt x="1524" y="1170"/>
                    </a:cubicBezTo>
                    <a:cubicBezTo>
                      <a:pt x="1577" y="1223"/>
                      <a:pt x="1643" y="1272"/>
                      <a:pt x="1697" y="1342"/>
                    </a:cubicBezTo>
                    <a:cubicBezTo>
                      <a:pt x="1729" y="1375"/>
                      <a:pt x="1762" y="1429"/>
                      <a:pt x="1799" y="1445"/>
                    </a:cubicBezTo>
                    <a:cubicBezTo>
                      <a:pt x="1824" y="1457"/>
                      <a:pt x="1847" y="1462"/>
                      <a:pt x="1869" y="1462"/>
                    </a:cubicBezTo>
                    <a:cubicBezTo>
                      <a:pt x="1967" y="1462"/>
                      <a:pt x="2028" y="1354"/>
                      <a:pt x="1988" y="1256"/>
                    </a:cubicBezTo>
                    <a:cubicBezTo>
                      <a:pt x="1968" y="1203"/>
                      <a:pt x="1935" y="1170"/>
                      <a:pt x="1902" y="1121"/>
                    </a:cubicBezTo>
                    <a:cubicBezTo>
                      <a:pt x="1438" y="624"/>
                      <a:pt x="892" y="197"/>
                      <a:pt x="243" y="8"/>
                    </a:cubicBezTo>
                    <a:cubicBezTo>
                      <a:pt x="207" y="8"/>
                      <a:pt x="174" y="0"/>
                      <a:pt x="139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47" name="Google Shape;747;p25"/>
              <p:cNvSpPr/>
              <p:nvPr/>
            </p:nvSpPr>
            <p:spPr>
              <a:xfrm>
                <a:off x="1042200" y="1761725"/>
                <a:ext cx="24450" cy="17800"/>
              </a:xfrm>
              <a:custGeom>
                <a:avLst/>
                <a:gdLst/>
                <a:ahLst/>
                <a:cxnLst/>
                <a:rect l="l" t="t" r="r" b="b"/>
                <a:pathLst>
                  <a:path w="978" h="712" extrusionOk="0">
                    <a:moveTo>
                      <a:pt x="259" y="0"/>
                    </a:moveTo>
                    <a:cubicBezTo>
                      <a:pt x="206" y="0"/>
                      <a:pt x="140" y="17"/>
                      <a:pt x="103" y="70"/>
                    </a:cubicBezTo>
                    <a:cubicBezTo>
                      <a:pt x="0" y="206"/>
                      <a:pt x="259" y="292"/>
                      <a:pt x="345" y="341"/>
                    </a:cubicBezTo>
                    <a:cubicBezTo>
                      <a:pt x="481" y="444"/>
                      <a:pt x="600" y="567"/>
                      <a:pt x="739" y="670"/>
                    </a:cubicBezTo>
                    <a:cubicBezTo>
                      <a:pt x="781" y="690"/>
                      <a:pt x="831" y="711"/>
                      <a:pt x="875" y="711"/>
                    </a:cubicBezTo>
                    <a:cubicBezTo>
                      <a:pt x="901" y="711"/>
                      <a:pt x="925" y="704"/>
                      <a:pt x="945" y="686"/>
                    </a:cubicBezTo>
                    <a:cubicBezTo>
                      <a:pt x="978" y="649"/>
                      <a:pt x="961" y="583"/>
                      <a:pt x="945" y="530"/>
                    </a:cubicBezTo>
                    <a:cubicBezTo>
                      <a:pt x="908" y="411"/>
                      <a:pt x="822" y="325"/>
                      <a:pt x="739" y="238"/>
                    </a:cubicBezTo>
                    <a:cubicBezTo>
                      <a:pt x="637" y="173"/>
                      <a:pt x="534" y="103"/>
                      <a:pt x="431" y="54"/>
                    </a:cubicBezTo>
                    <a:cubicBezTo>
                      <a:pt x="378" y="17"/>
                      <a:pt x="308" y="0"/>
                      <a:pt x="259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48" name="Google Shape;748;p25"/>
              <p:cNvSpPr/>
              <p:nvPr/>
            </p:nvSpPr>
            <p:spPr>
              <a:xfrm>
                <a:off x="978950" y="1752150"/>
                <a:ext cx="124050" cy="53625"/>
              </a:xfrm>
              <a:custGeom>
                <a:avLst/>
                <a:gdLst/>
                <a:ahLst/>
                <a:cxnLst/>
                <a:rect l="l" t="t" r="r" b="b"/>
                <a:pathLst>
                  <a:path w="4962" h="2145" extrusionOk="0">
                    <a:moveTo>
                      <a:pt x="1735" y="128"/>
                    </a:moveTo>
                    <a:cubicBezTo>
                      <a:pt x="2416" y="128"/>
                      <a:pt x="3097" y="307"/>
                      <a:pt x="3713" y="658"/>
                    </a:cubicBezTo>
                    <a:lnTo>
                      <a:pt x="4739" y="1258"/>
                    </a:lnTo>
                    <a:lnTo>
                      <a:pt x="2773" y="2009"/>
                    </a:lnTo>
                    <a:lnTo>
                      <a:pt x="223" y="437"/>
                    </a:lnTo>
                    <a:cubicBezTo>
                      <a:pt x="708" y="230"/>
                      <a:pt x="1222" y="128"/>
                      <a:pt x="1735" y="128"/>
                    </a:cubicBezTo>
                    <a:close/>
                    <a:moveTo>
                      <a:pt x="1734" y="1"/>
                    </a:moveTo>
                    <a:cubicBezTo>
                      <a:pt x="1161" y="1"/>
                      <a:pt x="587" y="122"/>
                      <a:pt x="50" y="367"/>
                    </a:cubicBezTo>
                    <a:cubicBezTo>
                      <a:pt x="17" y="383"/>
                      <a:pt x="1" y="400"/>
                      <a:pt x="1" y="437"/>
                    </a:cubicBezTo>
                    <a:cubicBezTo>
                      <a:pt x="1" y="453"/>
                      <a:pt x="17" y="470"/>
                      <a:pt x="34" y="486"/>
                    </a:cubicBezTo>
                    <a:lnTo>
                      <a:pt x="2719" y="2145"/>
                    </a:lnTo>
                    <a:lnTo>
                      <a:pt x="2789" y="2145"/>
                    </a:lnTo>
                    <a:lnTo>
                      <a:pt x="4912" y="1340"/>
                    </a:lnTo>
                    <a:cubicBezTo>
                      <a:pt x="4945" y="1324"/>
                      <a:pt x="4961" y="1307"/>
                      <a:pt x="4961" y="1274"/>
                    </a:cubicBezTo>
                    <a:cubicBezTo>
                      <a:pt x="4961" y="1258"/>
                      <a:pt x="4945" y="1221"/>
                      <a:pt x="4928" y="1221"/>
                    </a:cubicBezTo>
                    <a:lnTo>
                      <a:pt x="3783" y="556"/>
                    </a:lnTo>
                    <a:cubicBezTo>
                      <a:pt x="3148" y="186"/>
                      <a:pt x="2441" y="1"/>
                      <a:pt x="1734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49" name="Google Shape;749;p25"/>
              <p:cNvSpPr/>
              <p:nvPr/>
            </p:nvSpPr>
            <p:spPr>
              <a:xfrm>
                <a:off x="887400" y="1740175"/>
                <a:ext cx="177500" cy="115325"/>
              </a:xfrm>
              <a:custGeom>
                <a:avLst/>
                <a:gdLst/>
                <a:ahLst/>
                <a:cxnLst/>
                <a:rect l="l" t="t" r="r" b="b"/>
                <a:pathLst>
                  <a:path w="7100" h="4613" extrusionOk="0">
                    <a:moveTo>
                      <a:pt x="2107" y="0"/>
                    </a:moveTo>
                    <a:cubicBezTo>
                      <a:pt x="1964" y="0"/>
                      <a:pt x="1827" y="9"/>
                      <a:pt x="1696" y="25"/>
                    </a:cubicBezTo>
                    <a:cubicBezTo>
                      <a:pt x="649" y="144"/>
                      <a:pt x="0" y="673"/>
                      <a:pt x="0" y="673"/>
                    </a:cubicBezTo>
                    <a:cubicBezTo>
                      <a:pt x="0" y="673"/>
                      <a:pt x="33" y="1532"/>
                      <a:pt x="633" y="2402"/>
                    </a:cubicBezTo>
                    <a:cubicBezTo>
                      <a:pt x="978" y="2866"/>
                      <a:pt x="1470" y="3342"/>
                      <a:pt x="2242" y="3704"/>
                    </a:cubicBezTo>
                    <a:cubicBezTo>
                      <a:pt x="3831" y="4422"/>
                      <a:pt x="5305" y="4574"/>
                      <a:pt x="5971" y="4611"/>
                    </a:cubicBezTo>
                    <a:cubicBezTo>
                      <a:pt x="5984" y="4612"/>
                      <a:pt x="5998" y="4613"/>
                      <a:pt x="6011" y="4613"/>
                    </a:cubicBezTo>
                    <a:cubicBezTo>
                      <a:pt x="6217" y="4613"/>
                      <a:pt x="6403" y="4496"/>
                      <a:pt x="6484" y="4303"/>
                    </a:cubicBezTo>
                    <a:lnTo>
                      <a:pt x="6997" y="3137"/>
                    </a:lnTo>
                    <a:cubicBezTo>
                      <a:pt x="7100" y="2948"/>
                      <a:pt x="7051" y="2710"/>
                      <a:pt x="6895" y="2558"/>
                    </a:cubicBezTo>
                    <a:cubicBezTo>
                      <a:pt x="6435" y="2078"/>
                      <a:pt x="5338" y="1084"/>
                      <a:pt x="3749" y="365"/>
                    </a:cubicBezTo>
                    <a:cubicBezTo>
                      <a:pt x="3152" y="102"/>
                      <a:pt x="2596" y="0"/>
                      <a:pt x="2107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50" name="Google Shape;750;p25"/>
              <p:cNvSpPr/>
              <p:nvPr/>
            </p:nvSpPr>
            <p:spPr>
              <a:xfrm>
                <a:off x="933600" y="1764100"/>
                <a:ext cx="65000" cy="57025"/>
              </a:xfrm>
              <a:custGeom>
                <a:avLst/>
                <a:gdLst/>
                <a:ahLst/>
                <a:cxnLst/>
                <a:rect l="l" t="t" r="r" b="b"/>
                <a:pathLst>
                  <a:path w="2600" h="2281" extrusionOk="0">
                    <a:moveTo>
                      <a:pt x="1279" y="0"/>
                    </a:moveTo>
                    <a:cubicBezTo>
                      <a:pt x="849" y="0"/>
                      <a:pt x="444" y="253"/>
                      <a:pt x="259" y="677"/>
                    </a:cubicBezTo>
                    <a:cubicBezTo>
                      <a:pt x="0" y="1256"/>
                      <a:pt x="259" y="1925"/>
                      <a:pt x="821" y="2180"/>
                    </a:cubicBezTo>
                    <a:cubicBezTo>
                      <a:pt x="975" y="2248"/>
                      <a:pt x="1135" y="2281"/>
                      <a:pt x="1292" y="2281"/>
                    </a:cubicBezTo>
                    <a:cubicBezTo>
                      <a:pt x="1728" y="2281"/>
                      <a:pt x="2138" y="2031"/>
                      <a:pt x="2328" y="1618"/>
                    </a:cubicBezTo>
                    <a:cubicBezTo>
                      <a:pt x="2599" y="1034"/>
                      <a:pt x="2345" y="369"/>
                      <a:pt x="1762" y="111"/>
                    </a:cubicBezTo>
                    <a:cubicBezTo>
                      <a:pt x="1604" y="36"/>
                      <a:pt x="1440" y="0"/>
                      <a:pt x="1279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51" name="Google Shape;751;p25"/>
              <p:cNvSpPr/>
              <p:nvPr/>
            </p:nvSpPr>
            <p:spPr>
              <a:xfrm>
                <a:off x="887400" y="1740775"/>
                <a:ext cx="48375" cy="59475"/>
              </a:xfrm>
              <a:custGeom>
                <a:avLst/>
                <a:gdLst/>
                <a:ahLst/>
                <a:cxnLst/>
                <a:rect l="l" t="t" r="r" b="b"/>
                <a:pathLst>
                  <a:path w="1935" h="2379" extrusionOk="0">
                    <a:moveTo>
                      <a:pt x="1696" y="1"/>
                    </a:moveTo>
                    <a:cubicBezTo>
                      <a:pt x="649" y="120"/>
                      <a:pt x="0" y="649"/>
                      <a:pt x="0" y="649"/>
                    </a:cubicBezTo>
                    <a:cubicBezTo>
                      <a:pt x="0" y="649"/>
                      <a:pt x="33" y="1508"/>
                      <a:pt x="633" y="2378"/>
                    </a:cubicBezTo>
                    <a:cubicBezTo>
                      <a:pt x="649" y="2362"/>
                      <a:pt x="1216" y="2156"/>
                      <a:pt x="1573" y="1368"/>
                    </a:cubicBezTo>
                    <a:cubicBezTo>
                      <a:pt x="1934" y="563"/>
                      <a:pt x="1696" y="1"/>
                      <a:pt x="1696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52" name="Google Shape;752;p25"/>
              <p:cNvSpPr/>
              <p:nvPr/>
            </p:nvSpPr>
            <p:spPr>
              <a:xfrm>
                <a:off x="892950" y="1759575"/>
                <a:ext cx="27825" cy="30800"/>
              </a:xfrm>
              <a:custGeom>
                <a:avLst/>
                <a:gdLst/>
                <a:ahLst/>
                <a:cxnLst/>
                <a:rect l="l" t="t" r="r" b="b"/>
                <a:pathLst>
                  <a:path w="1113" h="1232" extrusionOk="0">
                    <a:moveTo>
                      <a:pt x="0" y="0"/>
                    </a:moveTo>
                    <a:lnTo>
                      <a:pt x="0" y="0"/>
                    </a:lnTo>
                    <a:cubicBezTo>
                      <a:pt x="16" y="480"/>
                      <a:pt x="172" y="788"/>
                      <a:pt x="378" y="1096"/>
                    </a:cubicBezTo>
                    <a:cubicBezTo>
                      <a:pt x="411" y="1166"/>
                      <a:pt x="464" y="1232"/>
                      <a:pt x="550" y="1232"/>
                    </a:cubicBezTo>
                    <a:cubicBezTo>
                      <a:pt x="600" y="1232"/>
                      <a:pt x="669" y="1199"/>
                      <a:pt x="702" y="1146"/>
                    </a:cubicBezTo>
                    <a:cubicBezTo>
                      <a:pt x="907" y="961"/>
                      <a:pt x="1027" y="772"/>
                      <a:pt x="1113" y="51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53" name="Google Shape;753;p25"/>
              <p:cNvSpPr/>
              <p:nvPr/>
            </p:nvSpPr>
            <p:spPr>
              <a:xfrm>
                <a:off x="939550" y="1769575"/>
                <a:ext cx="52675" cy="46300"/>
              </a:xfrm>
              <a:custGeom>
                <a:avLst/>
                <a:gdLst/>
                <a:ahLst/>
                <a:cxnLst/>
                <a:rect l="l" t="t" r="r" b="b"/>
                <a:pathLst>
                  <a:path w="2107" h="1852" extrusionOk="0">
                    <a:moveTo>
                      <a:pt x="1061" y="1"/>
                    </a:moveTo>
                    <a:cubicBezTo>
                      <a:pt x="704" y="1"/>
                      <a:pt x="357" y="201"/>
                      <a:pt x="206" y="540"/>
                    </a:cubicBezTo>
                    <a:cubicBezTo>
                      <a:pt x="0" y="1004"/>
                      <a:pt x="206" y="1550"/>
                      <a:pt x="670" y="1772"/>
                    </a:cubicBezTo>
                    <a:cubicBezTo>
                      <a:pt x="796" y="1826"/>
                      <a:pt x="927" y="1852"/>
                      <a:pt x="1055" y="1852"/>
                    </a:cubicBezTo>
                    <a:cubicBezTo>
                      <a:pt x="1414" y="1852"/>
                      <a:pt x="1750" y="1651"/>
                      <a:pt x="1901" y="1312"/>
                    </a:cubicBezTo>
                    <a:cubicBezTo>
                      <a:pt x="2107" y="832"/>
                      <a:pt x="1901" y="286"/>
                      <a:pt x="1437" y="80"/>
                    </a:cubicBezTo>
                    <a:cubicBezTo>
                      <a:pt x="1316" y="26"/>
                      <a:pt x="1188" y="1"/>
                      <a:pt x="1061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54" name="Google Shape;754;p25"/>
              <p:cNvSpPr/>
              <p:nvPr/>
            </p:nvSpPr>
            <p:spPr>
              <a:xfrm>
                <a:off x="943025" y="1784825"/>
                <a:ext cx="28675" cy="30275"/>
              </a:xfrm>
              <a:custGeom>
                <a:avLst/>
                <a:gdLst/>
                <a:ahLst/>
                <a:cxnLst/>
                <a:rect l="l" t="t" r="r" b="b"/>
                <a:pathLst>
                  <a:path w="1147" h="1211" extrusionOk="0">
                    <a:moveTo>
                      <a:pt x="153" y="0"/>
                    </a:moveTo>
                    <a:cubicBezTo>
                      <a:pt x="103" y="17"/>
                      <a:pt x="87" y="86"/>
                      <a:pt x="67" y="136"/>
                    </a:cubicBezTo>
                    <a:cubicBezTo>
                      <a:pt x="1" y="411"/>
                      <a:pt x="67" y="702"/>
                      <a:pt x="255" y="924"/>
                    </a:cubicBezTo>
                    <a:cubicBezTo>
                      <a:pt x="402" y="1098"/>
                      <a:pt x="634" y="1210"/>
                      <a:pt x="866" y="1210"/>
                    </a:cubicBezTo>
                    <a:cubicBezTo>
                      <a:pt x="908" y="1210"/>
                      <a:pt x="949" y="1207"/>
                      <a:pt x="990" y="1199"/>
                    </a:cubicBezTo>
                    <a:cubicBezTo>
                      <a:pt x="1027" y="1199"/>
                      <a:pt x="1060" y="1183"/>
                      <a:pt x="1093" y="1162"/>
                    </a:cubicBezTo>
                    <a:cubicBezTo>
                      <a:pt x="1114" y="1146"/>
                      <a:pt x="1146" y="1113"/>
                      <a:pt x="1130" y="1080"/>
                    </a:cubicBezTo>
                    <a:cubicBezTo>
                      <a:pt x="1130" y="1027"/>
                      <a:pt x="1077" y="1010"/>
                      <a:pt x="1027" y="1010"/>
                    </a:cubicBezTo>
                    <a:lnTo>
                      <a:pt x="838" y="1010"/>
                    </a:lnTo>
                    <a:cubicBezTo>
                      <a:pt x="703" y="994"/>
                      <a:pt x="580" y="924"/>
                      <a:pt x="477" y="838"/>
                    </a:cubicBezTo>
                    <a:cubicBezTo>
                      <a:pt x="325" y="719"/>
                      <a:pt x="239" y="513"/>
                      <a:pt x="239" y="308"/>
                    </a:cubicBezTo>
                    <a:cubicBezTo>
                      <a:pt x="239" y="238"/>
                      <a:pt x="255" y="173"/>
                      <a:pt x="255" y="103"/>
                    </a:cubicBezTo>
                    <a:cubicBezTo>
                      <a:pt x="255" y="70"/>
                      <a:pt x="239" y="17"/>
                      <a:pt x="206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55" name="Google Shape;755;p25"/>
              <p:cNvSpPr/>
              <p:nvPr/>
            </p:nvSpPr>
            <p:spPr>
              <a:xfrm>
                <a:off x="949400" y="1777950"/>
                <a:ext cx="32975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319" h="1170" extrusionOk="0">
                    <a:moveTo>
                      <a:pt x="661" y="1"/>
                    </a:moveTo>
                    <a:cubicBezTo>
                      <a:pt x="433" y="1"/>
                      <a:pt x="222" y="131"/>
                      <a:pt x="119" y="345"/>
                    </a:cubicBezTo>
                    <a:cubicBezTo>
                      <a:pt x="0" y="653"/>
                      <a:pt x="119" y="994"/>
                      <a:pt x="427" y="1113"/>
                    </a:cubicBezTo>
                    <a:cubicBezTo>
                      <a:pt x="508" y="1151"/>
                      <a:pt x="593" y="1170"/>
                      <a:pt x="676" y="1170"/>
                    </a:cubicBezTo>
                    <a:cubicBezTo>
                      <a:pt x="894" y="1170"/>
                      <a:pt x="1101" y="1044"/>
                      <a:pt x="1199" y="821"/>
                    </a:cubicBezTo>
                    <a:cubicBezTo>
                      <a:pt x="1318" y="534"/>
                      <a:pt x="1199" y="189"/>
                      <a:pt x="908" y="53"/>
                    </a:cubicBezTo>
                    <a:cubicBezTo>
                      <a:pt x="826" y="18"/>
                      <a:pt x="742" y="1"/>
                      <a:pt x="661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56" name="Google Shape;756;p25"/>
              <p:cNvSpPr/>
              <p:nvPr/>
            </p:nvSpPr>
            <p:spPr>
              <a:xfrm>
                <a:off x="952900" y="1784350"/>
                <a:ext cx="17975" cy="19950"/>
              </a:xfrm>
              <a:custGeom>
                <a:avLst/>
                <a:gdLst/>
                <a:ahLst/>
                <a:cxnLst/>
                <a:rect l="l" t="t" r="r" b="b"/>
                <a:pathLst>
                  <a:path w="719" h="798" extrusionOk="0">
                    <a:moveTo>
                      <a:pt x="286" y="0"/>
                    </a:moveTo>
                    <a:cubicBezTo>
                      <a:pt x="224" y="0"/>
                      <a:pt x="165" y="59"/>
                      <a:pt x="136" y="122"/>
                    </a:cubicBezTo>
                    <a:cubicBezTo>
                      <a:pt x="0" y="360"/>
                      <a:pt x="152" y="635"/>
                      <a:pt x="374" y="738"/>
                    </a:cubicBezTo>
                    <a:cubicBezTo>
                      <a:pt x="429" y="772"/>
                      <a:pt x="491" y="798"/>
                      <a:pt x="556" y="798"/>
                    </a:cubicBezTo>
                    <a:cubicBezTo>
                      <a:pt x="592" y="798"/>
                      <a:pt x="628" y="790"/>
                      <a:pt x="665" y="771"/>
                    </a:cubicBezTo>
                    <a:cubicBezTo>
                      <a:pt x="682" y="771"/>
                      <a:pt x="698" y="771"/>
                      <a:pt x="698" y="754"/>
                    </a:cubicBezTo>
                    <a:cubicBezTo>
                      <a:pt x="719" y="738"/>
                      <a:pt x="719" y="705"/>
                      <a:pt x="719" y="688"/>
                    </a:cubicBezTo>
                    <a:cubicBezTo>
                      <a:pt x="719" y="652"/>
                      <a:pt x="698" y="602"/>
                      <a:pt x="682" y="565"/>
                    </a:cubicBezTo>
                    <a:cubicBezTo>
                      <a:pt x="616" y="413"/>
                      <a:pt x="530" y="257"/>
                      <a:pt x="443" y="122"/>
                    </a:cubicBezTo>
                    <a:cubicBezTo>
                      <a:pt x="411" y="73"/>
                      <a:pt x="374" y="19"/>
                      <a:pt x="308" y="3"/>
                    </a:cubicBezTo>
                    <a:cubicBezTo>
                      <a:pt x="301" y="1"/>
                      <a:pt x="293" y="0"/>
                      <a:pt x="286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57" name="Google Shape;757;p25"/>
              <p:cNvSpPr/>
              <p:nvPr/>
            </p:nvSpPr>
            <p:spPr>
              <a:xfrm>
                <a:off x="930600" y="1774475"/>
                <a:ext cx="10725" cy="9450"/>
              </a:xfrm>
              <a:custGeom>
                <a:avLst/>
                <a:gdLst/>
                <a:ahLst/>
                <a:cxnLst/>
                <a:rect l="l" t="t" r="r" b="b"/>
                <a:pathLst>
                  <a:path w="429" h="378" extrusionOk="0">
                    <a:moveTo>
                      <a:pt x="209" y="0"/>
                    </a:moveTo>
                    <a:cubicBezTo>
                      <a:pt x="137" y="0"/>
                      <a:pt x="73" y="44"/>
                      <a:pt x="34" y="106"/>
                    </a:cubicBezTo>
                    <a:cubicBezTo>
                      <a:pt x="1" y="209"/>
                      <a:pt x="34" y="312"/>
                      <a:pt x="136" y="365"/>
                    </a:cubicBezTo>
                    <a:cubicBezTo>
                      <a:pt x="158" y="373"/>
                      <a:pt x="181" y="377"/>
                      <a:pt x="205" y="377"/>
                    </a:cubicBezTo>
                    <a:cubicBezTo>
                      <a:pt x="277" y="377"/>
                      <a:pt x="351" y="339"/>
                      <a:pt x="379" y="262"/>
                    </a:cubicBezTo>
                    <a:cubicBezTo>
                      <a:pt x="428" y="176"/>
                      <a:pt x="379" y="57"/>
                      <a:pt x="293" y="20"/>
                    </a:cubicBezTo>
                    <a:cubicBezTo>
                      <a:pt x="264" y="7"/>
                      <a:pt x="236" y="0"/>
                      <a:pt x="209" y="0"/>
                    </a:cubicBezTo>
                    <a:close/>
                  </a:path>
                </a:pathLst>
              </a:custGeom>
              <a:solidFill>
                <a:srgbClr val="F5E8E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58" name="Google Shape;758;p25"/>
              <p:cNvSpPr/>
              <p:nvPr/>
            </p:nvSpPr>
            <p:spPr>
              <a:xfrm>
                <a:off x="915625" y="1796475"/>
                <a:ext cx="10300" cy="9200"/>
              </a:xfrm>
              <a:custGeom>
                <a:avLst/>
                <a:gdLst/>
                <a:ahLst/>
                <a:cxnLst/>
                <a:rect l="l" t="t" r="r" b="b"/>
                <a:pathLst>
                  <a:path w="412" h="368" extrusionOk="0">
                    <a:moveTo>
                      <a:pt x="215" y="1"/>
                    </a:moveTo>
                    <a:cubicBezTo>
                      <a:pt x="140" y="1"/>
                      <a:pt x="73" y="41"/>
                      <a:pt x="33" y="117"/>
                    </a:cubicBezTo>
                    <a:cubicBezTo>
                      <a:pt x="0" y="203"/>
                      <a:pt x="33" y="306"/>
                      <a:pt x="136" y="355"/>
                    </a:cubicBezTo>
                    <a:cubicBezTo>
                      <a:pt x="157" y="364"/>
                      <a:pt x="181" y="368"/>
                      <a:pt x="204" y="368"/>
                    </a:cubicBezTo>
                    <a:cubicBezTo>
                      <a:pt x="276" y="368"/>
                      <a:pt x="350" y="330"/>
                      <a:pt x="378" y="253"/>
                    </a:cubicBezTo>
                    <a:cubicBezTo>
                      <a:pt x="411" y="167"/>
                      <a:pt x="378" y="64"/>
                      <a:pt x="292" y="15"/>
                    </a:cubicBezTo>
                    <a:cubicBezTo>
                      <a:pt x="266" y="5"/>
                      <a:pt x="240" y="1"/>
                      <a:pt x="215" y="1"/>
                    </a:cubicBezTo>
                    <a:close/>
                  </a:path>
                </a:pathLst>
              </a:custGeom>
              <a:solidFill>
                <a:srgbClr val="F5E8E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59" name="Google Shape;759;p25"/>
              <p:cNvSpPr/>
              <p:nvPr/>
            </p:nvSpPr>
            <p:spPr>
              <a:xfrm>
                <a:off x="936975" y="1748575"/>
                <a:ext cx="10800" cy="9400"/>
              </a:xfrm>
              <a:custGeom>
                <a:avLst/>
                <a:gdLst/>
                <a:ahLst/>
                <a:cxnLst/>
                <a:rect l="l" t="t" r="r" b="b"/>
                <a:pathLst>
                  <a:path w="432" h="376" extrusionOk="0">
                    <a:moveTo>
                      <a:pt x="217" y="1"/>
                    </a:moveTo>
                    <a:cubicBezTo>
                      <a:pt x="142" y="1"/>
                      <a:pt x="75" y="38"/>
                      <a:pt x="38" y="116"/>
                    </a:cubicBezTo>
                    <a:cubicBezTo>
                      <a:pt x="1" y="202"/>
                      <a:pt x="38" y="321"/>
                      <a:pt x="140" y="354"/>
                    </a:cubicBezTo>
                    <a:cubicBezTo>
                      <a:pt x="164" y="369"/>
                      <a:pt x="191" y="375"/>
                      <a:pt x="217" y="375"/>
                    </a:cubicBezTo>
                    <a:cubicBezTo>
                      <a:pt x="286" y="375"/>
                      <a:pt x="355" y="331"/>
                      <a:pt x="378" y="272"/>
                    </a:cubicBezTo>
                    <a:cubicBezTo>
                      <a:pt x="432" y="169"/>
                      <a:pt x="378" y="66"/>
                      <a:pt x="292" y="13"/>
                    </a:cubicBezTo>
                    <a:cubicBezTo>
                      <a:pt x="267" y="5"/>
                      <a:pt x="241" y="1"/>
                      <a:pt x="217" y="1"/>
                    </a:cubicBezTo>
                    <a:close/>
                  </a:path>
                </a:pathLst>
              </a:custGeom>
              <a:solidFill>
                <a:srgbClr val="F5E8E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60" name="Google Shape;760;p25"/>
              <p:cNvSpPr/>
              <p:nvPr/>
            </p:nvSpPr>
            <p:spPr>
              <a:xfrm>
                <a:off x="885650" y="1738725"/>
                <a:ext cx="181000" cy="118375"/>
              </a:xfrm>
              <a:custGeom>
                <a:avLst/>
                <a:gdLst/>
                <a:ahLst/>
                <a:cxnLst/>
                <a:rect l="l" t="t" r="r" b="b"/>
                <a:pathLst>
                  <a:path w="7240" h="4735" extrusionOk="0">
                    <a:moveTo>
                      <a:pt x="1729" y="169"/>
                    </a:moveTo>
                    <a:lnTo>
                      <a:pt x="1729" y="169"/>
                    </a:lnTo>
                    <a:cubicBezTo>
                      <a:pt x="1766" y="321"/>
                      <a:pt x="1869" y="801"/>
                      <a:pt x="1577" y="1417"/>
                    </a:cubicBezTo>
                    <a:cubicBezTo>
                      <a:pt x="1302" y="2049"/>
                      <a:pt x="875" y="2308"/>
                      <a:pt x="740" y="2374"/>
                    </a:cubicBezTo>
                    <a:cubicBezTo>
                      <a:pt x="243" y="1639"/>
                      <a:pt x="140" y="937"/>
                      <a:pt x="140" y="768"/>
                    </a:cubicBezTo>
                    <a:cubicBezTo>
                      <a:pt x="259" y="682"/>
                      <a:pt x="859" y="272"/>
                      <a:pt x="1729" y="169"/>
                    </a:cubicBezTo>
                    <a:close/>
                    <a:moveTo>
                      <a:pt x="2202" y="136"/>
                    </a:moveTo>
                    <a:cubicBezTo>
                      <a:pt x="2672" y="136"/>
                      <a:pt x="3205" y="232"/>
                      <a:pt x="3782" y="493"/>
                    </a:cubicBezTo>
                    <a:cubicBezTo>
                      <a:pt x="5133" y="1093"/>
                      <a:pt x="6127" y="1898"/>
                      <a:pt x="6693" y="2427"/>
                    </a:cubicBezTo>
                    <a:lnTo>
                      <a:pt x="5716" y="4583"/>
                    </a:lnTo>
                    <a:cubicBezTo>
                      <a:pt x="4948" y="4513"/>
                      <a:pt x="3696" y="4308"/>
                      <a:pt x="2345" y="3692"/>
                    </a:cubicBezTo>
                    <a:cubicBezTo>
                      <a:pt x="1627" y="3368"/>
                      <a:pt x="1130" y="2924"/>
                      <a:pt x="805" y="2477"/>
                    </a:cubicBezTo>
                    <a:cubicBezTo>
                      <a:pt x="994" y="2390"/>
                      <a:pt x="1421" y="2119"/>
                      <a:pt x="1713" y="1487"/>
                    </a:cubicBezTo>
                    <a:cubicBezTo>
                      <a:pt x="2004" y="834"/>
                      <a:pt x="1918" y="337"/>
                      <a:pt x="1869" y="152"/>
                    </a:cubicBezTo>
                    <a:cubicBezTo>
                      <a:pt x="1976" y="142"/>
                      <a:pt x="2087" y="136"/>
                      <a:pt x="2202" y="136"/>
                    </a:cubicBezTo>
                    <a:close/>
                    <a:moveTo>
                      <a:pt x="6796" y="2530"/>
                    </a:moveTo>
                    <a:cubicBezTo>
                      <a:pt x="6845" y="2579"/>
                      <a:pt x="6878" y="2616"/>
                      <a:pt x="6915" y="2649"/>
                    </a:cubicBezTo>
                    <a:cubicBezTo>
                      <a:pt x="7051" y="2784"/>
                      <a:pt x="7084" y="2990"/>
                      <a:pt x="7018" y="3179"/>
                    </a:cubicBezTo>
                    <a:lnTo>
                      <a:pt x="6488" y="4324"/>
                    </a:lnTo>
                    <a:cubicBezTo>
                      <a:pt x="6423" y="4500"/>
                      <a:pt x="6255" y="4601"/>
                      <a:pt x="6080" y="4601"/>
                    </a:cubicBezTo>
                    <a:cubicBezTo>
                      <a:pt x="6067" y="4601"/>
                      <a:pt x="6054" y="4601"/>
                      <a:pt x="6041" y="4599"/>
                    </a:cubicBezTo>
                    <a:lnTo>
                      <a:pt x="5872" y="4599"/>
                    </a:lnTo>
                    <a:lnTo>
                      <a:pt x="6796" y="2530"/>
                    </a:lnTo>
                    <a:close/>
                    <a:moveTo>
                      <a:pt x="2183" y="0"/>
                    </a:moveTo>
                    <a:cubicBezTo>
                      <a:pt x="888" y="0"/>
                      <a:pt x="33" y="682"/>
                      <a:pt x="21" y="682"/>
                    </a:cubicBezTo>
                    <a:cubicBezTo>
                      <a:pt x="0" y="699"/>
                      <a:pt x="0" y="715"/>
                      <a:pt x="0" y="748"/>
                    </a:cubicBezTo>
                    <a:cubicBezTo>
                      <a:pt x="0" y="768"/>
                      <a:pt x="103" y="2838"/>
                      <a:pt x="2279" y="3811"/>
                    </a:cubicBezTo>
                    <a:cubicBezTo>
                      <a:pt x="3868" y="4530"/>
                      <a:pt x="5306" y="4702"/>
                      <a:pt x="6041" y="4735"/>
                    </a:cubicBezTo>
                    <a:lnTo>
                      <a:pt x="6057" y="4735"/>
                    </a:lnTo>
                    <a:cubicBezTo>
                      <a:pt x="6299" y="4735"/>
                      <a:pt x="6521" y="4599"/>
                      <a:pt x="6607" y="4394"/>
                    </a:cubicBezTo>
                    <a:lnTo>
                      <a:pt x="7137" y="3232"/>
                    </a:lnTo>
                    <a:cubicBezTo>
                      <a:pt x="7240" y="3006"/>
                      <a:pt x="7186" y="2735"/>
                      <a:pt x="7018" y="2563"/>
                    </a:cubicBezTo>
                    <a:cubicBezTo>
                      <a:pt x="6505" y="2049"/>
                      <a:pt x="5425" y="1076"/>
                      <a:pt x="3836" y="374"/>
                    </a:cubicBezTo>
                    <a:cubicBezTo>
                      <a:pt x="3236" y="100"/>
                      <a:pt x="2677" y="0"/>
                      <a:pt x="2183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61" name="Google Shape;761;p25"/>
              <p:cNvSpPr/>
              <p:nvPr/>
            </p:nvSpPr>
            <p:spPr>
              <a:xfrm>
                <a:off x="937500" y="1767675"/>
                <a:ext cx="53900" cy="49700"/>
              </a:xfrm>
              <a:custGeom>
                <a:avLst/>
                <a:gdLst/>
                <a:ahLst/>
                <a:cxnLst/>
                <a:rect l="l" t="t" r="r" b="b"/>
                <a:pathLst>
                  <a:path w="2156" h="1988" extrusionOk="0">
                    <a:moveTo>
                      <a:pt x="1146" y="140"/>
                    </a:moveTo>
                    <a:cubicBezTo>
                      <a:pt x="1265" y="140"/>
                      <a:pt x="1384" y="173"/>
                      <a:pt x="1487" y="206"/>
                    </a:cubicBezTo>
                    <a:cubicBezTo>
                      <a:pt x="1692" y="308"/>
                      <a:pt x="1864" y="481"/>
                      <a:pt x="1951" y="703"/>
                    </a:cubicBezTo>
                    <a:cubicBezTo>
                      <a:pt x="2016" y="908"/>
                      <a:pt x="2016" y="1150"/>
                      <a:pt x="1914" y="1355"/>
                    </a:cubicBezTo>
                    <a:cubicBezTo>
                      <a:pt x="1827" y="1561"/>
                      <a:pt x="1659" y="1729"/>
                      <a:pt x="1437" y="1799"/>
                    </a:cubicBezTo>
                    <a:cubicBezTo>
                      <a:pt x="1339" y="1840"/>
                      <a:pt x="1232" y="1862"/>
                      <a:pt x="1125" y="1862"/>
                    </a:cubicBezTo>
                    <a:cubicBezTo>
                      <a:pt x="1009" y="1862"/>
                      <a:pt x="891" y="1836"/>
                      <a:pt x="784" y="1782"/>
                    </a:cubicBezTo>
                    <a:cubicBezTo>
                      <a:pt x="357" y="1594"/>
                      <a:pt x="152" y="1080"/>
                      <a:pt x="357" y="653"/>
                    </a:cubicBezTo>
                    <a:cubicBezTo>
                      <a:pt x="444" y="432"/>
                      <a:pt x="616" y="276"/>
                      <a:pt x="838" y="189"/>
                    </a:cubicBezTo>
                    <a:cubicBezTo>
                      <a:pt x="940" y="156"/>
                      <a:pt x="1043" y="140"/>
                      <a:pt x="1146" y="140"/>
                    </a:cubicBezTo>
                    <a:close/>
                    <a:moveTo>
                      <a:pt x="1138" y="1"/>
                    </a:moveTo>
                    <a:cubicBezTo>
                      <a:pt x="1022" y="1"/>
                      <a:pt x="903" y="23"/>
                      <a:pt x="784" y="70"/>
                    </a:cubicBezTo>
                    <a:cubicBezTo>
                      <a:pt x="530" y="156"/>
                      <a:pt x="341" y="345"/>
                      <a:pt x="238" y="584"/>
                    </a:cubicBezTo>
                    <a:cubicBezTo>
                      <a:pt x="0" y="1097"/>
                      <a:pt x="238" y="1680"/>
                      <a:pt x="735" y="1902"/>
                    </a:cubicBezTo>
                    <a:cubicBezTo>
                      <a:pt x="854" y="1971"/>
                      <a:pt x="990" y="1988"/>
                      <a:pt x="1146" y="1988"/>
                    </a:cubicBezTo>
                    <a:cubicBezTo>
                      <a:pt x="1265" y="1988"/>
                      <a:pt x="1367" y="1971"/>
                      <a:pt x="1487" y="1934"/>
                    </a:cubicBezTo>
                    <a:cubicBezTo>
                      <a:pt x="1745" y="1832"/>
                      <a:pt x="1930" y="1643"/>
                      <a:pt x="2053" y="1405"/>
                    </a:cubicBezTo>
                    <a:cubicBezTo>
                      <a:pt x="2156" y="1167"/>
                      <a:pt x="2156" y="891"/>
                      <a:pt x="2070" y="653"/>
                    </a:cubicBezTo>
                    <a:cubicBezTo>
                      <a:pt x="1967" y="395"/>
                      <a:pt x="1794" y="206"/>
                      <a:pt x="1540" y="87"/>
                    </a:cubicBezTo>
                    <a:cubicBezTo>
                      <a:pt x="1409" y="31"/>
                      <a:pt x="1275" y="1"/>
                      <a:pt x="1138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62" name="Google Shape;762;p25"/>
              <p:cNvSpPr/>
              <p:nvPr/>
            </p:nvSpPr>
            <p:spPr>
              <a:xfrm>
                <a:off x="947250" y="1776350"/>
                <a:ext cx="35525" cy="32400"/>
              </a:xfrm>
              <a:custGeom>
                <a:avLst/>
                <a:gdLst/>
                <a:ahLst/>
                <a:cxnLst/>
                <a:rect l="l" t="t" r="r" b="b"/>
                <a:pathLst>
                  <a:path w="1421" h="1296" extrusionOk="0">
                    <a:moveTo>
                      <a:pt x="756" y="134"/>
                    </a:moveTo>
                    <a:cubicBezTo>
                      <a:pt x="821" y="134"/>
                      <a:pt x="891" y="150"/>
                      <a:pt x="961" y="187"/>
                    </a:cubicBezTo>
                    <a:cubicBezTo>
                      <a:pt x="1080" y="237"/>
                      <a:pt x="1183" y="339"/>
                      <a:pt x="1232" y="475"/>
                    </a:cubicBezTo>
                    <a:cubicBezTo>
                      <a:pt x="1285" y="598"/>
                      <a:pt x="1269" y="733"/>
                      <a:pt x="1216" y="869"/>
                    </a:cubicBezTo>
                    <a:cubicBezTo>
                      <a:pt x="1128" y="1059"/>
                      <a:pt x="938" y="1174"/>
                      <a:pt x="743" y="1174"/>
                    </a:cubicBezTo>
                    <a:cubicBezTo>
                      <a:pt x="672" y="1174"/>
                      <a:pt x="601" y="1159"/>
                      <a:pt x="534" y="1128"/>
                    </a:cubicBezTo>
                    <a:cubicBezTo>
                      <a:pt x="275" y="1008"/>
                      <a:pt x="156" y="701"/>
                      <a:pt x="275" y="442"/>
                    </a:cubicBezTo>
                    <a:cubicBezTo>
                      <a:pt x="329" y="323"/>
                      <a:pt x="431" y="220"/>
                      <a:pt x="567" y="167"/>
                    </a:cubicBezTo>
                    <a:cubicBezTo>
                      <a:pt x="616" y="150"/>
                      <a:pt x="686" y="134"/>
                      <a:pt x="756" y="134"/>
                    </a:cubicBezTo>
                    <a:close/>
                    <a:moveTo>
                      <a:pt x="756" y="0"/>
                    </a:moveTo>
                    <a:cubicBezTo>
                      <a:pt x="676" y="0"/>
                      <a:pt x="595" y="17"/>
                      <a:pt x="513" y="48"/>
                    </a:cubicBezTo>
                    <a:cubicBezTo>
                      <a:pt x="362" y="101"/>
                      <a:pt x="226" y="220"/>
                      <a:pt x="156" y="393"/>
                    </a:cubicBezTo>
                    <a:cubicBezTo>
                      <a:pt x="0" y="717"/>
                      <a:pt x="156" y="1091"/>
                      <a:pt x="481" y="1247"/>
                    </a:cubicBezTo>
                    <a:cubicBezTo>
                      <a:pt x="567" y="1279"/>
                      <a:pt x="653" y="1296"/>
                      <a:pt x="756" y="1296"/>
                    </a:cubicBezTo>
                    <a:cubicBezTo>
                      <a:pt x="994" y="1296"/>
                      <a:pt x="1232" y="1160"/>
                      <a:pt x="1335" y="922"/>
                    </a:cubicBezTo>
                    <a:cubicBezTo>
                      <a:pt x="1404" y="766"/>
                      <a:pt x="1421" y="577"/>
                      <a:pt x="1355" y="425"/>
                    </a:cubicBezTo>
                    <a:cubicBezTo>
                      <a:pt x="1302" y="253"/>
                      <a:pt x="1166" y="134"/>
                      <a:pt x="1010" y="64"/>
                    </a:cubicBezTo>
                    <a:cubicBezTo>
                      <a:pt x="930" y="21"/>
                      <a:pt x="844" y="0"/>
                      <a:pt x="75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63" name="Google Shape;763;p25"/>
              <p:cNvSpPr/>
              <p:nvPr/>
            </p:nvSpPr>
            <p:spPr>
              <a:xfrm>
                <a:off x="998575" y="1797075"/>
                <a:ext cx="14600" cy="27075"/>
              </a:xfrm>
              <a:custGeom>
                <a:avLst/>
                <a:gdLst/>
                <a:ahLst/>
                <a:cxnLst/>
                <a:rect l="l" t="t" r="r" b="b"/>
                <a:pathLst>
                  <a:path w="584" h="1083" extrusionOk="0">
                    <a:moveTo>
                      <a:pt x="505" y="1"/>
                    </a:moveTo>
                    <a:cubicBezTo>
                      <a:pt x="481" y="1"/>
                      <a:pt x="460" y="16"/>
                      <a:pt x="448" y="40"/>
                    </a:cubicBezTo>
                    <a:lnTo>
                      <a:pt x="21" y="1001"/>
                    </a:lnTo>
                    <a:cubicBezTo>
                      <a:pt x="0" y="1034"/>
                      <a:pt x="21" y="1066"/>
                      <a:pt x="54" y="1083"/>
                    </a:cubicBezTo>
                    <a:lnTo>
                      <a:pt x="70" y="1083"/>
                    </a:lnTo>
                    <a:cubicBezTo>
                      <a:pt x="103" y="1083"/>
                      <a:pt x="123" y="1066"/>
                      <a:pt x="140" y="1050"/>
                    </a:cubicBezTo>
                    <a:lnTo>
                      <a:pt x="567" y="93"/>
                    </a:lnTo>
                    <a:cubicBezTo>
                      <a:pt x="583" y="56"/>
                      <a:pt x="567" y="23"/>
                      <a:pt x="534" y="7"/>
                    </a:cubicBezTo>
                    <a:cubicBezTo>
                      <a:pt x="524" y="3"/>
                      <a:pt x="515" y="1"/>
                      <a:pt x="505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64" name="Google Shape;764;p25"/>
              <p:cNvSpPr/>
              <p:nvPr/>
            </p:nvSpPr>
            <p:spPr>
              <a:xfrm>
                <a:off x="1005850" y="1800475"/>
                <a:ext cx="14600" cy="27175"/>
              </a:xfrm>
              <a:custGeom>
                <a:avLst/>
                <a:gdLst/>
                <a:ahLst/>
                <a:cxnLst/>
                <a:rect l="l" t="t" r="r" b="b"/>
                <a:pathLst>
                  <a:path w="584" h="1087" extrusionOk="0">
                    <a:moveTo>
                      <a:pt x="505" y="0"/>
                    </a:moveTo>
                    <a:cubicBezTo>
                      <a:pt x="481" y="0"/>
                      <a:pt x="460" y="16"/>
                      <a:pt x="448" y="43"/>
                    </a:cubicBezTo>
                    <a:lnTo>
                      <a:pt x="17" y="984"/>
                    </a:lnTo>
                    <a:cubicBezTo>
                      <a:pt x="1" y="1017"/>
                      <a:pt x="17" y="1070"/>
                      <a:pt x="54" y="1086"/>
                    </a:cubicBezTo>
                    <a:lnTo>
                      <a:pt x="87" y="1086"/>
                    </a:lnTo>
                    <a:cubicBezTo>
                      <a:pt x="103" y="1086"/>
                      <a:pt x="140" y="1070"/>
                      <a:pt x="140" y="1049"/>
                    </a:cubicBezTo>
                    <a:lnTo>
                      <a:pt x="567" y="93"/>
                    </a:lnTo>
                    <a:cubicBezTo>
                      <a:pt x="584" y="60"/>
                      <a:pt x="567" y="23"/>
                      <a:pt x="530" y="7"/>
                    </a:cubicBezTo>
                    <a:cubicBezTo>
                      <a:pt x="522" y="2"/>
                      <a:pt x="513" y="0"/>
                      <a:pt x="50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65" name="Google Shape;765;p25"/>
              <p:cNvSpPr/>
              <p:nvPr/>
            </p:nvSpPr>
            <p:spPr>
              <a:xfrm>
                <a:off x="1013550" y="1803900"/>
                <a:ext cx="14600" cy="27125"/>
              </a:xfrm>
              <a:custGeom>
                <a:avLst/>
                <a:gdLst/>
                <a:ahLst/>
                <a:cxnLst/>
                <a:rect l="l" t="t" r="r" b="b"/>
                <a:pathLst>
                  <a:path w="584" h="1085" extrusionOk="0">
                    <a:moveTo>
                      <a:pt x="500" y="1"/>
                    </a:moveTo>
                    <a:cubicBezTo>
                      <a:pt x="473" y="1"/>
                      <a:pt x="443" y="18"/>
                      <a:pt x="428" y="42"/>
                    </a:cubicBezTo>
                    <a:lnTo>
                      <a:pt x="1" y="982"/>
                    </a:lnTo>
                    <a:cubicBezTo>
                      <a:pt x="1" y="1015"/>
                      <a:pt x="1" y="1052"/>
                      <a:pt x="38" y="1068"/>
                    </a:cubicBezTo>
                    <a:cubicBezTo>
                      <a:pt x="54" y="1085"/>
                      <a:pt x="54" y="1085"/>
                      <a:pt x="71" y="1085"/>
                    </a:cubicBezTo>
                    <a:cubicBezTo>
                      <a:pt x="87" y="1085"/>
                      <a:pt x="120" y="1068"/>
                      <a:pt x="140" y="1036"/>
                    </a:cubicBezTo>
                    <a:lnTo>
                      <a:pt x="567" y="91"/>
                    </a:lnTo>
                    <a:cubicBezTo>
                      <a:pt x="584" y="58"/>
                      <a:pt x="567" y="9"/>
                      <a:pt x="530" y="9"/>
                    </a:cubicBezTo>
                    <a:cubicBezTo>
                      <a:pt x="521" y="3"/>
                      <a:pt x="511" y="1"/>
                      <a:pt x="50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66" name="Google Shape;766;p25"/>
              <p:cNvSpPr/>
              <p:nvPr/>
            </p:nvSpPr>
            <p:spPr>
              <a:xfrm>
                <a:off x="929275" y="1772625"/>
                <a:ext cx="13775" cy="12625"/>
              </a:xfrm>
              <a:custGeom>
                <a:avLst/>
                <a:gdLst/>
                <a:ahLst/>
                <a:cxnLst/>
                <a:rect l="l" t="t" r="r" b="b"/>
                <a:pathLst>
                  <a:path w="551" h="505" extrusionOk="0">
                    <a:moveTo>
                      <a:pt x="309" y="147"/>
                    </a:moveTo>
                    <a:cubicBezTo>
                      <a:pt x="346" y="164"/>
                      <a:pt x="362" y="180"/>
                      <a:pt x="378" y="213"/>
                    </a:cubicBezTo>
                    <a:lnTo>
                      <a:pt x="378" y="299"/>
                    </a:lnTo>
                    <a:cubicBezTo>
                      <a:pt x="362" y="336"/>
                      <a:pt x="329" y="369"/>
                      <a:pt x="309" y="369"/>
                    </a:cubicBezTo>
                    <a:cubicBezTo>
                      <a:pt x="292" y="377"/>
                      <a:pt x="276" y="381"/>
                      <a:pt x="259" y="381"/>
                    </a:cubicBezTo>
                    <a:cubicBezTo>
                      <a:pt x="242" y="381"/>
                      <a:pt x="224" y="377"/>
                      <a:pt x="206" y="369"/>
                    </a:cubicBezTo>
                    <a:cubicBezTo>
                      <a:pt x="189" y="353"/>
                      <a:pt x="157" y="336"/>
                      <a:pt x="157" y="299"/>
                    </a:cubicBezTo>
                    <a:cubicBezTo>
                      <a:pt x="140" y="266"/>
                      <a:pt x="140" y="234"/>
                      <a:pt x="157" y="213"/>
                    </a:cubicBezTo>
                    <a:cubicBezTo>
                      <a:pt x="173" y="164"/>
                      <a:pt x="226" y="147"/>
                      <a:pt x="259" y="147"/>
                    </a:cubicBezTo>
                    <a:close/>
                    <a:moveTo>
                      <a:pt x="274" y="1"/>
                    </a:moveTo>
                    <a:cubicBezTo>
                      <a:pt x="242" y="1"/>
                      <a:pt x="208" y="10"/>
                      <a:pt x="173" y="28"/>
                    </a:cubicBezTo>
                    <a:cubicBezTo>
                      <a:pt x="103" y="45"/>
                      <a:pt x="54" y="94"/>
                      <a:pt x="38" y="164"/>
                    </a:cubicBezTo>
                    <a:cubicBezTo>
                      <a:pt x="1" y="213"/>
                      <a:pt x="1" y="283"/>
                      <a:pt x="21" y="353"/>
                    </a:cubicBezTo>
                    <a:cubicBezTo>
                      <a:pt x="54" y="418"/>
                      <a:pt x="87" y="472"/>
                      <a:pt x="157" y="488"/>
                    </a:cubicBezTo>
                    <a:cubicBezTo>
                      <a:pt x="189" y="505"/>
                      <a:pt x="226" y="505"/>
                      <a:pt x="259" y="505"/>
                    </a:cubicBezTo>
                    <a:cubicBezTo>
                      <a:pt x="292" y="505"/>
                      <a:pt x="329" y="505"/>
                      <a:pt x="346" y="488"/>
                    </a:cubicBezTo>
                    <a:cubicBezTo>
                      <a:pt x="411" y="472"/>
                      <a:pt x="465" y="418"/>
                      <a:pt x="497" y="369"/>
                    </a:cubicBezTo>
                    <a:cubicBezTo>
                      <a:pt x="551" y="234"/>
                      <a:pt x="497" y="78"/>
                      <a:pt x="362" y="28"/>
                    </a:cubicBezTo>
                    <a:cubicBezTo>
                      <a:pt x="335" y="10"/>
                      <a:pt x="305" y="1"/>
                      <a:pt x="274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67" name="Google Shape;767;p25"/>
              <p:cNvSpPr/>
              <p:nvPr/>
            </p:nvSpPr>
            <p:spPr>
              <a:xfrm>
                <a:off x="913475" y="1794625"/>
                <a:ext cx="14600" cy="12900"/>
              </a:xfrm>
              <a:custGeom>
                <a:avLst/>
                <a:gdLst/>
                <a:ahLst/>
                <a:cxnLst/>
                <a:rect l="l" t="t" r="r" b="b"/>
                <a:pathLst>
                  <a:path w="584" h="516" extrusionOk="0">
                    <a:moveTo>
                      <a:pt x="292" y="138"/>
                    </a:moveTo>
                    <a:cubicBezTo>
                      <a:pt x="308" y="138"/>
                      <a:pt x="325" y="138"/>
                      <a:pt x="345" y="154"/>
                    </a:cubicBezTo>
                    <a:cubicBezTo>
                      <a:pt x="378" y="154"/>
                      <a:pt x="394" y="191"/>
                      <a:pt x="411" y="224"/>
                    </a:cubicBezTo>
                    <a:cubicBezTo>
                      <a:pt x="411" y="241"/>
                      <a:pt x="411" y="277"/>
                      <a:pt x="394" y="310"/>
                    </a:cubicBezTo>
                    <a:cubicBezTo>
                      <a:pt x="394" y="343"/>
                      <a:pt x="362" y="360"/>
                      <a:pt x="345" y="380"/>
                    </a:cubicBezTo>
                    <a:cubicBezTo>
                      <a:pt x="308" y="380"/>
                      <a:pt x="275" y="380"/>
                      <a:pt x="243" y="360"/>
                    </a:cubicBezTo>
                    <a:cubicBezTo>
                      <a:pt x="189" y="343"/>
                      <a:pt x="156" y="277"/>
                      <a:pt x="189" y="208"/>
                    </a:cubicBezTo>
                    <a:cubicBezTo>
                      <a:pt x="206" y="175"/>
                      <a:pt x="243" y="138"/>
                      <a:pt x="292" y="138"/>
                    </a:cubicBezTo>
                    <a:close/>
                    <a:moveTo>
                      <a:pt x="299" y="0"/>
                    </a:moveTo>
                    <a:cubicBezTo>
                      <a:pt x="202" y="0"/>
                      <a:pt x="103" y="53"/>
                      <a:pt x="54" y="154"/>
                    </a:cubicBezTo>
                    <a:cubicBezTo>
                      <a:pt x="0" y="277"/>
                      <a:pt x="54" y="429"/>
                      <a:pt x="189" y="499"/>
                    </a:cubicBezTo>
                    <a:cubicBezTo>
                      <a:pt x="222" y="499"/>
                      <a:pt x="259" y="516"/>
                      <a:pt x="292" y="516"/>
                    </a:cubicBezTo>
                    <a:cubicBezTo>
                      <a:pt x="325" y="516"/>
                      <a:pt x="362" y="516"/>
                      <a:pt x="378" y="499"/>
                    </a:cubicBezTo>
                    <a:cubicBezTo>
                      <a:pt x="448" y="462"/>
                      <a:pt x="497" y="429"/>
                      <a:pt x="530" y="360"/>
                    </a:cubicBezTo>
                    <a:cubicBezTo>
                      <a:pt x="583" y="241"/>
                      <a:pt x="530" y="89"/>
                      <a:pt x="394" y="19"/>
                    </a:cubicBezTo>
                    <a:cubicBezTo>
                      <a:pt x="364" y="6"/>
                      <a:pt x="332" y="0"/>
                      <a:pt x="29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68" name="Google Shape;768;p25"/>
              <p:cNvSpPr/>
              <p:nvPr/>
            </p:nvSpPr>
            <p:spPr>
              <a:xfrm>
                <a:off x="935750" y="1746950"/>
                <a:ext cx="13675" cy="12650"/>
              </a:xfrm>
              <a:custGeom>
                <a:avLst/>
                <a:gdLst/>
                <a:ahLst/>
                <a:cxnLst/>
                <a:rect l="l" t="t" r="r" b="b"/>
                <a:pathLst>
                  <a:path w="547" h="506" extrusionOk="0">
                    <a:moveTo>
                      <a:pt x="255" y="131"/>
                    </a:moveTo>
                    <a:cubicBezTo>
                      <a:pt x="275" y="131"/>
                      <a:pt x="292" y="131"/>
                      <a:pt x="308" y="148"/>
                    </a:cubicBezTo>
                    <a:cubicBezTo>
                      <a:pt x="378" y="164"/>
                      <a:pt x="394" y="250"/>
                      <a:pt x="378" y="300"/>
                    </a:cubicBezTo>
                    <a:cubicBezTo>
                      <a:pt x="358" y="337"/>
                      <a:pt x="341" y="353"/>
                      <a:pt x="308" y="370"/>
                    </a:cubicBezTo>
                    <a:lnTo>
                      <a:pt x="206" y="370"/>
                    </a:lnTo>
                    <a:cubicBezTo>
                      <a:pt x="189" y="353"/>
                      <a:pt x="152" y="316"/>
                      <a:pt x="152" y="300"/>
                    </a:cubicBezTo>
                    <a:cubicBezTo>
                      <a:pt x="136" y="267"/>
                      <a:pt x="136" y="234"/>
                      <a:pt x="152" y="197"/>
                    </a:cubicBezTo>
                    <a:cubicBezTo>
                      <a:pt x="173" y="164"/>
                      <a:pt x="222" y="131"/>
                      <a:pt x="255" y="131"/>
                    </a:cubicBezTo>
                    <a:close/>
                    <a:moveTo>
                      <a:pt x="255" y="1"/>
                    </a:moveTo>
                    <a:cubicBezTo>
                      <a:pt x="163" y="1"/>
                      <a:pt x="72" y="61"/>
                      <a:pt x="33" y="148"/>
                    </a:cubicBezTo>
                    <a:cubicBezTo>
                      <a:pt x="0" y="214"/>
                      <a:pt x="0" y="283"/>
                      <a:pt x="17" y="353"/>
                    </a:cubicBezTo>
                    <a:cubicBezTo>
                      <a:pt x="50" y="402"/>
                      <a:pt x="103" y="456"/>
                      <a:pt x="152" y="489"/>
                    </a:cubicBezTo>
                    <a:cubicBezTo>
                      <a:pt x="189" y="505"/>
                      <a:pt x="222" y="505"/>
                      <a:pt x="255" y="505"/>
                    </a:cubicBezTo>
                    <a:cubicBezTo>
                      <a:pt x="358" y="505"/>
                      <a:pt x="444" y="456"/>
                      <a:pt x="497" y="353"/>
                    </a:cubicBezTo>
                    <a:cubicBezTo>
                      <a:pt x="546" y="234"/>
                      <a:pt x="497" y="78"/>
                      <a:pt x="358" y="29"/>
                    </a:cubicBezTo>
                    <a:cubicBezTo>
                      <a:pt x="325" y="10"/>
                      <a:pt x="290" y="1"/>
                      <a:pt x="255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69" name="Google Shape;769;p25"/>
              <p:cNvSpPr/>
              <p:nvPr/>
            </p:nvSpPr>
            <p:spPr>
              <a:xfrm>
                <a:off x="830925" y="1792750"/>
                <a:ext cx="72300" cy="66275"/>
              </a:xfrm>
              <a:custGeom>
                <a:avLst/>
                <a:gdLst/>
                <a:ahLst/>
                <a:cxnLst/>
                <a:rect l="l" t="t" r="r" b="b"/>
                <a:pathLst>
                  <a:path w="2892" h="2651" extrusionOk="0">
                    <a:moveTo>
                      <a:pt x="1434" y="0"/>
                    </a:moveTo>
                    <a:cubicBezTo>
                      <a:pt x="1351" y="0"/>
                      <a:pt x="1268" y="8"/>
                      <a:pt x="1183" y="24"/>
                    </a:cubicBezTo>
                    <a:cubicBezTo>
                      <a:pt x="465" y="164"/>
                      <a:pt x="1" y="866"/>
                      <a:pt x="136" y="1584"/>
                    </a:cubicBezTo>
                    <a:cubicBezTo>
                      <a:pt x="274" y="2218"/>
                      <a:pt x="837" y="2651"/>
                      <a:pt x="1461" y="2651"/>
                    </a:cubicBezTo>
                    <a:cubicBezTo>
                      <a:pt x="1544" y="2651"/>
                      <a:pt x="1629" y="2643"/>
                      <a:pt x="1713" y="2627"/>
                    </a:cubicBezTo>
                    <a:cubicBezTo>
                      <a:pt x="2415" y="2471"/>
                      <a:pt x="2892" y="1790"/>
                      <a:pt x="2740" y="1071"/>
                    </a:cubicBezTo>
                    <a:cubicBezTo>
                      <a:pt x="2616" y="436"/>
                      <a:pt x="2058" y="0"/>
                      <a:pt x="143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70" name="Google Shape;770;p25"/>
              <p:cNvSpPr/>
              <p:nvPr/>
            </p:nvSpPr>
            <p:spPr>
              <a:xfrm>
                <a:off x="840800" y="1800975"/>
                <a:ext cx="30800" cy="38200"/>
              </a:xfrm>
              <a:custGeom>
                <a:avLst/>
                <a:gdLst/>
                <a:ahLst/>
                <a:cxnLst/>
                <a:rect l="l" t="t" r="r" b="b"/>
                <a:pathLst>
                  <a:path w="1232" h="1528" extrusionOk="0">
                    <a:moveTo>
                      <a:pt x="726" y="0"/>
                    </a:moveTo>
                    <a:cubicBezTo>
                      <a:pt x="308" y="0"/>
                      <a:pt x="17" y="634"/>
                      <a:pt x="17" y="980"/>
                    </a:cubicBezTo>
                    <a:cubicBezTo>
                      <a:pt x="0" y="1169"/>
                      <a:pt x="70" y="1358"/>
                      <a:pt x="222" y="1461"/>
                    </a:cubicBezTo>
                    <a:cubicBezTo>
                      <a:pt x="289" y="1507"/>
                      <a:pt x="373" y="1527"/>
                      <a:pt x="458" y="1527"/>
                    </a:cubicBezTo>
                    <a:cubicBezTo>
                      <a:pt x="524" y="1527"/>
                      <a:pt x="590" y="1515"/>
                      <a:pt x="649" y="1493"/>
                    </a:cubicBezTo>
                    <a:cubicBezTo>
                      <a:pt x="788" y="1424"/>
                      <a:pt x="908" y="1321"/>
                      <a:pt x="994" y="1202"/>
                    </a:cubicBezTo>
                    <a:cubicBezTo>
                      <a:pt x="1129" y="1029"/>
                      <a:pt x="1232" y="808"/>
                      <a:pt x="1232" y="586"/>
                    </a:cubicBezTo>
                    <a:cubicBezTo>
                      <a:pt x="1232" y="364"/>
                      <a:pt x="1113" y="143"/>
                      <a:pt x="908" y="40"/>
                    </a:cubicBezTo>
                    <a:cubicBezTo>
                      <a:pt x="845" y="13"/>
                      <a:pt x="784" y="0"/>
                      <a:pt x="726" y="0"/>
                    </a:cubicBezTo>
                    <a:close/>
                  </a:path>
                </a:pathLst>
              </a:custGeom>
              <a:solidFill>
                <a:srgbClr val="FFFFFF">
                  <a:alpha val="3657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71" name="Google Shape;771;p25"/>
              <p:cNvSpPr/>
              <p:nvPr/>
            </p:nvSpPr>
            <p:spPr>
              <a:xfrm>
                <a:off x="830925" y="1791050"/>
                <a:ext cx="74050" cy="69550"/>
              </a:xfrm>
              <a:custGeom>
                <a:avLst/>
                <a:gdLst/>
                <a:ahLst/>
                <a:cxnLst/>
                <a:rect l="l" t="t" r="r" b="b"/>
                <a:pathLst>
                  <a:path w="2962" h="2782" extrusionOk="0">
                    <a:moveTo>
                      <a:pt x="1454" y="129"/>
                    </a:moveTo>
                    <a:cubicBezTo>
                      <a:pt x="1697" y="129"/>
                      <a:pt x="1935" y="215"/>
                      <a:pt x="2140" y="351"/>
                    </a:cubicBezTo>
                    <a:cubicBezTo>
                      <a:pt x="2415" y="540"/>
                      <a:pt x="2621" y="811"/>
                      <a:pt x="2670" y="1155"/>
                    </a:cubicBezTo>
                    <a:cubicBezTo>
                      <a:pt x="2805" y="1821"/>
                      <a:pt x="2378" y="2490"/>
                      <a:pt x="1697" y="2625"/>
                    </a:cubicBezTo>
                    <a:cubicBezTo>
                      <a:pt x="1614" y="2642"/>
                      <a:pt x="1531" y="2650"/>
                      <a:pt x="1449" y="2650"/>
                    </a:cubicBezTo>
                    <a:cubicBezTo>
                      <a:pt x="857" y="2650"/>
                      <a:pt x="325" y="2234"/>
                      <a:pt x="206" y="1632"/>
                    </a:cubicBezTo>
                    <a:cubicBezTo>
                      <a:pt x="71" y="967"/>
                      <a:pt x="514" y="297"/>
                      <a:pt x="1200" y="162"/>
                    </a:cubicBezTo>
                    <a:cubicBezTo>
                      <a:pt x="1286" y="145"/>
                      <a:pt x="1368" y="129"/>
                      <a:pt x="1454" y="129"/>
                    </a:cubicBezTo>
                    <a:close/>
                    <a:moveTo>
                      <a:pt x="1444" y="0"/>
                    </a:moveTo>
                    <a:cubicBezTo>
                      <a:pt x="1352" y="0"/>
                      <a:pt x="1258" y="9"/>
                      <a:pt x="1163" y="26"/>
                    </a:cubicBezTo>
                    <a:cubicBezTo>
                      <a:pt x="806" y="92"/>
                      <a:pt x="498" y="318"/>
                      <a:pt x="292" y="626"/>
                    </a:cubicBezTo>
                    <a:cubicBezTo>
                      <a:pt x="87" y="934"/>
                      <a:pt x="1" y="1307"/>
                      <a:pt x="87" y="1669"/>
                    </a:cubicBezTo>
                    <a:cubicBezTo>
                      <a:pt x="206" y="2334"/>
                      <a:pt x="789" y="2781"/>
                      <a:pt x="1438" y="2781"/>
                    </a:cubicBezTo>
                    <a:cubicBezTo>
                      <a:pt x="1541" y="2781"/>
                      <a:pt x="1627" y="2781"/>
                      <a:pt x="1713" y="2761"/>
                    </a:cubicBezTo>
                    <a:cubicBezTo>
                      <a:pt x="2465" y="2609"/>
                      <a:pt x="2961" y="1874"/>
                      <a:pt x="2805" y="1119"/>
                    </a:cubicBezTo>
                    <a:cubicBezTo>
                      <a:pt x="2740" y="761"/>
                      <a:pt x="2534" y="437"/>
                      <a:pt x="2210" y="232"/>
                    </a:cubicBezTo>
                    <a:cubicBezTo>
                      <a:pt x="1979" y="78"/>
                      <a:pt x="1719" y="0"/>
                      <a:pt x="1444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72" name="Google Shape;772;p25"/>
              <p:cNvSpPr/>
              <p:nvPr/>
            </p:nvSpPr>
            <p:spPr>
              <a:xfrm>
                <a:off x="867675" y="1804000"/>
                <a:ext cx="16350" cy="15950"/>
              </a:xfrm>
              <a:custGeom>
                <a:avLst/>
                <a:gdLst/>
                <a:ahLst/>
                <a:cxnLst/>
                <a:rect l="l" t="t" r="r" b="b"/>
                <a:pathLst>
                  <a:path w="654" h="638" extrusionOk="0">
                    <a:moveTo>
                      <a:pt x="346" y="141"/>
                    </a:moveTo>
                    <a:cubicBezTo>
                      <a:pt x="412" y="157"/>
                      <a:pt x="498" y="210"/>
                      <a:pt x="514" y="293"/>
                    </a:cubicBezTo>
                    <a:cubicBezTo>
                      <a:pt x="514" y="379"/>
                      <a:pt x="448" y="465"/>
                      <a:pt x="379" y="481"/>
                    </a:cubicBezTo>
                    <a:cubicBezTo>
                      <a:pt x="359" y="490"/>
                      <a:pt x="339" y="493"/>
                      <a:pt x="319" y="493"/>
                    </a:cubicBezTo>
                    <a:cubicBezTo>
                      <a:pt x="250" y="493"/>
                      <a:pt x="182" y="449"/>
                      <a:pt x="157" y="395"/>
                    </a:cubicBezTo>
                    <a:cubicBezTo>
                      <a:pt x="124" y="329"/>
                      <a:pt x="157" y="243"/>
                      <a:pt x="173" y="210"/>
                    </a:cubicBezTo>
                    <a:cubicBezTo>
                      <a:pt x="206" y="141"/>
                      <a:pt x="260" y="141"/>
                      <a:pt x="309" y="141"/>
                    </a:cubicBezTo>
                    <a:close/>
                    <a:moveTo>
                      <a:pt x="306" y="1"/>
                    </a:moveTo>
                    <a:cubicBezTo>
                      <a:pt x="194" y="1"/>
                      <a:pt x="97" y="55"/>
                      <a:pt x="54" y="157"/>
                    </a:cubicBezTo>
                    <a:cubicBezTo>
                      <a:pt x="1" y="260"/>
                      <a:pt x="1" y="362"/>
                      <a:pt x="38" y="449"/>
                    </a:cubicBezTo>
                    <a:cubicBezTo>
                      <a:pt x="87" y="568"/>
                      <a:pt x="206" y="637"/>
                      <a:pt x="329" y="637"/>
                    </a:cubicBezTo>
                    <a:cubicBezTo>
                      <a:pt x="362" y="637"/>
                      <a:pt x="379" y="621"/>
                      <a:pt x="412" y="621"/>
                    </a:cubicBezTo>
                    <a:cubicBezTo>
                      <a:pt x="551" y="584"/>
                      <a:pt x="654" y="432"/>
                      <a:pt x="637" y="293"/>
                    </a:cubicBezTo>
                    <a:cubicBezTo>
                      <a:pt x="637" y="157"/>
                      <a:pt x="514" y="38"/>
                      <a:pt x="362" y="5"/>
                    </a:cubicBezTo>
                    <a:cubicBezTo>
                      <a:pt x="343" y="2"/>
                      <a:pt x="325" y="1"/>
                      <a:pt x="306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73" name="Google Shape;773;p25"/>
              <p:cNvSpPr/>
              <p:nvPr/>
            </p:nvSpPr>
            <p:spPr>
              <a:xfrm>
                <a:off x="883075" y="1814250"/>
                <a:ext cx="10800" cy="10425"/>
              </a:xfrm>
              <a:custGeom>
                <a:avLst/>
                <a:gdLst/>
                <a:ahLst/>
                <a:cxnLst/>
                <a:rect l="l" t="t" r="r" b="b"/>
                <a:pathLst>
                  <a:path w="432" h="417" extrusionOk="0">
                    <a:moveTo>
                      <a:pt x="227" y="108"/>
                    </a:moveTo>
                    <a:cubicBezTo>
                      <a:pt x="260" y="125"/>
                      <a:pt x="309" y="158"/>
                      <a:pt x="309" y="191"/>
                    </a:cubicBezTo>
                    <a:cubicBezTo>
                      <a:pt x="309" y="244"/>
                      <a:pt x="292" y="293"/>
                      <a:pt x="243" y="293"/>
                    </a:cubicBezTo>
                    <a:cubicBezTo>
                      <a:pt x="236" y="297"/>
                      <a:pt x="228" y="299"/>
                      <a:pt x="220" y="299"/>
                    </a:cubicBezTo>
                    <a:cubicBezTo>
                      <a:pt x="188" y="299"/>
                      <a:pt x="154" y="270"/>
                      <a:pt x="140" y="244"/>
                    </a:cubicBezTo>
                    <a:cubicBezTo>
                      <a:pt x="124" y="211"/>
                      <a:pt x="124" y="174"/>
                      <a:pt x="140" y="141"/>
                    </a:cubicBezTo>
                    <a:cubicBezTo>
                      <a:pt x="157" y="125"/>
                      <a:pt x="173" y="108"/>
                      <a:pt x="206" y="108"/>
                    </a:cubicBezTo>
                    <a:close/>
                    <a:moveTo>
                      <a:pt x="197" y="0"/>
                    </a:moveTo>
                    <a:cubicBezTo>
                      <a:pt x="127" y="0"/>
                      <a:pt x="65" y="38"/>
                      <a:pt x="38" y="108"/>
                    </a:cubicBezTo>
                    <a:cubicBezTo>
                      <a:pt x="1" y="174"/>
                      <a:pt x="1" y="244"/>
                      <a:pt x="38" y="293"/>
                    </a:cubicBezTo>
                    <a:cubicBezTo>
                      <a:pt x="71" y="363"/>
                      <a:pt x="140" y="416"/>
                      <a:pt x="227" y="416"/>
                    </a:cubicBezTo>
                    <a:lnTo>
                      <a:pt x="276" y="416"/>
                    </a:lnTo>
                    <a:cubicBezTo>
                      <a:pt x="362" y="379"/>
                      <a:pt x="432" y="293"/>
                      <a:pt x="432" y="191"/>
                    </a:cubicBezTo>
                    <a:cubicBezTo>
                      <a:pt x="411" y="108"/>
                      <a:pt x="346" y="22"/>
                      <a:pt x="243" y="6"/>
                    </a:cubicBezTo>
                    <a:cubicBezTo>
                      <a:pt x="228" y="2"/>
                      <a:pt x="212" y="0"/>
                      <a:pt x="19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774" name="Google Shape;774;p25"/>
              <p:cNvSpPr/>
              <p:nvPr/>
            </p:nvSpPr>
            <p:spPr>
              <a:xfrm>
                <a:off x="869425" y="1822825"/>
                <a:ext cx="17575" cy="16725"/>
              </a:xfrm>
              <a:custGeom>
                <a:avLst/>
                <a:gdLst/>
                <a:ahLst/>
                <a:cxnLst/>
                <a:rect l="l" t="t" r="r" b="b"/>
                <a:pathLst>
                  <a:path w="703" h="669" extrusionOk="0">
                    <a:moveTo>
                      <a:pt x="339" y="138"/>
                    </a:moveTo>
                    <a:cubicBezTo>
                      <a:pt x="356" y="138"/>
                      <a:pt x="370" y="139"/>
                      <a:pt x="378" y="139"/>
                    </a:cubicBezTo>
                    <a:cubicBezTo>
                      <a:pt x="444" y="155"/>
                      <a:pt x="547" y="225"/>
                      <a:pt x="547" y="328"/>
                    </a:cubicBezTo>
                    <a:cubicBezTo>
                      <a:pt x="567" y="414"/>
                      <a:pt x="498" y="500"/>
                      <a:pt x="395" y="533"/>
                    </a:cubicBezTo>
                    <a:cubicBezTo>
                      <a:pt x="384" y="535"/>
                      <a:pt x="372" y="536"/>
                      <a:pt x="360" y="536"/>
                    </a:cubicBezTo>
                    <a:cubicBezTo>
                      <a:pt x="283" y="536"/>
                      <a:pt x="202" y="491"/>
                      <a:pt x="173" y="431"/>
                    </a:cubicBezTo>
                    <a:cubicBezTo>
                      <a:pt x="136" y="344"/>
                      <a:pt x="157" y="258"/>
                      <a:pt x="173" y="225"/>
                    </a:cubicBezTo>
                    <a:cubicBezTo>
                      <a:pt x="211" y="147"/>
                      <a:pt x="288" y="138"/>
                      <a:pt x="339" y="138"/>
                    </a:cubicBezTo>
                    <a:close/>
                    <a:moveTo>
                      <a:pt x="339" y="1"/>
                    </a:moveTo>
                    <a:cubicBezTo>
                      <a:pt x="211" y="1"/>
                      <a:pt x="112" y="53"/>
                      <a:pt x="54" y="176"/>
                    </a:cubicBezTo>
                    <a:cubicBezTo>
                      <a:pt x="1" y="279"/>
                      <a:pt x="1" y="381"/>
                      <a:pt x="54" y="484"/>
                    </a:cubicBezTo>
                    <a:cubicBezTo>
                      <a:pt x="103" y="603"/>
                      <a:pt x="222" y="669"/>
                      <a:pt x="362" y="669"/>
                    </a:cubicBezTo>
                    <a:cubicBezTo>
                      <a:pt x="378" y="669"/>
                      <a:pt x="411" y="669"/>
                      <a:pt x="428" y="652"/>
                    </a:cubicBezTo>
                    <a:cubicBezTo>
                      <a:pt x="584" y="619"/>
                      <a:pt x="703" y="463"/>
                      <a:pt x="686" y="311"/>
                    </a:cubicBezTo>
                    <a:cubicBezTo>
                      <a:pt x="670" y="176"/>
                      <a:pt x="547" y="36"/>
                      <a:pt x="395" y="4"/>
                    </a:cubicBezTo>
                    <a:cubicBezTo>
                      <a:pt x="376" y="2"/>
                      <a:pt x="357" y="1"/>
                      <a:pt x="339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642775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9798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24111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9848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307443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99098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64616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99392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96715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39908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60937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9285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79033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25473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8355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DA72874-68EC-497E-9DA7-D56B4B799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CE38CCA-C0DF-4072-807B-0517771E05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AD07C1B-154C-4CA0-B716-7347EF26FC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8B83AE7-864E-432E-A2F1-70864C7E2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76BDEBB-155E-4DAD-B449-B6955AA8D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90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6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4"/>
            <a:ext cx="6815667" cy="5853113"/>
          </a:xfrm>
        </p:spPr>
        <p:txBody>
          <a:bodyPr/>
          <a:lstStyle>
            <a:lvl1pPr>
              <a:defRPr sz="4299"/>
            </a:lvl1pPr>
            <a:lvl2pPr>
              <a:defRPr sz="3799"/>
            </a:lvl2pPr>
            <a:lvl3pPr>
              <a:defRPr sz="3199"/>
            </a:lvl3pPr>
            <a:lvl4pPr>
              <a:defRPr sz="2699"/>
            </a:lvl4pPr>
            <a:lvl5pPr>
              <a:defRPr sz="2699"/>
            </a:lvl5pPr>
            <a:lvl6pPr>
              <a:defRPr sz="2699"/>
            </a:lvl6pPr>
            <a:lvl7pPr>
              <a:defRPr sz="2699"/>
            </a:lvl7pPr>
            <a:lvl8pPr>
              <a:defRPr sz="2699"/>
            </a:lvl8pPr>
            <a:lvl9pPr>
              <a:defRPr sz="26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5"/>
            <a:ext cx="4011084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63" indent="0">
              <a:buNone/>
              <a:defRPr sz="1600"/>
            </a:lvl2pPr>
            <a:lvl3pPr marL="1218926" indent="0">
              <a:buNone/>
              <a:defRPr sz="1400"/>
            </a:lvl3pPr>
            <a:lvl4pPr marL="1828388" indent="0">
              <a:buNone/>
              <a:defRPr sz="1200"/>
            </a:lvl4pPr>
            <a:lvl5pPr marL="2437851" indent="0">
              <a:buNone/>
              <a:defRPr sz="1200"/>
            </a:lvl5pPr>
            <a:lvl6pPr marL="3047314" indent="0">
              <a:buNone/>
              <a:defRPr sz="1200"/>
            </a:lvl6pPr>
            <a:lvl7pPr marL="3656777" indent="0">
              <a:buNone/>
              <a:defRPr sz="1200"/>
            </a:lvl7pPr>
            <a:lvl8pPr marL="4266240" indent="0">
              <a:buNone/>
              <a:defRPr sz="1200"/>
            </a:lvl8pPr>
            <a:lvl9pPr marL="4875703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3C7FCF6-76BD-4495-B08F-4C059D2BA31F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85911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60917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85494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32052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84288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36991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65664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44924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6913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81351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51" y="1122363"/>
            <a:ext cx="9144001" cy="2387600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51" y="3602136"/>
            <a:ext cx="9144001" cy="1655763"/>
          </a:xfrm>
        </p:spPr>
        <p:txBody>
          <a:bodyPr/>
          <a:lstStyle>
            <a:lvl1pPr marL="0" indent="0" algn="ctr">
              <a:buNone/>
              <a:defRPr sz="2700"/>
            </a:lvl1pPr>
            <a:lvl2pPr marL="488977" indent="0" algn="ctr">
              <a:buNone/>
              <a:defRPr sz="2100"/>
            </a:lvl2pPr>
            <a:lvl3pPr marL="977952" indent="0" algn="ctr">
              <a:buNone/>
              <a:defRPr sz="1900"/>
            </a:lvl3pPr>
            <a:lvl4pPr marL="1466926" indent="0" algn="ctr">
              <a:buNone/>
              <a:defRPr sz="1700"/>
            </a:lvl4pPr>
            <a:lvl5pPr marL="1955902" indent="0" algn="ctr">
              <a:buNone/>
              <a:defRPr sz="1700"/>
            </a:lvl5pPr>
            <a:lvl6pPr marL="2444850" indent="0" algn="ctr">
              <a:buNone/>
              <a:defRPr sz="1700"/>
            </a:lvl6pPr>
            <a:lvl7pPr marL="2933783" indent="0" algn="ctr">
              <a:buNone/>
              <a:defRPr sz="1700"/>
            </a:lvl7pPr>
            <a:lvl8pPr marL="3422761" indent="0" algn="ctr">
              <a:buNone/>
              <a:defRPr sz="1700"/>
            </a:lvl8pPr>
            <a:lvl9pPr marL="3911712" indent="0" algn="ctr">
              <a:buNone/>
              <a:defRPr sz="1700"/>
            </a:lvl9pPr>
          </a:lstStyle>
          <a:p>
            <a:r>
              <a:rPr lang="zh-CN" altLang="en-US"/>
              <a:t>单击以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758471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26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7"/>
            <a:ext cx="7315200" cy="4114800"/>
          </a:xfrm>
        </p:spPr>
        <p:txBody>
          <a:bodyPr/>
          <a:lstStyle>
            <a:lvl1pPr marL="0" indent="0">
              <a:buNone/>
              <a:defRPr sz="4299"/>
            </a:lvl1pPr>
            <a:lvl2pPr marL="609463" indent="0">
              <a:buNone/>
              <a:defRPr sz="3799"/>
            </a:lvl2pPr>
            <a:lvl3pPr marL="1218926" indent="0">
              <a:buNone/>
              <a:defRPr sz="3199"/>
            </a:lvl3pPr>
            <a:lvl4pPr marL="1828388" indent="0">
              <a:buNone/>
              <a:defRPr sz="2699"/>
            </a:lvl4pPr>
            <a:lvl5pPr marL="2437851" indent="0">
              <a:buNone/>
              <a:defRPr sz="2699"/>
            </a:lvl5pPr>
            <a:lvl6pPr marL="3047314" indent="0">
              <a:buNone/>
              <a:defRPr sz="2699"/>
            </a:lvl6pPr>
            <a:lvl7pPr marL="3656777" indent="0">
              <a:buNone/>
              <a:defRPr sz="2699"/>
            </a:lvl7pPr>
            <a:lvl8pPr marL="4266240" indent="0">
              <a:buNone/>
              <a:defRPr sz="2699"/>
            </a:lvl8pPr>
            <a:lvl9pPr marL="4875703" indent="0">
              <a:buNone/>
              <a:defRPr sz="2699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63" indent="0">
              <a:buNone/>
              <a:defRPr sz="1600"/>
            </a:lvl2pPr>
            <a:lvl3pPr marL="1218926" indent="0">
              <a:buNone/>
              <a:defRPr sz="1400"/>
            </a:lvl3pPr>
            <a:lvl4pPr marL="1828388" indent="0">
              <a:buNone/>
              <a:defRPr sz="1200"/>
            </a:lvl4pPr>
            <a:lvl5pPr marL="2437851" indent="0">
              <a:buNone/>
              <a:defRPr sz="1200"/>
            </a:lvl5pPr>
            <a:lvl6pPr marL="3047314" indent="0">
              <a:buNone/>
              <a:defRPr sz="1200"/>
            </a:lvl6pPr>
            <a:lvl7pPr marL="3656777" indent="0">
              <a:buNone/>
              <a:defRPr sz="1200"/>
            </a:lvl7pPr>
            <a:lvl8pPr marL="4266240" indent="0">
              <a:buNone/>
              <a:defRPr sz="1200"/>
            </a:lvl8pPr>
            <a:lvl9pPr marL="4875703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257577C-F53D-4BB9-9408-EB84DEB3CD80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11438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123477"/>
      </p:ext>
    </p:extLst>
  </p:cSld>
  <p:clrMapOvr>
    <a:masterClrMapping/>
  </p:clrMapOvr>
  <p:transition spd="slow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904"/>
            <a:ext cx="10515600" cy="2852737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549"/>
            <a:ext cx="10515600" cy="1500187"/>
          </a:xfrm>
        </p:spPr>
        <p:txBody>
          <a:bodyPr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4889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7795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46692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195590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4448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293378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42276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391171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588593"/>
      </p:ext>
    </p:extLst>
  </p:cSld>
  <p:clrMapOvr>
    <a:masterClrMapping/>
  </p:clrMapOvr>
  <p:transition spd="slow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825645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12" y="1825645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879818"/>
      </p:ext>
    </p:extLst>
  </p:cSld>
  <p:clrMapOvr>
    <a:masterClrMapping/>
  </p:clrMapOvr>
  <p:transition spd="slow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813" y="1681191"/>
            <a:ext cx="5157787" cy="82391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488977" indent="0">
              <a:buNone/>
              <a:defRPr sz="2100" b="1"/>
            </a:lvl2pPr>
            <a:lvl3pPr marL="977952" indent="0">
              <a:buNone/>
              <a:defRPr sz="1900" b="1"/>
            </a:lvl3pPr>
            <a:lvl4pPr marL="1466926" indent="0">
              <a:buNone/>
              <a:defRPr sz="1700" b="1"/>
            </a:lvl4pPr>
            <a:lvl5pPr marL="1955902" indent="0">
              <a:buNone/>
              <a:defRPr sz="1700" b="1"/>
            </a:lvl5pPr>
            <a:lvl6pPr marL="2444850" indent="0">
              <a:buNone/>
              <a:defRPr sz="1700" b="1"/>
            </a:lvl6pPr>
            <a:lvl7pPr marL="2933783" indent="0">
              <a:buNone/>
              <a:defRPr sz="1700" b="1"/>
            </a:lvl7pPr>
            <a:lvl8pPr marL="3422761" indent="0">
              <a:buNone/>
              <a:defRPr sz="1700" b="1"/>
            </a:lvl8pPr>
            <a:lvl9pPr marL="3911712" indent="0">
              <a:buNone/>
              <a:defRPr sz="17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813" y="2505091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10" y="1681191"/>
            <a:ext cx="5183188" cy="82391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488977" indent="0">
              <a:buNone/>
              <a:defRPr sz="2100" b="1"/>
            </a:lvl2pPr>
            <a:lvl3pPr marL="977952" indent="0">
              <a:buNone/>
              <a:defRPr sz="1900" b="1"/>
            </a:lvl3pPr>
            <a:lvl4pPr marL="1466926" indent="0">
              <a:buNone/>
              <a:defRPr sz="1700" b="1"/>
            </a:lvl4pPr>
            <a:lvl5pPr marL="1955902" indent="0">
              <a:buNone/>
              <a:defRPr sz="1700" b="1"/>
            </a:lvl5pPr>
            <a:lvl6pPr marL="2444850" indent="0">
              <a:buNone/>
              <a:defRPr sz="1700" b="1"/>
            </a:lvl6pPr>
            <a:lvl7pPr marL="2933783" indent="0">
              <a:buNone/>
              <a:defRPr sz="1700" b="1"/>
            </a:lvl7pPr>
            <a:lvl8pPr marL="3422761" indent="0">
              <a:buNone/>
              <a:defRPr sz="1700" b="1"/>
            </a:lvl8pPr>
            <a:lvl9pPr marL="3911712" indent="0">
              <a:buNone/>
              <a:defRPr sz="17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10" y="2505091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918965"/>
      </p:ext>
    </p:extLst>
  </p:cSld>
  <p:clrMapOvr>
    <a:masterClrMapping/>
  </p:clrMapOvr>
  <p:transition spd="slow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566220"/>
      </p:ext>
    </p:extLst>
  </p:cSld>
  <p:clrMapOvr>
    <a:masterClrMapping/>
  </p:clrMapOvr>
  <p:transition spd="slow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358962"/>
      </p:ext>
    </p:extLst>
  </p:cSld>
  <p:clrMapOvr>
    <a:masterClrMapping/>
  </p:clrMapOvr>
  <p:transition spd="slow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12" y="457360"/>
            <a:ext cx="3932237" cy="1600201"/>
          </a:xfrm>
        </p:spPr>
        <p:txBody>
          <a:bodyPr anchor="b"/>
          <a:lstStyle>
            <a:lvl1pPr>
              <a:defRPr sz="3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588"/>
            <a:ext cx="6172200" cy="4873625"/>
          </a:xfrm>
        </p:spPr>
        <p:txBody>
          <a:bodyPr/>
          <a:lstStyle>
            <a:lvl1pPr>
              <a:defRPr sz="3500"/>
            </a:lvl1pPr>
            <a:lvl2pPr>
              <a:defRPr sz="3100"/>
            </a:lvl2pPr>
            <a:lvl3pPr>
              <a:defRPr sz="27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12" y="2057415"/>
            <a:ext cx="3932237" cy="3811588"/>
          </a:xfrm>
        </p:spPr>
        <p:txBody>
          <a:bodyPr/>
          <a:lstStyle>
            <a:lvl1pPr marL="0" indent="0">
              <a:buNone/>
              <a:defRPr sz="1700"/>
            </a:lvl1pPr>
            <a:lvl2pPr marL="488977" indent="0">
              <a:buNone/>
              <a:defRPr sz="1500"/>
            </a:lvl2pPr>
            <a:lvl3pPr marL="977952" indent="0">
              <a:buNone/>
              <a:defRPr sz="1300"/>
            </a:lvl3pPr>
            <a:lvl4pPr marL="1466926" indent="0">
              <a:buNone/>
              <a:defRPr sz="1100"/>
            </a:lvl4pPr>
            <a:lvl5pPr marL="1955902" indent="0">
              <a:buNone/>
              <a:defRPr sz="1100"/>
            </a:lvl5pPr>
            <a:lvl6pPr marL="2444850" indent="0">
              <a:buNone/>
              <a:defRPr sz="1100"/>
            </a:lvl6pPr>
            <a:lvl7pPr marL="2933783" indent="0">
              <a:buNone/>
              <a:defRPr sz="1100"/>
            </a:lvl7pPr>
            <a:lvl8pPr marL="3422761" indent="0">
              <a:buNone/>
              <a:defRPr sz="1100"/>
            </a:lvl8pPr>
            <a:lvl9pPr marL="3911712" indent="0">
              <a:buNone/>
              <a:defRPr sz="11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326556"/>
      </p:ext>
    </p:extLst>
  </p:cSld>
  <p:clrMapOvr>
    <a:masterClrMapping/>
  </p:clrMapOvr>
  <p:transition spd="slow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12" y="457360"/>
            <a:ext cx="3932237" cy="1600201"/>
          </a:xfrm>
        </p:spPr>
        <p:txBody>
          <a:bodyPr anchor="b"/>
          <a:lstStyle>
            <a:lvl1pPr>
              <a:defRPr sz="3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588"/>
            <a:ext cx="6172200" cy="4873625"/>
          </a:xfrm>
        </p:spPr>
        <p:txBody>
          <a:bodyPr anchor="t"/>
          <a:lstStyle>
            <a:lvl1pPr marL="0" indent="0">
              <a:buNone/>
              <a:defRPr sz="3500"/>
            </a:lvl1pPr>
            <a:lvl2pPr marL="488977" indent="0">
              <a:buNone/>
              <a:defRPr sz="3100"/>
            </a:lvl2pPr>
            <a:lvl3pPr marL="977952" indent="0">
              <a:buNone/>
              <a:defRPr sz="2700"/>
            </a:lvl3pPr>
            <a:lvl4pPr marL="1466926" indent="0">
              <a:buNone/>
              <a:defRPr sz="2100"/>
            </a:lvl4pPr>
            <a:lvl5pPr marL="1955902" indent="0">
              <a:buNone/>
              <a:defRPr sz="2100"/>
            </a:lvl5pPr>
            <a:lvl6pPr marL="2444850" indent="0">
              <a:buNone/>
              <a:defRPr sz="2100"/>
            </a:lvl6pPr>
            <a:lvl7pPr marL="2933783" indent="0">
              <a:buNone/>
              <a:defRPr sz="2100"/>
            </a:lvl7pPr>
            <a:lvl8pPr marL="3422761" indent="0">
              <a:buNone/>
              <a:defRPr sz="2100"/>
            </a:lvl8pPr>
            <a:lvl9pPr marL="3911712" indent="0">
              <a:buNone/>
              <a:defRPr sz="21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12" y="2057415"/>
            <a:ext cx="3932237" cy="3811588"/>
          </a:xfrm>
        </p:spPr>
        <p:txBody>
          <a:bodyPr/>
          <a:lstStyle>
            <a:lvl1pPr marL="0" indent="0">
              <a:buNone/>
              <a:defRPr sz="1700"/>
            </a:lvl1pPr>
            <a:lvl2pPr marL="488977" indent="0">
              <a:buNone/>
              <a:defRPr sz="1500"/>
            </a:lvl2pPr>
            <a:lvl3pPr marL="977952" indent="0">
              <a:buNone/>
              <a:defRPr sz="1300"/>
            </a:lvl3pPr>
            <a:lvl4pPr marL="1466926" indent="0">
              <a:buNone/>
              <a:defRPr sz="1100"/>
            </a:lvl4pPr>
            <a:lvl5pPr marL="1955902" indent="0">
              <a:buNone/>
              <a:defRPr sz="1100"/>
            </a:lvl5pPr>
            <a:lvl6pPr marL="2444850" indent="0">
              <a:buNone/>
              <a:defRPr sz="1100"/>
            </a:lvl6pPr>
            <a:lvl7pPr marL="2933783" indent="0">
              <a:buNone/>
              <a:defRPr sz="1100"/>
            </a:lvl7pPr>
            <a:lvl8pPr marL="3422761" indent="0">
              <a:buNone/>
              <a:defRPr sz="1100"/>
            </a:lvl8pPr>
            <a:lvl9pPr marL="3911712" indent="0">
              <a:buNone/>
              <a:defRPr sz="11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698259"/>
      </p:ext>
    </p:extLst>
  </p:cSld>
  <p:clrMapOvr>
    <a:masterClrMapping/>
  </p:clrMapOvr>
  <p:transition spd="slow"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618810"/>
      </p:ext>
    </p:extLst>
  </p:cSld>
  <p:clrMapOvr>
    <a:masterClrMapping/>
  </p:clrMapOvr>
  <p:transition spd="slow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289"/>
            <a:ext cx="2628900" cy="581183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15" y="365289"/>
            <a:ext cx="7734300" cy="5811839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212397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7D58058-BD14-4845-947D-4A9B79A00D09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2893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6909894"/>
      </p:ext>
    </p:extLst>
  </p:cSld>
  <p:clrMapOvr>
    <a:masterClrMapping/>
  </p:clrMapOvr>
  <p:transition spd="slow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0" y="696688"/>
            <a:ext cx="12192000" cy="58831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351" tIns="65212" rIns="130351" bIns="65212" rtlCol="0" anchor="ctr"/>
          <a:lstStyle/>
          <a:p>
            <a:pPr algn="ctr" defTabSz="977952"/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993048"/>
      </p:ext>
    </p:extLst>
  </p:cSld>
  <p:clrMapOvr>
    <a:masterClrMapping/>
  </p:clrMapOvr>
  <p:transition spd="slow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7683636"/>
      </p:ext>
    </p:extLst>
  </p:cSld>
  <p:clrMapOvr>
    <a:masterClrMapping/>
  </p:clrMapOvr>
  <p:transition spd="slow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96"/>
            <a:ext cx="12192000" cy="6857413"/>
          </a:xfrm>
          <a:prstGeom prst="rect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0">
                <a:srgbClr val="F9F9F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351" tIns="65212" rIns="130351" bIns="65212" numCol="1" spcCol="0" rtlCol="0" fromWordArt="0" anchor="ctr" anchorCtr="0" forceAA="0" compatLnSpc="1">
            <a:noAutofit/>
          </a:bodyPr>
          <a:lstStyle/>
          <a:p>
            <a:pPr algn="ctr" defTabSz="977952"/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433367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2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8ECB469-C949-4E3F-B0CB-0C15DA7B7F92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4649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53776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60026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83456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58624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52385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42257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FEE781B-CD2C-4327-87DE-696C00999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8EA0E45-D252-444A-ACF1-BABF865A51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8DA624A-C8F3-498B-B84A-1CCAAA6FF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7890AAE-35CC-48A7-8EAA-38D437408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3B2ABA0-8D91-4B62-8F8E-9C9E06164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2067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62" t="38355" b="23157"/>
          <a:stretch>
            <a:fillRect/>
          </a:stretch>
        </p:blipFill>
        <p:spPr>
          <a:xfrm>
            <a:off x="-2" y="0"/>
            <a:ext cx="121920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7227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00164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12230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42833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548681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40477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40898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0EDA54-5BDF-4E07-BAA8-B68DF417ECF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0EB6D9-20AB-4FC6-A940-71A30D69C4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832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0EDA54-5BDF-4E07-BAA8-B68DF417ECF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0EB6D9-20AB-4FC6-A940-71A30D69C4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3266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0EDA54-5BDF-4E07-BAA8-B68DF417ECF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0EB6D9-20AB-4FC6-A940-71A30D69C4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0931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5459C3D-4B89-4032-9D89-299F4B19F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B910869-D38E-4FCB-AD1A-5B56142585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D173252A-7543-4DB8-B86A-A443A97B70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0B54F6C-D557-4E79-B4BA-D8B157E27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D1AA2F5-70BA-4DBF-BA1F-CF59C9332D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6026070-4E21-4110-AD91-BF4BA5A8C1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9295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0EDA54-5BDF-4E07-BAA8-B68DF417ECF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0EB6D9-20AB-4FC6-A940-71A30D69C4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6838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0EDA54-5BDF-4E07-BAA8-B68DF417ECF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0EB6D9-20AB-4FC6-A940-71A30D69C4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9568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0EDA54-5BDF-4E07-BAA8-B68DF417ECF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0EB6D9-20AB-4FC6-A940-71A30D69C4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9742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0EDA54-5BDF-4E07-BAA8-B68DF417ECF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0EB6D9-20AB-4FC6-A940-71A30D69C4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5820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0EDA54-5BDF-4E07-BAA8-B68DF417ECF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0EB6D9-20AB-4FC6-A940-71A30D69C4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1752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0EDA54-5BDF-4E07-BAA8-B68DF417ECF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0EB6D9-20AB-4FC6-A940-71A30D69C4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64674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0EDA54-5BDF-4E07-BAA8-B68DF417ECF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0EB6D9-20AB-4FC6-A940-71A30D69C4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9304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0EDA54-5BDF-4E07-BAA8-B68DF417ECFC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0EB6D9-20AB-4FC6-A940-71A30D69C4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908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58594B6-8EB8-935E-CBB7-E97E26E524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4E9898A-AA96-BBAB-1B67-55E141F50A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FD656EF-D43E-A23D-B9C6-9EC6F249FE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71A598B-AD1D-7B65-F8A6-62F4C9846C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C44D412-BB4A-BF09-E73F-8E21E945F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5767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BC774D-8D75-DB47-F10F-B77BDD55E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58A62AC-F87B-B5DC-A783-65EA5A5DF5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123F91E-572B-E5BE-EFE6-51AA39179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DA40E8E-A8F5-36AA-0BAC-3E69D31547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9E3D2D1-FC73-B762-474D-AA1A3AE99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8840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4F0BFDC-4629-4CC3-A05A-990C800923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EDF544E-581B-409E-A74C-48D63F381A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04E90F3A-5438-4149-A014-92871C66EB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D05CBEFB-B7F6-42C5-AA3A-B7D5921BBF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875623D9-3E5B-4149-9E44-70AC97A5DF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BE5C8FF7-84A0-4C3F-A856-51CFF0E9C4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843575C-022C-4131-B7D2-E9984D4F3C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BF9BA33-39B3-4823-96CF-5410B9DE0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2445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ABCEFA1-2E78-EE38-DE03-7561B6AEA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4DFC8D7-3883-D628-7051-9A155FA042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3D866D5-B75A-6793-95AB-6B6642D979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D7B019F-99EF-BE4B-4172-96D27A56D6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0125F0D-726B-C7FC-EB93-1E7EC2267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7350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B274502-4D94-D3B8-D7F5-EBE9D9895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6C6439-1085-B9A4-421A-ECE4B7813C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DA56D64-9BA6-F71F-B187-6C8AF241F4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16F5B15E-5ADA-F033-C316-B8AFDE3F90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1C8B3C8-398E-CAB2-F4E4-354BB4510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5F08701-39D5-1659-DF1E-7439B2E2F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6163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4503172-36CB-7E1B-0E03-7089A04E1B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BE1B5E7-9116-7BE0-84FD-D6D716C501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A9D1565-2B7D-D12F-5406-A59D032FB3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F2C4712-4D4E-2217-1DE8-0C59EA5260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0898B3DD-C400-75FC-E337-438CF9F981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0F8BD85-F074-B2ED-4BA9-3216E8CA11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E55C70B9-274C-1E5F-FA1D-D6EC57C692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7E02BD76-A350-6278-C6F2-50A1FE79B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5374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5028B58-AD3D-F114-3EE9-034CC8F4E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4937313-C76D-4CCF-0D08-240F70172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60FEAE0-559F-5606-418A-3B38EA3B52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62966A33-AF2D-4535-2695-89A53B7A3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5035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76108310-42C6-1535-FCDB-2B2354249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3405C29-706D-94C7-FAB3-F7467C5C6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93200E9-A2AB-F839-7CF0-7E729D7B8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2809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433B4C-0E7D-0927-F727-73CE788A5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EA06A6B-725A-3B5C-211F-9D62C7C816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63A1877-1AFB-88C6-A20A-045F7B4892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041C101-3A78-2C86-5631-68491BE2F3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67060FB-39E5-003E-788D-32BDE377D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D784FF1-C12A-D3E1-C951-05E8DD481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0306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4AADE2F-BC2C-7D60-7CD8-BBD39981A7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3DA3617D-C5ED-DFB5-9BCC-054F24EA3E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9EBD588-4DAB-D0AA-C368-52E43CF542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4FD18AE8-290A-5695-81C7-A393DC5640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074F337-3084-66FD-0D57-777CFD6A0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EB5E384-66E9-B4A9-8C92-9B6494A99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69943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EE04B9F-F8F1-A77A-8857-87255636B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FA14FEC5-B1B5-43CF-7F05-D8B927DB41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EDA6338-A539-C1E1-9B8B-57B5FEF86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B7DF7A8-6DDE-E204-D871-ECE1B4E2F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32841C1-D327-F47E-9604-598B0A9D7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2377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B2A97C80-129C-9A4A-4F8C-4EBEAB6ECC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8A6C1B6B-8F30-C037-6B84-A14FCA2610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8B7AC5A-3009-5685-84B2-0E9DC7AF88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A16690C-8222-5B71-7A82-69877D2C6C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B4D9144-5859-4EBF-84CD-3E5CCE3D2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2367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3"/>
          <p:cNvSpPr/>
          <p:nvPr/>
        </p:nvSpPr>
        <p:spPr>
          <a:xfrm flipH="1">
            <a:off x="7996534" y="3429098"/>
            <a:ext cx="4195460" cy="3374452"/>
          </a:xfrm>
          <a:custGeom>
            <a:avLst/>
            <a:gdLst/>
            <a:ahLst/>
            <a:cxnLst/>
            <a:rect l="l" t="t" r="r" b="b"/>
            <a:pathLst>
              <a:path w="18359" h="10906" extrusionOk="0">
                <a:moveTo>
                  <a:pt x="1" y="0"/>
                </a:moveTo>
                <a:lnTo>
                  <a:pt x="1" y="10906"/>
                </a:lnTo>
                <a:lnTo>
                  <a:pt x="16606" y="10906"/>
                </a:lnTo>
                <a:cubicBezTo>
                  <a:pt x="17306" y="9072"/>
                  <a:pt x="18359" y="5994"/>
                  <a:pt x="18359" y="5994"/>
                </a:cubicBezTo>
                <a:cubicBezTo>
                  <a:pt x="18359" y="5994"/>
                  <a:pt x="16820" y="5994"/>
                  <a:pt x="16240" y="5670"/>
                </a:cubicBezTo>
                <a:cubicBezTo>
                  <a:pt x="15727" y="5377"/>
                  <a:pt x="15413" y="4740"/>
                  <a:pt x="14640" y="4740"/>
                </a:cubicBezTo>
                <a:cubicBezTo>
                  <a:pt x="14557" y="4740"/>
                  <a:pt x="14470" y="4747"/>
                  <a:pt x="14377" y="4763"/>
                </a:cubicBezTo>
                <a:lnTo>
                  <a:pt x="13797" y="5006"/>
                </a:lnTo>
                <a:cubicBezTo>
                  <a:pt x="13797" y="5006"/>
                  <a:pt x="13554" y="4277"/>
                  <a:pt x="12339" y="4196"/>
                </a:cubicBezTo>
                <a:cubicBezTo>
                  <a:pt x="12272" y="4192"/>
                  <a:pt x="12208" y="4191"/>
                  <a:pt x="12146" y="4191"/>
                </a:cubicBezTo>
                <a:cubicBezTo>
                  <a:pt x="11730" y="4191"/>
                  <a:pt x="11411" y="4261"/>
                  <a:pt x="11166" y="4332"/>
                </a:cubicBezTo>
                <a:cubicBezTo>
                  <a:pt x="10937" y="4396"/>
                  <a:pt x="10767" y="4462"/>
                  <a:pt x="10627" y="4462"/>
                </a:cubicBezTo>
                <a:cubicBezTo>
                  <a:pt x="10535" y="4462"/>
                  <a:pt x="10456" y="4434"/>
                  <a:pt x="10382" y="4358"/>
                </a:cubicBezTo>
                <a:cubicBezTo>
                  <a:pt x="10058" y="4034"/>
                  <a:pt x="10058" y="3791"/>
                  <a:pt x="9316" y="3548"/>
                </a:cubicBezTo>
                <a:cubicBezTo>
                  <a:pt x="8587" y="3305"/>
                  <a:pt x="9235" y="3062"/>
                  <a:pt x="8020" y="2725"/>
                </a:cubicBezTo>
                <a:cubicBezTo>
                  <a:pt x="6792" y="2401"/>
                  <a:pt x="7278" y="1834"/>
                  <a:pt x="6144" y="1753"/>
                </a:cubicBezTo>
                <a:cubicBezTo>
                  <a:pt x="4994" y="1672"/>
                  <a:pt x="5156" y="1186"/>
                  <a:pt x="4346" y="1024"/>
                </a:cubicBezTo>
                <a:cubicBezTo>
                  <a:pt x="4259" y="1006"/>
                  <a:pt x="4178" y="998"/>
                  <a:pt x="4100" y="998"/>
                </a:cubicBezTo>
                <a:cubicBezTo>
                  <a:pt x="3826" y="998"/>
                  <a:pt x="3599" y="1095"/>
                  <a:pt x="3390" y="1199"/>
                </a:cubicBezTo>
                <a:cubicBezTo>
                  <a:pt x="3183" y="1297"/>
                  <a:pt x="2992" y="1396"/>
                  <a:pt x="2789" y="1396"/>
                </a:cubicBezTo>
                <a:cubicBezTo>
                  <a:pt x="2712" y="1396"/>
                  <a:pt x="2633" y="1382"/>
                  <a:pt x="2551" y="1348"/>
                </a:cubicBezTo>
                <a:cubicBezTo>
                  <a:pt x="1984" y="1105"/>
                  <a:pt x="1741" y="687"/>
                  <a:pt x="999" y="525"/>
                </a:cubicBezTo>
                <a:cubicBezTo>
                  <a:pt x="568" y="431"/>
                  <a:pt x="202" y="188"/>
                  <a:pt x="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5" name="Google Shape;245;p3"/>
          <p:cNvSpPr/>
          <p:nvPr/>
        </p:nvSpPr>
        <p:spPr>
          <a:xfrm flipH="1">
            <a:off x="34" y="5158676"/>
            <a:ext cx="12191948" cy="1250563"/>
          </a:xfrm>
          <a:custGeom>
            <a:avLst/>
            <a:gdLst/>
            <a:ahLst/>
            <a:cxnLst/>
            <a:rect l="l" t="t" r="r" b="b"/>
            <a:pathLst>
              <a:path w="53351" h="10705" extrusionOk="0">
                <a:moveTo>
                  <a:pt x="1" y="0"/>
                </a:moveTo>
                <a:lnTo>
                  <a:pt x="1" y="10705"/>
                </a:lnTo>
                <a:lnTo>
                  <a:pt x="53351" y="6075"/>
                </a:lnTo>
                <a:lnTo>
                  <a:pt x="53351" y="431"/>
                </a:lnTo>
                <a:cubicBezTo>
                  <a:pt x="50211" y="280"/>
                  <a:pt x="46158" y="14"/>
                  <a:pt x="42519" y="14"/>
                </a:cubicBezTo>
                <a:cubicBezTo>
                  <a:pt x="40918" y="14"/>
                  <a:pt x="39398" y="65"/>
                  <a:pt x="38071" y="201"/>
                </a:cubicBezTo>
                <a:cubicBezTo>
                  <a:pt x="36591" y="351"/>
                  <a:pt x="33181" y="406"/>
                  <a:pt x="28961" y="406"/>
                </a:cubicBezTo>
                <a:cubicBezTo>
                  <a:pt x="18777" y="406"/>
                  <a:pt x="3875" y="85"/>
                  <a:pt x="1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6" name="Google Shape;246;p3"/>
          <p:cNvSpPr/>
          <p:nvPr/>
        </p:nvSpPr>
        <p:spPr>
          <a:xfrm flipH="1">
            <a:off x="8010244" y="4999649"/>
            <a:ext cx="4168037" cy="1872308"/>
          </a:xfrm>
          <a:custGeom>
            <a:avLst/>
            <a:gdLst/>
            <a:ahLst/>
            <a:cxnLst/>
            <a:rect l="l" t="t" r="r" b="b"/>
            <a:pathLst>
              <a:path w="18239" h="8318" extrusionOk="0">
                <a:moveTo>
                  <a:pt x="1" y="1"/>
                </a:moveTo>
                <a:lnTo>
                  <a:pt x="1" y="8318"/>
                </a:lnTo>
                <a:lnTo>
                  <a:pt x="13690" y="5279"/>
                </a:lnTo>
                <a:lnTo>
                  <a:pt x="4469" y="2917"/>
                </a:lnTo>
                <a:cubicBezTo>
                  <a:pt x="4469" y="2917"/>
                  <a:pt x="9883" y="2823"/>
                  <a:pt x="13959" y="2823"/>
                </a:cubicBezTo>
                <a:cubicBezTo>
                  <a:pt x="15997" y="2823"/>
                  <a:pt x="17711" y="2849"/>
                  <a:pt x="18239" y="2917"/>
                </a:cubicBezTo>
                <a:cubicBezTo>
                  <a:pt x="17131" y="2243"/>
                  <a:pt x="14594" y="1582"/>
                  <a:pt x="11704" y="1015"/>
                </a:cubicBezTo>
                <a:cubicBezTo>
                  <a:pt x="6737" y="380"/>
                  <a:pt x="2175" y="11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7" name="Google Shape;247;p3"/>
          <p:cNvSpPr/>
          <p:nvPr/>
        </p:nvSpPr>
        <p:spPr>
          <a:xfrm flipH="1">
            <a:off x="79" y="5315865"/>
            <a:ext cx="7793103" cy="1523553"/>
          </a:xfrm>
          <a:custGeom>
            <a:avLst/>
            <a:gdLst/>
            <a:ahLst/>
            <a:cxnLst/>
            <a:rect l="l" t="t" r="r" b="b"/>
            <a:pathLst>
              <a:path w="34102" h="12070" extrusionOk="0">
                <a:moveTo>
                  <a:pt x="34102" y="0"/>
                </a:moveTo>
                <a:cubicBezTo>
                  <a:pt x="29744" y="107"/>
                  <a:pt x="22224" y="862"/>
                  <a:pt x="15216" y="1889"/>
                </a:cubicBezTo>
                <a:cubicBezTo>
                  <a:pt x="5104" y="3373"/>
                  <a:pt x="1" y="4063"/>
                  <a:pt x="1" y="4063"/>
                </a:cubicBezTo>
                <a:lnTo>
                  <a:pt x="27152" y="12069"/>
                </a:lnTo>
                <a:lnTo>
                  <a:pt x="34102" y="12069"/>
                </a:lnTo>
                <a:lnTo>
                  <a:pt x="3410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8" name="Google Shape;248;p3"/>
          <p:cNvSpPr/>
          <p:nvPr/>
        </p:nvSpPr>
        <p:spPr>
          <a:xfrm flipH="1">
            <a:off x="73" y="5588841"/>
            <a:ext cx="3396543" cy="1250572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9" name="Google Shape;249;p3"/>
          <p:cNvSpPr/>
          <p:nvPr/>
        </p:nvSpPr>
        <p:spPr>
          <a:xfrm flipH="1">
            <a:off x="34" y="5437400"/>
            <a:ext cx="12191948" cy="1401952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0" name="Google Shape;250;p3"/>
          <p:cNvSpPr txBox="1">
            <a:spLocks noGrp="1"/>
          </p:cNvSpPr>
          <p:nvPr>
            <p:ph type="title"/>
          </p:nvPr>
        </p:nvSpPr>
        <p:spPr>
          <a:xfrm>
            <a:off x="1216100" y="3323557"/>
            <a:ext cx="3744000" cy="74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51" name="Google Shape;251;p3"/>
          <p:cNvSpPr txBox="1">
            <a:spLocks noGrp="1"/>
          </p:cNvSpPr>
          <p:nvPr>
            <p:ph type="body" idx="1"/>
          </p:nvPr>
        </p:nvSpPr>
        <p:spPr>
          <a:xfrm>
            <a:off x="1216100" y="4040384"/>
            <a:ext cx="3744000" cy="90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>
                <a:solidFill>
                  <a:schemeClr val="dk1"/>
                </a:solidFill>
              </a:defRPr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9pPr>
          </a:lstStyle>
          <a:p>
            <a:endParaRPr/>
          </a:p>
        </p:txBody>
      </p:sp>
      <p:sp>
        <p:nvSpPr>
          <p:cNvPr id="252" name="Google Shape;252;p3"/>
          <p:cNvSpPr txBox="1">
            <a:spLocks noGrp="1"/>
          </p:cNvSpPr>
          <p:nvPr>
            <p:ph type="title" idx="2" hasCustomPrompt="1"/>
          </p:nvPr>
        </p:nvSpPr>
        <p:spPr>
          <a:xfrm>
            <a:off x="1216100" y="1884843"/>
            <a:ext cx="3744000" cy="9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None/>
              <a:defRPr sz="8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t>xx%</a:t>
            </a:r>
          </a:p>
        </p:txBody>
      </p:sp>
      <p:sp>
        <p:nvSpPr>
          <p:cNvPr id="253" name="Google Shape;253;p3"/>
          <p:cNvSpPr/>
          <p:nvPr/>
        </p:nvSpPr>
        <p:spPr>
          <a:xfrm rot="-10548207">
            <a:off x="-1724279" y="-1467202"/>
            <a:ext cx="6575981" cy="3204220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705948272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2074CE3-02A3-49F8-AC01-ACBC91CBC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C3A52B14-6934-49D3-9FA5-EE7306000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838DE4D-5185-4FCB-90E0-F1513B89F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ECEC6C0D-BBFC-4515-8E59-A2C28A1B1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5293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p4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6" name="Google Shape;256;p4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60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Livvic"/>
              <a:buAutoNum type="arabicPeriod"/>
              <a:defRPr sz="1467">
                <a:latin typeface="Open Sans"/>
                <a:ea typeface="Open Sans"/>
                <a:cs typeface="Open Sans"/>
                <a:sym typeface="Open Sans"/>
              </a:defRPr>
            </a:lvl1pPr>
            <a:lvl2pPr marL="1219170" lvl="1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alphaLcPeriod"/>
              <a:defRPr/>
            </a:lvl2pPr>
            <a:lvl3pPr marL="1828754" lvl="2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romanLcPeriod"/>
              <a:defRPr/>
            </a:lvl3pPr>
            <a:lvl4pPr marL="2438339" lvl="3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arabicPeriod"/>
              <a:defRPr/>
            </a:lvl4pPr>
            <a:lvl5pPr marL="3047924" lvl="4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alphaLcPeriod"/>
              <a:defRPr/>
            </a:lvl5pPr>
            <a:lvl6pPr marL="3657509" lvl="5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romanLcPeriod"/>
              <a:defRPr/>
            </a:lvl6pPr>
            <a:lvl7pPr marL="4267093" lvl="6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arabicPeriod"/>
              <a:defRPr/>
            </a:lvl7pPr>
            <a:lvl8pPr marL="4876678" lvl="7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alphaLcPeriod"/>
              <a:defRPr/>
            </a:lvl8pPr>
            <a:lvl9pPr marL="5486263" lvl="8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romanLcPeriod"/>
              <a:defRPr/>
            </a:lvl9pPr>
          </a:lstStyle>
          <a:p>
            <a:endParaRPr/>
          </a:p>
        </p:txBody>
      </p:sp>
      <p:sp>
        <p:nvSpPr>
          <p:cNvPr id="257" name="Google Shape;257;p4"/>
          <p:cNvSpPr/>
          <p:nvPr/>
        </p:nvSpPr>
        <p:spPr>
          <a:xfrm>
            <a:off x="4812697" y="6068285"/>
            <a:ext cx="7379247" cy="718689"/>
          </a:xfrm>
          <a:custGeom>
            <a:avLst/>
            <a:gdLst/>
            <a:ahLst/>
            <a:cxnLst/>
            <a:rect l="l" t="t" r="r" b="b"/>
            <a:pathLst>
              <a:path w="32291" h="10923" extrusionOk="0">
                <a:moveTo>
                  <a:pt x="32291" y="1"/>
                </a:moveTo>
                <a:cubicBezTo>
                  <a:pt x="31915" y="189"/>
                  <a:pt x="31293" y="432"/>
                  <a:pt x="30509" y="542"/>
                </a:cubicBezTo>
                <a:cubicBezTo>
                  <a:pt x="29229" y="704"/>
                  <a:pt x="28795" y="1109"/>
                  <a:pt x="27797" y="1352"/>
                </a:cubicBezTo>
                <a:cubicBezTo>
                  <a:pt x="27649" y="1387"/>
                  <a:pt x="27508" y="1402"/>
                  <a:pt x="27371" y="1402"/>
                </a:cubicBezTo>
                <a:cubicBezTo>
                  <a:pt x="26657" y="1402"/>
                  <a:pt x="26030" y="1004"/>
                  <a:pt x="25053" y="1004"/>
                </a:cubicBezTo>
                <a:cubicBezTo>
                  <a:pt x="24922" y="1004"/>
                  <a:pt x="24783" y="1012"/>
                  <a:pt x="24638" y="1028"/>
                </a:cubicBezTo>
                <a:cubicBezTo>
                  <a:pt x="23206" y="1190"/>
                  <a:pt x="23491" y="1676"/>
                  <a:pt x="21492" y="1757"/>
                </a:cubicBezTo>
                <a:cubicBezTo>
                  <a:pt x="19480" y="1838"/>
                  <a:pt x="20345" y="2405"/>
                  <a:pt x="18197" y="2742"/>
                </a:cubicBezTo>
                <a:cubicBezTo>
                  <a:pt x="16039" y="3066"/>
                  <a:pt x="17186" y="3309"/>
                  <a:pt x="15903" y="3552"/>
                </a:cubicBezTo>
                <a:cubicBezTo>
                  <a:pt x="14607" y="3795"/>
                  <a:pt x="14607" y="4038"/>
                  <a:pt x="14040" y="4362"/>
                </a:cubicBezTo>
                <a:cubicBezTo>
                  <a:pt x="13909" y="4435"/>
                  <a:pt x="13771" y="4463"/>
                  <a:pt x="13611" y="4463"/>
                </a:cubicBezTo>
                <a:cubicBezTo>
                  <a:pt x="13111" y="4463"/>
                  <a:pt x="12398" y="4192"/>
                  <a:pt x="11017" y="4192"/>
                </a:cubicBezTo>
                <a:cubicBezTo>
                  <a:pt x="10884" y="4192"/>
                  <a:pt x="10745" y="4194"/>
                  <a:pt x="10599" y="4200"/>
                </a:cubicBezTo>
                <a:cubicBezTo>
                  <a:pt x="8451" y="4281"/>
                  <a:pt x="8020" y="5023"/>
                  <a:pt x="8020" y="5023"/>
                </a:cubicBezTo>
                <a:lnTo>
                  <a:pt x="7019" y="4767"/>
                </a:lnTo>
                <a:cubicBezTo>
                  <a:pt x="6852" y="4751"/>
                  <a:pt x="6696" y="4744"/>
                  <a:pt x="6550" y="4744"/>
                </a:cubicBezTo>
                <a:cubicBezTo>
                  <a:pt x="5178" y="4744"/>
                  <a:pt x="4628" y="5378"/>
                  <a:pt x="3727" y="5671"/>
                </a:cubicBezTo>
                <a:cubicBezTo>
                  <a:pt x="2713" y="5995"/>
                  <a:pt x="1" y="5995"/>
                  <a:pt x="1" y="5995"/>
                </a:cubicBezTo>
                <a:cubicBezTo>
                  <a:pt x="1" y="5995"/>
                  <a:pt x="1851" y="9073"/>
                  <a:pt x="3092" y="10923"/>
                </a:cubicBezTo>
                <a:lnTo>
                  <a:pt x="32291" y="10923"/>
                </a:lnTo>
                <a:lnTo>
                  <a:pt x="32291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8" name="Google Shape;258;p4"/>
          <p:cNvSpPr/>
          <p:nvPr/>
        </p:nvSpPr>
        <p:spPr>
          <a:xfrm>
            <a:off x="17" y="6188361"/>
            <a:ext cx="4195460" cy="717571"/>
          </a:xfrm>
          <a:custGeom>
            <a:avLst/>
            <a:gdLst/>
            <a:ahLst/>
            <a:cxnLst/>
            <a:rect l="l" t="t" r="r" b="b"/>
            <a:pathLst>
              <a:path w="18359" h="10906" extrusionOk="0">
                <a:moveTo>
                  <a:pt x="1" y="0"/>
                </a:moveTo>
                <a:lnTo>
                  <a:pt x="1" y="10906"/>
                </a:lnTo>
                <a:lnTo>
                  <a:pt x="16606" y="10906"/>
                </a:lnTo>
                <a:cubicBezTo>
                  <a:pt x="17306" y="9072"/>
                  <a:pt x="18359" y="5994"/>
                  <a:pt x="18359" y="5994"/>
                </a:cubicBezTo>
                <a:cubicBezTo>
                  <a:pt x="18359" y="5994"/>
                  <a:pt x="16820" y="5994"/>
                  <a:pt x="16240" y="5670"/>
                </a:cubicBezTo>
                <a:cubicBezTo>
                  <a:pt x="15727" y="5377"/>
                  <a:pt x="15413" y="4740"/>
                  <a:pt x="14640" y="4740"/>
                </a:cubicBezTo>
                <a:cubicBezTo>
                  <a:pt x="14557" y="4740"/>
                  <a:pt x="14470" y="4747"/>
                  <a:pt x="14377" y="4763"/>
                </a:cubicBezTo>
                <a:lnTo>
                  <a:pt x="13797" y="5006"/>
                </a:lnTo>
                <a:cubicBezTo>
                  <a:pt x="13797" y="5006"/>
                  <a:pt x="13554" y="4277"/>
                  <a:pt x="12339" y="4196"/>
                </a:cubicBezTo>
                <a:cubicBezTo>
                  <a:pt x="12272" y="4192"/>
                  <a:pt x="12208" y="4191"/>
                  <a:pt x="12146" y="4191"/>
                </a:cubicBezTo>
                <a:cubicBezTo>
                  <a:pt x="11730" y="4191"/>
                  <a:pt x="11411" y="4261"/>
                  <a:pt x="11166" y="4332"/>
                </a:cubicBezTo>
                <a:cubicBezTo>
                  <a:pt x="10937" y="4396"/>
                  <a:pt x="10767" y="4462"/>
                  <a:pt x="10627" y="4462"/>
                </a:cubicBezTo>
                <a:cubicBezTo>
                  <a:pt x="10535" y="4462"/>
                  <a:pt x="10456" y="4434"/>
                  <a:pt x="10382" y="4358"/>
                </a:cubicBezTo>
                <a:cubicBezTo>
                  <a:pt x="10058" y="4034"/>
                  <a:pt x="10058" y="3791"/>
                  <a:pt x="9316" y="3548"/>
                </a:cubicBezTo>
                <a:cubicBezTo>
                  <a:pt x="8587" y="3305"/>
                  <a:pt x="9235" y="3062"/>
                  <a:pt x="8020" y="2725"/>
                </a:cubicBezTo>
                <a:cubicBezTo>
                  <a:pt x="6792" y="2401"/>
                  <a:pt x="7278" y="1834"/>
                  <a:pt x="6144" y="1753"/>
                </a:cubicBezTo>
                <a:cubicBezTo>
                  <a:pt x="4994" y="1672"/>
                  <a:pt x="5156" y="1186"/>
                  <a:pt x="4346" y="1024"/>
                </a:cubicBezTo>
                <a:cubicBezTo>
                  <a:pt x="4259" y="1006"/>
                  <a:pt x="4178" y="998"/>
                  <a:pt x="4100" y="998"/>
                </a:cubicBezTo>
                <a:cubicBezTo>
                  <a:pt x="3826" y="998"/>
                  <a:pt x="3599" y="1095"/>
                  <a:pt x="3390" y="1199"/>
                </a:cubicBezTo>
                <a:cubicBezTo>
                  <a:pt x="3183" y="1297"/>
                  <a:pt x="2992" y="1396"/>
                  <a:pt x="2789" y="1396"/>
                </a:cubicBezTo>
                <a:cubicBezTo>
                  <a:pt x="2712" y="1396"/>
                  <a:pt x="2633" y="1382"/>
                  <a:pt x="2551" y="1348"/>
                </a:cubicBezTo>
                <a:cubicBezTo>
                  <a:pt x="1984" y="1105"/>
                  <a:pt x="1741" y="687"/>
                  <a:pt x="999" y="525"/>
                </a:cubicBezTo>
                <a:cubicBezTo>
                  <a:pt x="568" y="431"/>
                  <a:pt x="202" y="188"/>
                  <a:pt x="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9" name="Google Shape;259;p4"/>
          <p:cNvSpPr/>
          <p:nvPr/>
        </p:nvSpPr>
        <p:spPr>
          <a:xfrm>
            <a:off x="17" y="6420221"/>
            <a:ext cx="12191948" cy="450191"/>
          </a:xfrm>
          <a:custGeom>
            <a:avLst/>
            <a:gdLst/>
            <a:ahLst/>
            <a:cxnLst/>
            <a:rect l="l" t="t" r="r" b="b"/>
            <a:pathLst>
              <a:path w="53351" h="10705" extrusionOk="0">
                <a:moveTo>
                  <a:pt x="1" y="0"/>
                </a:moveTo>
                <a:lnTo>
                  <a:pt x="1" y="10705"/>
                </a:lnTo>
                <a:lnTo>
                  <a:pt x="53351" y="6075"/>
                </a:lnTo>
                <a:lnTo>
                  <a:pt x="53351" y="431"/>
                </a:lnTo>
                <a:cubicBezTo>
                  <a:pt x="50211" y="280"/>
                  <a:pt x="46158" y="14"/>
                  <a:pt x="42519" y="14"/>
                </a:cubicBezTo>
                <a:cubicBezTo>
                  <a:pt x="40918" y="14"/>
                  <a:pt x="39398" y="65"/>
                  <a:pt x="38071" y="201"/>
                </a:cubicBezTo>
                <a:cubicBezTo>
                  <a:pt x="36591" y="351"/>
                  <a:pt x="33181" y="406"/>
                  <a:pt x="28961" y="406"/>
                </a:cubicBezTo>
                <a:cubicBezTo>
                  <a:pt x="18777" y="406"/>
                  <a:pt x="3875" y="85"/>
                  <a:pt x="1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0" name="Google Shape;260;p4"/>
          <p:cNvSpPr/>
          <p:nvPr/>
        </p:nvSpPr>
        <p:spPr>
          <a:xfrm>
            <a:off x="17" y="6415552"/>
            <a:ext cx="9464980" cy="429248"/>
          </a:xfrm>
          <a:custGeom>
            <a:avLst/>
            <a:gdLst/>
            <a:ahLst/>
            <a:cxnLst/>
            <a:rect l="l" t="t" r="r" b="b"/>
            <a:pathLst>
              <a:path w="41418" h="10207" extrusionOk="0">
                <a:moveTo>
                  <a:pt x="1" y="1"/>
                </a:moveTo>
                <a:lnTo>
                  <a:pt x="1" y="10207"/>
                </a:lnTo>
                <a:lnTo>
                  <a:pt x="22383" y="10207"/>
                </a:lnTo>
                <a:cubicBezTo>
                  <a:pt x="22383" y="10207"/>
                  <a:pt x="36882" y="5658"/>
                  <a:pt x="41418" y="2703"/>
                </a:cubicBezTo>
                <a:cubicBezTo>
                  <a:pt x="30227" y="691"/>
                  <a:pt x="7006" y="124"/>
                  <a:pt x="1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1" name="Google Shape;261;p4"/>
          <p:cNvSpPr/>
          <p:nvPr/>
        </p:nvSpPr>
        <p:spPr>
          <a:xfrm>
            <a:off x="16" y="6415553"/>
            <a:ext cx="4168037" cy="349807"/>
          </a:xfrm>
          <a:custGeom>
            <a:avLst/>
            <a:gdLst/>
            <a:ahLst/>
            <a:cxnLst/>
            <a:rect l="l" t="t" r="r" b="b"/>
            <a:pathLst>
              <a:path w="18239" h="8318" extrusionOk="0">
                <a:moveTo>
                  <a:pt x="1" y="1"/>
                </a:moveTo>
                <a:lnTo>
                  <a:pt x="1" y="8318"/>
                </a:lnTo>
                <a:lnTo>
                  <a:pt x="13690" y="5279"/>
                </a:lnTo>
                <a:lnTo>
                  <a:pt x="4469" y="2917"/>
                </a:lnTo>
                <a:cubicBezTo>
                  <a:pt x="4469" y="2917"/>
                  <a:pt x="9883" y="2823"/>
                  <a:pt x="13959" y="2823"/>
                </a:cubicBezTo>
                <a:cubicBezTo>
                  <a:pt x="15997" y="2823"/>
                  <a:pt x="17711" y="2849"/>
                  <a:pt x="18239" y="2917"/>
                </a:cubicBezTo>
                <a:cubicBezTo>
                  <a:pt x="17131" y="2243"/>
                  <a:pt x="14594" y="1582"/>
                  <a:pt x="11704" y="1015"/>
                </a:cubicBezTo>
                <a:cubicBezTo>
                  <a:pt x="6737" y="380"/>
                  <a:pt x="2175" y="11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2" name="Google Shape;262;p4"/>
          <p:cNvSpPr/>
          <p:nvPr/>
        </p:nvSpPr>
        <p:spPr>
          <a:xfrm>
            <a:off x="16" y="6496464"/>
            <a:ext cx="8835627" cy="348336"/>
          </a:xfrm>
          <a:custGeom>
            <a:avLst/>
            <a:gdLst/>
            <a:ahLst/>
            <a:cxnLst/>
            <a:rect l="l" t="t" r="r" b="b"/>
            <a:pathLst>
              <a:path w="38664" h="8283" extrusionOk="0">
                <a:moveTo>
                  <a:pt x="12036" y="1"/>
                </a:moveTo>
                <a:cubicBezTo>
                  <a:pt x="7298" y="1"/>
                  <a:pt x="3031" y="77"/>
                  <a:pt x="1" y="157"/>
                </a:cubicBezTo>
                <a:lnTo>
                  <a:pt x="1" y="8283"/>
                </a:lnTo>
                <a:lnTo>
                  <a:pt x="1715" y="8283"/>
                </a:lnTo>
                <a:cubicBezTo>
                  <a:pt x="11678" y="6177"/>
                  <a:pt x="26974" y="3141"/>
                  <a:pt x="36963" y="2208"/>
                </a:cubicBezTo>
                <a:cubicBezTo>
                  <a:pt x="37585" y="1897"/>
                  <a:pt x="38165" y="1589"/>
                  <a:pt x="38664" y="1291"/>
                </a:cubicBezTo>
                <a:cubicBezTo>
                  <a:pt x="31493" y="270"/>
                  <a:pt x="20933" y="1"/>
                  <a:pt x="1203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3" name="Google Shape;263;p4"/>
          <p:cNvSpPr/>
          <p:nvPr/>
        </p:nvSpPr>
        <p:spPr>
          <a:xfrm>
            <a:off x="4398846" y="6454284"/>
            <a:ext cx="7793103" cy="507595"/>
          </a:xfrm>
          <a:custGeom>
            <a:avLst/>
            <a:gdLst/>
            <a:ahLst/>
            <a:cxnLst/>
            <a:rect l="l" t="t" r="r" b="b"/>
            <a:pathLst>
              <a:path w="34102" h="12070" extrusionOk="0">
                <a:moveTo>
                  <a:pt x="34102" y="0"/>
                </a:moveTo>
                <a:cubicBezTo>
                  <a:pt x="29744" y="107"/>
                  <a:pt x="22224" y="862"/>
                  <a:pt x="15216" y="1889"/>
                </a:cubicBezTo>
                <a:cubicBezTo>
                  <a:pt x="5104" y="3373"/>
                  <a:pt x="1" y="4063"/>
                  <a:pt x="1" y="4063"/>
                </a:cubicBezTo>
                <a:lnTo>
                  <a:pt x="27152" y="12069"/>
                </a:lnTo>
                <a:lnTo>
                  <a:pt x="34102" y="12069"/>
                </a:lnTo>
                <a:lnTo>
                  <a:pt x="3410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4" name="Google Shape;264;p4"/>
          <p:cNvSpPr/>
          <p:nvPr/>
        </p:nvSpPr>
        <p:spPr>
          <a:xfrm>
            <a:off x="6444969" y="6596634"/>
            <a:ext cx="5746977" cy="365233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5" name="Google Shape;265;p4"/>
          <p:cNvSpPr/>
          <p:nvPr/>
        </p:nvSpPr>
        <p:spPr>
          <a:xfrm>
            <a:off x="17" y="6519510"/>
            <a:ext cx="12191948" cy="442369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945927233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5"/>
          <p:cNvSpPr/>
          <p:nvPr/>
        </p:nvSpPr>
        <p:spPr>
          <a:xfrm>
            <a:off x="-1574334" y="719334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8" name="Google Shape;268;p5"/>
          <p:cNvSpPr/>
          <p:nvPr/>
        </p:nvSpPr>
        <p:spPr>
          <a:xfrm>
            <a:off x="-412167" y="1543974"/>
            <a:ext cx="2945241" cy="1889959"/>
          </a:xfrm>
          <a:custGeom>
            <a:avLst/>
            <a:gdLst/>
            <a:ahLst/>
            <a:cxnLst/>
            <a:rect l="l" t="t" r="r" b="b"/>
            <a:pathLst>
              <a:path w="9746" h="6254" extrusionOk="0">
                <a:moveTo>
                  <a:pt x="0" y="1"/>
                </a:moveTo>
                <a:lnTo>
                  <a:pt x="0" y="6092"/>
                </a:lnTo>
                <a:cubicBezTo>
                  <a:pt x="39" y="6131"/>
                  <a:pt x="94" y="6157"/>
                  <a:pt x="162" y="6186"/>
                </a:cubicBezTo>
                <a:cubicBezTo>
                  <a:pt x="282" y="6238"/>
                  <a:pt x="405" y="6254"/>
                  <a:pt x="541" y="6254"/>
                </a:cubicBezTo>
                <a:cubicBezTo>
                  <a:pt x="849" y="6254"/>
                  <a:pt x="1160" y="6092"/>
                  <a:pt x="1335" y="5833"/>
                </a:cubicBezTo>
                <a:cubicBezTo>
                  <a:pt x="1371" y="6021"/>
                  <a:pt x="1570" y="6139"/>
                  <a:pt x="1763" y="6139"/>
                </a:cubicBezTo>
                <a:cubicBezTo>
                  <a:pt x="1792" y="6139"/>
                  <a:pt x="1822" y="6136"/>
                  <a:pt x="1850" y="6131"/>
                </a:cubicBezTo>
                <a:cubicBezTo>
                  <a:pt x="2064" y="6076"/>
                  <a:pt x="2242" y="5930"/>
                  <a:pt x="2388" y="5781"/>
                </a:cubicBezTo>
                <a:cubicBezTo>
                  <a:pt x="2709" y="6054"/>
                  <a:pt x="3132" y="6222"/>
                  <a:pt x="3560" y="6222"/>
                </a:cubicBezTo>
                <a:cubicBezTo>
                  <a:pt x="3619" y="6222"/>
                  <a:pt x="3679" y="6219"/>
                  <a:pt x="3739" y="6212"/>
                </a:cubicBezTo>
                <a:cubicBezTo>
                  <a:pt x="4225" y="6173"/>
                  <a:pt x="4685" y="5930"/>
                  <a:pt x="4980" y="5551"/>
                </a:cubicBezTo>
                <a:cubicBezTo>
                  <a:pt x="5085" y="5759"/>
                  <a:pt x="5328" y="5857"/>
                  <a:pt x="5556" y="5857"/>
                </a:cubicBezTo>
                <a:cubicBezTo>
                  <a:pt x="5595" y="5857"/>
                  <a:pt x="5633" y="5855"/>
                  <a:pt x="5670" y="5849"/>
                </a:cubicBezTo>
                <a:cubicBezTo>
                  <a:pt x="5939" y="5807"/>
                  <a:pt x="6169" y="5658"/>
                  <a:pt x="6399" y="5509"/>
                </a:cubicBezTo>
                <a:cubicBezTo>
                  <a:pt x="6464" y="5683"/>
                  <a:pt x="6653" y="5781"/>
                  <a:pt x="6838" y="5781"/>
                </a:cubicBezTo>
                <a:cubicBezTo>
                  <a:pt x="6955" y="5781"/>
                  <a:pt x="7071" y="5742"/>
                  <a:pt x="7154" y="5658"/>
                </a:cubicBezTo>
                <a:cubicBezTo>
                  <a:pt x="7291" y="5764"/>
                  <a:pt x="7465" y="5815"/>
                  <a:pt x="7640" y="5815"/>
                </a:cubicBezTo>
                <a:cubicBezTo>
                  <a:pt x="7844" y="5815"/>
                  <a:pt x="8049" y="5744"/>
                  <a:pt x="8194" y="5606"/>
                </a:cubicBezTo>
                <a:cubicBezTo>
                  <a:pt x="8274" y="5684"/>
                  <a:pt x="8385" y="5725"/>
                  <a:pt x="8496" y="5725"/>
                </a:cubicBezTo>
                <a:cubicBezTo>
                  <a:pt x="8591" y="5725"/>
                  <a:pt x="8686" y="5695"/>
                  <a:pt x="8761" y="5632"/>
                </a:cubicBezTo>
                <a:cubicBezTo>
                  <a:pt x="8798" y="5704"/>
                  <a:pt x="8883" y="5727"/>
                  <a:pt x="8971" y="5727"/>
                </a:cubicBezTo>
                <a:cubicBezTo>
                  <a:pt x="9014" y="5727"/>
                  <a:pt x="9058" y="5721"/>
                  <a:pt x="9098" y="5713"/>
                </a:cubicBezTo>
                <a:cubicBezTo>
                  <a:pt x="9260" y="5700"/>
                  <a:pt x="9435" y="5671"/>
                  <a:pt x="9597" y="5645"/>
                </a:cubicBezTo>
                <a:cubicBezTo>
                  <a:pt x="9626" y="5645"/>
                  <a:pt x="9652" y="5632"/>
                  <a:pt x="9678" y="5619"/>
                </a:cubicBezTo>
                <a:cubicBezTo>
                  <a:pt x="9746" y="5551"/>
                  <a:pt x="9626" y="5457"/>
                  <a:pt x="9532" y="5457"/>
                </a:cubicBezTo>
                <a:cubicBezTo>
                  <a:pt x="9435" y="5457"/>
                  <a:pt x="9328" y="5483"/>
                  <a:pt x="9247" y="5538"/>
                </a:cubicBezTo>
                <a:cubicBezTo>
                  <a:pt x="9227" y="5452"/>
                  <a:pt x="9148" y="5402"/>
                  <a:pt x="9070" y="5402"/>
                </a:cubicBezTo>
                <a:cubicBezTo>
                  <a:pt x="9047" y="5402"/>
                  <a:pt x="9025" y="5406"/>
                  <a:pt x="9004" y="5415"/>
                </a:cubicBezTo>
                <a:cubicBezTo>
                  <a:pt x="8978" y="5444"/>
                  <a:pt x="8949" y="5457"/>
                  <a:pt x="8923" y="5470"/>
                </a:cubicBezTo>
                <a:cubicBezTo>
                  <a:pt x="8916" y="5471"/>
                  <a:pt x="8910" y="5472"/>
                  <a:pt x="8903" y="5472"/>
                </a:cubicBezTo>
                <a:cubicBezTo>
                  <a:pt x="8833" y="5472"/>
                  <a:pt x="8783" y="5410"/>
                  <a:pt x="8735" y="5363"/>
                </a:cubicBezTo>
                <a:cubicBezTo>
                  <a:pt x="8599" y="5201"/>
                  <a:pt x="8437" y="5065"/>
                  <a:pt x="8236" y="5010"/>
                </a:cubicBezTo>
                <a:cubicBezTo>
                  <a:pt x="8180" y="4996"/>
                  <a:pt x="8123" y="4988"/>
                  <a:pt x="8066" y="4988"/>
                </a:cubicBezTo>
                <a:cubicBezTo>
                  <a:pt x="7913" y="4988"/>
                  <a:pt x="7761" y="5041"/>
                  <a:pt x="7653" y="5159"/>
                </a:cubicBezTo>
                <a:cubicBezTo>
                  <a:pt x="7721" y="5078"/>
                  <a:pt x="7303" y="4848"/>
                  <a:pt x="7248" y="4835"/>
                </a:cubicBezTo>
                <a:cubicBezTo>
                  <a:pt x="7178" y="4810"/>
                  <a:pt x="7108" y="4795"/>
                  <a:pt x="7040" y="4795"/>
                </a:cubicBezTo>
                <a:cubicBezTo>
                  <a:pt x="6927" y="4795"/>
                  <a:pt x="6821" y="4835"/>
                  <a:pt x="6736" y="4929"/>
                </a:cubicBezTo>
                <a:cubicBezTo>
                  <a:pt x="6655" y="4537"/>
                  <a:pt x="6344" y="4200"/>
                  <a:pt x="5952" y="4106"/>
                </a:cubicBezTo>
                <a:cubicBezTo>
                  <a:pt x="5874" y="4087"/>
                  <a:pt x="5794" y="4078"/>
                  <a:pt x="5714" y="4078"/>
                </a:cubicBezTo>
                <a:cubicBezTo>
                  <a:pt x="5392" y="4078"/>
                  <a:pt x="5067" y="4223"/>
                  <a:pt x="4873" y="4472"/>
                </a:cubicBezTo>
                <a:cubicBezTo>
                  <a:pt x="4873" y="4275"/>
                  <a:pt x="4674" y="4135"/>
                  <a:pt x="4483" y="4135"/>
                </a:cubicBezTo>
                <a:cubicBezTo>
                  <a:pt x="4410" y="4135"/>
                  <a:pt x="4339" y="4155"/>
                  <a:pt x="4280" y="4200"/>
                </a:cubicBezTo>
                <a:cubicBezTo>
                  <a:pt x="4307" y="3976"/>
                  <a:pt x="4076" y="3810"/>
                  <a:pt x="3865" y="3810"/>
                </a:cubicBezTo>
                <a:cubicBezTo>
                  <a:pt x="3771" y="3810"/>
                  <a:pt x="3681" y="3843"/>
                  <a:pt x="3619" y="3918"/>
                </a:cubicBezTo>
                <a:cubicBezTo>
                  <a:pt x="3765" y="3458"/>
                  <a:pt x="3551" y="2904"/>
                  <a:pt x="3133" y="2690"/>
                </a:cubicBezTo>
                <a:cubicBezTo>
                  <a:pt x="2993" y="2620"/>
                  <a:pt x="2838" y="2587"/>
                  <a:pt x="2683" y="2587"/>
                </a:cubicBezTo>
                <a:cubicBezTo>
                  <a:pt x="2358" y="2587"/>
                  <a:pt x="2032" y="2734"/>
                  <a:pt x="1850" y="2998"/>
                </a:cubicBezTo>
                <a:cubicBezTo>
                  <a:pt x="1837" y="2674"/>
                  <a:pt x="1837" y="2337"/>
                  <a:pt x="1675" y="2055"/>
                </a:cubicBezTo>
                <a:cubicBezTo>
                  <a:pt x="1540" y="1839"/>
                  <a:pt x="1299" y="1679"/>
                  <a:pt x="1060" y="1679"/>
                </a:cubicBezTo>
                <a:cubicBezTo>
                  <a:pt x="984" y="1679"/>
                  <a:pt x="908" y="1695"/>
                  <a:pt x="836" y="1731"/>
                </a:cubicBezTo>
                <a:cubicBezTo>
                  <a:pt x="983" y="1498"/>
                  <a:pt x="753" y="1153"/>
                  <a:pt x="486" y="1153"/>
                </a:cubicBezTo>
                <a:cubicBezTo>
                  <a:pt x="459" y="1153"/>
                  <a:pt x="432" y="1157"/>
                  <a:pt x="405" y="1164"/>
                </a:cubicBezTo>
                <a:cubicBezTo>
                  <a:pt x="593" y="1109"/>
                  <a:pt x="486" y="584"/>
                  <a:pt x="431" y="474"/>
                </a:cubicBezTo>
                <a:cubicBezTo>
                  <a:pt x="350" y="260"/>
                  <a:pt x="188" y="98"/>
                  <a:pt x="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9" name="Google Shape;269;p5"/>
          <p:cNvSpPr/>
          <p:nvPr/>
        </p:nvSpPr>
        <p:spPr>
          <a:xfrm>
            <a:off x="8579326" y="3868752"/>
            <a:ext cx="4035276" cy="1851277"/>
          </a:xfrm>
          <a:custGeom>
            <a:avLst/>
            <a:gdLst/>
            <a:ahLst/>
            <a:cxnLst/>
            <a:rect l="l" t="t" r="r" b="b"/>
            <a:pathLst>
              <a:path w="13353" h="6126" extrusionOk="0">
                <a:moveTo>
                  <a:pt x="13095" y="1"/>
                </a:moveTo>
                <a:cubicBezTo>
                  <a:pt x="13024" y="1"/>
                  <a:pt x="12953" y="8"/>
                  <a:pt x="12880" y="21"/>
                </a:cubicBezTo>
                <a:cubicBezTo>
                  <a:pt x="12313" y="102"/>
                  <a:pt x="11921" y="588"/>
                  <a:pt x="11840" y="1139"/>
                </a:cubicBezTo>
                <a:cubicBezTo>
                  <a:pt x="11652" y="925"/>
                  <a:pt x="11302" y="750"/>
                  <a:pt x="11017" y="750"/>
                </a:cubicBezTo>
                <a:cubicBezTo>
                  <a:pt x="11003" y="749"/>
                  <a:pt x="10989" y="748"/>
                  <a:pt x="10975" y="748"/>
                </a:cubicBezTo>
                <a:cubicBezTo>
                  <a:pt x="10799" y="748"/>
                  <a:pt x="10615" y="841"/>
                  <a:pt x="10492" y="964"/>
                </a:cubicBezTo>
                <a:cubicBezTo>
                  <a:pt x="10343" y="1113"/>
                  <a:pt x="10275" y="1317"/>
                  <a:pt x="10288" y="1518"/>
                </a:cubicBezTo>
                <a:cubicBezTo>
                  <a:pt x="10211" y="1506"/>
                  <a:pt x="10129" y="1493"/>
                  <a:pt x="10048" y="1493"/>
                </a:cubicBezTo>
                <a:cubicBezTo>
                  <a:pt x="9957" y="1493"/>
                  <a:pt x="9868" y="1509"/>
                  <a:pt x="9789" y="1560"/>
                </a:cubicBezTo>
                <a:cubicBezTo>
                  <a:pt x="9666" y="1654"/>
                  <a:pt x="9614" y="1816"/>
                  <a:pt x="9666" y="1965"/>
                </a:cubicBezTo>
                <a:cubicBezTo>
                  <a:pt x="9465" y="1774"/>
                  <a:pt x="9180" y="1654"/>
                  <a:pt x="8911" y="1654"/>
                </a:cubicBezTo>
                <a:cubicBezTo>
                  <a:pt x="8629" y="1654"/>
                  <a:pt x="8344" y="1803"/>
                  <a:pt x="8195" y="2030"/>
                </a:cubicBezTo>
                <a:cubicBezTo>
                  <a:pt x="8114" y="2153"/>
                  <a:pt x="8075" y="2302"/>
                  <a:pt x="8033" y="2451"/>
                </a:cubicBezTo>
                <a:cubicBezTo>
                  <a:pt x="7981" y="2678"/>
                  <a:pt x="8020" y="2882"/>
                  <a:pt x="8007" y="3112"/>
                </a:cubicBezTo>
                <a:cubicBezTo>
                  <a:pt x="7888" y="3061"/>
                  <a:pt x="7763" y="3015"/>
                  <a:pt x="7636" y="3015"/>
                </a:cubicBezTo>
                <a:cubicBezTo>
                  <a:pt x="7562" y="3015"/>
                  <a:pt x="7488" y="3030"/>
                  <a:pt x="7414" y="3070"/>
                </a:cubicBezTo>
                <a:cubicBezTo>
                  <a:pt x="7210" y="3164"/>
                  <a:pt x="7090" y="3368"/>
                  <a:pt x="7074" y="3585"/>
                </a:cubicBezTo>
                <a:cubicBezTo>
                  <a:pt x="6891" y="3395"/>
                  <a:pt x="6691" y="3317"/>
                  <a:pt x="6491" y="3317"/>
                </a:cubicBezTo>
                <a:cubicBezTo>
                  <a:pt x="5877" y="3317"/>
                  <a:pt x="5255" y="4053"/>
                  <a:pt x="5091" y="4583"/>
                </a:cubicBezTo>
                <a:cubicBezTo>
                  <a:pt x="4916" y="4366"/>
                  <a:pt x="4699" y="4152"/>
                  <a:pt x="4417" y="4110"/>
                </a:cubicBezTo>
                <a:cubicBezTo>
                  <a:pt x="4396" y="4107"/>
                  <a:pt x="4374" y="4106"/>
                  <a:pt x="4352" y="4106"/>
                </a:cubicBezTo>
                <a:cubicBezTo>
                  <a:pt x="4085" y="4106"/>
                  <a:pt x="3813" y="4319"/>
                  <a:pt x="3876" y="4583"/>
                </a:cubicBezTo>
                <a:cubicBezTo>
                  <a:pt x="3687" y="4484"/>
                  <a:pt x="3490" y="4393"/>
                  <a:pt x="3289" y="4393"/>
                </a:cubicBezTo>
                <a:cubicBezTo>
                  <a:pt x="3273" y="4393"/>
                  <a:pt x="3257" y="4394"/>
                  <a:pt x="3241" y="4395"/>
                </a:cubicBezTo>
                <a:cubicBezTo>
                  <a:pt x="2972" y="4421"/>
                  <a:pt x="2849" y="4609"/>
                  <a:pt x="2755" y="4826"/>
                </a:cubicBezTo>
                <a:cubicBezTo>
                  <a:pt x="2679" y="4710"/>
                  <a:pt x="2540" y="4643"/>
                  <a:pt x="2403" y="4643"/>
                </a:cubicBezTo>
                <a:cubicBezTo>
                  <a:pt x="2348" y="4643"/>
                  <a:pt x="2293" y="4654"/>
                  <a:pt x="2243" y="4677"/>
                </a:cubicBezTo>
                <a:cubicBezTo>
                  <a:pt x="2052" y="4745"/>
                  <a:pt x="1932" y="4933"/>
                  <a:pt x="1919" y="5137"/>
                </a:cubicBezTo>
                <a:cubicBezTo>
                  <a:pt x="1878" y="5027"/>
                  <a:pt x="1766" y="4961"/>
                  <a:pt x="1650" y="4961"/>
                </a:cubicBezTo>
                <a:cubicBezTo>
                  <a:pt x="1608" y="4961"/>
                  <a:pt x="1566" y="4970"/>
                  <a:pt x="1527" y="4988"/>
                </a:cubicBezTo>
                <a:cubicBezTo>
                  <a:pt x="1378" y="5043"/>
                  <a:pt x="1297" y="5189"/>
                  <a:pt x="1271" y="5351"/>
                </a:cubicBezTo>
                <a:cubicBezTo>
                  <a:pt x="1189" y="5294"/>
                  <a:pt x="1103" y="5258"/>
                  <a:pt x="1015" y="5258"/>
                </a:cubicBezTo>
                <a:cubicBezTo>
                  <a:pt x="956" y="5258"/>
                  <a:pt x="897" y="5274"/>
                  <a:pt x="837" y="5312"/>
                </a:cubicBezTo>
                <a:cubicBezTo>
                  <a:pt x="798" y="5351"/>
                  <a:pt x="743" y="5406"/>
                  <a:pt x="691" y="5432"/>
                </a:cubicBezTo>
                <a:cubicBezTo>
                  <a:pt x="623" y="5461"/>
                  <a:pt x="542" y="5461"/>
                  <a:pt x="474" y="5461"/>
                </a:cubicBezTo>
                <a:lnTo>
                  <a:pt x="43" y="5461"/>
                </a:lnTo>
                <a:cubicBezTo>
                  <a:pt x="1" y="5513"/>
                  <a:pt x="69" y="5581"/>
                  <a:pt x="137" y="5610"/>
                </a:cubicBezTo>
                <a:cubicBezTo>
                  <a:pt x="284" y="5676"/>
                  <a:pt x="459" y="5710"/>
                  <a:pt x="636" y="5710"/>
                </a:cubicBezTo>
                <a:cubicBezTo>
                  <a:pt x="813" y="5710"/>
                  <a:pt x="992" y="5676"/>
                  <a:pt x="1148" y="5610"/>
                </a:cubicBezTo>
                <a:cubicBezTo>
                  <a:pt x="1221" y="5677"/>
                  <a:pt x="1320" y="5708"/>
                  <a:pt x="1422" y="5708"/>
                </a:cubicBezTo>
                <a:cubicBezTo>
                  <a:pt x="1588" y="5708"/>
                  <a:pt x="1762" y="5625"/>
                  <a:pt x="1838" y="5474"/>
                </a:cubicBezTo>
                <a:cubicBezTo>
                  <a:pt x="1917" y="5516"/>
                  <a:pt x="2010" y="5537"/>
                  <a:pt x="2104" y="5537"/>
                </a:cubicBezTo>
                <a:cubicBezTo>
                  <a:pt x="2219" y="5537"/>
                  <a:pt x="2335" y="5507"/>
                  <a:pt x="2431" y="5448"/>
                </a:cubicBezTo>
                <a:cubicBezTo>
                  <a:pt x="2623" y="5738"/>
                  <a:pt x="2969" y="5948"/>
                  <a:pt x="3307" y="5948"/>
                </a:cubicBezTo>
                <a:cubicBezTo>
                  <a:pt x="3517" y="5948"/>
                  <a:pt x="3724" y="5867"/>
                  <a:pt x="3889" y="5675"/>
                </a:cubicBezTo>
                <a:cubicBezTo>
                  <a:pt x="3955" y="5950"/>
                  <a:pt x="4250" y="6126"/>
                  <a:pt x="4540" y="6126"/>
                </a:cubicBezTo>
                <a:cubicBezTo>
                  <a:pt x="4608" y="6126"/>
                  <a:pt x="4676" y="6116"/>
                  <a:pt x="4741" y="6096"/>
                </a:cubicBezTo>
                <a:cubicBezTo>
                  <a:pt x="5078" y="5999"/>
                  <a:pt x="5308" y="5662"/>
                  <a:pt x="5373" y="5325"/>
                </a:cubicBezTo>
                <a:lnTo>
                  <a:pt x="5373" y="5325"/>
                </a:lnTo>
                <a:cubicBezTo>
                  <a:pt x="5334" y="5529"/>
                  <a:pt x="6037" y="5756"/>
                  <a:pt x="6157" y="5785"/>
                </a:cubicBezTo>
                <a:cubicBezTo>
                  <a:pt x="6211" y="5792"/>
                  <a:pt x="6262" y="5796"/>
                  <a:pt x="6313" y="5796"/>
                </a:cubicBezTo>
                <a:cubicBezTo>
                  <a:pt x="6617" y="5796"/>
                  <a:pt x="6866" y="5672"/>
                  <a:pt x="7155" y="5555"/>
                </a:cubicBezTo>
                <a:cubicBezTo>
                  <a:pt x="7171" y="5662"/>
                  <a:pt x="7252" y="5772"/>
                  <a:pt x="7359" y="5798"/>
                </a:cubicBezTo>
                <a:cubicBezTo>
                  <a:pt x="7381" y="5803"/>
                  <a:pt x="7403" y="5806"/>
                  <a:pt x="7426" y="5806"/>
                </a:cubicBezTo>
                <a:cubicBezTo>
                  <a:pt x="7514" y="5806"/>
                  <a:pt x="7603" y="5766"/>
                  <a:pt x="7657" y="5691"/>
                </a:cubicBezTo>
                <a:cubicBezTo>
                  <a:pt x="7777" y="5853"/>
                  <a:pt x="7981" y="5947"/>
                  <a:pt x="8182" y="5973"/>
                </a:cubicBezTo>
                <a:cubicBezTo>
                  <a:pt x="8219" y="5978"/>
                  <a:pt x="8255" y="5980"/>
                  <a:pt x="8293" y="5980"/>
                </a:cubicBezTo>
                <a:cubicBezTo>
                  <a:pt x="8462" y="5980"/>
                  <a:pt x="8634" y="5935"/>
                  <a:pt x="8791" y="5879"/>
                </a:cubicBezTo>
                <a:cubicBezTo>
                  <a:pt x="9128" y="5772"/>
                  <a:pt x="9504" y="5568"/>
                  <a:pt x="9763" y="5325"/>
                </a:cubicBezTo>
                <a:cubicBezTo>
                  <a:pt x="9883" y="5662"/>
                  <a:pt x="10233" y="5905"/>
                  <a:pt x="10599" y="5905"/>
                </a:cubicBezTo>
                <a:cubicBezTo>
                  <a:pt x="10608" y="5905"/>
                  <a:pt x="10617" y="5905"/>
                  <a:pt x="10627" y="5905"/>
                </a:cubicBezTo>
                <a:cubicBezTo>
                  <a:pt x="10980" y="5905"/>
                  <a:pt x="11331" y="5666"/>
                  <a:pt x="11464" y="5338"/>
                </a:cubicBezTo>
                <a:cubicBezTo>
                  <a:pt x="11477" y="5649"/>
                  <a:pt x="11720" y="5934"/>
                  <a:pt x="12015" y="5999"/>
                </a:cubicBezTo>
                <a:cubicBezTo>
                  <a:pt x="12055" y="6006"/>
                  <a:pt x="12097" y="6009"/>
                  <a:pt x="12138" y="6009"/>
                </a:cubicBezTo>
                <a:cubicBezTo>
                  <a:pt x="12411" y="6009"/>
                  <a:pt x="12681" y="5855"/>
                  <a:pt x="12799" y="5610"/>
                </a:cubicBezTo>
                <a:cubicBezTo>
                  <a:pt x="12922" y="5811"/>
                  <a:pt x="13123" y="5960"/>
                  <a:pt x="13353" y="6054"/>
                </a:cubicBezTo>
                <a:lnTo>
                  <a:pt x="13353" y="34"/>
                </a:lnTo>
                <a:cubicBezTo>
                  <a:pt x="13265" y="11"/>
                  <a:pt x="13180" y="1"/>
                  <a:pt x="13095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0" name="Google Shape;270;p5"/>
          <p:cNvSpPr/>
          <p:nvPr/>
        </p:nvSpPr>
        <p:spPr>
          <a:xfrm>
            <a:off x="5120476" y="5840075"/>
            <a:ext cx="69539" cy="3304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1" name="Google Shape;271;p5"/>
          <p:cNvSpPr/>
          <p:nvPr/>
        </p:nvSpPr>
        <p:spPr>
          <a:xfrm>
            <a:off x="9655822" y="5411579"/>
            <a:ext cx="585505" cy="21472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2" name="Google Shape;272;p5"/>
          <p:cNvSpPr/>
          <p:nvPr/>
        </p:nvSpPr>
        <p:spPr>
          <a:xfrm>
            <a:off x="-75" y="4865040"/>
            <a:ext cx="12192064" cy="1574781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3" name="Google Shape;273;p5"/>
          <p:cNvSpPr/>
          <p:nvPr/>
        </p:nvSpPr>
        <p:spPr>
          <a:xfrm>
            <a:off x="4999803" y="4713997"/>
            <a:ext cx="7192180" cy="1940324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4" name="Google Shape;274;p5"/>
          <p:cNvSpPr/>
          <p:nvPr/>
        </p:nvSpPr>
        <p:spPr>
          <a:xfrm>
            <a:off x="-75" y="5504090"/>
            <a:ext cx="12192064" cy="1353911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5" name="Google Shape;275;p5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6" name="Google Shape;276;p5"/>
          <p:cNvSpPr txBox="1">
            <a:spLocks noGrp="1"/>
          </p:cNvSpPr>
          <p:nvPr>
            <p:ph type="subTitle" idx="1"/>
          </p:nvPr>
        </p:nvSpPr>
        <p:spPr>
          <a:xfrm>
            <a:off x="1824200" y="3782300"/>
            <a:ext cx="3407600" cy="117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277" name="Google Shape;277;p5"/>
          <p:cNvSpPr txBox="1">
            <a:spLocks noGrp="1"/>
          </p:cNvSpPr>
          <p:nvPr>
            <p:ph type="title" idx="2"/>
          </p:nvPr>
        </p:nvSpPr>
        <p:spPr>
          <a:xfrm>
            <a:off x="1824200" y="3151000"/>
            <a:ext cx="3407600" cy="55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278" name="Google Shape;278;p5"/>
          <p:cNvSpPr txBox="1">
            <a:spLocks noGrp="1"/>
          </p:cNvSpPr>
          <p:nvPr>
            <p:ph type="subTitle" idx="3"/>
          </p:nvPr>
        </p:nvSpPr>
        <p:spPr>
          <a:xfrm>
            <a:off x="6960200" y="3782300"/>
            <a:ext cx="3407600" cy="117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279" name="Google Shape;279;p5"/>
          <p:cNvSpPr txBox="1">
            <a:spLocks noGrp="1"/>
          </p:cNvSpPr>
          <p:nvPr>
            <p:ph type="title" idx="4"/>
          </p:nvPr>
        </p:nvSpPr>
        <p:spPr>
          <a:xfrm>
            <a:off x="6960200" y="3151000"/>
            <a:ext cx="3407600" cy="55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155279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6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2" name="Google Shape;282;p6"/>
          <p:cNvSpPr/>
          <p:nvPr/>
        </p:nvSpPr>
        <p:spPr>
          <a:xfrm>
            <a:off x="2834733" y="5198367"/>
            <a:ext cx="6522528" cy="1659635"/>
          </a:xfrm>
          <a:custGeom>
            <a:avLst/>
            <a:gdLst/>
            <a:ahLst/>
            <a:cxnLst/>
            <a:rect l="l" t="t" r="r" b="b"/>
            <a:pathLst>
              <a:path w="31630" h="2270" extrusionOk="0">
                <a:moveTo>
                  <a:pt x="15211" y="0"/>
                </a:moveTo>
                <a:cubicBezTo>
                  <a:pt x="9192" y="0"/>
                  <a:pt x="1" y="2270"/>
                  <a:pt x="1" y="2270"/>
                </a:cubicBezTo>
                <a:lnTo>
                  <a:pt x="31523" y="2270"/>
                </a:lnTo>
                <a:cubicBezTo>
                  <a:pt x="31630" y="2121"/>
                  <a:pt x="21641" y="70"/>
                  <a:pt x="15472" y="2"/>
                </a:cubicBezTo>
                <a:cubicBezTo>
                  <a:pt x="15386" y="1"/>
                  <a:pt x="15299" y="0"/>
                  <a:pt x="1521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3" name="Google Shape;283;p6"/>
          <p:cNvSpPr/>
          <p:nvPr/>
        </p:nvSpPr>
        <p:spPr>
          <a:xfrm>
            <a:off x="-2103499" y="1195594"/>
            <a:ext cx="5112172" cy="1175101"/>
          </a:xfrm>
          <a:custGeom>
            <a:avLst/>
            <a:gdLst/>
            <a:ahLst/>
            <a:cxnLst/>
            <a:rect l="l" t="t" r="r" b="b"/>
            <a:pathLst>
              <a:path w="21317" h="4900" extrusionOk="0">
                <a:moveTo>
                  <a:pt x="1" y="1"/>
                </a:moveTo>
                <a:lnTo>
                  <a:pt x="1" y="4900"/>
                </a:lnTo>
                <a:cubicBezTo>
                  <a:pt x="876" y="4806"/>
                  <a:pt x="3225" y="4712"/>
                  <a:pt x="3889" y="4469"/>
                </a:cubicBezTo>
                <a:cubicBezTo>
                  <a:pt x="4550" y="4226"/>
                  <a:pt x="5995" y="4375"/>
                  <a:pt x="7194" y="4281"/>
                </a:cubicBezTo>
                <a:cubicBezTo>
                  <a:pt x="8396" y="4171"/>
                  <a:pt x="9504" y="3795"/>
                  <a:pt x="10327" y="3740"/>
                </a:cubicBezTo>
                <a:lnTo>
                  <a:pt x="10596" y="3740"/>
                </a:lnTo>
                <a:cubicBezTo>
                  <a:pt x="10813" y="3740"/>
                  <a:pt x="11001" y="3753"/>
                  <a:pt x="11205" y="3766"/>
                </a:cubicBezTo>
                <a:cubicBezTo>
                  <a:pt x="11406" y="3782"/>
                  <a:pt x="11636" y="3795"/>
                  <a:pt x="11921" y="3795"/>
                </a:cubicBezTo>
                <a:cubicBezTo>
                  <a:pt x="12190" y="3795"/>
                  <a:pt x="12514" y="3782"/>
                  <a:pt x="12945" y="3740"/>
                </a:cubicBezTo>
                <a:cubicBezTo>
                  <a:pt x="14458" y="3604"/>
                  <a:pt x="18129" y="3552"/>
                  <a:pt x="19049" y="3552"/>
                </a:cubicBezTo>
                <a:cubicBezTo>
                  <a:pt x="19979" y="3552"/>
                  <a:pt x="21317" y="3024"/>
                  <a:pt x="20303" y="2972"/>
                </a:cubicBezTo>
                <a:cubicBezTo>
                  <a:pt x="19305" y="2930"/>
                  <a:pt x="19305" y="2972"/>
                  <a:pt x="18482" y="2742"/>
                </a:cubicBezTo>
                <a:cubicBezTo>
                  <a:pt x="18226" y="2661"/>
                  <a:pt x="17886" y="2632"/>
                  <a:pt x="17523" y="2632"/>
                </a:cubicBezTo>
                <a:cubicBezTo>
                  <a:pt x="17131" y="2632"/>
                  <a:pt x="16713" y="2661"/>
                  <a:pt x="16308" y="2687"/>
                </a:cubicBezTo>
                <a:cubicBezTo>
                  <a:pt x="15903" y="2713"/>
                  <a:pt x="15511" y="2742"/>
                  <a:pt x="15187" y="2742"/>
                </a:cubicBezTo>
                <a:lnTo>
                  <a:pt x="14944" y="2742"/>
                </a:lnTo>
                <a:cubicBezTo>
                  <a:pt x="14014" y="2687"/>
                  <a:pt x="13447" y="2350"/>
                  <a:pt x="13690" y="2175"/>
                </a:cubicBezTo>
                <a:cubicBezTo>
                  <a:pt x="13946" y="1984"/>
                  <a:pt x="16538" y="1822"/>
                  <a:pt x="17549" y="1770"/>
                </a:cubicBezTo>
                <a:cubicBezTo>
                  <a:pt x="18550" y="1728"/>
                  <a:pt x="19386" y="1242"/>
                  <a:pt x="19911" y="1148"/>
                </a:cubicBezTo>
                <a:cubicBezTo>
                  <a:pt x="20141" y="1109"/>
                  <a:pt x="19927" y="1093"/>
                  <a:pt x="19603" y="1093"/>
                </a:cubicBezTo>
                <a:cubicBezTo>
                  <a:pt x="19182" y="1093"/>
                  <a:pt x="18563" y="1122"/>
                  <a:pt x="18482" y="1148"/>
                </a:cubicBezTo>
                <a:lnTo>
                  <a:pt x="18440" y="1148"/>
                </a:lnTo>
                <a:cubicBezTo>
                  <a:pt x="18184" y="1148"/>
                  <a:pt x="16833" y="717"/>
                  <a:pt x="16010" y="704"/>
                </a:cubicBezTo>
                <a:lnTo>
                  <a:pt x="15971" y="704"/>
                </a:lnTo>
                <a:cubicBezTo>
                  <a:pt x="15579" y="704"/>
                  <a:pt x="15323" y="769"/>
                  <a:pt x="15012" y="837"/>
                </a:cubicBezTo>
                <a:cubicBezTo>
                  <a:pt x="14701" y="905"/>
                  <a:pt x="14322" y="960"/>
                  <a:pt x="13690" y="960"/>
                </a:cubicBezTo>
                <a:lnTo>
                  <a:pt x="13366" y="960"/>
                </a:lnTo>
                <a:cubicBezTo>
                  <a:pt x="11772" y="905"/>
                  <a:pt x="12433" y="866"/>
                  <a:pt x="11772" y="730"/>
                </a:cubicBezTo>
                <a:cubicBezTo>
                  <a:pt x="11422" y="649"/>
                  <a:pt x="10962" y="623"/>
                  <a:pt x="10489" y="623"/>
                </a:cubicBezTo>
                <a:cubicBezTo>
                  <a:pt x="10084" y="623"/>
                  <a:pt x="9653" y="649"/>
                  <a:pt x="9261" y="704"/>
                </a:cubicBezTo>
                <a:cubicBezTo>
                  <a:pt x="9193" y="717"/>
                  <a:pt x="9112" y="730"/>
                  <a:pt x="9031" y="730"/>
                </a:cubicBezTo>
                <a:cubicBezTo>
                  <a:pt x="8315" y="730"/>
                  <a:pt x="7696" y="189"/>
                  <a:pt x="6345" y="189"/>
                </a:cubicBezTo>
                <a:cubicBezTo>
                  <a:pt x="4861" y="189"/>
                  <a:pt x="1" y="1"/>
                  <a:pt x="1" y="1"/>
                </a:cubicBezTo>
                <a:close/>
              </a:path>
            </a:pathLst>
          </a:custGeom>
          <a:solidFill>
            <a:srgbClr val="FFFFFF">
              <a:alpha val="6913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4" name="Google Shape;284;p6"/>
          <p:cNvSpPr/>
          <p:nvPr/>
        </p:nvSpPr>
        <p:spPr>
          <a:xfrm>
            <a:off x="7821396" y="111234"/>
            <a:ext cx="4426056" cy="958308"/>
          </a:xfrm>
          <a:custGeom>
            <a:avLst/>
            <a:gdLst/>
            <a:ahLst/>
            <a:cxnLst/>
            <a:rect l="l" t="t" r="r" b="b"/>
            <a:pathLst>
              <a:path w="18456" h="3996" extrusionOk="0">
                <a:moveTo>
                  <a:pt x="18456" y="1"/>
                </a:moveTo>
                <a:cubicBezTo>
                  <a:pt x="18456" y="1"/>
                  <a:pt x="17944" y="202"/>
                  <a:pt x="17607" y="202"/>
                </a:cubicBezTo>
                <a:lnTo>
                  <a:pt x="17241" y="202"/>
                </a:lnTo>
                <a:cubicBezTo>
                  <a:pt x="16324" y="202"/>
                  <a:pt x="13907" y="215"/>
                  <a:pt x="12828" y="474"/>
                </a:cubicBezTo>
                <a:cubicBezTo>
                  <a:pt x="11477" y="782"/>
                  <a:pt x="12543" y="701"/>
                  <a:pt x="11221" y="905"/>
                </a:cubicBezTo>
                <a:cubicBezTo>
                  <a:pt x="9912" y="1093"/>
                  <a:pt x="10019" y="1135"/>
                  <a:pt x="9358" y="1297"/>
                </a:cubicBezTo>
                <a:cubicBezTo>
                  <a:pt x="8681" y="1446"/>
                  <a:pt x="7926" y="1365"/>
                  <a:pt x="7184" y="1446"/>
                </a:cubicBezTo>
                <a:cubicBezTo>
                  <a:pt x="6442" y="1527"/>
                  <a:pt x="6562" y="1608"/>
                  <a:pt x="5888" y="1689"/>
                </a:cubicBezTo>
                <a:cubicBezTo>
                  <a:pt x="5279" y="1754"/>
                  <a:pt x="4793" y="1890"/>
                  <a:pt x="4200" y="1890"/>
                </a:cubicBezTo>
                <a:cubicBezTo>
                  <a:pt x="4132" y="1890"/>
                  <a:pt x="4064" y="1877"/>
                  <a:pt x="3983" y="1877"/>
                </a:cubicBezTo>
                <a:cubicBezTo>
                  <a:pt x="3782" y="1864"/>
                  <a:pt x="3432" y="1864"/>
                  <a:pt x="3027" y="1864"/>
                </a:cubicBezTo>
                <a:cubicBezTo>
                  <a:pt x="2094" y="1864"/>
                  <a:pt x="947" y="1890"/>
                  <a:pt x="947" y="1890"/>
                </a:cubicBezTo>
                <a:cubicBezTo>
                  <a:pt x="947" y="1890"/>
                  <a:pt x="1" y="2078"/>
                  <a:pt x="163" y="2078"/>
                </a:cubicBezTo>
                <a:lnTo>
                  <a:pt x="244" y="2078"/>
                </a:lnTo>
                <a:cubicBezTo>
                  <a:pt x="273" y="2065"/>
                  <a:pt x="312" y="2065"/>
                  <a:pt x="367" y="2065"/>
                </a:cubicBezTo>
                <a:cubicBezTo>
                  <a:pt x="853" y="2065"/>
                  <a:pt x="1906" y="2240"/>
                  <a:pt x="3228" y="2350"/>
                </a:cubicBezTo>
                <a:cubicBezTo>
                  <a:pt x="4673" y="2457"/>
                  <a:pt x="5010" y="2389"/>
                  <a:pt x="6306" y="2538"/>
                </a:cubicBezTo>
                <a:cubicBezTo>
                  <a:pt x="6468" y="2564"/>
                  <a:pt x="6643" y="2564"/>
                  <a:pt x="6818" y="2564"/>
                </a:cubicBezTo>
                <a:cubicBezTo>
                  <a:pt x="7210" y="2564"/>
                  <a:pt x="7602" y="2525"/>
                  <a:pt x="7994" y="2483"/>
                </a:cubicBezTo>
                <a:cubicBezTo>
                  <a:pt x="8386" y="2444"/>
                  <a:pt x="8778" y="2402"/>
                  <a:pt x="9128" y="2402"/>
                </a:cubicBezTo>
                <a:cubicBezTo>
                  <a:pt x="9465" y="2402"/>
                  <a:pt x="9789" y="2431"/>
                  <a:pt x="10074" y="2538"/>
                </a:cubicBezTo>
                <a:cubicBezTo>
                  <a:pt x="11140" y="2930"/>
                  <a:pt x="8924" y="2823"/>
                  <a:pt x="8872" y="2969"/>
                </a:cubicBezTo>
                <a:cubicBezTo>
                  <a:pt x="8817" y="3131"/>
                  <a:pt x="9815" y="3131"/>
                  <a:pt x="10680" y="3280"/>
                </a:cubicBezTo>
                <a:cubicBezTo>
                  <a:pt x="11545" y="3442"/>
                  <a:pt x="13703" y="3241"/>
                  <a:pt x="13920" y="3523"/>
                </a:cubicBezTo>
                <a:lnTo>
                  <a:pt x="14137" y="3795"/>
                </a:lnTo>
                <a:cubicBezTo>
                  <a:pt x="14137" y="3795"/>
                  <a:pt x="14461" y="3727"/>
                  <a:pt x="14811" y="3727"/>
                </a:cubicBezTo>
                <a:cubicBezTo>
                  <a:pt x="14986" y="3727"/>
                  <a:pt x="15148" y="3740"/>
                  <a:pt x="15297" y="3795"/>
                </a:cubicBezTo>
                <a:cubicBezTo>
                  <a:pt x="15702" y="3941"/>
                  <a:pt x="15472" y="3941"/>
                  <a:pt x="16162" y="3983"/>
                </a:cubicBezTo>
                <a:cubicBezTo>
                  <a:pt x="16214" y="3996"/>
                  <a:pt x="16269" y="3996"/>
                  <a:pt x="16324" y="3996"/>
                </a:cubicBezTo>
                <a:cubicBezTo>
                  <a:pt x="16619" y="3996"/>
                  <a:pt x="16930" y="3957"/>
                  <a:pt x="17186" y="3915"/>
                </a:cubicBezTo>
                <a:cubicBezTo>
                  <a:pt x="17445" y="3876"/>
                  <a:pt x="17659" y="3821"/>
                  <a:pt x="17769" y="3821"/>
                </a:cubicBezTo>
                <a:cubicBezTo>
                  <a:pt x="17795" y="3821"/>
                  <a:pt x="17808" y="3834"/>
                  <a:pt x="17821" y="3834"/>
                </a:cubicBezTo>
                <a:cubicBezTo>
                  <a:pt x="18012" y="3876"/>
                  <a:pt x="18456" y="3996"/>
                  <a:pt x="18456" y="3996"/>
                </a:cubicBezTo>
                <a:lnTo>
                  <a:pt x="18456" y="1"/>
                </a:lnTo>
                <a:close/>
              </a:path>
            </a:pathLst>
          </a:custGeom>
          <a:solidFill>
            <a:srgbClr val="FFFFFF">
              <a:alpha val="6913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851941528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p7"/>
          <p:cNvSpPr/>
          <p:nvPr/>
        </p:nvSpPr>
        <p:spPr>
          <a:xfrm>
            <a:off x="6780669" y="3194111"/>
            <a:ext cx="5411387" cy="2616965"/>
          </a:xfrm>
          <a:custGeom>
            <a:avLst/>
            <a:gdLst/>
            <a:ahLst/>
            <a:cxnLst/>
            <a:rect l="l" t="t" r="r" b="b"/>
            <a:pathLst>
              <a:path w="23491" h="11360" extrusionOk="0">
                <a:moveTo>
                  <a:pt x="23491" y="1"/>
                </a:moveTo>
                <a:cubicBezTo>
                  <a:pt x="23274" y="179"/>
                  <a:pt x="22924" y="435"/>
                  <a:pt x="22477" y="529"/>
                </a:cubicBezTo>
                <a:cubicBezTo>
                  <a:pt x="21748" y="691"/>
                  <a:pt x="21505" y="1096"/>
                  <a:pt x="20925" y="1339"/>
                </a:cubicBezTo>
                <a:cubicBezTo>
                  <a:pt x="20842" y="1374"/>
                  <a:pt x="20763" y="1389"/>
                  <a:pt x="20686" y="1389"/>
                </a:cubicBezTo>
                <a:cubicBezTo>
                  <a:pt x="20285" y="1389"/>
                  <a:pt x="19929" y="991"/>
                  <a:pt x="19368" y="991"/>
                </a:cubicBezTo>
                <a:cubicBezTo>
                  <a:pt x="19293" y="991"/>
                  <a:pt x="19213" y="999"/>
                  <a:pt x="19130" y="1015"/>
                </a:cubicBezTo>
                <a:cubicBezTo>
                  <a:pt x="18320" y="1177"/>
                  <a:pt x="18482" y="1663"/>
                  <a:pt x="17348" y="1744"/>
                </a:cubicBezTo>
                <a:cubicBezTo>
                  <a:pt x="16201" y="1838"/>
                  <a:pt x="16687" y="2405"/>
                  <a:pt x="15472" y="2729"/>
                </a:cubicBezTo>
                <a:cubicBezTo>
                  <a:pt x="14244" y="3053"/>
                  <a:pt x="14905" y="3296"/>
                  <a:pt x="14163" y="3539"/>
                </a:cubicBezTo>
                <a:cubicBezTo>
                  <a:pt x="13434" y="3782"/>
                  <a:pt x="13434" y="4038"/>
                  <a:pt x="13110" y="4362"/>
                </a:cubicBezTo>
                <a:cubicBezTo>
                  <a:pt x="13037" y="4435"/>
                  <a:pt x="12959" y="4463"/>
                  <a:pt x="12868" y="4463"/>
                </a:cubicBezTo>
                <a:cubicBezTo>
                  <a:pt x="12584" y="4463"/>
                  <a:pt x="12174" y="4192"/>
                  <a:pt x="11390" y="4192"/>
                </a:cubicBezTo>
                <a:cubicBezTo>
                  <a:pt x="11314" y="4192"/>
                  <a:pt x="11235" y="4194"/>
                  <a:pt x="11153" y="4200"/>
                </a:cubicBezTo>
                <a:cubicBezTo>
                  <a:pt x="9922" y="4281"/>
                  <a:pt x="9679" y="5010"/>
                  <a:pt x="9679" y="5010"/>
                </a:cubicBezTo>
                <a:lnTo>
                  <a:pt x="9112" y="4767"/>
                </a:lnTo>
                <a:cubicBezTo>
                  <a:pt x="8994" y="4748"/>
                  <a:pt x="8885" y="4739"/>
                  <a:pt x="8782" y="4739"/>
                </a:cubicBezTo>
                <a:cubicBezTo>
                  <a:pt x="8018" y="4739"/>
                  <a:pt x="7618" y="5230"/>
                  <a:pt x="7236" y="5658"/>
                </a:cubicBezTo>
                <a:cubicBezTo>
                  <a:pt x="3753" y="9559"/>
                  <a:pt x="1" y="10356"/>
                  <a:pt x="1" y="10356"/>
                </a:cubicBezTo>
                <a:cubicBezTo>
                  <a:pt x="1" y="10356"/>
                  <a:pt x="1249" y="11360"/>
                  <a:pt x="3772" y="11360"/>
                </a:cubicBezTo>
                <a:cubicBezTo>
                  <a:pt x="4651" y="11360"/>
                  <a:pt x="5684" y="11238"/>
                  <a:pt x="6873" y="10910"/>
                </a:cubicBezTo>
                <a:lnTo>
                  <a:pt x="23491" y="10910"/>
                </a:lnTo>
                <a:lnTo>
                  <a:pt x="23491" y="1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7" name="Google Shape;287;p7"/>
          <p:cNvSpPr/>
          <p:nvPr/>
        </p:nvSpPr>
        <p:spPr>
          <a:xfrm flipH="1">
            <a:off x="7144167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8" name="Google Shape;288;p7"/>
          <p:cNvSpPr/>
          <p:nvPr/>
        </p:nvSpPr>
        <p:spPr>
          <a:xfrm flipH="1">
            <a:off x="1990286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9" name="Google Shape;289;p7"/>
          <p:cNvSpPr/>
          <p:nvPr/>
        </p:nvSpPr>
        <p:spPr>
          <a:xfrm flipH="1">
            <a:off x="-16" y="5054767"/>
            <a:ext cx="12192016" cy="1093308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0" name="Google Shape;290;p7"/>
          <p:cNvSpPr/>
          <p:nvPr/>
        </p:nvSpPr>
        <p:spPr>
          <a:xfrm flipH="1">
            <a:off x="17" y="5436800"/>
            <a:ext cx="12192016" cy="1058891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1" name="Google Shape;291;p7"/>
          <p:cNvSpPr/>
          <p:nvPr/>
        </p:nvSpPr>
        <p:spPr>
          <a:xfrm flipH="1">
            <a:off x="34" y="5158999"/>
            <a:ext cx="7338209" cy="1926275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2" name="Google Shape;292;p7"/>
          <p:cNvSpPr/>
          <p:nvPr/>
        </p:nvSpPr>
        <p:spPr>
          <a:xfrm flipH="1">
            <a:off x="242833" y="6092424"/>
            <a:ext cx="11949201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3" name="Google Shape;293;p7"/>
          <p:cNvSpPr/>
          <p:nvPr/>
        </p:nvSpPr>
        <p:spPr>
          <a:xfrm flipH="1">
            <a:off x="17" y="6392956"/>
            <a:ext cx="12192016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4" name="Google Shape;294;p7"/>
          <p:cNvSpPr txBox="1">
            <a:spLocks noGrp="1"/>
          </p:cNvSpPr>
          <p:nvPr>
            <p:ph type="title"/>
          </p:nvPr>
        </p:nvSpPr>
        <p:spPr>
          <a:xfrm>
            <a:off x="960000" y="541780"/>
            <a:ext cx="10272000" cy="69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295" name="Google Shape;295;p7"/>
          <p:cNvSpPr txBox="1">
            <a:spLocks noGrp="1"/>
          </p:cNvSpPr>
          <p:nvPr>
            <p:ph type="subTitle" idx="1"/>
          </p:nvPr>
        </p:nvSpPr>
        <p:spPr>
          <a:xfrm>
            <a:off x="960000" y="1668000"/>
            <a:ext cx="6650800" cy="316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27452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600"/>
              <a:buChar char="●"/>
              <a:defRPr/>
            </a:lvl1pPr>
            <a:lvl2pPr lvl="1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600"/>
              <a:buChar char="○"/>
              <a:defRPr sz="28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8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8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8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8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8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8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97519114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p8"/>
          <p:cNvSpPr/>
          <p:nvPr/>
        </p:nvSpPr>
        <p:spPr>
          <a:xfrm>
            <a:off x="-2461909" y="3216130"/>
            <a:ext cx="5996052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8" name="Google Shape;298;p8"/>
          <p:cNvSpPr/>
          <p:nvPr/>
        </p:nvSpPr>
        <p:spPr>
          <a:xfrm>
            <a:off x="9298291" y="-317837"/>
            <a:ext cx="5996052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9" name="Google Shape;299;p8"/>
          <p:cNvSpPr/>
          <p:nvPr/>
        </p:nvSpPr>
        <p:spPr>
          <a:xfrm>
            <a:off x="-94033" y="4188029"/>
            <a:ext cx="4435896" cy="678868"/>
          </a:xfrm>
          <a:custGeom>
            <a:avLst/>
            <a:gdLst/>
            <a:ahLst/>
            <a:cxnLst/>
            <a:rect l="l" t="t" r="r" b="b"/>
            <a:pathLst>
              <a:path w="31630" h="2270" extrusionOk="0">
                <a:moveTo>
                  <a:pt x="15211" y="0"/>
                </a:moveTo>
                <a:cubicBezTo>
                  <a:pt x="9192" y="0"/>
                  <a:pt x="1" y="2270"/>
                  <a:pt x="1" y="2270"/>
                </a:cubicBezTo>
                <a:lnTo>
                  <a:pt x="31523" y="2270"/>
                </a:lnTo>
                <a:cubicBezTo>
                  <a:pt x="31630" y="2121"/>
                  <a:pt x="21641" y="70"/>
                  <a:pt x="15472" y="2"/>
                </a:cubicBezTo>
                <a:cubicBezTo>
                  <a:pt x="15386" y="1"/>
                  <a:pt x="15299" y="0"/>
                  <a:pt x="1521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0" name="Google Shape;300;p8"/>
          <p:cNvSpPr/>
          <p:nvPr/>
        </p:nvSpPr>
        <p:spPr>
          <a:xfrm>
            <a:off x="5928032" y="4241734"/>
            <a:ext cx="6263987" cy="1069401"/>
          </a:xfrm>
          <a:custGeom>
            <a:avLst/>
            <a:gdLst/>
            <a:ahLst/>
            <a:cxnLst/>
            <a:rect l="l" t="t" r="r" b="b"/>
            <a:pathLst>
              <a:path w="29281" h="2270" extrusionOk="0">
                <a:moveTo>
                  <a:pt x="14071" y="0"/>
                </a:moveTo>
                <a:cubicBezTo>
                  <a:pt x="8512" y="0"/>
                  <a:pt x="1" y="2270"/>
                  <a:pt x="1" y="2270"/>
                </a:cubicBezTo>
                <a:lnTo>
                  <a:pt x="29187" y="2270"/>
                </a:lnTo>
                <a:cubicBezTo>
                  <a:pt x="29281" y="2121"/>
                  <a:pt x="20034" y="70"/>
                  <a:pt x="14312" y="2"/>
                </a:cubicBezTo>
                <a:cubicBezTo>
                  <a:pt x="14232" y="1"/>
                  <a:pt x="14152" y="0"/>
                  <a:pt x="1407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1" name="Google Shape;301;p8"/>
          <p:cNvSpPr/>
          <p:nvPr/>
        </p:nvSpPr>
        <p:spPr>
          <a:xfrm>
            <a:off x="-94033" y="4628444"/>
            <a:ext cx="10998007" cy="1541984"/>
          </a:xfrm>
          <a:custGeom>
            <a:avLst/>
            <a:gdLst/>
            <a:ahLst/>
            <a:cxnLst/>
            <a:rect l="l" t="t" r="r" b="b"/>
            <a:pathLst>
              <a:path w="45536" h="8845" extrusionOk="0">
                <a:moveTo>
                  <a:pt x="10609" y="1"/>
                </a:moveTo>
                <a:cubicBezTo>
                  <a:pt x="2565" y="1"/>
                  <a:pt x="1" y="719"/>
                  <a:pt x="1" y="719"/>
                </a:cubicBezTo>
                <a:lnTo>
                  <a:pt x="1" y="8845"/>
                </a:lnTo>
                <a:lnTo>
                  <a:pt x="45536" y="8845"/>
                </a:lnTo>
                <a:lnTo>
                  <a:pt x="45536" y="3230"/>
                </a:lnTo>
                <a:cubicBezTo>
                  <a:pt x="44954" y="3336"/>
                  <a:pt x="44228" y="3384"/>
                  <a:pt x="43384" y="3384"/>
                </a:cubicBezTo>
                <a:cubicBezTo>
                  <a:pt x="36402" y="3384"/>
                  <a:pt x="21312" y="137"/>
                  <a:pt x="12676" y="16"/>
                </a:cubicBezTo>
                <a:cubicBezTo>
                  <a:pt x="11950" y="6"/>
                  <a:pt x="11262" y="1"/>
                  <a:pt x="106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2" name="Google Shape;302;p8"/>
          <p:cNvSpPr/>
          <p:nvPr/>
        </p:nvSpPr>
        <p:spPr>
          <a:xfrm>
            <a:off x="-94033" y="5018775"/>
            <a:ext cx="10998007" cy="678856"/>
          </a:xfrm>
          <a:custGeom>
            <a:avLst/>
            <a:gdLst/>
            <a:ahLst/>
            <a:cxnLst/>
            <a:rect l="l" t="t" r="r" b="b"/>
            <a:pathLst>
              <a:path w="45536" h="3894" extrusionOk="0">
                <a:moveTo>
                  <a:pt x="10726" y="0"/>
                </a:moveTo>
                <a:cubicBezTo>
                  <a:pt x="2590" y="0"/>
                  <a:pt x="1" y="314"/>
                  <a:pt x="1" y="314"/>
                </a:cubicBezTo>
                <a:lnTo>
                  <a:pt x="1" y="3894"/>
                </a:lnTo>
                <a:lnTo>
                  <a:pt x="45536" y="3894"/>
                </a:lnTo>
                <a:lnTo>
                  <a:pt x="45536" y="1422"/>
                </a:lnTo>
                <a:cubicBezTo>
                  <a:pt x="44956" y="1468"/>
                  <a:pt x="44232" y="1489"/>
                  <a:pt x="43390" y="1489"/>
                </a:cubicBezTo>
                <a:cubicBezTo>
                  <a:pt x="36411" y="1489"/>
                  <a:pt x="21315" y="64"/>
                  <a:pt x="12676" y="6"/>
                </a:cubicBezTo>
                <a:cubicBezTo>
                  <a:pt x="11993" y="2"/>
                  <a:pt x="11344" y="0"/>
                  <a:pt x="10726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3" name="Google Shape;303;p8"/>
          <p:cNvSpPr/>
          <p:nvPr/>
        </p:nvSpPr>
        <p:spPr>
          <a:xfrm>
            <a:off x="5552813" y="4652676"/>
            <a:ext cx="6710484" cy="625859"/>
          </a:xfrm>
          <a:custGeom>
            <a:avLst/>
            <a:gdLst/>
            <a:ahLst/>
            <a:cxnLst/>
            <a:rect l="l" t="t" r="r" b="b"/>
            <a:pathLst>
              <a:path w="27784" h="3590" extrusionOk="0">
                <a:moveTo>
                  <a:pt x="27784" y="0"/>
                </a:moveTo>
                <a:cubicBezTo>
                  <a:pt x="13745" y="201"/>
                  <a:pt x="1" y="3415"/>
                  <a:pt x="1" y="3415"/>
                </a:cubicBezTo>
                <a:lnTo>
                  <a:pt x="21061" y="3548"/>
                </a:lnTo>
                <a:lnTo>
                  <a:pt x="27784" y="3590"/>
                </a:lnTo>
                <a:lnTo>
                  <a:pt x="2778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4" name="Google Shape;304;p8"/>
          <p:cNvSpPr/>
          <p:nvPr/>
        </p:nvSpPr>
        <p:spPr>
          <a:xfrm>
            <a:off x="-94033" y="5226231"/>
            <a:ext cx="12357300" cy="1631592"/>
          </a:xfrm>
          <a:custGeom>
            <a:avLst/>
            <a:gdLst/>
            <a:ahLst/>
            <a:cxnLst/>
            <a:rect l="l" t="t" r="r" b="b"/>
            <a:pathLst>
              <a:path w="51164" h="9359" extrusionOk="0">
                <a:moveTo>
                  <a:pt x="28954" y="0"/>
                </a:moveTo>
                <a:cubicBezTo>
                  <a:pt x="13795" y="0"/>
                  <a:pt x="1" y="193"/>
                  <a:pt x="1" y="193"/>
                </a:cubicBezTo>
                <a:lnTo>
                  <a:pt x="1" y="9359"/>
                </a:lnTo>
                <a:lnTo>
                  <a:pt x="51164" y="9359"/>
                </a:lnTo>
                <a:lnTo>
                  <a:pt x="51164" y="193"/>
                </a:lnTo>
                <a:cubicBezTo>
                  <a:pt x="44455" y="48"/>
                  <a:pt x="36534" y="0"/>
                  <a:pt x="28954" y="0"/>
                </a:cubicBezTo>
                <a:close/>
              </a:path>
            </a:pathLst>
          </a:custGeom>
          <a:solidFill>
            <a:srgbClr val="FFC6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5" name="Google Shape;305;p8"/>
          <p:cNvSpPr/>
          <p:nvPr/>
        </p:nvSpPr>
        <p:spPr>
          <a:xfrm>
            <a:off x="-94033" y="5313745"/>
            <a:ext cx="12357300" cy="522304"/>
          </a:xfrm>
          <a:custGeom>
            <a:avLst/>
            <a:gdLst/>
            <a:ahLst/>
            <a:cxnLst/>
            <a:rect l="l" t="t" r="r" b="b"/>
            <a:pathLst>
              <a:path w="51164" h="2996" extrusionOk="0">
                <a:moveTo>
                  <a:pt x="28954" y="1"/>
                </a:moveTo>
                <a:cubicBezTo>
                  <a:pt x="13795" y="1"/>
                  <a:pt x="1" y="67"/>
                  <a:pt x="1" y="67"/>
                </a:cubicBezTo>
                <a:lnTo>
                  <a:pt x="1" y="2996"/>
                </a:lnTo>
                <a:lnTo>
                  <a:pt x="51164" y="2996"/>
                </a:lnTo>
                <a:lnTo>
                  <a:pt x="51164" y="67"/>
                </a:lnTo>
                <a:cubicBezTo>
                  <a:pt x="44455" y="17"/>
                  <a:pt x="36534" y="1"/>
                  <a:pt x="28954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6" name="Google Shape;306;p8"/>
          <p:cNvSpPr/>
          <p:nvPr/>
        </p:nvSpPr>
        <p:spPr>
          <a:xfrm>
            <a:off x="-94033" y="5395857"/>
            <a:ext cx="12357300" cy="1461964"/>
          </a:xfrm>
          <a:custGeom>
            <a:avLst/>
            <a:gdLst/>
            <a:ahLst/>
            <a:cxnLst/>
            <a:rect l="l" t="t" r="r" b="b"/>
            <a:pathLst>
              <a:path w="51164" h="8386" extrusionOk="0">
                <a:moveTo>
                  <a:pt x="51164" y="1"/>
                </a:moveTo>
                <a:cubicBezTo>
                  <a:pt x="51164" y="1"/>
                  <a:pt x="12488" y="1783"/>
                  <a:pt x="1" y="4579"/>
                </a:cubicBezTo>
                <a:lnTo>
                  <a:pt x="1" y="8386"/>
                </a:lnTo>
                <a:lnTo>
                  <a:pt x="51164" y="8386"/>
                </a:lnTo>
                <a:lnTo>
                  <a:pt x="51164" y="1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7" name="Google Shape;307;p8"/>
          <p:cNvSpPr/>
          <p:nvPr/>
        </p:nvSpPr>
        <p:spPr>
          <a:xfrm>
            <a:off x="-94033" y="5540727"/>
            <a:ext cx="12357300" cy="1317093"/>
          </a:xfrm>
          <a:custGeom>
            <a:avLst/>
            <a:gdLst/>
            <a:ahLst/>
            <a:cxnLst/>
            <a:rect l="l" t="t" r="r" b="b"/>
            <a:pathLst>
              <a:path w="51164" h="7555" extrusionOk="0">
                <a:moveTo>
                  <a:pt x="7656" y="1"/>
                </a:moveTo>
                <a:cubicBezTo>
                  <a:pt x="2876" y="1"/>
                  <a:pt x="1" y="385"/>
                  <a:pt x="1" y="385"/>
                </a:cubicBezTo>
                <a:lnTo>
                  <a:pt x="1" y="7555"/>
                </a:lnTo>
                <a:lnTo>
                  <a:pt x="51164" y="7555"/>
                </a:lnTo>
                <a:lnTo>
                  <a:pt x="51164" y="3249"/>
                </a:lnTo>
                <a:cubicBezTo>
                  <a:pt x="49225" y="3578"/>
                  <a:pt x="47012" y="3826"/>
                  <a:pt x="44108" y="3826"/>
                </a:cubicBezTo>
                <a:cubicBezTo>
                  <a:pt x="39852" y="3826"/>
                  <a:pt x="34112" y="3292"/>
                  <a:pt x="25581" y="1694"/>
                </a:cubicBezTo>
                <a:cubicBezTo>
                  <a:pt x="18442" y="347"/>
                  <a:pt x="12191" y="1"/>
                  <a:pt x="765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8" name="Google Shape;308;p8"/>
          <p:cNvSpPr txBox="1">
            <a:spLocks noGrp="1"/>
          </p:cNvSpPr>
          <p:nvPr>
            <p:ph type="title"/>
          </p:nvPr>
        </p:nvSpPr>
        <p:spPr>
          <a:xfrm>
            <a:off x="1087000" y="1869033"/>
            <a:ext cx="10018000" cy="148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96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09" name="Google Shape;309;p8"/>
          <p:cNvSpPr txBox="1">
            <a:spLocks noGrp="1"/>
          </p:cNvSpPr>
          <p:nvPr>
            <p:ph type="subTitle" idx="1"/>
          </p:nvPr>
        </p:nvSpPr>
        <p:spPr>
          <a:xfrm>
            <a:off x="3069700" y="3350733"/>
            <a:ext cx="5910800" cy="11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66194316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1" name="Google Shape;311;p9"/>
          <p:cNvGrpSpPr/>
          <p:nvPr/>
        </p:nvGrpSpPr>
        <p:grpSpPr>
          <a:xfrm>
            <a:off x="367" y="4156606"/>
            <a:ext cx="12223208" cy="2720188"/>
            <a:chOff x="271" y="2964551"/>
            <a:chExt cx="9167406" cy="2193229"/>
          </a:xfrm>
        </p:grpSpPr>
        <p:sp>
          <p:nvSpPr>
            <p:cNvPr id="312" name="Google Shape;312;p9"/>
            <p:cNvSpPr/>
            <p:nvPr/>
          </p:nvSpPr>
          <p:spPr>
            <a:xfrm>
              <a:off x="275" y="3538374"/>
              <a:ext cx="9167398" cy="1619406"/>
            </a:xfrm>
            <a:custGeom>
              <a:avLst/>
              <a:gdLst/>
              <a:ahLst/>
              <a:cxnLst/>
              <a:rect l="l" t="t" r="r" b="b"/>
              <a:pathLst>
                <a:path w="43860" h="10974" extrusionOk="0">
                  <a:moveTo>
                    <a:pt x="0" y="0"/>
                  </a:moveTo>
                  <a:lnTo>
                    <a:pt x="0" y="10974"/>
                  </a:lnTo>
                  <a:lnTo>
                    <a:pt x="43860" y="10974"/>
                  </a:lnTo>
                  <a:lnTo>
                    <a:pt x="43860" y="0"/>
                  </a:ln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3" name="Google Shape;313;p9"/>
            <p:cNvSpPr/>
            <p:nvPr/>
          </p:nvSpPr>
          <p:spPr>
            <a:xfrm>
              <a:off x="1413430" y="2964551"/>
              <a:ext cx="7754247" cy="680775"/>
            </a:xfrm>
            <a:custGeom>
              <a:avLst/>
              <a:gdLst/>
              <a:ahLst/>
              <a:cxnLst/>
              <a:rect l="l" t="t" r="r" b="b"/>
              <a:pathLst>
                <a:path w="37099" h="4687" extrusionOk="0">
                  <a:moveTo>
                    <a:pt x="29289" y="0"/>
                  </a:moveTo>
                  <a:cubicBezTo>
                    <a:pt x="28606" y="0"/>
                    <a:pt x="27911" y="10"/>
                    <a:pt x="27217" y="28"/>
                  </a:cubicBezTo>
                  <a:cubicBezTo>
                    <a:pt x="18981" y="245"/>
                    <a:pt x="8493" y="2688"/>
                    <a:pt x="1" y="4687"/>
                  </a:cubicBezTo>
                  <a:lnTo>
                    <a:pt x="37099" y="4687"/>
                  </a:lnTo>
                  <a:lnTo>
                    <a:pt x="37099" y="731"/>
                  </a:lnTo>
                  <a:cubicBezTo>
                    <a:pt x="35742" y="225"/>
                    <a:pt x="32651" y="0"/>
                    <a:pt x="2928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4" name="Google Shape;314;p9"/>
            <p:cNvSpPr/>
            <p:nvPr/>
          </p:nvSpPr>
          <p:spPr>
            <a:xfrm>
              <a:off x="271" y="3209866"/>
              <a:ext cx="4762825" cy="666541"/>
            </a:xfrm>
            <a:custGeom>
              <a:avLst/>
              <a:gdLst/>
              <a:ahLst/>
              <a:cxnLst/>
              <a:rect l="l" t="t" r="r" b="b"/>
              <a:pathLst>
                <a:path w="22787" h="4589" extrusionOk="0">
                  <a:moveTo>
                    <a:pt x="3161" y="1"/>
                  </a:moveTo>
                  <a:cubicBezTo>
                    <a:pt x="1090" y="1"/>
                    <a:pt x="0" y="199"/>
                    <a:pt x="0" y="199"/>
                  </a:cubicBezTo>
                  <a:lnTo>
                    <a:pt x="0" y="4589"/>
                  </a:lnTo>
                  <a:lnTo>
                    <a:pt x="22787" y="4589"/>
                  </a:lnTo>
                  <a:cubicBezTo>
                    <a:pt x="22787" y="4589"/>
                    <a:pt x="18128" y="2036"/>
                    <a:pt x="11029" y="766"/>
                  </a:cubicBezTo>
                  <a:cubicBezTo>
                    <a:pt x="7669" y="160"/>
                    <a:pt x="5020" y="1"/>
                    <a:pt x="316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5" name="Google Shape;315;p9"/>
            <p:cNvSpPr/>
            <p:nvPr/>
          </p:nvSpPr>
          <p:spPr>
            <a:xfrm>
              <a:off x="271" y="3612551"/>
              <a:ext cx="9167398" cy="362393"/>
            </a:xfrm>
            <a:custGeom>
              <a:avLst/>
              <a:gdLst/>
              <a:ahLst/>
              <a:cxnLst/>
              <a:rect l="l" t="t" r="r" b="b"/>
              <a:pathLst>
                <a:path w="43860" h="2495" extrusionOk="0">
                  <a:moveTo>
                    <a:pt x="0" y="0"/>
                  </a:moveTo>
                  <a:lnTo>
                    <a:pt x="0" y="512"/>
                  </a:lnTo>
                  <a:cubicBezTo>
                    <a:pt x="18857" y="538"/>
                    <a:pt x="31655" y="810"/>
                    <a:pt x="43860" y="2495"/>
                  </a:cubicBezTo>
                  <a:lnTo>
                    <a:pt x="4386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316" name="Google Shape;316;p9"/>
          <p:cNvSpPr/>
          <p:nvPr/>
        </p:nvSpPr>
        <p:spPr>
          <a:xfrm>
            <a:off x="-47168" y="720000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7" name="Google Shape;317;p9"/>
          <p:cNvSpPr/>
          <p:nvPr/>
        </p:nvSpPr>
        <p:spPr>
          <a:xfrm>
            <a:off x="-47167" y="2748407"/>
            <a:ext cx="2945241" cy="1889959"/>
          </a:xfrm>
          <a:custGeom>
            <a:avLst/>
            <a:gdLst/>
            <a:ahLst/>
            <a:cxnLst/>
            <a:rect l="l" t="t" r="r" b="b"/>
            <a:pathLst>
              <a:path w="9746" h="6254" extrusionOk="0">
                <a:moveTo>
                  <a:pt x="0" y="1"/>
                </a:moveTo>
                <a:lnTo>
                  <a:pt x="0" y="6092"/>
                </a:lnTo>
                <a:cubicBezTo>
                  <a:pt x="39" y="6131"/>
                  <a:pt x="94" y="6157"/>
                  <a:pt x="162" y="6186"/>
                </a:cubicBezTo>
                <a:cubicBezTo>
                  <a:pt x="282" y="6238"/>
                  <a:pt x="405" y="6254"/>
                  <a:pt x="541" y="6254"/>
                </a:cubicBezTo>
                <a:cubicBezTo>
                  <a:pt x="849" y="6254"/>
                  <a:pt x="1160" y="6092"/>
                  <a:pt x="1335" y="5833"/>
                </a:cubicBezTo>
                <a:cubicBezTo>
                  <a:pt x="1371" y="6021"/>
                  <a:pt x="1570" y="6139"/>
                  <a:pt x="1763" y="6139"/>
                </a:cubicBezTo>
                <a:cubicBezTo>
                  <a:pt x="1792" y="6139"/>
                  <a:pt x="1822" y="6136"/>
                  <a:pt x="1850" y="6131"/>
                </a:cubicBezTo>
                <a:cubicBezTo>
                  <a:pt x="2064" y="6076"/>
                  <a:pt x="2242" y="5930"/>
                  <a:pt x="2388" y="5781"/>
                </a:cubicBezTo>
                <a:cubicBezTo>
                  <a:pt x="2709" y="6054"/>
                  <a:pt x="3132" y="6222"/>
                  <a:pt x="3560" y="6222"/>
                </a:cubicBezTo>
                <a:cubicBezTo>
                  <a:pt x="3619" y="6222"/>
                  <a:pt x="3679" y="6219"/>
                  <a:pt x="3739" y="6212"/>
                </a:cubicBezTo>
                <a:cubicBezTo>
                  <a:pt x="4225" y="6173"/>
                  <a:pt x="4685" y="5930"/>
                  <a:pt x="4980" y="5551"/>
                </a:cubicBezTo>
                <a:cubicBezTo>
                  <a:pt x="5085" y="5759"/>
                  <a:pt x="5328" y="5857"/>
                  <a:pt x="5556" y="5857"/>
                </a:cubicBezTo>
                <a:cubicBezTo>
                  <a:pt x="5595" y="5857"/>
                  <a:pt x="5633" y="5855"/>
                  <a:pt x="5670" y="5849"/>
                </a:cubicBezTo>
                <a:cubicBezTo>
                  <a:pt x="5939" y="5807"/>
                  <a:pt x="6169" y="5658"/>
                  <a:pt x="6399" y="5509"/>
                </a:cubicBezTo>
                <a:cubicBezTo>
                  <a:pt x="6464" y="5683"/>
                  <a:pt x="6653" y="5781"/>
                  <a:pt x="6838" y="5781"/>
                </a:cubicBezTo>
                <a:cubicBezTo>
                  <a:pt x="6955" y="5781"/>
                  <a:pt x="7071" y="5742"/>
                  <a:pt x="7154" y="5658"/>
                </a:cubicBezTo>
                <a:cubicBezTo>
                  <a:pt x="7291" y="5764"/>
                  <a:pt x="7465" y="5815"/>
                  <a:pt x="7640" y="5815"/>
                </a:cubicBezTo>
                <a:cubicBezTo>
                  <a:pt x="7844" y="5815"/>
                  <a:pt x="8049" y="5744"/>
                  <a:pt x="8194" y="5606"/>
                </a:cubicBezTo>
                <a:cubicBezTo>
                  <a:pt x="8274" y="5684"/>
                  <a:pt x="8385" y="5725"/>
                  <a:pt x="8496" y="5725"/>
                </a:cubicBezTo>
                <a:cubicBezTo>
                  <a:pt x="8591" y="5725"/>
                  <a:pt x="8686" y="5695"/>
                  <a:pt x="8761" y="5632"/>
                </a:cubicBezTo>
                <a:cubicBezTo>
                  <a:pt x="8798" y="5704"/>
                  <a:pt x="8883" y="5727"/>
                  <a:pt x="8971" y="5727"/>
                </a:cubicBezTo>
                <a:cubicBezTo>
                  <a:pt x="9014" y="5727"/>
                  <a:pt x="9058" y="5721"/>
                  <a:pt x="9098" y="5713"/>
                </a:cubicBezTo>
                <a:cubicBezTo>
                  <a:pt x="9260" y="5700"/>
                  <a:pt x="9435" y="5671"/>
                  <a:pt x="9597" y="5645"/>
                </a:cubicBezTo>
                <a:cubicBezTo>
                  <a:pt x="9626" y="5645"/>
                  <a:pt x="9652" y="5632"/>
                  <a:pt x="9678" y="5619"/>
                </a:cubicBezTo>
                <a:cubicBezTo>
                  <a:pt x="9746" y="5551"/>
                  <a:pt x="9626" y="5457"/>
                  <a:pt x="9532" y="5457"/>
                </a:cubicBezTo>
                <a:cubicBezTo>
                  <a:pt x="9435" y="5457"/>
                  <a:pt x="9328" y="5483"/>
                  <a:pt x="9247" y="5538"/>
                </a:cubicBezTo>
                <a:cubicBezTo>
                  <a:pt x="9227" y="5452"/>
                  <a:pt x="9148" y="5402"/>
                  <a:pt x="9070" y="5402"/>
                </a:cubicBezTo>
                <a:cubicBezTo>
                  <a:pt x="9047" y="5402"/>
                  <a:pt x="9025" y="5406"/>
                  <a:pt x="9004" y="5415"/>
                </a:cubicBezTo>
                <a:cubicBezTo>
                  <a:pt x="8978" y="5444"/>
                  <a:pt x="8949" y="5457"/>
                  <a:pt x="8923" y="5470"/>
                </a:cubicBezTo>
                <a:cubicBezTo>
                  <a:pt x="8916" y="5471"/>
                  <a:pt x="8910" y="5472"/>
                  <a:pt x="8903" y="5472"/>
                </a:cubicBezTo>
                <a:cubicBezTo>
                  <a:pt x="8833" y="5472"/>
                  <a:pt x="8783" y="5410"/>
                  <a:pt x="8735" y="5363"/>
                </a:cubicBezTo>
                <a:cubicBezTo>
                  <a:pt x="8599" y="5201"/>
                  <a:pt x="8437" y="5065"/>
                  <a:pt x="8236" y="5010"/>
                </a:cubicBezTo>
                <a:cubicBezTo>
                  <a:pt x="8180" y="4996"/>
                  <a:pt x="8123" y="4988"/>
                  <a:pt x="8066" y="4988"/>
                </a:cubicBezTo>
                <a:cubicBezTo>
                  <a:pt x="7913" y="4988"/>
                  <a:pt x="7761" y="5041"/>
                  <a:pt x="7653" y="5159"/>
                </a:cubicBezTo>
                <a:cubicBezTo>
                  <a:pt x="7721" y="5078"/>
                  <a:pt x="7303" y="4848"/>
                  <a:pt x="7248" y="4835"/>
                </a:cubicBezTo>
                <a:cubicBezTo>
                  <a:pt x="7178" y="4810"/>
                  <a:pt x="7108" y="4795"/>
                  <a:pt x="7040" y="4795"/>
                </a:cubicBezTo>
                <a:cubicBezTo>
                  <a:pt x="6927" y="4795"/>
                  <a:pt x="6821" y="4835"/>
                  <a:pt x="6736" y="4929"/>
                </a:cubicBezTo>
                <a:cubicBezTo>
                  <a:pt x="6655" y="4537"/>
                  <a:pt x="6344" y="4200"/>
                  <a:pt x="5952" y="4106"/>
                </a:cubicBezTo>
                <a:cubicBezTo>
                  <a:pt x="5874" y="4087"/>
                  <a:pt x="5794" y="4078"/>
                  <a:pt x="5714" y="4078"/>
                </a:cubicBezTo>
                <a:cubicBezTo>
                  <a:pt x="5392" y="4078"/>
                  <a:pt x="5067" y="4223"/>
                  <a:pt x="4873" y="4472"/>
                </a:cubicBezTo>
                <a:cubicBezTo>
                  <a:pt x="4873" y="4275"/>
                  <a:pt x="4674" y="4135"/>
                  <a:pt x="4483" y="4135"/>
                </a:cubicBezTo>
                <a:cubicBezTo>
                  <a:pt x="4410" y="4135"/>
                  <a:pt x="4339" y="4155"/>
                  <a:pt x="4280" y="4200"/>
                </a:cubicBezTo>
                <a:cubicBezTo>
                  <a:pt x="4307" y="3976"/>
                  <a:pt x="4076" y="3810"/>
                  <a:pt x="3865" y="3810"/>
                </a:cubicBezTo>
                <a:cubicBezTo>
                  <a:pt x="3771" y="3810"/>
                  <a:pt x="3681" y="3843"/>
                  <a:pt x="3619" y="3918"/>
                </a:cubicBezTo>
                <a:cubicBezTo>
                  <a:pt x="3765" y="3458"/>
                  <a:pt x="3551" y="2904"/>
                  <a:pt x="3133" y="2690"/>
                </a:cubicBezTo>
                <a:cubicBezTo>
                  <a:pt x="2993" y="2620"/>
                  <a:pt x="2838" y="2587"/>
                  <a:pt x="2683" y="2587"/>
                </a:cubicBezTo>
                <a:cubicBezTo>
                  <a:pt x="2358" y="2587"/>
                  <a:pt x="2032" y="2734"/>
                  <a:pt x="1850" y="2998"/>
                </a:cubicBezTo>
                <a:cubicBezTo>
                  <a:pt x="1837" y="2674"/>
                  <a:pt x="1837" y="2337"/>
                  <a:pt x="1675" y="2055"/>
                </a:cubicBezTo>
                <a:cubicBezTo>
                  <a:pt x="1540" y="1839"/>
                  <a:pt x="1299" y="1679"/>
                  <a:pt x="1060" y="1679"/>
                </a:cubicBezTo>
                <a:cubicBezTo>
                  <a:pt x="984" y="1679"/>
                  <a:pt x="908" y="1695"/>
                  <a:pt x="836" y="1731"/>
                </a:cubicBezTo>
                <a:cubicBezTo>
                  <a:pt x="983" y="1498"/>
                  <a:pt x="753" y="1153"/>
                  <a:pt x="486" y="1153"/>
                </a:cubicBezTo>
                <a:cubicBezTo>
                  <a:pt x="459" y="1153"/>
                  <a:pt x="432" y="1157"/>
                  <a:pt x="405" y="1164"/>
                </a:cubicBezTo>
                <a:cubicBezTo>
                  <a:pt x="593" y="1109"/>
                  <a:pt x="486" y="584"/>
                  <a:pt x="431" y="474"/>
                </a:cubicBezTo>
                <a:cubicBezTo>
                  <a:pt x="350" y="260"/>
                  <a:pt x="188" y="98"/>
                  <a:pt x="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8" name="Google Shape;318;p9"/>
          <p:cNvSpPr/>
          <p:nvPr/>
        </p:nvSpPr>
        <p:spPr>
          <a:xfrm>
            <a:off x="8156693" y="444452"/>
            <a:ext cx="4035276" cy="1851277"/>
          </a:xfrm>
          <a:custGeom>
            <a:avLst/>
            <a:gdLst/>
            <a:ahLst/>
            <a:cxnLst/>
            <a:rect l="l" t="t" r="r" b="b"/>
            <a:pathLst>
              <a:path w="13353" h="6126" extrusionOk="0">
                <a:moveTo>
                  <a:pt x="13095" y="1"/>
                </a:moveTo>
                <a:cubicBezTo>
                  <a:pt x="13024" y="1"/>
                  <a:pt x="12953" y="8"/>
                  <a:pt x="12880" y="21"/>
                </a:cubicBezTo>
                <a:cubicBezTo>
                  <a:pt x="12313" y="102"/>
                  <a:pt x="11921" y="588"/>
                  <a:pt x="11840" y="1139"/>
                </a:cubicBezTo>
                <a:cubicBezTo>
                  <a:pt x="11652" y="925"/>
                  <a:pt x="11302" y="750"/>
                  <a:pt x="11017" y="750"/>
                </a:cubicBezTo>
                <a:cubicBezTo>
                  <a:pt x="11003" y="749"/>
                  <a:pt x="10989" y="748"/>
                  <a:pt x="10975" y="748"/>
                </a:cubicBezTo>
                <a:cubicBezTo>
                  <a:pt x="10799" y="748"/>
                  <a:pt x="10615" y="841"/>
                  <a:pt x="10492" y="964"/>
                </a:cubicBezTo>
                <a:cubicBezTo>
                  <a:pt x="10343" y="1113"/>
                  <a:pt x="10275" y="1317"/>
                  <a:pt x="10288" y="1518"/>
                </a:cubicBezTo>
                <a:cubicBezTo>
                  <a:pt x="10211" y="1506"/>
                  <a:pt x="10129" y="1493"/>
                  <a:pt x="10048" y="1493"/>
                </a:cubicBezTo>
                <a:cubicBezTo>
                  <a:pt x="9957" y="1493"/>
                  <a:pt x="9868" y="1509"/>
                  <a:pt x="9789" y="1560"/>
                </a:cubicBezTo>
                <a:cubicBezTo>
                  <a:pt x="9666" y="1654"/>
                  <a:pt x="9614" y="1816"/>
                  <a:pt x="9666" y="1965"/>
                </a:cubicBezTo>
                <a:cubicBezTo>
                  <a:pt x="9465" y="1774"/>
                  <a:pt x="9180" y="1654"/>
                  <a:pt x="8911" y="1654"/>
                </a:cubicBezTo>
                <a:cubicBezTo>
                  <a:pt x="8629" y="1654"/>
                  <a:pt x="8344" y="1803"/>
                  <a:pt x="8195" y="2030"/>
                </a:cubicBezTo>
                <a:cubicBezTo>
                  <a:pt x="8114" y="2153"/>
                  <a:pt x="8075" y="2302"/>
                  <a:pt x="8033" y="2451"/>
                </a:cubicBezTo>
                <a:cubicBezTo>
                  <a:pt x="7981" y="2678"/>
                  <a:pt x="8020" y="2882"/>
                  <a:pt x="8007" y="3112"/>
                </a:cubicBezTo>
                <a:cubicBezTo>
                  <a:pt x="7888" y="3061"/>
                  <a:pt x="7763" y="3015"/>
                  <a:pt x="7636" y="3015"/>
                </a:cubicBezTo>
                <a:cubicBezTo>
                  <a:pt x="7562" y="3015"/>
                  <a:pt x="7488" y="3030"/>
                  <a:pt x="7414" y="3070"/>
                </a:cubicBezTo>
                <a:cubicBezTo>
                  <a:pt x="7210" y="3164"/>
                  <a:pt x="7090" y="3368"/>
                  <a:pt x="7074" y="3585"/>
                </a:cubicBezTo>
                <a:cubicBezTo>
                  <a:pt x="6891" y="3395"/>
                  <a:pt x="6691" y="3317"/>
                  <a:pt x="6491" y="3317"/>
                </a:cubicBezTo>
                <a:cubicBezTo>
                  <a:pt x="5877" y="3317"/>
                  <a:pt x="5255" y="4053"/>
                  <a:pt x="5091" y="4583"/>
                </a:cubicBezTo>
                <a:cubicBezTo>
                  <a:pt x="4916" y="4366"/>
                  <a:pt x="4699" y="4152"/>
                  <a:pt x="4417" y="4110"/>
                </a:cubicBezTo>
                <a:cubicBezTo>
                  <a:pt x="4396" y="4107"/>
                  <a:pt x="4374" y="4106"/>
                  <a:pt x="4352" y="4106"/>
                </a:cubicBezTo>
                <a:cubicBezTo>
                  <a:pt x="4085" y="4106"/>
                  <a:pt x="3813" y="4319"/>
                  <a:pt x="3876" y="4583"/>
                </a:cubicBezTo>
                <a:cubicBezTo>
                  <a:pt x="3687" y="4484"/>
                  <a:pt x="3490" y="4393"/>
                  <a:pt x="3289" y="4393"/>
                </a:cubicBezTo>
                <a:cubicBezTo>
                  <a:pt x="3273" y="4393"/>
                  <a:pt x="3257" y="4394"/>
                  <a:pt x="3241" y="4395"/>
                </a:cubicBezTo>
                <a:cubicBezTo>
                  <a:pt x="2972" y="4421"/>
                  <a:pt x="2849" y="4609"/>
                  <a:pt x="2755" y="4826"/>
                </a:cubicBezTo>
                <a:cubicBezTo>
                  <a:pt x="2679" y="4710"/>
                  <a:pt x="2540" y="4643"/>
                  <a:pt x="2403" y="4643"/>
                </a:cubicBezTo>
                <a:cubicBezTo>
                  <a:pt x="2348" y="4643"/>
                  <a:pt x="2293" y="4654"/>
                  <a:pt x="2243" y="4677"/>
                </a:cubicBezTo>
                <a:cubicBezTo>
                  <a:pt x="2052" y="4745"/>
                  <a:pt x="1932" y="4933"/>
                  <a:pt x="1919" y="5137"/>
                </a:cubicBezTo>
                <a:cubicBezTo>
                  <a:pt x="1878" y="5027"/>
                  <a:pt x="1766" y="4961"/>
                  <a:pt x="1650" y="4961"/>
                </a:cubicBezTo>
                <a:cubicBezTo>
                  <a:pt x="1608" y="4961"/>
                  <a:pt x="1566" y="4970"/>
                  <a:pt x="1527" y="4988"/>
                </a:cubicBezTo>
                <a:cubicBezTo>
                  <a:pt x="1378" y="5043"/>
                  <a:pt x="1297" y="5189"/>
                  <a:pt x="1271" y="5351"/>
                </a:cubicBezTo>
                <a:cubicBezTo>
                  <a:pt x="1189" y="5294"/>
                  <a:pt x="1103" y="5258"/>
                  <a:pt x="1015" y="5258"/>
                </a:cubicBezTo>
                <a:cubicBezTo>
                  <a:pt x="956" y="5258"/>
                  <a:pt x="897" y="5274"/>
                  <a:pt x="837" y="5312"/>
                </a:cubicBezTo>
                <a:cubicBezTo>
                  <a:pt x="798" y="5351"/>
                  <a:pt x="743" y="5406"/>
                  <a:pt x="691" y="5432"/>
                </a:cubicBezTo>
                <a:cubicBezTo>
                  <a:pt x="623" y="5461"/>
                  <a:pt x="542" y="5461"/>
                  <a:pt x="474" y="5461"/>
                </a:cubicBezTo>
                <a:lnTo>
                  <a:pt x="43" y="5461"/>
                </a:lnTo>
                <a:cubicBezTo>
                  <a:pt x="1" y="5513"/>
                  <a:pt x="69" y="5581"/>
                  <a:pt x="137" y="5610"/>
                </a:cubicBezTo>
                <a:cubicBezTo>
                  <a:pt x="284" y="5676"/>
                  <a:pt x="459" y="5710"/>
                  <a:pt x="636" y="5710"/>
                </a:cubicBezTo>
                <a:cubicBezTo>
                  <a:pt x="813" y="5710"/>
                  <a:pt x="992" y="5676"/>
                  <a:pt x="1148" y="5610"/>
                </a:cubicBezTo>
                <a:cubicBezTo>
                  <a:pt x="1221" y="5677"/>
                  <a:pt x="1320" y="5708"/>
                  <a:pt x="1422" y="5708"/>
                </a:cubicBezTo>
                <a:cubicBezTo>
                  <a:pt x="1588" y="5708"/>
                  <a:pt x="1762" y="5625"/>
                  <a:pt x="1838" y="5474"/>
                </a:cubicBezTo>
                <a:cubicBezTo>
                  <a:pt x="1917" y="5516"/>
                  <a:pt x="2010" y="5537"/>
                  <a:pt x="2104" y="5537"/>
                </a:cubicBezTo>
                <a:cubicBezTo>
                  <a:pt x="2219" y="5537"/>
                  <a:pt x="2335" y="5507"/>
                  <a:pt x="2431" y="5448"/>
                </a:cubicBezTo>
                <a:cubicBezTo>
                  <a:pt x="2623" y="5738"/>
                  <a:pt x="2969" y="5948"/>
                  <a:pt x="3307" y="5948"/>
                </a:cubicBezTo>
                <a:cubicBezTo>
                  <a:pt x="3517" y="5948"/>
                  <a:pt x="3724" y="5867"/>
                  <a:pt x="3889" y="5675"/>
                </a:cubicBezTo>
                <a:cubicBezTo>
                  <a:pt x="3955" y="5950"/>
                  <a:pt x="4250" y="6126"/>
                  <a:pt x="4540" y="6126"/>
                </a:cubicBezTo>
                <a:cubicBezTo>
                  <a:pt x="4608" y="6126"/>
                  <a:pt x="4676" y="6116"/>
                  <a:pt x="4741" y="6096"/>
                </a:cubicBezTo>
                <a:cubicBezTo>
                  <a:pt x="5078" y="5999"/>
                  <a:pt x="5308" y="5662"/>
                  <a:pt x="5373" y="5325"/>
                </a:cubicBezTo>
                <a:lnTo>
                  <a:pt x="5373" y="5325"/>
                </a:lnTo>
                <a:cubicBezTo>
                  <a:pt x="5334" y="5529"/>
                  <a:pt x="6037" y="5756"/>
                  <a:pt x="6157" y="5785"/>
                </a:cubicBezTo>
                <a:cubicBezTo>
                  <a:pt x="6211" y="5792"/>
                  <a:pt x="6262" y="5796"/>
                  <a:pt x="6313" y="5796"/>
                </a:cubicBezTo>
                <a:cubicBezTo>
                  <a:pt x="6617" y="5796"/>
                  <a:pt x="6866" y="5672"/>
                  <a:pt x="7155" y="5555"/>
                </a:cubicBezTo>
                <a:cubicBezTo>
                  <a:pt x="7171" y="5662"/>
                  <a:pt x="7252" y="5772"/>
                  <a:pt x="7359" y="5798"/>
                </a:cubicBezTo>
                <a:cubicBezTo>
                  <a:pt x="7381" y="5803"/>
                  <a:pt x="7403" y="5806"/>
                  <a:pt x="7426" y="5806"/>
                </a:cubicBezTo>
                <a:cubicBezTo>
                  <a:pt x="7514" y="5806"/>
                  <a:pt x="7603" y="5766"/>
                  <a:pt x="7657" y="5691"/>
                </a:cubicBezTo>
                <a:cubicBezTo>
                  <a:pt x="7777" y="5853"/>
                  <a:pt x="7981" y="5947"/>
                  <a:pt x="8182" y="5973"/>
                </a:cubicBezTo>
                <a:cubicBezTo>
                  <a:pt x="8219" y="5978"/>
                  <a:pt x="8255" y="5980"/>
                  <a:pt x="8293" y="5980"/>
                </a:cubicBezTo>
                <a:cubicBezTo>
                  <a:pt x="8462" y="5980"/>
                  <a:pt x="8634" y="5935"/>
                  <a:pt x="8791" y="5879"/>
                </a:cubicBezTo>
                <a:cubicBezTo>
                  <a:pt x="9128" y="5772"/>
                  <a:pt x="9504" y="5568"/>
                  <a:pt x="9763" y="5325"/>
                </a:cubicBezTo>
                <a:cubicBezTo>
                  <a:pt x="9883" y="5662"/>
                  <a:pt x="10233" y="5905"/>
                  <a:pt x="10599" y="5905"/>
                </a:cubicBezTo>
                <a:cubicBezTo>
                  <a:pt x="10608" y="5905"/>
                  <a:pt x="10617" y="5905"/>
                  <a:pt x="10627" y="5905"/>
                </a:cubicBezTo>
                <a:cubicBezTo>
                  <a:pt x="10980" y="5905"/>
                  <a:pt x="11331" y="5666"/>
                  <a:pt x="11464" y="5338"/>
                </a:cubicBezTo>
                <a:cubicBezTo>
                  <a:pt x="11477" y="5649"/>
                  <a:pt x="11720" y="5934"/>
                  <a:pt x="12015" y="5999"/>
                </a:cubicBezTo>
                <a:cubicBezTo>
                  <a:pt x="12055" y="6006"/>
                  <a:pt x="12097" y="6009"/>
                  <a:pt x="12138" y="6009"/>
                </a:cubicBezTo>
                <a:cubicBezTo>
                  <a:pt x="12411" y="6009"/>
                  <a:pt x="12681" y="5855"/>
                  <a:pt x="12799" y="5610"/>
                </a:cubicBezTo>
                <a:cubicBezTo>
                  <a:pt x="12922" y="5811"/>
                  <a:pt x="13123" y="5960"/>
                  <a:pt x="13353" y="6054"/>
                </a:cubicBezTo>
                <a:lnTo>
                  <a:pt x="13353" y="34"/>
                </a:lnTo>
                <a:cubicBezTo>
                  <a:pt x="13265" y="11"/>
                  <a:pt x="13180" y="1"/>
                  <a:pt x="13095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9" name="Google Shape;319;p9"/>
          <p:cNvSpPr/>
          <p:nvPr/>
        </p:nvSpPr>
        <p:spPr>
          <a:xfrm>
            <a:off x="7539967" y="6089568"/>
            <a:ext cx="4683636" cy="787233"/>
          </a:xfrm>
          <a:custGeom>
            <a:avLst/>
            <a:gdLst/>
            <a:ahLst/>
            <a:cxnLst/>
            <a:rect l="l" t="t" r="r" b="b"/>
            <a:pathLst>
              <a:path w="7278" h="2110" extrusionOk="0">
                <a:moveTo>
                  <a:pt x="7196" y="1"/>
                </a:moveTo>
                <a:cubicBezTo>
                  <a:pt x="7059" y="1"/>
                  <a:pt x="6916" y="28"/>
                  <a:pt x="6792" y="85"/>
                </a:cubicBezTo>
                <a:cubicBezTo>
                  <a:pt x="6562" y="192"/>
                  <a:pt x="6374" y="354"/>
                  <a:pt x="6225" y="545"/>
                </a:cubicBezTo>
                <a:cubicBezTo>
                  <a:pt x="6131" y="652"/>
                  <a:pt x="6063" y="775"/>
                  <a:pt x="6063" y="895"/>
                </a:cubicBezTo>
                <a:cubicBezTo>
                  <a:pt x="5966" y="827"/>
                  <a:pt x="5855" y="795"/>
                  <a:pt x="5750" y="795"/>
                </a:cubicBezTo>
                <a:cubicBezTo>
                  <a:pt x="5518" y="795"/>
                  <a:pt x="5315" y="953"/>
                  <a:pt x="5360" y="1232"/>
                </a:cubicBezTo>
                <a:cubicBezTo>
                  <a:pt x="5317" y="1168"/>
                  <a:pt x="5236" y="1138"/>
                  <a:pt x="5152" y="1138"/>
                </a:cubicBezTo>
                <a:cubicBezTo>
                  <a:pt x="5077" y="1138"/>
                  <a:pt x="5000" y="1162"/>
                  <a:pt x="4942" y="1206"/>
                </a:cubicBezTo>
                <a:cubicBezTo>
                  <a:pt x="4822" y="1313"/>
                  <a:pt x="4793" y="1462"/>
                  <a:pt x="4793" y="1611"/>
                </a:cubicBezTo>
                <a:cubicBezTo>
                  <a:pt x="4524" y="1436"/>
                  <a:pt x="4242" y="1245"/>
                  <a:pt x="3918" y="1232"/>
                </a:cubicBezTo>
                <a:cubicBezTo>
                  <a:pt x="3910" y="1232"/>
                  <a:pt x="3902" y="1231"/>
                  <a:pt x="3894" y="1231"/>
                </a:cubicBezTo>
                <a:cubicBezTo>
                  <a:pt x="3576" y="1231"/>
                  <a:pt x="3229" y="1482"/>
                  <a:pt x="3296" y="1773"/>
                </a:cubicBezTo>
                <a:cubicBezTo>
                  <a:pt x="3202" y="1637"/>
                  <a:pt x="3092" y="1504"/>
                  <a:pt x="2930" y="1449"/>
                </a:cubicBezTo>
                <a:cubicBezTo>
                  <a:pt x="2896" y="1437"/>
                  <a:pt x="2858" y="1432"/>
                  <a:pt x="2821" y="1432"/>
                </a:cubicBezTo>
                <a:cubicBezTo>
                  <a:pt x="2682" y="1432"/>
                  <a:pt x="2541" y="1509"/>
                  <a:pt x="2541" y="1637"/>
                </a:cubicBezTo>
                <a:cubicBezTo>
                  <a:pt x="2388" y="1511"/>
                  <a:pt x="2173" y="1406"/>
                  <a:pt x="1967" y="1406"/>
                </a:cubicBezTo>
                <a:cubicBezTo>
                  <a:pt x="1955" y="1406"/>
                  <a:pt x="1944" y="1406"/>
                  <a:pt x="1932" y="1407"/>
                </a:cubicBezTo>
                <a:cubicBezTo>
                  <a:pt x="1702" y="1436"/>
                  <a:pt x="1472" y="1611"/>
                  <a:pt x="1501" y="1828"/>
                </a:cubicBezTo>
                <a:cubicBezTo>
                  <a:pt x="1425" y="1700"/>
                  <a:pt x="1278" y="1610"/>
                  <a:pt x="1126" y="1610"/>
                </a:cubicBezTo>
                <a:cubicBezTo>
                  <a:pt x="1116" y="1610"/>
                  <a:pt x="1106" y="1610"/>
                  <a:pt x="1096" y="1611"/>
                </a:cubicBezTo>
                <a:cubicBezTo>
                  <a:pt x="934" y="1624"/>
                  <a:pt x="785" y="1786"/>
                  <a:pt x="811" y="1935"/>
                </a:cubicBezTo>
                <a:cubicBezTo>
                  <a:pt x="728" y="1813"/>
                  <a:pt x="571" y="1744"/>
                  <a:pt x="416" y="1744"/>
                </a:cubicBezTo>
                <a:cubicBezTo>
                  <a:pt x="347" y="1744"/>
                  <a:pt x="279" y="1757"/>
                  <a:pt x="218" y="1786"/>
                </a:cubicBezTo>
                <a:cubicBezTo>
                  <a:pt x="95" y="1854"/>
                  <a:pt x="30" y="1974"/>
                  <a:pt x="1" y="2110"/>
                </a:cubicBezTo>
                <a:lnTo>
                  <a:pt x="7278" y="2110"/>
                </a:lnTo>
                <a:lnTo>
                  <a:pt x="7278" y="4"/>
                </a:lnTo>
                <a:cubicBezTo>
                  <a:pt x="7251" y="2"/>
                  <a:pt x="7224" y="1"/>
                  <a:pt x="719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0" name="Google Shape;320;p9"/>
          <p:cNvSpPr txBox="1">
            <a:spLocks noGrp="1"/>
          </p:cNvSpPr>
          <p:nvPr>
            <p:ph type="title"/>
          </p:nvPr>
        </p:nvSpPr>
        <p:spPr>
          <a:xfrm>
            <a:off x="2336600" y="548895"/>
            <a:ext cx="7518800" cy="8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321" name="Google Shape;321;p9"/>
          <p:cNvSpPr txBox="1">
            <a:spLocks noGrp="1"/>
          </p:cNvSpPr>
          <p:nvPr>
            <p:ph type="subTitle" idx="1"/>
          </p:nvPr>
        </p:nvSpPr>
        <p:spPr>
          <a:xfrm>
            <a:off x="2182267" y="2901833"/>
            <a:ext cx="4435200" cy="236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 sz="2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21921809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10"/>
          <p:cNvSpPr/>
          <p:nvPr/>
        </p:nvSpPr>
        <p:spPr>
          <a:xfrm>
            <a:off x="1" y="2822333"/>
            <a:ext cx="7670060" cy="6858000"/>
          </a:xfrm>
          <a:custGeom>
            <a:avLst/>
            <a:gdLst/>
            <a:ahLst/>
            <a:cxnLst/>
            <a:rect l="l" t="t" r="r" b="b"/>
            <a:pathLst>
              <a:path w="2281" h="2858" extrusionOk="0">
                <a:moveTo>
                  <a:pt x="194" y="1"/>
                </a:moveTo>
                <a:cubicBezTo>
                  <a:pt x="112" y="1"/>
                  <a:pt x="55" y="30"/>
                  <a:pt x="0" y="85"/>
                </a:cubicBezTo>
                <a:lnTo>
                  <a:pt x="0" y="2693"/>
                </a:lnTo>
                <a:lnTo>
                  <a:pt x="687" y="2693"/>
                </a:lnTo>
                <a:cubicBezTo>
                  <a:pt x="808" y="2811"/>
                  <a:pt x="989" y="2857"/>
                  <a:pt x="1162" y="2857"/>
                </a:cubicBezTo>
                <a:cubicBezTo>
                  <a:pt x="1184" y="2857"/>
                  <a:pt x="1206" y="2856"/>
                  <a:pt x="1228" y="2855"/>
                </a:cubicBezTo>
                <a:cubicBezTo>
                  <a:pt x="1348" y="2839"/>
                  <a:pt x="1458" y="2813"/>
                  <a:pt x="1565" y="2745"/>
                </a:cubicBezTo>
                <a:cubicBezTo>
                  <a:pt x="1659" y="2677"/>
                  <a:pt x="1727" y="2570"/>
                  <a:pt x="1727" y="2450"/>
                </a:cubicBezTo>
                <a:cubicBezTo>
                  <a:pt x="1769" y="2461"/>
                  <a:pt x="1813" y="2467"/>
                  <a:pt x="1856" y="2467"/>
                </a:cubicBezTo>
                <a:cubicBezTo>
                  <a:pt x="1968" y="2467"/>
                  <a:pt x="2077" y="2428"/>
                  <a:pt x="2145" y="2340"/>
                </a:cubicBezTo>
                <a:cubicBezTo>
                  <a:pt x="2239" y="2220"/>
                  <a:pt x="2239" y="2029"/>
                  <a:pt x="2119" y="1922"/>
                </a:cubicBezTo>
                <a:cubicBezTo>
                  <a:pt x="2187" y="1896"/>
                  <a:pt x="2268" y="1854"/>
                  <a:pt x="2268" y="1786"/>
                </a:cubicBezTo>
                <a:cubicBezTo>
                  <a:pt x="2281" y="1734"/>
                  <a:pt x="2239" y="1679"/>
                  <a:pt x="2187" y="1653"/>
                </a:cubicBezTo>
                <a:cubicBezTo>
                  <a:pt x="2132" y="1624"/>
                  <a:pt x="2077" y="1611"/>
                  <a:pt x="2025" y="1611"/>
                </a:cubicBezTo>
                <a:cubicBezTo>
                  <a:pt x="2132" y="1611"/>
                  <a:pt x="2213" y="1504"/>
                  <a:pt x="2213" y="1397"/>
                </a:cubicBezTo>
                <a:cubicBezTo>
                  <a:pt x="2200" y="1287"/>
                  <a:pt x="2132" y="1193"/>
                  <a:pt x="2038" y="1138"/>
                </a:cubicBezTo>
                <a:cubicBezTo>
                  <a:pt x="1957" y="1086"/>
                  <a:pt x="1847" y="1057"/>
                  <a:pt x="1740" y="1057"/>
                </a:cubicBezTo>
                <a:cubicBezTo>
                  <a:pt x="1782" y="1005"/>
                  <a:pt x="1795" y="937"/>
                  <a:pt x="1753" y="882"/>
                </a:cubicBezTo>
                <a:cubicBezTo>
                  <a:pt x="1725" y="844"/>
                  <a:pt x="1674" y="818"/>
                  <a:pt x="1627" y="818"/>
                </a:cubicBezTo>
                <a:cubicBezTo>
                  <a:pt x="1610" y="818"/>
                  <a:pt x="1593" y="822"/>
                  <a:pt x="1578" y="830"/>
                </a:cubicBezTo>
                <a:cubicBezTo>
                  <a:pt x="1672" y="668"/>
                  <a:pt x="1578" y="425"/>
                  <a:pt x="1416" y="357"/>
                </a:cubicBezTo>
                <a:cubicBezTo>
                  <a:pt x="1365" y="333"/>
                  <a:pt x="1309" y="322"/>
                  <a:pt x="1253" y="322"/>
                </a:cubicBezTo>
                <a:cubicBezTo>
                  <a:pt x="1117" y="322"/>
                  <a:pt x="980" y="387"/>
                  <a:pt x="904" y="490"/>
                </a:cubicBezTo>
                <a:cubicBezTo>
                  <a:pt x="904" y="409"/>
                  <a:pt x="862" y="328"/>
                  <a:pt x="781" y="289"/>
                </a:cubicBezTo>
                <a:cubicBezTo>
                  <a:pt x="758" y="275"/>
                  <a:pt x="731" y="269"/>
                  <a:pt x="703" y="269"/>
                </a:cubicBezTo>
                <a:cubicBezTo>
                  <a:pt x="647" y="269"/>
                  <a:pt x="588" y="293"/>
                  <a:pt x="551" y="328"/>
                </a:cubicBezTo>
                <a:cubicBezTo>
                  <a:pt x="538" y="234"/>
                  <a:pt x="499" y="140"/>
                  <a:pt x="431" y="72"/>
                </a:cubicBezTo>
                <a:cubicBezTo>
                  <a:pt x="405" y="46"/>
                  <a:pt x="376" y="33"/>
                  <a:pt x="350" y="20"/>
                </a:cubicBezTo>
                <a:cubicBezTo>
                  <a:pt x="324" y="4"/>
                  <a:pt x="282" y="4"/>
                  <a:pt x="243" y="4"/>
                </a:cubicBezTo>
                <a:cubicBezTo>
                  <a:pt x="226" y="2"/>
                  <a:pt x="210" y="1"/>
                  <a:pt x="194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4" name="Google Shape;324;p10"/>
          <p:cNvSpPr txBox="1">
            <a:spLocks noGrp="1"/>
          </p:cNvSpPr>
          <p:nvPr>
            <p:ph type="title"/>
          </p:nvPr>
        </p:nvSpPr>
        <p:spPr>
          <a:xfrm>
            <a:off x="960000" y="4895933"/>
            <a:ext cx="4361600" cy="124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8313515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Google Shape;326;p11"/>
          <p:cNvSpPr/>
          <p:nvPr/>
        </p:nvSpPr>
        <p:spPr>
          <a:xfrm>
            <a:off x="-47167" y="2748407"/>
            <a:ext cx="2945241" cy="1889959"/>
          </a:xfrm>
          <a:custGeom>
            <a:avLst/>
            <a:gdLst/>
            <a:ahLst/>
            <a:cxnLst/>
            <a:rect l="l" t="t" r="r" b="b"/>
            <a:pathLst>
              <a:path w="9746" h="6254" extrusionOk="0">
                <a:moveTo>
                  <a:pt x="0" y="1"/>
                </a:moveTo>
                <a:lnTo>
                  <a:pt x="0" y="6092"/>
                </a:lnTo>
                <a:cubicBezTo>
                  <a:pt x="39" y="6131"/>
                  <a:pt x="94" y="6157"/>
                  <a:pt x="162" y="6186"/>
                </a:cubicBezTo>
                <a:cubicBezTo>
                  <a:pt x="282" y="6238"/>
                  <a:pt x="405" y="6254"/>
                  <a:pt x="541" y="6254"/>
                </a:cubicBezTo>
                <a:cubicBezTo>
                  <a:pt x="849" y="6254"/>
                  <a:pt x="1160" y="6092"/>
                  <a:pt x="1335" y="5833"/>
                </a:cubicBezTo>
                <a:cubicBezTo>
                  <a:pt x="1371" y="6021"/>
                  <a:pt x="1570" y="6139"/>
                  <a:pt x="1763" y="6139"/>
                </a:cubicBezTo>
                <a:cubicBezTo>
                  <a:pt x="1792" y="6139"/>
                  <a:pt x="1822" y="6136"/>
                  <a:pt x="1850" y="6131"/>
                </a:cubicBezTo>
                <a:cubicBezTo>
                  <a:pt x="2064" y="6076"/>
                  <a:pt x="2242" y="5930"/>
                  <a:pt x="2388" y="5781"/>
                </a:cubicBezTo>
                <a:cubicBezTo>
                  <a:pt x="2709" y="6054"/>
                  <a:pt x="3132" y="6222"/>
                  <a:pt x="3560" y="6222"/>
                </a:cubicBezTo>
                <a:cubicBezTo>
                  <a:pt x="3619" y="6222"/>
                  <a:pt x="3679" y="6219"/>
                  <a:pt x="3739" y="6212"/>
                </a:cubicBezTo>
                <a:cubicBezTo>
                  <a:pt x="4225" y="6173"/>
                  <a:pt x="4685" y="5930"/>
                  <a:pt x="4980" y="5551"/>
                </a:cubicBezTo>
                <a:cubicBezTo>
                  <a:pt x="5085" y="5759"/>
                  <a:pt x="5328" y="5857"/>
                  <a:pt x="5556" y="5857"/>
                </a:cubicBezTo>
                <a:cubicBezTo>
                  <a:pt x="5595" y="5857"/>
                  <a:pt x="5633" y="5855"/>
                  <a:pt x="5670" y="5849"/>
                </a:cubicBezTo>
                <a:cubicBezTo>
                  <a:pt x="5939" y="5807"/>
                  <a:pt x="6169" y="5658"/>
                  <a:pt x="6399" y="5509"/>
                </a:cubicBezTo>
                <a:cubicBezTo>
                  <a:pt x="6464" y="5683"/>
                  <a:pt x="6653" y="5781"/>
                  <a:pt x="6838" y="5781"/>
                </a:cubicBezTo>
                <a:cubicBezTo>
                  <a:pt x="6955" y="5781"/>
                  <a:pt x="7071" y="5742"/>
                  <a:pt x="7154" y="5658"/>
                </a:cubicBezTo>
                <a:cubicBezTo>
                  <a:pt x="7291" y="5764"/>
                  <a:pt x="7465" y="5815"/>
                  <a:pt x="7640" y="5815"/>
                </a:cubicBezTo>
                <a:cubicBezTo>
                  <a:pt x="7844" y="5815"/>
                  <a:pt x="8049" y="5744"/>
                  <a:pt x="8194" y="5606"/>
                </a:cubicBezTo>
                <a:cubicBezTo>
                  <a:pt x="8274" y="5684"/>
                  <a:pt x="8385" y="5725"/>
                  <a:pt x="8496" y="5725"/>
                </a:cubicBezTo>
                <a:cubicBezTo>
                  <a:pt x="8591" y="5725"/>
                  <a:pt x="8686" y="5695"/>
                  <a:pt x="8761" y="5632"/>
                </a:cubicBezTo>
                <a:cubicBezTo>
                  <a:pt x="8798" y="5704"/>
                  <a:pt x="8883" y="5727"/>
                  <a:pt x="8971" y="5727"/>
                </a:cubicBezTo>
                <a:cubicBezTo>
                  <a:pt x="9014" y="5727"/>
                  <a:pt x="9058" y="5721"/>
                  <a:pt x="9098" y="5713"/>
                </a:cubicBezTo>
                <a:cubicBezTo>
                  <a:pt x="9260" y="5700"/>
                  <a:pt x="9435" y="5671"/>
                  <a:pt x="9597" y="5645"/>
                </a:cubicBezTo>
                <a:cubicBezTo>
                  <a:pt x="9626" y="5645"/>
                  <a:pt x="9652" y="5632"/>
                  <a:pt x="9678" y="5619"/>
                </a:cubicBezTo>
                <a:cubicBezTo>
                  <a:pt x="9746" y="5551"/>
                  <a:pt x="9626" y="5457"/>
                  <a:pt x="9532" y="5457"/>
                </a:cubicBezTo>
                <a:cubicBezTo>
                  <a:pt x="9435" y="5457"/>
                  <a:pt x="9328" y="5483"/>
                  <a:pt x="9247" y="5538"/>
                </a:cubicBezTo>
                <a:cubicBezTo>
                  <a:pt x="9227" y="5452"/>
                  <a:pt x="9148" y="5402"/>
                  <a:pt x="9070" y="5402"/>
                </a:cubicBezTo>
                <a:cubicBezTo>
                  <a:pt x="9047" y="5402"/>
                  <a:pt x="9025" y="5406"/>
                  <a:pt x="9004" y="5415"/>
                </a:cubicBezTo>
                <a:cubicBezTo>
                  <a:pt x="8978" y="5444"/>
                  <a:pt x="8949" y="5457"/>
                  <a:pt x="8923" y="5470"/>
                </a:cubicBezTo>
                <a:cubicBezTo>
                  <a:pt x="8916" y="5471"/>
                  <a:pt x="8910" y="5472"/>
                  <a:pt x="8903" y="5472"/>
                </a:cubicBezTo>
                <a:cubicBezTo>
                  <a:pt x="8833" y="5472"/>
                  <a:pt x="8783" y="5410"/>
                  <a:pt x="8735" y="5363"/>
                </a:cubicBezTo>
                <a:cubicBezTo>
                  <a:pt x="8599" y="5201"/>
                  <a:pt x="8437" y="5065"/>
                  <a:pt x="8236" y="5010"/>
                </a:cubicBezTo>
                <a:cubicBezTo>
                  <a:pt x="8180" y="4996"/>
                  <a:pt x="8123" y="4988"/>
                  <a:pt x="8066" y="4988"/>
                </a:cubicBezTo>
                <a:cubicBezTo>
                  <a:pt x="7913" y="4988"/>
                  <a:pt x="7761" y="5041"/>
                  <a:pt x="7653" y="5159"/>
                </a:cubicBezTo>
                <a:cubicBezTo>
                  <a:pt x="7721" y="5078"/>
                  <a:pt x="7303" y="4848"/>
                  <a:pt x="7248" y="4835"/>
                </a:cubicBezTo>
                <a:cubicBezTo>
                  <a:pt x="7178" y="4810"/>
                  <a:pt x="7108" y="4795"/>
                  <a:pt x="7040" y="4795"/>
                </a:cubicBezTo>
                <a:cubicBezTo>
                  <a:pt x="6927" y="4795"/>
                  <a:pt x="6821" y="4835"/>
                  <a:pt x="6736" y="4929"/>
                </a:cubicBezTo>
                <a:cubicBezTo>
                  <a:pt x="6655" y="4537"/>
                  <a:pt x="6344" y="4200"/>
                  <a:pt x="5952" y="4106"/>
                </a:cubicBezTo>
                <a:cubicBezTo>
                  <a:pt x="5874" y="4087"/>
                  <a:pt x="5794" y="4078"/>
                  <a:pt x="5714" y="4078"/>
                </a:cubicBezTo>
                <a:cubicBezTo>
                  <a:pt x="5392" y="4078"/>
                  <a:pt x="5067" y="4223"/>
                  <a:pt x="4873" y="4472"/>
                </a:cubicBezTo>
                <a:cubicBezTo>
                  <a:pt x="4873" y="4275"/>
                  <a:pt x="4674" y="4135"/>
                  <a:pt x="4483" y="4135"/>
                </a:cubicBezTo>
                <a:cubicBezTo>
                  <a:pt x="4410" y="4135"/>
                  <a:pt x="4339" y="4155"/>
                  <a:pt x="4280" y="4200"/>
                </a:cubicBezTo>
                <a:cubicBezTo>
                  <a:pt x="4307" y="3976"/>
                  <a:pt x="4076" y="3810"/>
                  <a:pt x="3865" y="3810"/>
                </a:cubicBezTo>
                <a:cubicBezTo>
                  <a:pt x="3771" y="3810"/>
                  <a:pt x="3681" y="3843"/>
                  <a:pt x="3619" y="3918"/>
                </a:cubicBezTo>
                <a:cubicBezTo>
                  <a:pt x="3765" y="3458"/>
                  <a:pt x="3551" y="2904"/>
                  <a:pt x="3133" y="2690"/>
                </a:cubicBezTo>
                <a:cubicBezTo>
                  <a:pt x="2993" y="2620"/>
                  <a:pt x="2838" y="2587"/>
                  <a:pt x="2683" y="2587"/>
                </a:cubicBezTo>
                <a:cubicBezTo>
                  <a:pt x="2358" y="2587"/>
                  <a:pt x="2032" y="2734"/>
                  <a:pt x="1850" y="2998"/>
                </a:cubicBezTo>
                <a:cubicBezTo>
                  <a:pt x="1837" y="2674"/>
                  <a:pt x="1837" y="2337"/>
                  <a:pt x="1675" y="2055"/>
                </a:cubicBezTo>
                <a:cubicBezTo>
                  <a:pt x="1540" y="1839"/>
                  <a:pt x="1299" y="1679"/>
                  <a:pt x="1060" y="1679"/>
                </a:cubicBezTo>
                <a:cubicBezTo>
                  <a:pt x="984" y="1679"/>
                  <a:pt x="908" y="1695"/>
                  <a:pt x="836" y="1731"/>
                </a:cubicBezTo>
                <a:cubicBezTo>
                  <a:pt x="983" y="1498"/>
                  <a:pt x="753" y="1153"/>
                  <a:pt x="486" y="1153"/>
                </a:cubicBezTo>
                <a:cubicBezTo>
                  <a:pt x="459" y="1153"/>
                  <a:pt x="432" y="1157"/>
                  <a:pt x="405" y="1164"/>
                </a:cubicBezTo>
                <a:cubicBezTo>
                  <a:pt x="593" y="1109"/>
                  <a:pt x="486" y="584"/>
                  <a:pt x="431" y="474"/>
                </a:cubicBezTo>
                <a:cubicBezTo>
                  <a:pt x="350" y="260"/>
                  <a:pt x="188" y="98"/>
                  <a:pt x="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7" name="Google Shape;327;p11"/>
          <p:cNvSpPr/>
          <p:nvPr/>
        </p:nvSpPr>
        <p:spPr>
          <a:xfrm>
            <a:off x="-165295" y="3841842"/>
            <a:ext cx="12499755" cy="945404"/>
          </a:xfrm>
          <a:custGeom>
            <a:avLst/>
            <a:gdLst/>
            <a:ahLst/>
            <a:cxnLst/>
            <a:rect l="l" t="t" r="r" b="b"/>
            <a:pathLst>
              <a:path w="47603" h="5412" extrusionOk="0">
                <a:moveTo>
                  <a:pt x="36217" y="1"/>
                </a:moveTo>
                <a:cubicBezTo>
                  <a:pt x="34122" y="1"/>
                  <a:pt x="32206" y="1117"/>
                  <a:pt x="30593" y="1848"/>
                </a:cubicBezTo>
                <a:cubicBezTo>
                  <a:pt x="28988" y="2571"/>
                  <a:pt x="26764" y="3064"/>
                  <a:pt x="24764" y="3064"/>
                </a:cubicBezTo>
                <a:cubicBezTo>
                  <a:pt x="24713" y="3064"/>
                  <a:pt x="24662" y="3064"/>
                  <a:pt x="24612" y="3063"/>
                </a:cubicBezTo>
                <a:cubicBezTo>
                  <a:pt x="22331" y="3021"/>
                  <a:pt x="20361" y="2428"/>
                  <a:pt x="18579" y="1537"/>
                </a:cubicBezTo>
                <a:cubicBezTo>
                  <a:pt x="17746" y="1121"/>
                  <a:pt x="16926" y="962"/>
                  <a:pt x="16098" y="962"/>
                </a:cubicBezTo>
                <a:cubicBezTo>
                  <a:pt x="14857" y="962"/>
                  <a:pt x="13597" y="1318"/>
                  <a:pt x="12245" y="1699"/>
                </a:cubicBezTo>
                <a:cubicBezTo>
                  <a:pt x="10518" y="2185"/>
                  <a:pt x="10398" y="2820"/>
                  <a:pt x="474" y="4009"/>
                </a:cubicBezTo>
                <a:cubicBezTo>
                  <a:pt x="474" y="4521"/>
                  <a:pt x="1" y="5412"/>
                  <a:pt x="811" y="5412"/>
                </a:cubicBezTo>
                <a:lnTo>
                  <a:pt x="46563" y="5412"/>
                </a:lnTo>
                <a:cubicBezTo>
                  <a:pt x="47062" y="5412"/>
                  <a:pt x="47480" y="2522"/>
                  <a:pt x="47603" y="2065"/>
                </a:cubicBezTo>
                <a:cubicBezTo>
                  <a:pt x="45970" y="1955"/>
                  <a:pt x="44256" y="1874"/>
                  <a:pt x="42743" y="1443"/>
                </a:cubicBezTo>
                <a:cubicBezTo>
                  <a:pt x="40676" y="850"/>
                  <a:pt x="38868" y="160"/>
                  <a:pt x="36561" y="11"/>
                </a:cubicBezTo>
                <a:cubicBezTo>
                  <a:pt x="36446" y="4"/>
                  <a:pt x="36331" y="1"/>
                  <a:pt x="36217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8" name="Google Shape;328;p11"/>
          <p:cNvSpPr/>
          <p:nvPr/>
        </p:nvSpPr>
        <p:spPr>
          <a:xfrm>
            <a:off x="2186075" y="4192761"/>
            <a:ext cx="10111199" cy="1351865"/>
          </a:xfrm>
          <a:custGeom>
            <a:avLst/>
            <a:gdLst/>
            <a:ahLst/>
            <a:cxnLst/>
            <a:rect l="l" t="t" r="r" b="b"/>
            <a:pathLst>
              <a:path w="40877" h="7230" extrusionOk="0">
                <a:moveTo>
                  <a:pt x="40877" y="0"/>
                </a:moveTo>
                <a:cubicBezTo>
                  <a:pt x="38042" y="81"/>
                  <a:pt x="35058" y="201"/>
                  <a:pt x="31980" y="376"/>
                </a:cubicBezTo>
                <a:cubicBezTo>
                  <a:pt x="14189" y="1364"/>
                  <a:pt x="1" y="3603"/>
                  <a:pt x="296" y="5359"/>
                </a:cubicBezTo>
                <a:cubicBezTo>
                  <a:pt x="498" y="6559"/>
                  <a:pt x="7302" y="7230"/>
                  <a:pt x="17211" y="7230"/>
                </a:cubicBezTo>
                <a:cubicBezTo>
                  <a:pt x="21911" y="7230"/>
                  <a:pt x="27309" y="7079"/>
                  <a:pt x="33033" y="6762"/>
                </a:cubicBezTo>
                <a:cubicBezTo>
                  <a:pt x="35748" y="6600"/>
                  <a:pt x="38379" y="6425"/>
                  <a:pt x="40877" y="6224"/>
                </a:cubicBezTo>
                <a:lnTo>
                  <a:pt x="40877" y="0"/>
                </a:ln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9" name="Google Shape;329;p11"/>
          <p:cNvSpPr/>
          <p:nvPr/>
        </p:nvSpPr>
        <p:spPr>
          <a:xfrm>
            <a:off x="-77719" y="4521842"/>
            <a:ext cx="12412149" cy="1873913"/>
          </a:xfrm>
          <a:custGeom>
            <a:avLst/>
            <a:gdLst/>
            <a:ahLst/>
            <a:cxnLst/>
            <a:rect l="l" t="t" r="r" b="b"/>
            <a:pathLst>
              <a:path w="49599" h="10022" extrusionOk="0">
                <a:moveTo>
                  <a:pt x="3334" y="1"/>
                </a:moveTo>
                <a:cubicBezTo>
                  <a:pt x="2192" y="1"/>
                  <a:pt x="1080" y="8"/>
                  <a:pt x="1" y="22"/>
                </a:cubicBezTo>
                <a:lnTo>
                  <a:pt x="1" y="7811"/>
                </a:lnTo>
                <a:cubicBezTo>
                  <a:pt x="5833" y="8514"/>
                  <a:pt x="12624" y="9107"/>
                  <a:pt x="19914" y="9499"/>
                </a:cubicBezTo>
                <a:cubicBezTo>
                  <a:pt x="26275" y="9854"/>
                  <a:pt x="32318" y="10022"/>
                  <a:pt x="37716" y="10022"/>
                </a:cubicBezTo>
                <a:cubicBezTo>
                  <a:pt x="42180" y="10022"/>
                  <a:pt x="46202" y="9907"/>
                  <a:pt x="49599" y="9687"/>
                </a:cubicBezTo>
                <a:lnTo>
                  <a:pt x="49599" y="3382"/>
                </a:lnTo>
                <a:cubicBezTo>
                  <a:pt x="42445" y="2180"/>
                  <a:pt x="32495" y="1127"/>
                  <a:pt x="21411" y="521"/>
                </a:cubicBezTo>
                <a:cubicBezTo>
                  <a:pt x="14945" y="164"/>
                  <a:pt x="8802" y="1"/>
                  <a:pt x="3334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0" name="Google Shape;330;p11"/>
          <p:cNvSpPr/>
          <p:nvPr/>
        </p:nvSpPr>
        <p:spPr>
          <a:xfrm>
            <a:off x="4361557" y="4958520"/>
            <a:ext cx="1435659" cy="298233"/>
          </a:xfrm>
          <a:custGeom>
            <a:avLst/>
            <a:gdLst/>
            <a:ahLst/>
            <a:cxnLst/>
            <a:rect l="l" t="t" r="r" b="b"/>
            <a:pathLst>
              <a:path w="5804" h="1595" extrusionOk="0">
                <a:moveTo>
                  <a:pt x="3212" y="1135"/>
                </a:moveTo>
                <a:cubicBezTo>
                  <a:pt x="3215" y="1138"/>
                  <a:pt x="3217" y="1139"/>
                  <a:pt x="3218" y="1139"/>
                </a:cubicBezTo>
                <a:cubicBezTo>
                  <a:pt x="3219" y="1139"/>
                  <a:pt x="3219" y="1137"/>
                  <a:pt x="3218" y="1135"/>
                </a:cubicBezTo>
                <a:close/>
                <a:moveTo>
                  <a:pt x="2094" y="1"/>
                </a:moveTo>
                <a:cubicBezTo>
                  <a:pt x="2052" y="1"/>
                  <a:pt x="2026" y="43"/>
                  <a:pt x="1997" y="43"/>
                </a:cubicBezTo>
                <a:cubicBezTo>
                  <a:pt x="1971" y="43"/>
                  <a:pt x="1932" y="56"/>
                  <a:pt x="1903" y="56"/>
                </a:cubicBezTo>
                <a:cubicBezTo>
                  <a:pt x="1877" y="56"/>
                  <a:pt x="1851" y="43"/>
                  <a:pt x="1809" y="43"/>
                </a:cubicBezTo>
                <a:lnTo>
                  <a:pt x="1715" y="43"/>
                </a:lnTo>
                <a:cubicBezTo>
                  <a:pt x="1710" y="45"/>
                  <a:pt x="1705" y="46"/>
                  <a:pt x="1700" y="46"/>
                </a:cubicBezTo>
                <a:cubicBezTo>
                  <a:pt x="1678" y="46"/>
                  <a:pt x="1653" y="27"/>
                  <a:pt x="1621" y="27"/>
                </a:cubicBezTo>
                <a:cubicBezTo>
                  <a:pt x="1592" y="27"/>
                  <a:pt x="1566" y="95"/>
                  <a:pt x="1540" y="95"/>
                </a:cubicBezTo>
                <a:cubicBezTo>
                  <a:pt x="1511" y="108"/>
                  <a:pt x="1485" y="108"/>
                  <a:pt x="1459" y="124"/>
                </a:cubicBezTo>
                <a:cubicBezTo>
                  <a:pt x="1422" y="124"/>
                  <a:pt x="1388" y="92"/>
                  <a:pt x="1361" y="92"/>
                </a:cubicBezTo>
                <a:cubicBezTo>
                  <a:pt x="1357" y="92"/>
                  <a:pt x="1353" y="93"/>
                  <a:pt x="1349" y="95"/>
                </a:cubicBezTo>
                <a:cubicBezTo>
                  <a:pt x="1323" y="95"/>
                  <a:pt x="1297" y="108"/>
                  <a:pt x="1268" y="108"/>
                </a:cubicBezTo>
                <a:cubicBezTo>
                  <a:pt x="1229" y="124"/>
                  <a:pt x="1229" y="189"/>
                  <a:pt x="1203" y="189"/>
                </a:cubicBezTo>
                <a:cubicBezTo>
                  <a:pt x="1196" y="192"/>
                  <a:pt x="1189" y="193"/>
                  <a:pt x="1181" y="193"/>
                </a:cubicBezTo>
                <a:cubicBezTo>
                  <a:pt x="1150" y="193"/>
                  <a:pt x="1115" y="173"/>
                  <a:pt x="1092" y="173"/>
                </a:cubicBezTo>
                <a:cubicBezTo>
                  <a:pt x="1087" y="173"/>
                  <a:pt x="1083" y="174"/>
                  <a:pt x="1080" y="176"/>
                </a:cubicBezTo>
                <a:cubicBezTo>
                  <a:pt x="1054" y="205"/>
                  <a:pt x="1041" y="257"/>
                  <a:pt x="1041" y="270"/>
                </a:cubicBezTo>
                <a:cubicBezTo>
                  <a:pt x="1041" y="299"/>
                  <a:pt x="1067" y="325"/>
                  <a:pt x="1080" y="351"/>
                </a:cubicBezTo>
                <a:cubicBezTo>
                  <a:pt x="1093" y="367"/>
                  <a:pt x="1135" y="380"/>
                  <a:pt x="1161" y="393"/>
                </a:cubicBezTo>
                <a:cubicBezTo>
                  <a:pt x="1135" y="393"/>
                  <a:pt x="1080" y="406"/>
                  <a:pt x="1054" y="406"/>
                </a:cubicBezTo>
                <a:cubicBezTo>
                  <a:pt x="1025" y="406"/>
                  <a:pt x="999" y="380"/>
                  <a:pt x="960" y="380"/>
                </a:cubicBezTo>
                <a:cubicBezTo>
                  <a:pt x="931" y="380"/>
                  <a:pt x="905" y="432"/>
                  <a:pt x="879" y="432"/>
                </a:cubicBezTo>
                <a:cubicBezTo>
                  <a:pt x="853" y="432"/>
                  <a:pt x="819" y="391"/>
                  <a:pt x="792" y="391"/>
                </a:cubicBezTo>
                <a:cubicBezTo>
                  <a:pt x="788" y="391"/>
                  <a:pt x="785" y="392"/>
                  <a:pt x="782" y="393"/>
                </a:cubicBezTo>
                <a:lnTo>
                  <a:pt x="688" y="393"/>
                </a:lnTo>
                <a:cubicBezTo>
                  <a:pt x="662" y="393"/>
                  <a:pt x="636" y="419"/>
                  <a:pt x="607" y="432"/>
                </a:cubicBezTo>
                <a:cubicBezTo>
                  <a:pt x="576" y="432"/>
                  <a:pt x="551" y="415"/>
                  <a:pt x="529" y="415"/>
                </a:cubicBezTo>
                <a:cubicBezTo>
                  <a:pt x="523" y="415"/>
                  <a:pt x="518" y="416"/>
                  <a:pt x="513" y="419"/>
                </a:cubicBezTo>
                <a:cubicBezTo>
                  <a:pt x="474" y="419"/>
                  <a:pt x="445" y="448"/>
                  <a:pt x="419" y="448"/>
                </a:cubicBezTo>
                <a:cubicBezTo>
                  <a:pt x="410" y="452"/>
                  <a:pt x="400" y="454"/>
                  <a:pt x="389" y="454"/>
                </a:cubicBezTo>
                <a:cubicBezTo>
                  <a:pt x="367" y="454"/>
                  <a:pt x="342" y="448"/>
                  <a:pt x="325" y="448"/>
                </a:cubicBezTo>
                <a:cubicBezTo>
                  <a:pt x="296" y="461"/>
                  <a:pt x="283" y="500"/>
                  <a:pt x="257" y="513"/>
                </a:cubicBezTo>
                <a:cubicBezTo>
                  <a:pt x="215" y="513"/>
                  <a:pt x="189" y="542"/>
                  <a:pt x="176" y="542"/>
                </a:cubicBezTo>
                <a:cubicBezTo>
                  <a:pt x="155" y="548"/>
                  <a:pt x="135" y="548"/>
                  <a:pt x="116" y="548"/>
                </a:cubicBezTo>
                <a:cubicBezTo>
                  <a:pt x="98" y="548"/>
                  <a:pt x="82" y="548"/>
                  <a:pt x="69" y="555"/>
                </a:cubicBezTo>
                <a:cubicBezTo>
                  <a:pt x="40" y="581"/>
                  <a:pt x="1" y="610"/>
                  <a:pt x="1" y="636"/>
                </a:cubicBezTo>
                <a:cubicBezTo>
                  <a:pt x="1" y="662"/>
                  <a:pt x="27" y="717"/>
                  <a:pt x="53" y="743"/>
                </a:cubicBezTo>
                <a:cubicBezTo>
                  <a:pt x="82" y="756"/>
                  <a:pt x="121" y="756"/>
                  <a:pt x="150" y="772"/>
                </a:cubicBezTo>
                <a:cubicBezTo>
                  <a:pt x="163" y="779"/>
                  <a:pt x="179" y="779"/>
                  <a:pt x="196" y="779"/>
                </a:cubicBezTo>
                <a:cubicBezTo>
                  <a:pt x="212" y="779"/>
                  <a:pt x="229" y="779"/>
                  <a:pt x="244" y="785"/>
                </a:cubicBezTo>
                <a:cubicBezTo>
                  <a:pt x="270" y="798"/>
                  <a:pt x="296" y="811"/>
                  <a:pt x="338" y="824"/>
                </a:cubicBezTo>
                <a:cubicBezTo>
                  <a:pt x="364" y="824"/>
                  <a:pt x="377" y="879"/>
                  <a:pt x="406" y="892"/>
                </a:cubicBezTo>
                <a:cubicBezTo>
                  <a:pt x="437" y="892"/>
                  <a:pt x="470" y="875"/>
                  <a:pt x="495" y="875"/>
                </a:cubicBezTo>
                <a:cubicBezTo>
                  <a:pt x="502" y="875"/>
                  <a:pt x="508" y="876"/>
                  <a:pt x="513" y="879"/>
                </a:cubicBezTo>
                <a:cubicBezTo>
                  <a:pt x="539" y="879"/>
                  <a:pt x="568" y="905"/>
                  <a:pt x="594" y="918"/>
                </a:cubicBezTo>
                <a:cubicBezTo>
                  <a:pt x="620" y="918"/>
                  <a:pt x="662" y="905"/>
                  <a:pt x="688" y="905"/>
                </a:cubicBezTo>
                <a:cubicBezTo>
                  <a:pt x="730" y="918"/>
                  <a:pt x="756" y="960"/>
                  <a:pt x="782" y="960"/>
                </a:cubicBezTo>
                <a:cubicBezTo>
                  <a:pt x="811" y="973"/>
                  <a:pt x="837" y="986"/>
                  <a:pt x="879" y="986"/>
                </a:cubicBezTo>
                <a:cubicBezTo>
                  <a:pt x="905" y="986"/>
                  <a:pt x="944" y="960"/>
                  <a:pt x="973" y="960"/>
                </a:cubicBezTo>
                <a:cubicBezTo>
                  <a:pt x="999" y="973"/>
                  <a:pt x="1054" y="973"/>
                  <a:pt x="1080" y="973"/>
                </a:cubicBezTo>
                <a:cubicBezTo>
                  <a:pt x="1054" y="986"/>
                  <a:pt x="999" y="1015"/>
                  <a:pt x="999" y="1041"/>
                </a:cubicBezTo>
                <a:cubicBezTo>
                  <a:pt x="999" y="1054"/>
                  <a:pt x="999" y="1067"/>
                  <a:pt x="1025" y="1096"/>
                </a:cubicBezTo>
                <a:cubicBezTo>
                  <a:pt x="986" y="1096"/>
                  <a:pt x="999" y="1122"/>
                  <a:pt x="960" y="1122"/>
                </a:cubicBezTo>
                <a:cubicBezTo>
                  <a:pt x="931" y="1122"/>
                  <a:pt x="905" y="1080"/>
                  <a:pt x="863" y="1080"/>
                </a:cubicBezTo>
                <a:cubicBezTo>
                  <a:pt x="837" y="1080"/>
                  <a:pt x="811" y="1135"/>
                  <a:pt x="782" y="1135"/>
                </a:cubicBezTo>
                <a:cubicBezTo>
                  <a:pt x="743" y="1135"/>
                  <a:pt x="717" y="1109"/>
                  <a:pt x="688" y="1109"/>
                </a:cubicBezTo>
                <a:cubicBezTo>
                  <a:pt x="649" y="1109"/>
                  <a:pt x="620" y="1096"/>
                  <a:pt x="594" y="1096"/>
                </a:cubicBezTo>
                <a:cubicBezTo>
                  <a:pt x="555" y="1109"/>
                  <a:pt x="526" y="1122"/>
                  <a:pt x="500" y="1122"/>
                </a:cubicBezTo>
                <a:cubicBezTo>
                  <a:pt x="494" y="1124"/>
                  <a:pt x="488" y="1125"/>
                  <a:pt x="482" y="1125"/>
                </a:cubicBezTo>
                <a:cubicBezTo>
                  <a:pt x="455" y="1125"/>
                  <a:pt x="434" y="1106"/>
                  <a:pt x="409" y="1106"/>
                </a:cubicBezTo>
                <a:cubicBezTo>
                  <a:pt x="404" y="1106"/>
                  <a:pt x="399" y="1107"/>
                  <a:pt x="393" y="1109"/>
                </a:cubicBezTo>
                <a:cubicBezTo>
                  <a:pt x="364" y="1109"/>
                  <a:pt x="351" y="1177"/>
                  <a:pt x="312" y="1177"/>
                </a:cubicBezTo>
                <a:cubicBezTo>
                  <a:pt x="297" y="1184"/>
                  <a:pt x="280" y="1184"/>
                  <a:pt x="263" y="1184"/>
                </a:cubicBezTo>
                <a:cubicBezTo>
                  <a:pt x="246" y="1184"/>
                  <a:pt x="229" y="1184"/>
                  <a:pt x="215" y="1190"/>
                </a:cubicBezTo>
                <a:cubicBezTo>
                  <a:pt x="189" y="1190"/>
                  <a:pt x="176" y="1229"/>
                  <a:pt x="150" y="1242"/>
                </a:cubicBezTo>
                <a:cubicBezTo>
                  <a:pt x="108" y="1258"/>
                  <a:pt x="40" y="1258"/>
                  <a:pt x="40" y="1284"/>
                </a:cubicBezTo>
                <a:cubicBezTo>
                  <a:pt x="40" y="1310"/>
                  <a:pt x="82" y="1339"/>
                  <a:pt x="121" y="1365"/>
                </a:cubicBezTo>
                <a:cubicBezTo>
                  <a:pt x="134" y="1378"/>
                  <a:pt x="163" y="1391"/>
                  <a:pt x="202" y="1404"/>
                </a:cubicBezTo>
                <a:cubicBezTo>
                  <a:pt x="204" y="1407"/>
                  <a:pt x="207" y="1408"/>
                  <a:pt x="211" y="1408"/>
                </a:cubicBezTo>
                <a:cubicBezTo>
                  <a:pt x="229" y="1408"/>
                  <a:pt x="261" y="1388"/>
                  <a:pt x="284" y="1388"/>
                </a:cubicBezTo>
                <a:cubicBezTo>
                  <a:pt x="288" y="1388"/>
                  <a:pt x="292" y="1389"/>
                  <a:pt x="296" y="1391"/>
                </a:cubicBezTo>
                <a:cubicBezTo>
                  <a:pt x="325" y="1404"/>
                  <a:pt x="338" y="1446"/>
                  <a:pt x="364" y="1459"/>
                </a:cubicBezTo>
                <a:cubicBezTo>
                  <a:pt x="393" y="1459"/>
                  <a:pt x="419" y="1485"/>
                  <a:pt x="458" y="1485"/>
                </a:cubicBezTo>
                <a:lnTo>
                  <a:pt x="539" y="1485"/>
                </a:lnTo>
                <a:cubicBezTo>
                  <a:pt x="568" y="1485"/>
                  <a:pt x="594" y="1527"/>
                  <a:pt x="620" y="1540"/>
                </a:cubicBezTo>
                <a:cubicBezTo>
                  <a:pt x="662" y="1540"/>
                  <a:pt x="688" y="1514"/>
                  <a:pt x="717" y="1514"/>
                </a:cubicBezTo>
                <a:cubicBezTo>
                  <a:pt x="726" y="1518"/>
                  <a:pt x="736" y="1520"/>
                  <a:pt x="746" y="1520"/>
                </a:cubicBezTo>
                <a:cubicBezTo>
                  <a:pt x="768" y="1520"/>
                  <a:pt x="791" y="1514"/>
                  <a:pt x="811" y="1514"/>
                </a:cubicBezTo>
                <a:cubicBezTo>
                  <a:pt x="837" y="1527"/>
                  <a:pt x="863" y="1566"/>
                  <a:pt x="892" y="1566"/>
                </a:cubicBezTo>
                <a:lnTo>
                  <a:pt x="986" y="1566"/>
                </a:lnTo>
                <a:cubicBezTo>
                  <a:pt x="1012" y="1566"/>
                  <a:pt x="1041" y="1582"/>
                  <a:pt x="1080" y="1582"/>
                </a:cubicBezTo>
                <a:cubicBezTo>
                  <a:pt x="1106" y="1582"/>
                  <a:pt x="1135" y="1566"/>
                  <a:pt x="1161" y="1566"/>
                </a:cubicBezTo>
                <a:lnTo>
                  <a:pt x="1255" y="1566"/>
                </a:lnTo>
                <a:cubicBezTo>
                  <a:pt x="1284" y="1566"/>
                  <a:pt x="1310" y="1553"/>
                  <a:pt x="1336" y="1553"/>
                </a:cubicBezTo>
                <a:cubicBezTo>
                  <a:pt x="1378" y="1553"/>
                  <a:pt x="1404" y="1595"/>
                  <a:pt x="1430" y="1595"/>
                </a:cubicBezTo>
                <a:cubicBezTo>
                  <a:pt x="1459" y="1595"/>
                  <a:pt x="1485" y="1540"/>
                  <a:pt x="1527" y="1540"/>
                </a:cubicBezTo>
                <a:cubicBezTo>
                  <a:pt x="1553" y="1540"/>
                  <a:pt x="1579" y="1566"/>
                  <a:pt x="1608" y="1566"/>
                </a:cubicBezTo>
                <a:cubicBezTo>
                  <a:pt x="1647" y="1566"/>
                  <a:pt x="1673" y="1527"/>
                  <a:pt x="1702" y="1527"/>
                </a:cubicBezTo>
                <a:cubicBezTo>
                  <a:pt x="1728" y="1527"/>
                  <a:pt x="1770" y="1582"/>
                  <a:pt x="1796" y="1582"/>
                </a:cubicBezTo>
                <a:cubicBezTo>
                  <a:pt x="1822" y="1566"/>
                  <a:pt x="1851" y="1514"/>
                  <a:pt x="1877" y="1514"/>
                </a:cubicBezTo>
                <a:cubicBezTo>
                  <a:pt x="1882" y="1511"/>
                  <a:pt x="1888" y="1510"/>
                  <a:pt x="1894" y="1510"/>
                </a:cubicBezTo>
                <a:cubicBezTo>
                  <a:pt x="1909" y="1510"/>
                  <a:pt x="1925" y="1518"/>
                  <a:pt x="1941" y="1518"/>
                </a:cubicBezTo>
                <a:cubicBezTo>
                  <a:pt x="1947" y="1518"/>
                  <a:pt x="1952" y="1517"/>
                  <a:pt x="1958" y="1514"/>
                </a:cubicBezTo>
                <a:cubicBezTo>
                  <a:pt x="1997" y="1514"/>
                  <a:pt x="2039" y="1540"/>
                  <a:pt x="2065" y="1540"/>
                </a:cubicBezTo>
                <a:cubicBezTo>
                  <a:pt x="2094" y="1527"/>
                  <a:pt x="2107" y="1459"/>
                  <a:pt x="2133" y="1459"/>
                </a:cubicBezTo>
                <a:cubicBezTo>
                  <a:pt x="2159" y="1446"/>
                  <a:pt x="2188" y="1446"/>
                  <a:pt x="2214" y="1433"/>
                </a:cubicBezTo>
                <a:cubicBezTo>
                  <a:pt x="2240" y="1404"/>
                  <a:pt x="2282" y="1404"/>
                  <a:pt x="2282" y="1378"/>
                </a:cubicBezTo>
                <a:cubicBezTo>
                  <a:pt x="2282" y="1365"/>
                  <a:pt x="2282" y="1352"/>
                  <a:pt x="2256" y="1323"/>
                </a:cubicBezTo>
                <a:cubicBezTo>
                  <a:pt x="2282" y="1323"/>
                  <a:pt x="2295" y="1310"/>
                  <a:pt x="2337" y="1310"/>
                </a:cubicBezTo>
                <a:cubicBezTo>
                  <a:pt x="2363" y="1310"/>
                  <a:pt x="2389" y="1323"/>
                  <a:pt x="2431" y="1323"/>
                </a:cubicBezTo>
                <a:cubicBezTo>
                  <a:pt x="2457" y="1323"/>
                  <a:pt x="2483" y="1284"/>
                  <a:pt x="2512" y="1284"/>
                </a:cubicBezTo>
                <a:cubicBezTo>
                  <a:pt x="2551" y="1284"/>
                  <a:pt x="2580" y="1323"/>
                  <a:pt x="2606" y="1323"/>
                </a:cubicBezTo>
                <a:cubicBezTo>
                  <a:pt x="2645" y="1323"/>
                  <a:pt x="2674" y="1339"/>
                  <a:pt x="2713" y="1339"/>
                </a:cubicBezTo>
                <a:cubicBezTo>
                  <a:pt x="2742" y="1323"/>
                  <a:pt x="2768" y="1284"/>
                  <a:pt x="2794" y="1284"/>
                </a:cubicBezTo>
                <a:lnTo>
                  <a:pt x="2888" y="1284"/>
                </a:lnTo>
                <a:cubicBezTo>
                  <a:pt x="2930" y="1284"/>
                  <a:pt x="2956" y="1284"/>
                  <a:pt x="2985" y="1271"/>
                </a:cubicBezTo>
                <a:cubicBezTo>
                  <a:pt x="3024" y="1271"/>
                  <a:pt x="3037" y="1216"/>
                  <a:pt x="3066" y="1203"/>
                </a:cubicBezTo>
                <a:cubicBezTo>
                  <a:pt x="3105" y="1203"/>
                  <a:pt x="3118" y="1190"/>
                  <a:pt x="3147" y="1177"/>
                </a:cubicBezTo>
                <a:cubicBezTo>
                  <a:pt x="3173" y="1148"/>
                  <a:pt x="3212" y="1161"/>
                  <a:pt x="3212" y="1135"/>
                </a:cubicBezTo>
                <a:cubicBezTo>
                  <a:pt x="3212" y="1132"/>
                  <a:pt x="3212" y="1131"/>
                  <a:pt x="3213" y="1131"/>
                </a:cubicBezTo>
                <a:cubicBezTo>
                  <a:pt x="3215" y="1131"/>
                  <a:pt x="3217" y="1133"/>
                  <a:pt x="3218" y="1135"/>
                </a:cubicBezTo>
                <a:lnTo>
                  <a:pt x="3309" y="1135"/>
                </a:lnTo>
                <a:cubicBezTo>
                  <a:pt x="3335" y="1135"/>
                  <a:pt x="3374" y="1096"/>
                  <a:pt x="3403" y="1096"/>
                </a:cubicBezTo>
                <a:cubicBezTo>
                  <a:pt x="3429" y="1109"/>
                  <a:pt x="3455" y="1177"/>
                  <a:pt x="3484" y="1177"/>
                </a:cubicBezTo>
                <a:cubicBezTo>
                  <a:pt x="3523" y="1177"/>
                  <a:pt x="3565" y="1122"/>
                  <a:pt x="3591" y="1122"/>
                </a:cubicBezTo>
                <a:cubicBezTo>
                  <a:pt x="3591" y="1135"/>
                  <a:pt x="3604" y="1161"/>
                  <a:pt x="3604" y="1177"/>
                </a:cubicBezTo>
                <a:cubicBezTo>
                  <a:pt x="3604" y="1203"/>
                  <a:pt x="3591" y="1229"/>
                  <a:pt x="3617" y="1242"/>
                </a:cubicBezTo>
                <a:cubicBezTo>
                  <a:pt x="3646" y="1258"/>
                  <a:pt x="3659" y="1284"/>
                  <a:pt x="3698" y="1297"/>
                </a:cubicBezTo>
                <a:cubicBezTo>
                  <a:pt x="3727" y="1310"/>
                  <a:pt x="3753" y="1339"/>
                  <a:pt x="3779" y="1352"/>
                </a:cubicBezTo>
                <a:cubicBezTo>
                  <a:pt x="3808" y="1352"/>
                  <a:pt x="3847" y="1310"/>
                  <a:pt x="3876" y="1310"/>
                </a:cubicBezTo>
                <a:cubicBezTo>
                  <a:pt x="3902" y="1323"/>
                  <a:pt x="3928" y="1365"/>
                  <a:pt x="3957" y="1378"/>
                </a:cubicBezTo>
                <a:cubicBezTo>
                  <a:pt x="3983" y="1378"/>
                  <a:pt x="4022" y="1352"/>
                  <a:pt x="4051" y="1352"/>
                </a:cubicBezTo>
                <a:cubicBezTo>
                  <a:pt x="4077" y="1365"/>
                  <a:pt x="4103" y="1404"/>
                  <a:pt x="4132" y="1404"/>
                </a:cubicBezTo>
                <a:cubicBezTo>
                  <a:pt x="4158" y="1420"/>
                  <a:pt x="4184" y="1446"/>
                  <a:pt x="4213" y="1446"/>
                </a:cubicBezTo>
                <a:cubicBezTo>
                  <a:pt x="4239" y="1446"/>
                  <a:pt x="4281" y="1391"/>
                  <a:pt x="4307" y="1391"/>
                </a:cubicBezTo>
                <a:cubicBezTo>
                  <a:pt x="4346" y="1391"/>
                  <a:pt x="4375" y="1433"/>
                  <a:pt x="4401" y="1433"/>
                </a:cubicBezTo>
                <a:cubicBezTo>
                  <a:pt x="4427" y="1446"/>
                  <a:pt x="4456" y="1459"/>
                  <a:pt x="4482" y="1459"/>
                </a:cubicBezTo>
                <a:cubicBezTo>
                  <a:pt x="4503" y="1459"/>
                  <a:pt x="4534" y="1442"/>
                  <a:pt x="4558" y="1442"/>
                </a:cubicBezTo>
                <a:cubicBezTo>
                  <a:pt x="4565" y="1442"/>
                  <a:pt x="4571" y="1443"/>
                  <a:pt x="4576" y="1446"/>
                </a:cubicBezTo>
                <a:cubicBezTo>
                  <a:pt x="4605" y="1446"/>
                  <a:pt x="4631" y="1459"/>
                  <a:pt x="4670" y="1459"/>
                </a:cubicBezTo>
                <a:cubicBezTo>
                  <a:pt x="4699" y="1472"/>
                  <a:pt x="4725" y="1485"/>
                  <a:pt x="4751" y="1485"/>
                </a:cubicBezTo>
                <a:cubicBezTo>
                  <a:pt x="4780" y="1485"/>
                  <a:pt x="4819" y="1420"/>
                  <a:pt x="4848" y="1420"/>
                </a:cubicBezTo>
                <a:cubicBezTo>
                  <a:pt x="4874" y="1433"/>
                  <a:pt x="4900" y="1446"/>
                  <a:pt x="4929" y="1446"/>
                </a:cubicBezTo>
                <a:cubicBezTo>
                  <a:pt x="4968" y="1446"/>
                  <a:pt x="4994" y="1472"/>
                  <a:pt x="5023" y="1472"/>
                </a:cubicBezTo>
                <a:cubicBezTo>
                  <a:pt x="5049" y="1459"/>
                  <a:pt x="5075" y="1433"/>
                  <a:pt x="5117" y="1433"/>
                </a:cubicBezTo>
                <a:cubicBezTo>
                  <a:pt x="5125" y="1429"/>
                  <a:pt x="5134" y="1427"/>
                  <a:pt x="5144" y="1427"/>
                </a:cubicBezTo>
                <a:cubicBezTo>
                  <a:pt x="5162" y="1427"/>
                  <a:pt x="5181" y="1433"/>
                  <a:pt x="5198" y="1433"/>
                </a:cubicBezTo>
                <a:cubicBezTo>
                  <a:pt x="5206" y="1429"/>
                  <a:pt x="5217" y="1427"/>
                  <a:pt x="5228" y="1427"/>
                </a:cubicBezTo>
                <a:cubicBezTo>
                  <a:pt x="5250" y="1427"/>
                  <a:pt x="5274" y="1433"/>
                  <a:pt x="5292" y="1433"/>
                </a:cubicBezTo>
                <a:cubicBezTo>
                  <a:pt x="5318" y="1433"/>
                  <a:pt x="5360" y="1459"/>
                  <a:pt x="5386" y="1459"/>
                </a:cubicBezTo>
                <a:cubicBezTo>
                  <a:pt x="5415" y="1459"/>
                  <a:pt x="5441" y="1420"/>
                  <a:pt x="5467" y="1404"/>
                </a:cubicBezTo>
                <a:cubicBezTo>
                  <a:pt x="5496" y="1404"/>
                  <a:pt x="5522" y="1378"/>
                  <a:pt x="5548" y="1365"/>
                </a:cubicBezTo>
                <a:cubicBezTo>
                  <a:pt x="5567" y="1365"/>
                  <a:pt x="5591" y="1371"/>
                  <a:pt x="5612" y="1371"/>
                </a:cubicBezTo>
                <a:cubicBezTo>
                  <a:pt x="5623" y="1371"/>
                  <a:pt x="5633" y="1369"/>
                  <a:pt x="5642" y="1365"/>
                </a:cubicBezTo>
                <a:cubicBezTo>
                  <a:pt x="5661" y="1365"/>
                  <a:pt x="5685" y="1371"/>
                  <a:pt x="5707" y="1371"/>
                </a:cubicBezTo>
                <a:cubicBezTo>
                  <a:pt x="5718" y="1371"/>
                  <a:pt x="5729" y="1369"/>
                  <a:pt x="5739" y="1365"/>
                </a:cubicBezTo>
                <a:cubicBezTo>
                  <a:pt x="5765" y="1339"/>
                  <a:pt x="5804" y="1297"/>
                  <a:pt x="5804" y="1271"/>
                </a:cubicBezTo>
                <a:cubicBezTo>
                  <a:pt x="5804" y="1258"/>
                  <a:pt x="5778" y="1203"/>
                  <a:pt x="5739" y="1190"/>
                </a:cubicBezTo>
                <a:cubicBezTo>
                  <a:pt x="5723" y="1177"/>
                  <a:pt x="5697" y="1148"/>
                  <a:pt x="5671" y="1135"/>
                </a:cubicBezTo>
                <a:cubicBezTo>
                  <a:pt x="5665" y="1132"/>
                  <a:pt x="5658" y="1131"/>
                  <a:pt x="5651" y="1131"/>
                </a:cubicBezTo>
                <a:cubicBezTo>
                  <a:pt x="5633" y="1131"/>
                  <a:pt x="5612" y="1139"/>
                  <a:pt x="5595" y="1139"/>
                </a:cubicBezTo>
                <a:cubicBezTo>
                  <a:pt x="5588" y="1139"/>
                  <a:pt x="5582" y="1138"/>
                  <a:pt x="5577" y="1135"/>
                </a:cubicBezTo>
                <a:cubicBezTo>
                  <a:pt x="5548" y="1135"/>
                  <a:pt x="5522" y="1122"/>
                  <a:pt x="5496" y="1122"/>
                </a:cubicBezTo>
                <a:cubicBezTo>
                  <a:pt x="5467" y="1109"/>
                  <a:pt x="5441" y="1096"/>
                  <a:pt x="5415" y="1080"/>
                </a:cubicBezTo>
                <a:cubicBezTo>
                  <a:pt x="5386" y="1080"/>
                  <a:pt x="5347" y="1096"/>
                  <a:pt x="5318" y="1096"/>
                </a:cubicBezTo>
                <a:cubicBezTo>
                  <a:pt x="5292" y="1096"/>
                  <a:pt x="5266" y="1041"/>
                  <a:pt x="5237" y="1041"/>
                </a:cubicBezTo>
                <a:cubicBezTo>
                  <a:pt x="5211" y="1041"/>
                  <a:pt x="5156" y="1041"/>
                  <a:pt x="5130" y="1028"/>
                </a:cubicBezTo>
                <a:cubicBezTo>
                  <a:pt x="5156" y="1015"/>
                  <a:pt x="5211" y="999"/>
                  <a:pt x="5237" y="986"/>
                </a:cubicBezTo>
                <a:cubicBezTo>
                  <a:pt x="5266" y="960"/>
                  <a:pt x="5305" y="947"/>
                  <a:pt x="5305" y="918"/>
                </a:cubicBezTo>
                <a:cubicBezTo>
                  <a:pt x="5305" y="892"/>
                  <a:pt x="5253" y="892"/>
                  <a:pt x="5224" y="866"/>
                </a:cubicBezTo>
                <a:cubicBezTo>
                  <a:pt x="5198" y="853"/>
                  <a:pt x="5198" y="824"/>
                  <a:pt x="5172" y="798"/>
                </a:cubicBezTo>
                <a:cubicBezTo>
                  <a:pt x="5143" y="785"/>
                  <a:pt x="5130" y="730"/>
                  <a:pt x="5104" y="717"/>
                </a:cubicBezTo>
                <a:cubicBezTo>
                  <a:pt x="5098" y="714"/>
                  <a:pt x="5091" y="713"/>
                  <a:pt x="5084" y="713"/>
                </a:cubicBezTo>
                <a:cubicBezTo>
                  <a:pt x="5065" y="713"/>
                  <a:pt x="5043" y="721"/>
                  <a:pt x="5020" y="721"/>
                </a:cubicBezTo>
                <a:cubicBezTo>
                  <a:pt x="5011" y="721"/>
                  <a:pt x="5003" y="720"/>
                  <a:pt x="4994" y="717"/>
                </a:cubicBezTo>
                <a:cubicBezTo>
                  <a:pt x="4968" y="717"/>
                  <a:pt x="4942" y="704"/>
                  <a:pt x="4913" y="704"/>
                </a:cubicBezTo>
                <a:cubicBezTo>
                  <a:pt x="4887" y="691"/>
                  <a:pt x="4861" y="649"/>
                  <a:pt x="4832" y="649"/>
                </a:cubicBezTo>
                <a:cubicBezTo>
                  <a:pt x="4827" y="646"/>
                  <a:pt x="4821" y="645"/>
                  <a:pt x="4815" y="645"/>
                </a:cubicBezTo>
                <a:cubicBezTo>
                  <a:pt x="4791" y="645"/>
                  <a:pt x="4761" y="662"/>
                  <a:pt x="4738" y="662"/>
                </a:cubicBezTo>
                <a:cubicBezTo>
                  <a:pt x="4699" y="662"/>
                  <a:pt x="4686" y="610"/>
                  <a:pt x="4657" y="594"/>
                </a:cubicBezTo>
                <a:cubicBezTo>
                  <a:pt x="4625" y="594"/>
                  <a:pt x="4600" y="613"/>
                  <a:pt x="4570" y="613"/>
                </a:cubicBezTo>
                <a:cubicBezTo>
                  <a:pt x="4564" y="613"/>
                  <a:pt x="4557" y="612"/>
                  <a:pt x="4550" y="610"/>
                </a:cubicBezTo>
                <a:cubicBezTo>
                  <a:pt x="4524" y="610"/>
                  <a:pt x="4495" y="581"/>
                  <a:pt x="4469" y="568"/>
                </a:cubicBezTo>
                <a:cubicBezTo>
                  <a:pt x="4445" y="568"/>
                  <a:pt x="4408" y="625"/>
                  <a:pt x="4382" y="625"/>
                </a:cubicBezTo>
                <a:cubicBezTo>
                  <a:pt x="4379" y="625"/>
                  <a:pt x="4377" y="624"/>
                  <a:pt x="4375" y="623"/>
                </a:cubicBezTo>
                <a:cubicBezTo>
                  <a:pt x="4333" y="623"/>
                  <a:pt x="4307" y="594"/>
                  <a:pt x="4281" y="594"/>
                </a:cubicBezTo>
                <a:cubicBezTo>
                  <a:pt x="4252" y="581"/>
                  <a:pt x="4226" y="568"/>
                  <a:pt x="4200" y="568"/>
                </a:cubicBezTo>
                <a:cubicBezTo>
                  <a:pt x="4158" y="555"/>
                  <a:pt x="4132" y="555"/>
                  <a:pt x="4103" y="555"/>
                </a:cubicBezTo>
                <a:cubicBezTo>
                  <a:pt x="4077" y="555"/>
                  <a:pt x="4038" y="594"/>
                  <a:pt x="4009" y="594"/>
                </a:cubicBezTo>
                <a:cubicBezTo>
                  <a:pt x="3983" y="594"/>
                  <a:pt x="3941" y="581"/>
                  <a:pt x="3915" y="581"/>
                </a:cubicBezTo>
                <a:cubicBezTo>
                  <a:pt x="3889" y="581"/>
                  <a:pt x="3860" y="555"/>
                  <a:pt x="3834" y="542"/>
                </a:cubicBezTo>
                <a:cubicBezTo>
                  <a:pt x="3851" y="542"/>
                  <a:pt x="3870" y="548"/>
                  <a:pt x="3888" y="548"/>
                </a:cubicBezTo>
                <a:cubicBezTo>
                  <a:pt x="3897" y="548"/>
                  <a:pt x="3906" y="546"/>
                  <a:pt x="3915" y="542"/>
                </a:cubicBezTo>
                <a:cubicBezTo>
                  <a:pt x="3941" y="529"/>
                  <a:pt x="3970" y="513"/>
                  <a:pt x="3996" y="500"/>
                </a:cubicBezTo>
                <a:cubicBezTo>
                  <a:pt x="4022" y="474"/>
                  <a:pt x="3996" y="432"/>
                  <a:pt x="3996" y="406"/>
                </a:cubicBezTo>
                <a:cubicBezTo>
                  <a:pt x="3996" y="380"/>
                  <a:pt x="3983" y="380"/>
                  <a:pt x="3957" y="351"/>
                </a:cubicBezTo>
                <a:cubicBezTo>
                  <a:pt x="3928" y="338"/>
                  <a:pt x="3928" y="299"/>
                  <a:pt x="3902" y="286"/>
                </a:cubicBezTo>
                <a:cubicBezTo>
                  <a:pt x="3889" y="278"/>
                  <a:pt x="3872" y="278"/>
                  <a:pt x="3855" y="278"/>
                </a:cubicBezTo>
                <a:cubicBezTo>
                  <a:pt x="3838" y="278"/>
                  <a:pt x="3821" y="278"/>
                  <a:pt x="3808" y="270"/>
                </a:cubicBezTo>
                <a:cubicBezTo>
                  <a:pt x="3779" y="270"/>
                  <a:pt x="3753" y="218"/>
                  <a:pt x="3727" y="205"/>
                </a:cubicBezTo>
                <a:lnTo>
                  <a:pt x="3633" y="205"/>
                </a:lnTo>
                <a:cubicBezTo>
                  <a:pt x="3618" y="197"/>
                  <a:pt x="3605" y="197"/>
                  <a:pt x="3589" y="197"/>
                </a:cubicBezTo>
                <a:cubicBezTo>
                  <a:pt x="3574" y="197"/>
                  <a:pt x="3557" y="197"/>
                  <a:pt x="3536" y="189"/>
                </a:cubicBezTo>
                <a:cubicBezTo>
                  <a:pt x="3510" y="189"/>
                  <a:pt x="3484" y="163"/>
                  <a:pt x="3455" y="150"/>
                </a:cubicBezTo>
                <a:cubicBezTo>
                  <a:pt x="3429" y="150"/>
                  <a:pt x="3403" y="137"/>
                  <a:pt x="3374" y="137"/>
                </a:cubicBezTo>
                <a:cubicBezTo>
                  <a:pt x="3335" y="124"/>
                  <a:pt x="3322" y="82"/>
                  <a:pt x="3280" y="69"/>
                </a:cubicBezTo>
                <a:cubicBezTo>
                  <a:pt x="3254" y="69"/>
                  <a:pt x="3228" y="82"/>
                  <a:pt x="3186" y="82"/>
                </a:cubicBezTo>
                <a:cubicBezTo>
                  <a:pt x="3160" y="69"/>
                  <a:pt x="3131" y="69"/>
                  <a:pt x="3105" y="56"/>
                </a:cubicBezTo>
                <a:cubicBezTo>
                  <a:pt x="3071" y="56"/>
                  <a:pt x="3045" y="85"/>
                  <a:pt x="3022" y="85"/>
                </a:cubicBezTo>
                <a:cubicBezTo>
                  <a:pt x="3018" y="85"/>
                  <a:pt x="3015" y="84"/>
                  <a:pt x="3011" y="82"/>
                </a:cubicBezTo>
                <a:cubicBezTo>
                  <a:pt x="2969" y="82"/>
                  <a:pt x="2943" y="43"/>
                  <a:pt x="2917" y="27"/>
                </a:cubicBezTo>
                <a:cubicBezTo>
                  <a:pt x="2888" y="27"/>
                  <a:pt x="2849" y="69"/>
                  <a:pt x="2823" y="69"/>
                </a:cubicBezTo>
                <a:lnTo>
                  <a:pt x="2726" y="69"/>
                </a:lnTo>
                <a:cubicBezTo>
                  <a:pt x="2700" y="69"/>
                  <a:pt x="2674" y="43"/>
                  <a:pt x="2645" y="43"/>
                </a:cubicBezTo>
                <a:cubicBezTo>
                  <a:pt x="2606" y="43"/>
                  <a:pt x="2580" y="69"/>
                  <a:pt x="2551" y="69"/>
                </a:cubicBezTo>
                <a:cubicBezTo>
                  <a:pt x="2512" y="69"/>
                  <a:pt x="2483" y="1"/>
                  <a:pt x="2457" y="1"/>
                </a:cubicBezTo>
                <a:cubicBezTo>
                  <a:pt x="2431" y="1"/>
                  <a:pt x="2389" y="56"/>
                  <a:pt x="2363" y="56"/>
                </a:cubicBezTo>
                <a:cubicBezTo>
                  <a:pt x="2337" y="56"/>
                  <a:pt x="2308" y="1"/>
                  <a:pt x="2269" y="1"/>
                </a:cubicBezTo>
                <a:cubicBezTo>
                  <a:pt x="2240" y="1"/>
                  <a:pt x="2214" y="56"/>
                  <a:pt x="2188" y="56"/>
                </a:cubicBezTo>
                <a:cubicBezTo>
                  <a:pt x="2146" y="56"/>
                  <a:pt x="2120" y="1"/>
                  <a:pt x="2094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1" name="Google Shape;331;p11"/>
          <p:cNvSpPr/>
          <p:nvPr/>
        </p:nvSpPr>
        <p:spPr>
          <a:xfrm>
            <a:off x="84313" y="4791920"/>
            <a:ext cx="1435659" cy="300664"/>
          </a:xfrm>
          <a:custGeom>
            <a:avLst/>
            <a:gdLst/>
            <a:ahLst/>
            <a:cxnLst/>
            <a:rect l="l" t="t" r="r" b="b"/>
            <a:pathLst>
              <a:path w="5804" h="1608" extrusionOk="0">
                <a:moveTo>
                  <a:pt x="1430" y="1"/>
                </a:moveTo>
                <a:cubicBezTo>
                  <a:pt x="1404" y="1"/>
                  <a:pt x="1365" y="56"/>
                  <a:pt x="1336" y="56"/>
                </a:cubicBezTo>
                <a:cubicBezTo>
                  <a:pt x="1310" y="56"/>
                  <a:pt x="1284" y="43"/>
                  <a:pt x="1255" y="43"/>
                </a:cubicBezTo>
                <a:lnTo>
                  <a:pt x="1161" y="43"/>
                </a:lnTo>
                <a:cubicBezTo>
                  <a:pt x="1135" y="43"/>
                  <a:pt x="1093" y="27"/>
                  <a:pt x="1067" y="27"/>
                </a:cubicBezTo>
                <a:cubicBezTo>
                  <a:pt x="1041" y="27"/>
                  <a:pt x="1012" y="43"/>
                  <a:pt x="986" y="43"/>
                </a:cubicBezTo>
                <a:lnTo>
                  <a:pt x="892" y="43"/>
                </a:lnTo>
                <a:cubicBezTo>
                  <a:pt x="863" y="43"/>
                  <a:pt x="837" y="82"/>
                  <a:pt x="811" y="95"/>
                </a:cubicBezTo>
                <a:cubicBezTo>
                  <a:pt x="783" y="95"/>
                  <a:pt x="762" y="89"/>
                  <a:pt x="743" y="89"/>
                </a:cubicBezTo>
                <a:cubicBezTo>
                  <a:pt x="734" y="89"/>
                  <a:pt x="726" y="91"/>
                  <a:pt x="717" y="95"/>
                </a:cubicBezTo>
                <a:cubicBezTo>
                  <a:pt x="688" y="95"/>
                  <a:pt x="649" y="69"/>
                  <a:pt x="620" y="69"/>
                </a:cubicBezTo>
                <a:cubicBezTo>
                  <a:pt x="594" y="82"/>
                  <a:pt x="568" y="124"/>
                  <a:pt x="539" y="124"/>
                </a:cubicBezTo>
                <a:cubicBezTo>
                  <a:pt x="521" y="124"/>
                  <a:pt x="498" y="117"/>
                  <a:pt x="476" y="117"/>
                </a:cubicBezTo>
                <a:cubicBezTo>
                  <a:pt x="465" y="117"/>
                  <a:pt x="454" y="119"/>
                  <a:pt x="445" y="124"/>
                </a:cubicBezTo>
                <a:cubicBezTo>
                  <a:pt x="419" y="124"/>
                  <a:pt x="393" y="137"/>
                  <a:pt x="364" y="150"/>
                </a:cubicBezTo>
                <a:cubicBezTo>
                  <a:pt x="338" y="163"/>
                  <a:pt x="325" y="205"/>
                  <a:pt x="296" y="218"/>
                </a:cubicBezTo>
                <a:cubicBezTo>
                  <a:pt x="290" y="220"/>
                  <a:pt x="285" y="221"/>
                  <a:pt x="280" y="221"/>
                </a:cubicBezTo>
                <a:cubicBezTo>
                  <a:pt x="252" y="221"/>
                  <a:pt x="224" y="201"/>
                  <a:pt x="203" y="201"/>
                </a:cubicBezTo>
                <a:cubicBezTo>
                  <a:pt x="198" y="201"/>
                  <a:pt x="193" y="202"/>
                  <a:pt x="189" y="205"/>
                </a:cubicBezTo>
                <a:cubicBezTo>
                  <a:pt x="163" y="218"/>
                  <a:pt x="134" y="231"/>
                  <a:pt x="108" y="244"/>
                </a:cubicBezTo>
                <a:cubicBezTo>
                  <a:pt x="82" y="270"/>
                  <a:pt x="40" y="299"/>
                  <a:pt x="40" y="325"/>
                </a:cubicBezTo>
                <a:cubicBezTo>
                  <a:pt x="40" y="351"/>
                  <a:pt x="108" y="351"/>
                  <a:pt x="150" y="367"/>
                </a:cubicBezTo>
                <a:cubicBezTo>
                  <a:pt x="163" y="380"/>
                  <a:pt x="189" y="419"/>
                  <a:pt x="215" y="419"/>
                </a:cubicBezTo>
                <a:cubicBezTo>
                  <a:pt x="224" y="423"/>
                  <a:pt x="235" y="425"/>
                  <a:pt x="246" y="425"/>
                </a:cubicBezTo>
                <a:cubicBezTo>
                  <a:pt x="269" y="425"/>
                  <a:pt x="292" y="419"/>
                  <a:pt x="312" y="419"/>
                </a:cubicBezTo>
                <a:cubicBezTo>
                  <a:pt x="338" y="432"/>
                  <a:pt x="364" y="500"/>
                  <a:pt x="393" y="500"/>
                </a:cubicBezTo>
                <a:cubicBezTo>
                  <a:pt x="397" y="502"/>
                  <a:pt x="401" y="503"/>
                  <a:pt x="405" y="503"/>
                </a:cubicBezTo>
                <a:cubicBezTo>
                  <a:pt x="426" y="503"/>
                  <a:pt x="451" y="484"/>
                  <a:pt x="474" y="484"/>
                </a:cubicBezTo>
                <a:cubicBezTo>
                  <a:pt x="478" y="484"/>
                  <a:pt x="483" y="485"/>
                  <a:pt x="487" y="487"/>
                </a:cubicBezTo>
                <a:cubicBezTo>
                  <a:pt x="526" y="487"/>
                  <a:pt x="555" y="500"/>
                  <a:pt x="581" y="500"/>
                </a:cubicBezTo>
                <a:cubicBezTo>
                  <a:pt x="589" y="504"/>
                  <a:pt x="600" y="506"/>
                  <a:pt x="611" y="506"/>
                </a:cubicBezTo>
                <a:cubicBezTo>
                  <a:pt x="633" y="506"/>
                  <a:pt x="658" y="500"/>
                  <a:pt x="675" y="500"/>
                </a:cubicBezTo>
                <a:cubicBezTo>
                  <a:pt x="717" y="500"/>
                  <a:pt x="743" y="474"/>
                  <a:pt x="769" y="474"/>
                </a:cubicBezTo>
                <a:cubicBezTo>
                  <a:pt x="811" y="474"/>
                  <a:pt x="837" y="529"/>
                  <a:pt x="863" y="529"/>
                </a:cubicBezTo>
                <a:cubicBezTo>
                  <a:pt x="892" y="529"/>
                  <a:pt x="931" y="487"/>
                  <a:pt x="960" y="487"/>
                </a:cubicBezTo>
                <a:cubicBezTo>
                  <a:pt x="986" y="487"/>
                  <a:pt x="986" y="513"/>
                  <a:pt x="1025" y="513"/>
                </a:cubicBezTo>
                <a:cubicBezTo>
                  <a:pt x="999" y="542"/>
                  <a:pt x="999" y="555"/>
                  <a:pt x="999" y="568"/>
                </a:cubicBezTo>
                <a:cubicBezTo>
                  <a:pt x="999" y="594"/>
                  <a:pt x="1054" y="610"/>
                  <a:pt x="1080" y="636"/>
                </a:cubicBezTo>
                <a:cubicBezTo>
                  <a:pt x="1054" y="636"/>
                  <a:pt x="999" y="636"/>
                  <a:pt x="973" y="649"/>
                </a:cubicBezTo>
                <a:cubicBezTo>
                  <a:pt x="931" y="649"/>
                  <a:pt x="905" y="623"/>
                  <a:pt x="863" y="623"/>
                </a:cubicBezTo>
                <a:cubicBezTo>
                  <a:pt x="837" y="623"/>
                  <a:pt x="811" y="636"/>
                  <a:pt x="782" y="649"/>
                </a:cubicBezTo>
                <a:cubicBezTo>
                  <a:pt x="743" y="649"/>
                  <a:pt x="717" y="691"/>
                  <a:pt x="688" y="704"/>
                </a:cubicBezTo>
                <a:cubicBezTo>
                  <a:pt x="662" y="704"/>
                  <a:pt x="620" y="691"/>
                  <a:pt x="594" y="691"/>
                </a:cubicBezTo>
                <a:cubicBezTo>
                  <a:pt x="568" y="691"/>
                  <a:pt x="539" y="730"/>
                  <a:pt x="513" y="730"/>
                </a:cubicBezTo>
                <a:cubicBezTo>
                  <a:pt x="505" y="733"/>
                  <a:pt x="497" y="734"/>
                  <a:pt x="489" y="734"/>
                </a:cubicBezTo>
                <a:cubicBezTo>
                  <a:pt x="458" y="734"/>
                  <a:pt x="427" y="717"/>
                  <a:pt x="406" y="717"/>
                </a:cubicBezTo>
                <a:cubicBezTo>
                  <a:pt x="377" y="730"/>
                  <a:pt x="364" y="785"/>
                  <a:pt x="325" y="785"/>
                </a:cubicBezTo>
                <a:cubicBezTo>
                  <a:pt x="296" y="798"/>
                  <a:pt x="270" y="811"/>
                  <a:pt x="244" y="824"/>
                </a:cubicBezTo>
                <a:cubicBezTo>
                  <a:pt x="229" y="830"/>
                  <a:pt x="212" y="830"/>
                  <a:pt x="196" y="830"/>
                </a:cubicBezTo>
                <a:cubicBezTo>
                  <a:pt x="179" y="830"/>
                  <a:pt x="163" y="830"/>
                  <a:pt x="150" y="837"/>
                </a:cubicBezTo>
                <a:cubicBezTo>
                  <a:pt x="108" y="853"/>
                  <a:pt x="69" y="853"/>
                  <a:pt x="53" y="866"/>
                </a:cubicBezTo>
                <a:cubicBezTo>
                  <a:pt x="27" y="892"/>
                  <a:pt x="1" y="947"/>
                  <a:pt x="1" y="973"/>
                </a:cubicBezTo>
                <a:cubicBezTo>
                  <a:pt x="1" y="999"/>
                  <a:pt x="40" y="1028"/>
                  <a:pt x="69" y="1054"/>
                </a:cubicBezTo>
                <a:cubicBezTo>
                  <a:pt x="75" y="1060"/>
                  <a:pt x="92" y="1060"/>
                  <a:pt x="110" y="1060"/>
                </a:cubicBezTo>
                <a:cubicBezTo>
                  <a:pt x="128" y="1060"/>
                  <a:pt x="148" y="1060"/>
                  <a:pt x="163" y="1067"/>
                </a:cubicBezTo>
                <a:cubicBezTo>
                  <a:pt x="189" y="1067"/>
                  <a:pt x="215" y="1096"/>
                  <a:pt x="244" y="1096"/>
                </a:cubicBezTo>
                <a:cubicBezTo>
                  <a:pt x="270" y="1109"/>
                  <a:pt x="296" y="1148"/>
                  <a:pt x="325" y="1161"/>
                </a:cubicBezTo>
                <a:cubicBezTo>
                  <a:pt x="342" y="1161"/>
                  <a:pt x="367" y="1155"/>
                  <a:pt x="389" y="1155"/>
                </a:cubicBezTo>
                <a:cubicBezTo>
                  <a:pt x="400" y="1155"/>
                  <a:pt x="410" y="1157"/>
                  <a:pt x="419" y="1161"/>
                </a:cubicBezTo>
                <a:cubicBezTo>
                  <a:pt x="445" y="1161"/>
                  <a:pt x="474" y="1190"/>
                  <a:pt x="500" y="1190"/>
                </a:cubicBezTo>
                <a:cubicBezTo>
                  <a:pt x="508" y="1193"/>
                  <a:pt x="515" y="1194"/>
                  <a:pt x="522" y="1194"/>
                </a:cubicBezTo>
                <a:cubicBezTo>
                  <a:pt x="550" y="1194"/>
                  <a:pt x="573" y="1177"/>
                  <a:pt x="594" y="1177"/>
                </a:cubicBezTo>
                <a:cubicBezTo>
                  <a:pt x="636" y="1190"/>
                  <a:pt x="662" y="1216"/>
                  <a:pt x="688" y="1216"/>
                </a:cubicBezTo>
                <a:lnTo>
                  <a:pt x="782" y="1216"/>
                </a:lnTo>
                <a:cubicBezTo>
                  <a:pt x="785" y="1217"/>
                  <a:pt x="788" y="1218"/>
                  <a:pt x="791" y="1218"/>
                </a:cubicBezTo>
                <a:cubicBezTo>
                  <a:pt x="817" y="1218"/>
                  <a:pt x="841" y="1177"/>
                  <a:pt x="879" y="1177"/>
                </a:cubicBezTo>
                <a:cubicBezTo>
                  <a:pt x="905" y="1177"/>
                  <a:pt x="931" y="1229"/>
                  <a:pt x="960" y="1229"/>
                </a:cubicBezTo>
                <a:cubicBezTo>
                  <a:pt x="986" y="1229"/>
                  <a:pt x="1025" y="1203"/>
                  <a:pt x="1054" y="1203"/>
                </a:cubicBezTo>
                <a:cubicBezTo>
                  <a:pt x="1080" y="1203"/>
                  <a:pt x="1122" y="1216"/>
                  <a:pt x="1161" y="1216"/>
                </a:cubicBezTo>
                <a:cubicBezTo>
                  <a:pt x="1135" y="1229"/>
                  <a:pt x="1093" y="1242"/>
                  <a:pt x="1080" y="1258"/>
                </a:cubicBezTo>
                <a:cubicBezTo>
                  <a:pt x="1054" y="1284"/>
                  <a:pt x="1041" y="1310"/>
                  <a:pt x="1041" y="1323"/>
                </a:cubicBezTo>
                <a:cubicBezTo>
                  <a:pt x="1041" y="1352"/>
                  <a:pt x="1041" y="1404"/>
                  <a:pt x="1080" y="1433"/>
                </a:cubicBezTo>
                <a:cubicBezTo>
                  <a:pt x="1082" y="1435"/>
                  <a:pt x="1084" y="1436"/>
                  <a:pt x="1088" y="1436"/>
                </a:cubicBezTo>
                <a:cubicBezTo>
                  <a:pt x="1106" y="1436"/>
                  <a:pt x="1145" y="1416"/>
                  <a:pt x="1171" y="1416"/>
                </a:cubicBezTo>
                <a:cubicBezTo>
                  <a:pt x="1177" y="1416"/>
                  <a:pt x="1182" y="1417"/>
                  <a:pt x="1187" y="1420"/>
                </a:cubicBezTo>
                <a:cubicBezTo>
                  <a:pt x="1216" y="1420"/>
                  <a:pt x="1229" y="1485"/>
                  <a:pt x="1255" y="1501"/>
                </a:cubicBezTo>
                <a:cubicBezTo>
                  <a:pt x="1284" y="1501"/>
                  <a:pt x="1323" y="1514"/>
                  <a:pt x="1349" y="1514"/>
                </a:cubicBezTo>
                <a:cubicBezTo>
                  <a:pt x="1353" y="1516"/>
                  <a:pt x="1357" y="1516"/>
                  <a:pt x="1361" y="1516"/>
                </a:cubicBezTo>
                <a:cubicBezTo>
                  <a:pt x="1388" y="1516"/>
                  <a:pt x="1421" y="1485"/>
                  <a:pt x="1446" y="1485"/>
                </a:cubicBezTo>
                <a:cubicBezTo>
                  <a:pt x="1485" y="1501"/>
                  <a:pt x="1511" y="1501"/>
                  <a:pt x="1540" y="1514"/>
                </a:cubicBezTo>
                <a:cubicBezTo>
                  <a:pt x="1566" y="1514"/>
                  <a:pt x="1592" y="1582"/>
                  <a:pt x="1621" y="1582"/>
                </a:cubicBezTo>
                <a:cubicBezTo>
                  <a:pt x="1642" y="1582"/>
                  <a:pt x="1674" y="1563"/>
                  <a:pt x="1699" y="1563"/>
                </a:cubicBezTo>
                <a:cubicBezTo>
                  <a:pt x="1705" y="1563"/>
                  <a:pt x="1710" y="1563"/>
                  <a:pt x="1715" y="1566"/>
                </a:cubicBezTo>
                <a:lnTo>
                  <a:pt x="1809" y="1566"/>
                </a:lnTo>
                <a:cubicBezTo>
                  <a:pt x="1835" y="1566"/>
                  <a:pt x="1877" y="1553"/>
                  <a:pt x="1903" y="1553"/>
                </a:cubicBezTo>
                <a:cubicBezTo>
                  <a:pt x="1932" y="1553"/>
                  <a:pt x="1958" y="1566"/>
                  <a:pt x="1997" y="1566"/>
                </a:cubicBezTo>
                <a:cubicBezTo>
                  <a:pt x="2026" y="1566"/>
                  <a:pt x="2052" y="1608"/>
                  <a:pt x="2078" y="1608"/>
                </a:cubicBezTo>
                <a:cubicBezTo>
                  <a:pt x="2120" y="1608"/>
                  <a:pt x="2146" y="1553"/>
                  <a:pt x="2175" y="1553"/>
                </a:cubicBezTo>
                <a:cubicBezTo>
                  <a:pt x="2214" y="1553"/>
                  <a:pt x="2240" y="1608"/>
                  <a:pt x="2269" y="1608"/>
                </a:cubicBezTo>
                <a:cubicBezTo>
                  <a:pt x="2295" y="1608"/>
                  <a:pt x="2337" y="1553"/>
                  <a:pt x="2363" y="1553"/>
                </a:cubicBezTo>
                <a:cubicBezTo>
                  <a:pt x="2389" y="1553"/>
                  <a:pt x="2418" y="1608"/>
                  <a:pt x="2457" y="1608"/>
                </a:cubicBezTo>
                <a:cubicBezTo>
                  <a:pt x="2483" y="1608"/>
                  <a:pt x="2512" y="1540"/>
                  <a:pt x="2538" y="1540"/>
                </a:cubicBezTo>
                <a:cubicBezTo>
                  <a:pt x="2580" y="1540"/>
                  <a:pt x="2606" y="1566"/>
                  <a:pt x="2632" y="1566"/>
                </a:cubicBezTo>
                <a:cubicBezTo>
                  <a:pt x="2674" y="1566"/>
                  <a:pt x="2700" y="1540"/>
                  <a:pt x="2726" y="1540"/>
                </a:cubicBezTo>
                <a:lnTo>
                  <a:pt x="2823" y="1540"/>
                </a:lnTo>
                <a:cubicBezTo>
                  <a:pt x="2849" y="1540"/>
                  <a:pt x="2888" y="1582"/>
                  <a:pt x="2917" y="1582"/>
                </a:cubicBezTo>
                <a:cubicBezTo>
                  <a:pt x="2943" y="1566"/>
                  <a:pt x="2969" y="1527"/>
                  <a:pt x="2998" y="1527"/>
                </a:cubicBezTo>
                <a:cubicBezTo>
                  <a:pt x="3003" y="1525"/>
                  <a:pt x="3009" y="1524"/>
                  <a:pt x="3014" y="1524"/>
                </a:cubicBezTo>
                <a:cubicBezTo>
                  <a:pt x="3045" y="1524"/>
                  <a:pt x="3070" y="1553"/>
                  <a:pt x="3092" y="1553"/>
                </a:cubicBezTo>
                <a:cubicBezTo>
                  <a:pt x="3131" y="1540"/>
                  <a:pt x="3160" y="1540"/>
                  <a:pt x="3186" y="1527"/>
                </a:cubicBezTo>
                <a:cubicBezTo>
                  <a:pt x="3212" y="1527"/>
                  <a:pt x="3254" y="1540"/>
                  <a:pt x="3280" y="1540"/>
                </a:cubicBezTo>
                <a:cubicBezTo>
                  <a:pt x="3309" y="1527"/>
                  <a:pt x="3335" y="1472"/>
                  <a:pt x="3361" y="1472"/>
                </a:cubicBezTo>
                <a:cubicBezTo>
                  <a:pt x="3403" y="1472"/>
                  <a:pt x="3429" y="1459"/>
                  <a:pt x="3455" y="1459"/>
                </a:cubicBezTo>
                <a:cubicBezTo>
                  <a:pt x="3484" y="1446"/>
                  <a:pt x="3510" y="1420"/>
                  <a:pt x="3536" y="1420"/>
                </a:cubicBezTo>
                <a:cubicBezTo>
                  <a:pt x="3557" y="1412"/>
                  <a:pt x="3574" y="1412"/>
                  <a:pt x="3589" y="1412"/>
                </a:cubicBezTo>
                <a:cubicBezTo>
                  <a:pt x="3605" y="1412"/>
                  <a:pt x="3618" y="1412"/>
                  <a:pt x="3633" y="1404"/>
                </a:cubicBezTo>
                <a:lnTo>
                  <a:pt x="3727" y="1404"/>
                </a:lnTo>
                <a:cubicBezTo>
                  <a:pt x="3753" y="1391"/>
                  <a:pt x="3766" y="1339"/>
                  <a:pt x="3795" y="1339"/>
                </a:cubicBezTo>
                <a:cubicBezTo>
                  <a:pt x="3814" y="1331"/>
                  <a:pt x="3831" y="1331"/>
                  <a:pt x="3846" y="1331"/>
                </a:cubicBezTo>
                <a:cubicBezTo>
                  <a:pt x="3861" y="1331"/>
                  <a:pt x="3874" y="1331"/>
                  <a:pt x="3889" y="1323"/>
                </a:cubicBezTo>
                <a:cubicBezTo>
                  <a:pt x="3928" y="1310"/>
                  <a:pt x="3928" y="1271"/>
                  <a:pt x="3957" y="1258"/>
                </a:cubicBezTo>
                <a:cubicBezTo>
                  <a:pt x="3983" y="1229"/>
                  <a:pt x="3996" y="1229"/>
                  <a:pt x="3996" y="1203"/>
                </a:cubicBezTo>
                <a:cubicBezTo>
                  <a:pt x="3996" y="1177"/>
                  <a:pt x="4009" y="1135"/>
                  <a:pt x="3983" y="1109"/>
                </a:cubicBezTo>
                <a:cubicBezTo>
                  <a:pt x="3970" y="1096"/>
                  <a:pt x="3941" y="1080"/>
                  <a:pt x="3915" y="1067"/>
                </a:cubicBezTo>
                <a:cubicBezTo>
                  <a:pt x="3902" y="1060"/>
                  <a:pt x="3888" y="1060"/>
                  <a:pt x="3874" y="1060"/>
                </a:cubicBezTo>
                <a:cubicBezTo>
                  <a:pt x="3861" y="1060"/>
                  <a:pt x="3847" y="1060"/>
                  <a:pt x="3834" y="1054"/>
                </a:cubicBezTo>
                <a:cubicBezTo>
                  <a:pt x="3860" y="1054"/>
                  <a:pt x="3889" y="1028"/>
                  <a:pt x="3915" y="1028"/>
                </a:cubicBezTo>
                <a:cubicBezTo>
                  <a:pt x="3941" y="1028"/>
                  <a:pt x="3970" y="1015"/>
                  <a:pt x="3996" y="1015"/>
                </a:cubicBezTo>
                <a:cubicBezTo>
                  <a:pt x="4038" y="1015"/>
                  <a:pt x="4064" y="1054"/>
                  <a:pt x="4090" y="1054"/>
                </a:cubicBezTo>
                <a:cubicBezTo>
                  <a:pt x="4132" y="1054"/>
                  <a:pt x="4158" y="1041"/>
                  <a:pt x="4184" y="1041"/>
                </a:cubicBezTo>
                <a:cubicBezTo>
                  <a:pt x="4226" y="1041"/>
                  <a:pt x="4252" y="1028"/>
                  <a:pt x="4281" y="1015"/>
                </a:cubicBezTo>
                <a:cubicBezTo>
                  <a:pt x="4307" y="1015"/>
                  <a:pt x="4333" y="986"/>
                  <a:pt x="4362" y="986"/>
                </a:cubicBezTo>
                <a:cubicBezTo>
                  <a:pt x="4365" y="985"/>
                  <a:pt x="4369" y="984"/>
                  <a:pt x="4372" y="984"/>
                </a:cubicBezTo>
                <a:cubicBezTo>
                  <a:pt x="4408" y="984"/>
                  <a:pt x="4445" y="1041"/>
                  <a:pt x="4469" y="1041"/>
                </a:cubicBezTo>
                <a:cubicBezTo>
                  <a:pt x="4495" y="1028"/>
                  <a:pt x="4524" y="999"/>
                  <a:pt x="4550" y="986"/>
                </a:cubicBezTo>
                <a:cubicBezTo>
                  <a:pt x="4570" y="986"/>
                  <a:pt x="4600" y="1004"/>
                  <a:pt x="4625" y="1004"/>
                </a:cubicBezTo>
                <a:cubicBezTo>
                  <a:pt x="4632" y="1004"/>
                  <a:pt x="4638" y="1002"/>
                  <a:pt x="4644" y="999"/>
                </a:cubicBezTo>
                <a:cubicBezTo>
                  <a:pt x="4686" y="999"/>
                  <a:pt x="4699" y="947"/>
                  <a:pt x="4725" y="947"/>
                </a:cubicBezTo>
                <a:cubicBezTo>
                  <a:pt x="4731" y="945"/>
                  <a:pt x="4737" y="944"/>
                  <a:pt x="4742" y="944"/>
                </a:cubicBezTo>
                <a:cubicBezTo>
                  <a:pt x="4769" y="944"/>
                  <a:pt x="4790" y="963"/>
                  <a:pt x="4815" y="963"/>
                </a:cubicBezTo>
                <a:cubicBezTo>
                  <a:pt x="4821" y="963"/>
                  <a:pt x="4826" y="962"/>
                  <a:pt x="4832" y="960"/>
                </a:cubicBezTo>
                <a:cubicBezTo>
                  <a:pt x="4861" y="960"/>
                  <a:pt x="4874" y="918"/>
                  <a:pt x="4913" y="905"/>
                </a:cubicBezTo>
                <a:cubicBezTo>
                  <a:pt x="4942" y="905"/>
                  <a:pt x="4968" y="892"/>
                  <a:pt x="4994" y="892"/>
                </a:cubicBezTo>
                <a:cubicBezTo>
                  <a:pt x="5003" y="888"/>
                  <a:pt x="5014" y="886"/>
                  <a:pt x="5025" y="886"/>
                </a:cubicBezTo>
                <a:cubicBezTo>
                  <a:pt x="5048" y="886"/>
                  <a:pt x="5071" y="892"/>
                  <a:pt x="5091" y="892"/>
                </a:cubicBezTo>
                <a:cubicBezTo>
                  <a:pt x="5130" y="879"/>
                  <a:pt x="5130" y="824"/>
                  <a:pt x="5156" y="811"/>
                </a:cubicBezTo>
                <a:cubicBezTo>
                  <a:pt x="5198" y="785"/>
                  <a:pt x="5198" y="756"/>
                  <a:pt x="5224" y="743"/>
                </a:cubicBezTo>
                <a:cubicBezTo>
                  <a:pt x="5253" y="717"/>
                  <a:pt x="5305" y="717"/>
                  <a:pt x="5305" y="691"/>
                </a:cubicBezTo>
                <a:cubicBezTo>
                  <a:pt x="5305" y="662"/>
                  <a:pt x="5266" y="649"/>
                  <a:pt x="5224" y="623"/>
                </a:cubicBezTo>
                <a:cubicBezTo>
                  <a:pt x="5211" y="610"/>
                  <a:pt x="5156" y="594"/>
                  <a:pt x="5130" y="581"/>
                </a:cubicBezTo>
                <a:cubicBezTo>
                  <a:pt x="5156" y="568"/>
                  <a:pt x="5211" y="568"/>
                  <a:pt x="5237" y="568"/>
                </a:cubicBezTo>
                <a:cubicBezTo>
                  <a:pt x="5266" y="568"/>
                  <a:pt x="5292" y="513"/>
                  <a:pt x="5318" y="513"/>
                </a:cubicBezTo>
                <a:cubicBezTo>
                  <a:pt x="5347" y="513"/>
                  <a:pt x="5373" y="529"/>
                  <a:pt x="5399" y="529"/>
                </a:cubicBezTo>
                <a:cubicBezTo>
                  <a:pt x="5441" y="513"/>
                  <a:pt x="5454" y="500"/>
                  <a:pt x="5480" y="487"/>
                </a:cubicBezTo>
                <a:cubicBezTo>
                  <a:pt x="5509" y="487"/>
                  <a:pt x="5535" y="474"/>
                  <a:pt x="5561" y="474"/>
                </a:cubicBezTo>
                <a:cubicBezTo>
                  <a:pt x="5575" y="470"/>
                  <a:pt x="5588" y="468"/>
                  <a:pt x="5601" y="468"/>
                </a:cubicBezTo>
                <a:cubicBezTo>
                  <a:pt x="5626" y="468"/>
                  <a:pt x="5647" y="474"/>
                  <a:pt x="5658" y="474"/>
                </a:cubicBezTo>
                <a:cubicBezTo>
                  <a:pt x="5697" y="461"/>
                  <a:pt x="5723" y="432"/>
                  <a:pt x="5739" y="419"/>
                </a:cubicBezTo>
                <a:cubicBezTo>
                  <a:pt x="5765" y="406"/>
                  <a:pt x="5804" y="351"/>
                  <a:pt x="5804" y="338"/>
                </a:cubicBezTo>
                <a:cubicBezTo>
                  <a:pt x="5804" y="312"/>
                  <a:pt x="5765" y="270"/>
                  <a:pt x="5723" y="244"/>
                </a:cubicBezTo>
                <a:cubicBezTo>
                  <a:pt x="5716" y="237"/>
                  <a:pt x="5703" y="237"/>
                  <a:pt x="5687" y="237"/>
                </a:cubicBezTo>
                <a:cubicBezTo>
                  <a:pt x="5670" y="237"/>
                  <a:pt x="5650" y="237"/>
                  <a:pt x="5629" y="231"/>
                </a:cubicBezTo>
                <a:cubicBezTo>
                  <a:pt x="5603" y="231"/>
                  <a:pt x="5577" y="244"/>
                  <a:pt x="5548" y="244"/>
                </a:cubicBezTo>
                <a:cubicBezTo>
                  <a:pt x="5522" y="231"/>
                  <a:pt x="5496" y="205"/>
                  <a:pt x="5467" y="205"/>
                </a:cubicBezTo>
                <a:cubicBezTo>
                  <a:pt x="5428" y="189"/>
                  <a:pt x="5415" y="150"/>
                  <a:pt x="5373" y="150"/>
                </a:cubicBezTo>
                <a:cubicBezTo>
                  <a:pt x="5347" y="150"/>
                  <a:pt x="5318" y="176"/>
                  <a:pt x="5292" y="176"/>
                </a:cubicBezTo>
                <a:cubicBezTo>
                  <a:pt x="5266" y="176"/>
                  <a:pt x="5244" y="182"/>
                  <a:pt x="5225" y="182"/>
                </a:cubicBezTo>
                <a:cubicBezTo>
                  <a:pt x="5215" y="182"/>
                  <a:pt x="5206" y="180"/>
                  <a:pt x="5198" y="176"/>
                </a:cubicBezTo>
                <a:lnTo>
                  <a:pt x="5104" y="176"/>
                </a:lnTo>
                <a:cubicBezTo>
                  <a:pt x="5075" y="176"/>
                  <a:pt x="5049" y="137"/>
                  <a:pt x="5023" y="137"/>
                </a:cubicBezTo>
                <a:cubicBezTo>
                  <a:pt x="4994" y="137"/>
                  <a:pt x="4955" y="163"/>
                  <a:pt x="4929" y="163"/>
                </a:cubicBezTo>
                <a:cubicBezTo>
                  <a:pt x="4900" y="163"/>
                  <a:pt x="4874" y="176"/>
                  <a:pt x="4848" y="176"/>
                </a:cubicBezTo>
                <a:cubicBezTo>
                  <a:pt x="4806" y="176"/>
                  <a:pt x="4780" y="124"/>
                  <a:pt x="4751" y="124"/>
                </a:cubicBezTo>
                <a:cubicBezTo>
                  <a:pt x="4725" y="124"/>
                  <a:pt x="4686" y="137"/>
                  <a:pt x="4657" y="137"/>
                </a:cubicBezTo>
                <a:cubicBezTo>
                  <a:pt x="4631" y="150"/>
                  <a:pt x="4605" y="163"/>
                  <a:pt x="4576" y="163"/>
                </a:cubicBezTo>
                <a:cubicBezTo>
                  <a:pt x="4568" y="166"/>
                  <a:pt x="4561" y="167"/>
                  <a:pt x="4554" y="167"/>
                </a:cubicBezTo>
                <a:cubicBezTo>
                  <a:pt x="4525" y="167"/>
                  <a:pt x="4503" y="150"/>
                  <a:pt x="4482" y="150"/>
                </a:cubicBezTo>
                <a:cubicBezTo>
                  <a:pt x="4456" y="150"/>
                  <a:pt x="4427" y="163"/>
                  <a:pt x="4388" y="163"/>
                </a:cubicBezTo>
                <a:cubicBezTo>
                  <a:pt x="4362" y="176"/>
                  <a:pt x="4333" y="205"/>
                  <a:pt x="4307" y="218"/>
                </a:cubicBezTo>
                <a:cubicBezTo>
                  <a:pt x="4281" y="218"/>
                  <a:pt x="4239" y="163"/>
                  <a:pt x="4213" y="163"/>
                </a:cubicBezTo>
                <a:cubicBezTo>
                  <a:pt x="4184" y="163"/>
                  <a:pt x="4158" y="189"/>
                  <a:pt x="4132" y="205"/>
                </a:cubicBezTo>
                <a:cubicBezTo>
                  <a:pt x="4090" y="205"/>
                  <a:pt x="4077" y="244"/>
                  <a:pt x="4051" y="244"/>
                </a:cubicBezTo>
                <a:cubicBezTo>
                  <a:pt x="4042" y="247"/>
                  <a:pt x="4035" y="248"/>
                  <a:pt x="4027" y="248"/>
                </a:cubicBezTo>
                <a:cubicBezTo>
                  <a:pt x="3998" y="248"/>
                  <a:pt x="3978" y="231"/>
                  <a:pt x="3957" y="231"/>
                </a:cubicBezTo>
                <a:cubicBezTo>
                  <a:pt x="3915" y="231"/>
                  <a:pt x="3902" y="286"/>
                  <a:pt x="3876" y="299"/>
                </a:cubicBezTo>
                <a:cubicBezTo>
                  <a:pt x="3847" y="299"/>
                  <a:pt x="3795" y="257"/>
                  <a:pt x="3779" y="257"/>
                </a:cubicBezTo>
                <a:cubicBezTo>
                  <a:pt x="3740" y="270"/>
                  <a:pt x="3714" y="299"/>
                  <a:pt x="3698" y="312"/>
                </a:cubicBezTo>
                <a:cubicBezTo>
                  <a:pt x="3659" y="325"/>
                  <a:pt x="3646" y="351"/>
                  <a:pt x="3617" y="367"/>
                </a:cubicBezTo>
                <a:cubicBezTo>
                  <a:pt x="3591" y="380"/>
                  <a:pt x="3604" y="406"/>
                  <a:pt x="3604" y="432"/>
                </a:cubicBezTo>
                <a:cubicBezTo>
                  <a:pt x="3604" y="448"/>
                  <a:pt x="3591" y="474"/>
                  <a:pt x="3591" y="487"/>
                </a:cubicBezTo>
                <a:cubicBezTo>
                  <a:pt x="3565" y="487"/>
                  <a:pt x="3510" y="432"/>
                  <a:pt x="3484" y="432"/>
                </a:cubicBezTo>
                <a:cubicBezTo>
                  <a:pt x="3455" y="432"/>
                  <a:pt x="3429" y="500"/>
                  <a:pt x="3403" y="513"/>
                </a:cubicBezTo>
                <a:cubicBezTo>
                  <a:pt x="3361" y="513"/>
                  <a:pt x="3335" y="474"/>
                  <a:pt x="3293" y="474"/>
                </a:cubicBezTo>
                <a:lnTo>
                  <a:pt x="3212" y="474"/>
                </a:lnTo>
                <a:cubicBezTo>
                  <a:pt x="3212" y="448"/>
                  <a:pt x="3173" y="461"/>
                  <a:pt x="3131" y="432"/>
                </a:cubicBezTo>
                <a:cubicBezTo>
                  <a:pt x="3118" y="419"/>
                  <a:pt x="3092" y="406"/>
                  <a:pt x="3066" y="393"/>
                </a:cubicBezTo>
                <a:cubicBezTo>
                  <a:pt x="3037" y="393"/>
                  <a:pt x="3011" y="338"/>
                  <a:pt x="2985" y="338"/>
                </a:cubicBezTo>
                <a:cubicBezTo>
                  <a:pt x="2956" y="325"/>
                  <a:pt x="2917" y="325"/>
                  <a:pt x="2888" y="325"/>
                </a:cubicBezTo>
                <a:lnTo>
                  <a:pt x="2794" y="325"/>
                </a:lnTo>
                <a:cubicBezTo>
                  <a:pt x="2768" y="325"/>
                  <a:pt x="2742" y="270"/>
                  <a:pt x="2700" y="270"/>
                </a:cubicBezTo>
                <a:cubicBezTo>
                  <a:pt x="2674" y="270"/>
                  <a:pt x="2645" y="286"/>
                  <a:pt x="2606" y="286"/>
                </a:cubicBezTo>
                <a:cubicBezTo>
                  <a:pt x="2580" y="286"/>
                  <a:pt x="2538" y="325"/>
                  <a:pt x="2512" y="325"/>
                </a:cubicBezTo>
                <a:cubicBezTo>
                  <a:pt x="2483" y="312"/>
                  <a:pt x="2457" y="286"/>
                  <a:pt x="2418" y="286"/>
                </a:cubicBezTo>
                <a:cubicBezTo>
                  <a:pt x="2389" y="286"/>
                  <a:pt x="2363" y="299"/>
                  <a:pt x="2321" y="299"/>
                </a:cubicBezTo>
                <a:cubicBezTo>
                  <a:pt x="2295" y="299"/>
                  <a:pt x="2282" y="286"/>
                  <a:pt x="2256" y="286"/>
                </a:cubicBezTo>
                <a:cubicBezTo>
                  <a:pt x="2282" y="257"/>
                  <a:pt x="2282" y="244"/>
                  <a:pt x="2282" y="231"/>
                </a:cubicBezTo>
                <a:cubicBezTo>
                  <a:pt x="2282" y="205"/>
                  <a:pt x="2240" y="205"/>
                  <a:pt x="2201" y="176"/>
                </a:cubicBezTo>
                <a:cubicBezTo>
                  <a:pt x="2188" y="163"/>
                  <a:pt x="2159" y="163"/>
                  <a:pt x="2120" y="150"/>
                </a:cubicBezTo>
                <a:cubicBezTo>
                  <a:pt x="2107" y="150"/>
                  <a:pt x="2094" y="69"/>
                  <a:pt x="2052" y="69"/>
                </a:cubicBezTo>
                <a:cubicBezTo>
                  <a:pt x="2048" y="67"/>
                  <a:pt x="2044" y="66"/>
                  <a:pt x="2040" y="66"/>
                </a:cubicBezTo>
                <a:cubicBezTo>
                  <a:pt x="2014" y="66"/>
                  <a:pt x="1980" y="95"/>
                  <a:pt x="1958" y="95"/>
                </a:cubicBezTo>
                <a:cubicBezTo>
                  <a:pt x="1952" y="92"/>
                  <a:pt x="1947" y="91"/>
                  <a:pt x="1941" y="91"/>
                </a:cubicBezTo>
                <a:cubicBezTo>
                  <a:pt x="1925" y="91"/>
                  <a:pt x="1908" y="99"/>
                  <a:pt x="1887" y="99"/>
                </a:cubicBezTo>
                <a:cubicBezTo>
                  <a:pt x="1880" y="99"/>
                  <a:pt x="1872" y="98"/>
                  <a:pt x="1864" y="95"/>
                </a:cubicBezTo>
                <a:cubicBezTo>
                  <a:pt x="1835" y="95"/>
                  <a:pt x="1822" y="43"/>
                  <a:pt x="1783" y="27"/>
                </a:cubicBezTo>
                <a:cubicBezTo>
                  <a:pt x="1754" y="27"/>
                  <a:pt x="1728" y="82"/>
                  <a:pt x="1689" y="82"/>
                </a:cubicBezTo>
                <a:cubicBezTo>
                  <a:pt x="1660" y="82"/>
                  <a:pt x="1634" y="43"/>
                  <a:pt x="1608" y="43"/>
                </a:cubicBezTo>
                <a:cubicBezTo>
                  <a:pt x="1579" y="43"/>
                  <a:pt x="1553" y="69"/>
                  <a:pt x="1511" y="69"/>
                </a:cubicBezTo>
                <a:cubicBezTo>
                  <a:pt x="1485" y="69"/>
                  <a:pt x="1459" y="1"/>
                  <a:pt x="143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2" name="Google Shape;332;p11"/>
          <p:cNvSpPr/>
          <p:nvPr/>
        </p:nvSpPr>
        <p:spPr>
          <a:xfrm>
            <a:off x="1570782" y="4770339"/>
            <a:ext cx="564468" cy="98164"/>
          </a:xfrm>
          <a:custGeom>
            <a:avLst/>
            <a:gdLst/>
            <a:ahLst/>
            <a:cxnLst/>
            <a:rect l="l" t="t" r="r" b="b"/>
            <a:pathLst>
              <a:path w="2282" h="525" extrusionOk="0">
                <a:moveTo>
                  <a:pt x="973" y="0"/>
                </a:moveTo>
                <a:cubicBezTo>
                  <a:pt x="944" y="0"/>
                  <a:pt x="918" y="13"/>
                  <a:pt x="876" y="13"/>
                </a:cubicBezTo>
                <a:lnTo>
                  <a:pt x="795" y="13"/>
                </a:lnTo>
                <a:cubicBezTo>
                  <a:pt x="756" y="13"/>
                  <a:pt x="730" y="39"/>
                  <a:pt x="701" y="39"/>
                </a:cubicBezTo>
                <a:cubicBezTo>
                  <a:pt x="675" y="39"/>
                  <a:pt x="649" y="26"/>
                  <a:pt x="607" y="26"/>
                </a:cubicBezTo>
                <a:cubicBezTo>
                  <a:pt x="581" y="26"/>
                  <a:pt x="552" y="68"/>
                  <a:pt x="526" y="68"/>
                </a:cubicBezTo>
                <a:cubicBezTo>
                  <a:pt x="524" y="69"/>
                  <a:pt x="521" y="70"/>
                  <a:pt x="519" y="70"/>
                </a:cubicBezTo>
                <a:cubicBezTo>
                  <a:pt x="495" y="70"/>
                  <a:pt x="463" y="24"/>
                  <a:pt x="439" y="24"/>
                </a:cubicBezTo>
                <a:cubicBezTo>
                  <a:pt x="437" y="24"/>
                  <a:pt x="434" y="25"/>
                  <a:pt x="432" y="26"/>
                </a:cubicBezTo>
                <a:cubicBezTo>
                  <a:pt x="406" y="26"/>
                  <a:pt x="364" y="26"/>
                  <a:pt x="338" y="39"/>
                </a:cubicBezTo>
                <a:cubicBezTo>
                  <a:pt x="309" y="39"/>
                  <a:pt x="296" y="107"/>
                  <a:pt x="270" y="120"/>
                </a:cubicBezTo>
                <a:cubicBezTo>
                  <a:pt x="242" y="120"/>
                  <a:pt x="221" y="114"/>
                  <a:pt x="202" y="114"/>
                </a:cubicBezTo>
                <a:cubicBezTo>
                  <a:pt x="193" y="114"/>
                  <a:pt x="185" y="116"/>
                  <a:pt x="176" y="120"/>
                </a:cubicBezTo>
                <a:cubicBezTo>
                  <a:pt x="148" y="120"/>
                  <a:pt x="121" y="114"/>
                  <a:pt x="103" y="114"/>
                </a:cubicBezTo>
                <a:cubicBezTo>
                  <a:pt x="93" y="114"/>
                  <a:pt x="86" y="116"/>
                  <a:pt x="82" y="120"/>
                </a:cubicBezTo>
                <a:cubicBezTo>
                  <a:pt x="40" y="149"/>
                  <a:pt x="1" y="188"/>
                  <a:pt x="1" y="214"/>
                </a:cubicBezTo>
                <a:cubicBezTo>
                  <a:pt x="1" y="243"/>
                  <a:pt x="53" y="256"/>
                  <a:pt x="95" y="282"/>
                </a:cubicBezTo>
                <a:cubicBezTo>
                  <a:pt x="108" y="295"/>
                  <a:pt x="121" y="337"/>
                  <a:pt x="147" y="350"/>
                </a:cubicBezTo>
                <a:cubicBezTo>
                  <a:pt x="176" y="363"/>
                  <a:pt x="202" y="376"/>
                  <a:pt x="244" y="392"/>
                </a:cubicBezTo>
                <a:cubicBezTo>
                  <a:pt x="265" y="392"/>
                  <a:pt x="295" y="373"/>
                  <a:pt x="321" y="373"/>
                </a:cubicBezTo>
                <a:cubicBezTo>
                  <a:pt x="327" y="373"/>
                  <a:pt x="333" y="373"/>
                  <a:pt x="338" y="376"/>
                </a:cubicBezTo>
                <a:cubicBezTo>
                  <a:pt x="364" y="376"/>
                  <a:pt x="390" y="392"/>
                  <a:pt x="419" y="392"/>
                </a:cubicBezTo>
                <a:cubicBezTo>
                  <a:pt x="424" y="395"/>
                  <a:pt x="429" y="395"/>
                  <a:pt x="435" y="395"/>
                </a:cubicBezTo>
                <a:cubicBezTo>
                  <a:pt x="453" y="395"/>
                  <a:pt x="475" y="387"/>
                  <a:pt x="493" y="387"/>
                </a:cubicBezTo>
                <a:cubicBezTo>
                  <a:pt x="500" y="387"/>
                  <a:pt x="507" y="388"/>
                  <a:pt x="513" y="392"/>
                </a:cubicBezTo>
                <a:cubicBezTo>
                  <a:pt x="539" y="392"/>
                  <a:pt x="568" y="405"/>
                  <a:pt x="607" y="418"/>
                </a:cubicBezTo>
                <a:cubicBezTo>
                  <a:pt x="633" y="418"/>
                  <a:pt x="662" y="431"/>
                  <a:pt x="688" y="431"/>
                </a:cubicBezTo>
                <a:cubicBezTo>
                  <a:pt x="705" y="431"/>
                  <a:pt x="724" y="425"/>
                  <a:pt x="746" y="425"/>
                </a:cubicBezTo>
                <a:cubicBezTo>
                  <a:pt x="757" y="425"/>
                  <a:pt x="769" y="427"/>
                  <a:pt x="782" y="431"/>
                </a:cubicBezTo>
                <a:cubicBezTo>
                  <a:pt x="811" y="431"/>
                  <a:pt x="837" y="499"/>
                  <a:pt x="863" y="512"/>
                </a:cubicBezTo>
                <a:lnTo>
                  <a:pt x="944" y="512"/>
                </a:lnTo>
                <a:cubicBezTo>
                  <a:pt x="986" y="512"/>
                  <a:pt x="1012" y="486"/>
                  <a:pt x="1038" y="486"/>
                </a:cubicBezTo>
                <a:lnTo>
                  <a:pt x="1135" y="486"/>
                </a:lnTo>
                <a:cubicBezTo>
                  <a:pt x="1161" y="486"/>
                  <a:pt x="1187" y="457"/>
                  <a:pt x="1229" y="457"/>
                </a:cubicBezTo>
                <a:cubicBezTo>
                  <a:pt x="1255" y="457"/>
                  <a:pt x="1281" y="525"/>
                  <a:pt x="1310" y="525"/>
                </a:cubicBezTo>
                <a:cubicBezTo>
                  <a:pt x="1349" y="525"/>
                  <a:pt x="1378" y="512"/>
                  <a:pt x="1404" y="512"/>
                </a:cubicBezTo>
                <a:lnTo>
                  <a:pt x="1498" y="512"/>
                </a:lnTo>
                <a:cubicBezTo>
                  <a:pt x="1524" y="499"/>
                  <a:pt x="1553" y="486"/>
                  <a:pt x="1579" y="486"/>
                </a:cubicBezTo>
                <a:cubicBezTo>
                  <a:pt x="1605" y="486"/>
                  <a:pt x="1647" y="473"/>
                  <a:pt x="1673" y="473"/>
                </a:cubicBezTo>
                <a:cubicBezTo>
                  <a:pt x="1702" y="473"/>
                  <a:pt x="1728" y="457"/>
                  <a:pt x="1754" y="457"/>
                </a:cubicBezTo>
                <a:cubicBezTo>
                  <a:pt x="1796" y="457"/>
                  <a:pt x="1822" y="444"/>
                  <a:pt x="1848" y="444"/>
                </a:cubicBezTo>
                <a:cubicBezTo>
                  <a:pt x="1877" y="431"/>
                  <a:pt x="1903" y="418"/>
                  <a:pt x="1929" y="418"/>
                </a:cubicBezTo>
                <a:cubicBezTo>
                  <a:pt x="1932" y="417"/>
                  <a:pt x="1935" y="416"/>
                  <a:pt x="1939" y="416"/>
                </a:cubicBezTo>
                <a:cubicBezTo>
                  <a:pt x="1963" y="416"/>
                  <a:pt x="1992" y="446"/>
                  <a:pt x="2016" y="446"/>
                </a:cubicBezTo>
                <a:cubicBezTo>
                  <a:pt x="2019" y="446"/>
                  <a:pt x="2023" y="445"/>
                  <a:pt x="2026" y="444"/>
                </a:cubicBezTo>
                <a:lnTo>
                  <a:pt x="2120" y="444"/>
                </a:lnTo>
                <a:cubicBezTo>
                  <a:pt x="2159" y="431"/>
                  <a:pt x="2172" y="376"/>
                  <a:pt x="2188" y="363"/>
                </a:cubicBezTo>
                <a:cubicBezTo>
                  <a:pt x="2227" y="350"/>
                  <a:pt x="2282" y="337"/>
                  <a:pt x="2282" y="311"/>
                </a:cubicBezTo>
                <a:cubicBezTo>
                  <a:pt x="2282" y="282"/>
                  <a:pt x="2227" y="256"/>
                  <a:pt x="2201" y="243"/>
                </a:cubicBezTo>
                <a:cubicBezTo>
                  <a:pt x="2188" y="230"/>
                  <a:pt x="2146" y="214"/>
                  <a:pt x="2120" y="201"/>
                </a:cubicBezTo>
                <a:cubicBezTo>
                  <a:pt x="2091" y="188"/>
                  <a:pt x="2065" y="188"/>
                  <a:pt x="2039" y="175"/>
                </a:cubicBezTo>
                <a:cubicBezTo>
                  <a:pt x="2029" y="171"/>
                  <a:pt x="2018" y="169"/>
                  <a:pt x="2007" y="169"/>
                </a:cubicBezTo>
                <a:cubicBezTo>
                  <a:pt x="1985" y="169"/>
                  <a:pt x="1962" y="175"/>
                  <a:pt x="1945" y="175"/>
                </a:cubicBezTo>
                <a:cubicBezTo>
                  <a:pt x="1916" y="162"/>
                  <a:pt x="1903" y="120"/>
                  <a:pt x="1864" y="107"/>
                </a:cubicBezTo>
                <a:cubicBezTo>
                  <a:pt x="1835" y="107"/>
                  <a:pt x="1809" y="107"/>
                  <a:pt x="1783" y="94"/>
                </a:cubicBezTo>
                <a:cubicBezTo>
                  <a:pt x="1754" y="94"/>
                  <a:pt x="1728" y="52"/>
                  <a:pt x="1686" y="52"/>
                </a:cubicBezTo>
                <a:lnTo>
                  <a:pt x="1605" y="52"/>
                </a:lnTo>
                <a:cubicBezTo>
                  <a:pt x="1579" y="52"/>
                  <a:pt x="1540" y="94"/>
                  <a:pt x="1511" y="94"/>
                </a:cubicBezTo>
                <a:cubicBezTo>
                  <a:pt x="1472" y="94"/>
                  <a:pt x="1459" y="52"/>
                  <a:pt x="1417" y="52"/>
                </a:cubicBezTo>
                <a:cubicBezTo>
                  <a:pt x="1391" y="52"/>
                  <a:pt x="1362" y="52"/>
                  <a:pt x="1336" y="39"/>
                </a:cubicBezTo>
                <a:cubicBezTo>
                  <a:pt x="1297" y="39"/>
                  <a:pt x="1268" y="68"/>
                  <a:pt x="1242" y="68"/>
                </a:cubicBezTo>
                <a:cubicBezTo>
                  <a:pt x="1216" y="68"/>
                  <a:pt x="1187" y="26"/>
                  <a:pt x="1148" y="13"/>
                </a:cubicBezTo>
                <a:cubicBezTo>
                  <a:pt x="1119" y="13"/>
                  <a:pt x="1093" y="0"/>
                  <a:pt x="1067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3" name="Google Shape;333;p11"/>
          <p:cNvSpPr/>
          <p:nvPr/>
        </p:nvSpPr>
        <p:spPr>
          <a:xfrm>
            <a:off x="1506102" y="4948235"/>
            <a:ext cx="1129431" cy="209792"/>
          </a:xfrm>
          <a:custGeom>
            <a:avLst/>
            <a:gdLst/>
            <a:ahLst/>
            <a:cxnLst/>
            <a:rect l="l" t="t" r="r" b="b"/>
            <a:pathLst>
              <a:path w="4566" h="1122" extrusionOk="0">
                <a:moveTo>
                  <a:pt x="2201" y="1"/>
                </a:moveTo>
                <a:cubicBezTo>
                  <a:pt x="2162" y="1"/>
                  <a:pt x="2120" y="17"/>
                  <a:pt x="2081" y="17"/>
                </a:cubicBezTo>
                <a:cubicBezTo>
                  <a:pt x="2039" y="17"/>
                  <a:pt x="2013" y="111"/>
                  <a:pt x="1974" y="111"/>
                </a:cubicBezTo>
                <a:cubicBezTo>
                  <a:pt x="1965" y="114"/>
                  <a:pt x="1956" y="115"/>
                  <a:pt x="1948" y="115"/>
                </a:cubicBezTo>
                <a:cubicBezTo>
                  <a:pt x="1924" y="115"/>
                  <a:pt x="1903" y="107"/>
                  <a:pt x="1883" y="107"/>
                </a:cubicBezTo>
                <a:cubicBezTo>
                  <a:pt x="1877" y="107"/>
                  <a:pt x="1870" y="108"/>
                  <a:pt x="1864" y="111"/>
                </a:cubicBezTo>
                <a:cubicBezTo>
                  <a:pt x="1853" y="114"/>
                  <a:pt x="1842" y="115"/>
                  <a:pt x="1831" y="115"/>
                </a:cubicBezTo>
                <a:cubicBezTo>
                  <a:pt x="1801" y="115"/>
                  <a:pt x="1772" y="107"/>
                  <a:pt x="1751" y="107"/>
                </a:cubicBezTo>
                <a:cubicBezTo>
                  <a:pt x="1743" y="107"/>
                  <a:pt x="1736" y="108"/>
                  <a:pt x="1731" y="111"/>
                </a:cubicBezTo>
                <a:cubicBezTo>
                  <a:pt x="1689" y="137"/>
                  <a:pt x="1634" y="192"/>
                  <a:pt x="1634" y="218"/>
                </a:cubicBezTo>
                <a:cubicBezTo>
                  <a:pt x="1621" y="260"/>
                  <a:pt x="1702" y="286"/>
                  <a:pt x="1744" y="312"/>
                </a:cubicBezTo>
                <a:cubicBezTo>
                  <a:pt x="1744" y="325"/>
                  <a:pt x="1757" y="341"/>
                  <a:pt x="1770" y="354"/>
                </a:cubicBezTo>
                <a:lnTo>
                  <a:pt x="1744" y="354"/>
                </a:lnTo>
                <a:cubicBezTo>
                  <a:pt x="1702" y="354"/>
                  <a:pt x="1650" y="325"/>
                  <a:pt x="1595" y="325"/>
                </a:cubicBezTo>
                <a:lnTo>
                  <a:pt x="1446" y="325"/>
                </a:lnTo>
                <a:cubicBezTo>
                  <a:pt x="1407" y="325"/>
                  <a:pt x="1352" y="393"/>
                  <a:pt x="1310" y="393"/>
                </a:cubicBezTo>
                <a:cubicBezTo>
                  <a:pt x="1261" y="393"/>
                  <a:pt x="1210" y="311"/>
                  <a:pt x="1158" y="311"/>
                </a:cubicBezTo>
                <a:cubicBezTo>
                  <a:pt x="1155" y="311"/>
                  <a:pt x="1151" y="311"/>
                  <a:pt x="1148" y="312"/>
                </a:cubicBezTo>
                <a:cubicBezTo>
                  <a:pt x="1113" y="312"/>
                  <a:pt x="1077" y="306"/>
                  <a:pt x="1045" y="306"/>
                </a:cubicBezTo>
                <a:cubicBezTo>
                  <a:pt x="1030" y="306"/>
                  <a:pt x="1015" y="308"/>
                  <a:pt x="1002" y="312"/>
                </a:cubicBezTo>
                <a:cubicBezTo>
                  <a:pt x="947" y="312"/>
                  <a:pt x="905" y="367"/>
                  <a:pt x="853" y="380"/>
                </a:cubicBezTo>
                <a:cubicBezTo>
                  <a:pt x="798" y="380"/>
                  <a:pt x="759" y="380"/>
                  <a:pt x="704" y="393"/>
                </a:cubicBezTo>
                <a:cubicBezTo>
                  <a:pt x="649" y="393"/>
                  <a:pt x="623" y="461"/>
                  <a:pt x="568" y="474"/>
                </a:cubicBezTo>
                <a:cubicBezTo>
                  <a:pt x="557" y="477"/>
                  <a:pt x="546" y="478"/>
                  <a:pt x="535" y="478"/>
                </a:cubicBezTo>
                <a:cubicBezTo>
                  <a:pt x="504" y="478"/>
                  <a:pt x="474" y="470"/>
                  <a:pt x="447" y="470"/>
                </a:cubicBezTo>
                <a:cubicBezTo>
                  <a:pt x="437" y="470"/>
                  <a:pt x="428" y="471"/>
                  <a:pt x="419" y="474"/>
                </a:cubicBezTo>
                <a:cubicBezTo>
                  <a:pt x="367" y="487"/>
                  <a:pt x="325" y="503"/>
                  <a:pt x="273" y="516"/>
                </a:cubicBezTo>
                <a:cubicBezTo>
                  <a:pt x="218" y="542"/>
                  <a:pt x="176" y="555"/>
                  <a:pt x="137" y="568"/>
                </a:cubicBezTo>
                <a:cubicBezTo>
                  <a:pt x="82" y="610"/>
                  <a:pt x="1" y="649"/>
                  <a:pt x="1" y="691"/>
                </a:cubicBezTo>
                <a:cubicBezTo>
                  <a:pt x="1" y="730"/>
                  <a:pt x="95" y="746"/>
                  <a:pt x="150" y="785"/>
                </a:cubicBezTo>
                <a:cubicBezTo>
                  <a:pt x="176" y="811"/>
                  <a:pt x="205" y="892"/>
                  <a:pt x="257" y="921"/>
                </a:cubicBezTo>
                <a:cubicBezTo>
                  <a:pt x="278" y="927"/>
                  <a:pt x="302" y="927"/>
                  <a:pt x="328" y="927"/>
                </a:cubicBezTo>
                <a:cubicBezTo>
                  <a:pt x="353" y="927"/>
                  <a:pt x="380" y="927"/>
                  <a:pt x="406" y="934"/>
                </a:cubicBezTo>
                <a:cubicBezTo>
                  <a:pt x="409" y="935"/>
                  <a:pt x="413" y="936"/>
                  <a:pt x="417" y="936"/>
                </a:cubicBezTo>
                <a:cubicBezTo>
                  <a:pt x="456" y="936"/>
                  <a:pt x="509" y="890"/>
                  <a:pt x="554" y="890"/>
                </a:cubicBezTo>
                <a:cubicBezTo>
                  <a:pt x="559" y="890"/>
                  <a:pt x="563" y="891"/>
                  <a:pt x="568" y="892"/>
                </a:cubicBezTo>
                <a:cubicBezTo>
                  <a:pt x="623" y="892"/>
                  <a:pt x="662" y="921"/>
                  <a:pt x="717" y="934"/>
                </a:cubicBezTo>
                <a:cubicBezTo>
                  <a:pt x="759" y="947"/>
                  <a:pt x="811" y="960"/>
                  <a:pt x="853" y="973"/>
                </a:cubicBezTo>
                <a:cubicBezTo>
                  <a:pt x="905" y="973"/>
                  <a:pt x="947" y="989"/>
                  <a:pt x="1002" y="1002"/>
                </a:cubicBezTo>
                <a:cubicBezTo>
                  <a:pt x="1054" y="1002"/>
                  <a:pt x="1096" y="1028"/>
                  <a:pt x="1148" y="1028"/>
                </a:cubicBezTo>
                <a:cubicBezTo>
                  <a:pt x="1203" y="1041"/>
                  <a:pt x="1245" y="1070"/>
                  <a:pt x="1297" y="1070"/>
                </a:cubicBezTo>
                <a:cubicBezTo>
                  <a:pt x="1339" y="1083"/>
                  <a:pt x="1391" y="1083"/>
                  <a:pt x="1446" y="1083"/>
                </a:cubicBezTo>
                <a:cubicBezTo>
                  <a:pt x="1488" y="1096"/>
                  <a:pt x="1540" y="1122"/>
                  <a:pt x="1595" y="1122"/>
                </a:cubicBezTo>
                <a:cubicBezTo>
                  <a:pt x="1634" y="1122"/>
                  <a:pt x="1689" y="1015"/>
                  <a:pt x="1744" y="1015"/>
                </a:cubicBezTo>
                <a:cubicBezTo>
                  <a:pt x="1796" y="1015"/>
                  <a:pt x="1838" y="1070"/>
                  <a:pt x="1893" y="1070"/>
                </a:cubicBezTo>
                <a:cubicBezTo>
                  <a:pt x="1945" y="1070"/>
                  <a:pt x="2000" y="1083"/>
                  <a:pt x="2039" y="1083"/>
                </a:cubicBezTo>
                <a:cubicBezTo>
                  <a:pt x="2094" y="1083"/>
                  <a:pt x="2149" y="1122"/>
                  <a:pt x="2188" y="1122"/>
                </a:cubicBezTo>
                <a:lnTo>
                  <a:pt x="2337" y="1122"/>
                </a:lnTo>
                <a:cubicBezTo>
                  <a:pt x="2392" y="1122"/>
                  <a:pt x="2431" y="1002"/>
                  <a:pt x="2486" y="1002"/>
                </a:cubicBezTo>
                <a:cubicBezTo>
                  <a:pt x="2541" y="1002"/>
                  <a:pt x="2593" y="1015"/>
                  <a:pt x="2635" y="1015"/>
                </a:cubicBezTo>
                <a:cubicBezTo>
                  <a:pt x="2687" y="1015"/>
                  <a:pt x="2729" y="1002"/>
                  <a:pt x="2784" y="989"/>
                </a:cubicBezTo>
                <a:cubicBezTo>
                  <a:pt x="2836" y="989"/>
                  <a:pt x="2878" y="960"/>
                  <a:pt x="2930" y="960"/>
                </a:cubicBezTo>
                <a:cubicBezTo>
                  <a:pt x="2941" y="957"/>
                  <a:pt x="2951" y="956"/>
                  <a:pt x="2961" y="956"/>
                </a:cubicBezTo>
                <a:cubicBezTo>
                  <a:pt x="3002" y="956"/>
                  <a:pt x="3037" y="973"/>
                  <a:pt x="3079" y="973"/>
                </a:cubicBezTo>
                <a:cubicBezTo>
                  <a:pt x="3134" y="960"/>
                  <a:pt x="3173" y="947"/>
                  <a:pt x="3228" y="947"/>
                </a:cubicBezTo>
                <a:cubicBezTo>
                  <a:pt x="3234" y="946"/>
                  <a:pt x="3240" y="945"/>
                  <a:pt x="3245" y="945"/>
                </a:cubicBezTo>
                <a:cubicBezTo>
                  <a:pt x="3287" y="945"/>
                  <a:pt x="3327" y="976"/>
                  <a:pt x="3368" y="976"/>
                </a:cubicBezTo>
                <a:cubicBezTo>
                  <a:pt x="3376" y="976"/>
                  <a:pt x="3383" y="975"/>
                  <a:pt x="3390" y="973"/>
                </a:cubicBezTo>
                <a:cubicBezTo>
                  <a:pt x="3445" y="960"/>
                  <a:pt x="3484" y="934"/>
                  <a:pt x="3526" y="921"/>
                </a:cubicBezTo>
                <a:cubicBezTo>
                  <a:pt x="3578" y="908"/>
                  <a:pt x="3607" y="840"/>
                  <a:pt x="3646" y="811"/>
                </a:cubicBezTo>
                <a:cubicBezTo>
                  <a:pt x="3701" y="772"/>
                  <a:pt x="3795" y="746"/>
                  <a:pt x="3795" y="704"/>
                </a:cubicBezTo>
                <a:cubicBezTo>
                  <a:pt x="3795" y="691"/>
                  <a:pt x="3782" y="678"/>
                  <a:pt x="3769" y="649"/>
                </a:cubicBezTo>
                <a:lnTo>
                  <a:pt x="3876" y="649"/>
                </a:lnTo>
                <a:cubicBezTo>
                  <a:pt x="3918" y="636"/>
                  <a:pt x="3957" y="636"/>
                  <a:pt x="3999" y="623"/>
                </a:cubicBezTo>
                <a:cubicBezTo>
                  <a:pt x="4038" y="623"/>
                  <a:pt x="4064" y="610"/>
                  <a:pt x="4106" y="610"/>
                </a:cubicBezTo>
                <a:cubicBezTo>
                  <a:pt x="4109" y="609"/>
                  <a:pt x="4113" y="608"/>
                  <a:pt x="4116" y="608"/>
                </a:cubicBezTo>
                <a:cubicBezTo>
                  <a:pt x="4148" y="608"/>
                  <a:pt x="4181" y="651"/>
                  <a:pt x="4213" y="651"/>
                </a:cubicBezTo>
                <a:cubicBezTo>
                  <a:pt x="4217" y="651"/>
                  <a:pt x="4222" y="651"/>
                  <a:pt x="4226" y="649"/>
                </a:cubicBezTo>
                <a:cubicBezTo>
                  <a:pt x="4254" y="649"/>
                  <a:pt x="4288" y="656"/>
                  <a:pt x="4315" y="656"/>
                </a:cubicBezTo>
                <a:cubicBezTo>
                  <a:pt x="4328" y="656"/>
                  <a:pt x="4340" y="654"/>
                  <a:pt x="4349" y="649"/>
                </a:cubicBezTo>
                <a:cubicBezTo>
                  <a:pt x="4388" y="636"/>
                  <a:pt x="4417" y="568"/>
                  <a:pt x="4443" y="555"/>
                </a:cubicBezTo>
                <a:cubicBezTo>
                  <a:pt x="4485" y="529"/>
                  <a:pt x="4566" y="516"/>
                  <a:pt x="4566" y="487"/>
                </a:cubicBezTo>
                <a:cubicBezTo>
                  <a:pt x="4566" y="461"/>
                  <a:pt x="4498" y="422"/>
                  <a:pt x="4456" y="393"/>
                </a:cubicBezTo>
                <a:cubicBezTo>
                  <a:pt x="4430" y="367"/>
                  <a:pt x="4404" y="354"/>
                  <a:pt x="4362" y="341"/>
                </a:cubicBezTo>
                <a:cubicBezTo>
                  <a:pt x="4336" y="325"/>
                  <a:pt x="4294" y="312"/>
                  <a:pt x="4255" y="299"/>
                </a:cubicBezTo>
                <a:cubicBezTo>
                  <a:pt x="4234" y="292"/>
                  <a:pt x="4214" y="292"/>
                  <a:pt x="4193" y="292"/>
                </a:cubicBezTo>
                <a:cubicBezTo>
                  <a:pt x="4173" y="292"/>
                  <a:pt x="4153" y="292"/>
                  <a:pt x="4132" y="286"/>
                </a:cubicBezTo>
                <a:cubicBezTo>
                  <a:pt x="4106" y="273"/>
                  <a:pt x="4080" y="218"/>
                  <a:pt x="4038" y="205"/>
                </a:cubicBezTo>
                <a:cubicBezTo>
                  <a:pt x="3999" y="192"/>
                  <a:pt x="3970" y="192"/>
                  <a:pt x="3931" y="192"/>
                </a:cubicBezTo>
                <a:cubicBezTo>
                  <a:pt x="3889" y="179"/>
                  <a:pt x="3863" y="137"/>
                  <a:pt x="3821" y="124"/>
                </a:cubicBezTo>
                <a:cubicBezTo>
                  <a:pt x="3801" y="117"/>
                  <a:pt x="3781" y="117"/>
                  <a:pt x="3761" y="117"/>
                </a:cubicBezTo>
                <a:cubicBezTo>
                  <a:pt x="3741" y="117"/>
                  <a:pt x="3720" y="117"/>
                  <a:pt x="3701" y="111"/>
                </a:cubicBezTo>
                <a:cubicBezTo>
                  <a:pt x="3663" y="111"/>
                  <a:pt x="3628" y="165"/>
                  <a:pt x="3591" y="165"/>
                </a:cubicBezTo>
                <a:cubicBezTo>
                  <a:pt x="3587" y="165"/>
                  <a:pt x="3582" y="165"/>
                  <a:pt x="3578" y="163"/>
                </a:cubicBezTo>
                <a:cubicBezTo>
                  <a:pt x="3539" y="163"/>
                  <a:pt x="3513" y="111"/>
                  <a:pt x="3471" y="98"/>
                </a:cubicBezTo>
                <a:cubicBezTo>
                  <a:pt x="3432" y="98"/>
                  <a:pt x="3390" y="98"/>
                  <a:pt x="3351" y="82"/>
                </a:cubicBezTo>
                <a:cubicBezTo>
                  <a:pt x="3322" y="82"/>
                  <a:pt x="3270" y="111"/>
                  <a:pt x="3241" y="111"/>
                </a:cubicBezTo>
                <a:cubicBezTo>
                  <a:pt x="3202" y="98"/>
                  <a:pt x="3160" y="43"/>
                  <a:pt x="3121" y="43"/>
                </a:cubicBezTo>
                <a:cubicBezTo>
                  <a:pt x="3092" y="43"/>
                  <a:pt x="3053" y="17"/>
                  <a:pt x="3011" y="17"/>
                </a:cubicBezTo>
                <a:lnTo>
                  <a:pt x="2891" y="17"/>
                </a:lnTo>
                <a:cubicBezTo>
                  <a:pt x="2849" y="17"/>
                  <a:pt x="2810" y="30"/>
                  <a:pt x="2784" y="30"/>
                </a:cubicBezTo>
                <a:cubicBezTo>
                  <a:pt x="2742" y="30"/>
                  <a:pt x="2703" y="17"/>
                  <a:pt x="2661" y="17"/>
                </a:cubicBezTo>
                <a:cubicBezTo>
                  <a:pt x="2622" y="17"/>
                  <a:pt x="2580" y="43"/>
                  <a:pt x="2541" y="43"/>
                </a:cubicBezTo>
                <a:cubicBezTo>
                  <a:pt x="2512" y="43"/>
                  <a:pt x="2473" y="30"/>
                  <a:pt x="2431" y="30"/>
                </a:cubicBezTo>
                <a:cubicBezTo>
                  <a:pt x="2392" y="30"/>
                  <a:pt x="2350" y="69"/>
                  <a:pt x="2311" y="69"/>
                </a:cubicBezTo>
                <a:cubicBezTo>
                  <a:pt x="2269" y="69"/>
                  <a:pt x="2230" y="1"/>
                  <a:pt x="2201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4" name="Google Shape;334;p11"/>
          <p:cNvSpPr/>
          <p:nvPr/>
        </p:nvSpPr>
        <p:spPr>
          <a:xfrm>
            <a:off x="2498239" y="4799961"/>
            <a:ext cx="874653" cy="161177"/>
          </a:xfrm>
          <a:custGeom>
            <a:avLst/>
            <a:gdLst/>
            <a:ahLst/>
            <a:cxnLst/>
            <a:rect l="l" t="t" r="r" b="b"/>
            <a:pathLst>
              <a:path w="3536" h="862" extrusionOk="0">
                <a:moveTo>
                  <a:pt x="1203" y="0"/>
                </a:moveTo>
                <a:cubicBezTo>
                  <a:pt x="1174" y="13"/>
                  <a:pt x="1148" y="26"/>
                  <a:pt x="1106" y="26"/>
                </a:cubicBezTo>
                <a:cubicBezTo>
                  <a:pt x="1080" y="26"/>
                  <a:pt x="1054" y="81"/>
                  <a:pt x="1025" y="81"/>
                </a:cubicBezTo>
                <a:cubicBezTo>
                  <a:pt x="1004" y="81"/>
                  <a:pt x="974" y="62"/>
                  <a:pt x="947" y="62"/>
                </a:cubicBezTo>
                <a:cubicBezTo>
                  <a:pt x="942" y="62"/>
                  <a:pt x="936" y="62"/>
                  <a:pt x="931" y="65"/>
                </a:cubicBezTo>
                <a:cubicBezTo>
                  <a:pt x="905" y="65"/>
                  <a:pt x="879" y="65"/>
                  <a:pt x="850" y="81"/>
                </a:cubicBezTo>
                <a:cubicBezTo>
                  <a:pt x="811" y="81"/>
                  <a:pt x="798" y="120"/>
                  <a:pt x="756" y="120"/>
                </a:cubicBezTo>
                <a:cubicBezTo>
                  <a:pt x="753" y="121"/>
                  <a:pt x="750" y="122"/>
                  <a:pt x="747" y="122"/>
                </a:cubicBezTo>
                <a:cubicBezTo>
                  <a:pt x="721" y="122"/>
                  <a:pt x="685" y="81"/>
                  <a:pt x="662" y="81"/>
                </a:cubicBezTo>
                <a:cubicBezTo>
                  <a:pt x="649" y="88"/>
                  <a:pt x="635" y="88"/>
                  <a:pt x="620" y="88"/>
                </a:cubicBezTo>
                <a:cubicBezTo>
                  <a:pt x="604" y="88"/>
                  <a:pt x="587" y="88"/>
                  <a:pt x="568" y="94"/>
                </a:cubicBezTo>
                <a:cubicBezTo>
                  <a:pt x="539" y="94"/>
                  <a:pt x="513" y="133"/>
                  <a:pt x="487" y="133"/>
                </a:cubicBezTo>
                <a:cubicBezTo>
                  <a:pt x="458" y="146"/>
                  <a:pt x="432" y="146"/>
                  <a:pt x="406" y="162"/>
                </a:cubicBezTo>
                <a:cubicBezTo>
                  <a:pt x="377" y="162"/>
                  <a:pt x="351" y="201"/>
                  <a:pt x="325" y="214"/>
                </a:cubicBezTo>
                <a:cubicBezTo>
                  <a:pt x="310" y="220"/>
                  <a:pt x="297" y="220"/>
                  <a:pt x="283" y="220"/>
                </a:cubicBezTo>
                <a:cubicBezTo>
                  <a:pt x="270" y="220"/>
                  <a:pt x="257" y="220"/>
                  <a:pt x="244" y="227"/>
                </a:cubicBezTo>
                <a:cubicBezTo>
                  <a:pt x="202" y="243"/>
                  <a:pt x="176" y="243"/>
                  <a:pt x="150" y="256"/>
                </a:cubicBezTo>
                <a:cubicBezTo>
                  <a:pt x="121" y="269"/>
                  <a:pt x="95" y="282"/>
                  <a:pt x="82" y="295"/>
                </a:cubicBezTo>
                <a:cubicBezTo>
                  <a:pt x="40" y="324"/>
                  <a:pt x="1" y="350"/>
                  <a:pt x="1" y="376"/>
                </a:cubicBezTo>
                <a:cubicBezTo>
                  <a:pt x="1" y="405"/>
                  <a:pt x="53" y="405"/>
                  <a:pt x="95" y="431"/>
                </a:cubicBezTo>
                <a:cubicBezTo>
                  <a:pt x="108" y="444"/>
                  <a:pt x="134" y="486"/>
                  <a:pt x="163" y="499"/>
                </a:cubicBezTo>
                <a:lnTo>
                  <a:pt x="257" y="499"/>
                </a:lnTo>
                <a:cubicBezTo>
                  <a:pt x="283" y="499"/>
                  <a:pt x="325" y="457"/>
                  <a:pt x="351" y="457"/>
                </a:cubicBezTo>
                <a:cubicBezTo>
                  <a:pt x="377" y="470"/>
                  <a:pt x="406" y="486"/>
                  <a:pt x="432" y="486"/>
                </a:cubicBezTo>
                <a:cubicBezTo>
                  <a:pt x="474" y="486"/>
                  <a:pt x="500" y="499"/>
                  <a:pt x="526" y="499"/>
                </a:cubicBezTo>
                <a:lnTo>
                  <a:pt x="607" y="499"/>
                </a:lnTo>
                <a:cubicBezTo>
                  <a:pt x="594" y="512"/>
                  <a:pt x="594" y="525"/>
                  <a:pt x="594" y="538"/>
                </a:cubicBezTo>
                <a:cubicBezTo>
                  <a:pt x="594" y="580"/>
                  <a:pt x="662" y="593"/>
                  <a:pt x="717" y="619"/>
                </a:cubicBezTo>
                <a:cubicBezTo>
                  <a:pt x="743" y="648"/>
                  <a:pt x="756" y="687"/>
                  <a:pt x="798" y="713"/>
                </a:cubicBezTo>
                <a:cubicBezTo>
                  <a:pt x="824" y="729"/>
                  <a:pt x="863" y="742"/>
                  <a:pt x="905" y="755"/>
                </a:cubicBezTo>
                <a:cubicBezTo>
                  <a:pt x="937" y="755"/>
                  <a:pt x="981" y="725"/>
                  <a:pt x="1020" y="725"/>
                </a:cubicBezTo>
                <a:cubicBezTo>
                  <a:pt x="1027" y="725"/>
                  <a:pt x="1034" y="726"/>
                  <a:pt x="1041" y="729"/>
                </a:cubicBezTo>
                <a:cubicBezTo>
                  <a:pt x="1067" y="729"/>
                  <a:pt x="1106" y="742"/>
                  <a:pt x="1148" y="742"/>
                </a:cubicBezTo>
                <a:cubicBezTo>
                  <a:pt x="1156" y="745"/>
                  <a:pt x="1164" y="746"/>
                  <a:pt x="1171" y="746"/>
                </a:cubicBezTo>
                <a:cubicBezTo>
                  <a:pt x="1203" y="746"/>
                  <a:pt x="1237" y="729"/>
                  <a:pt x="1268" y="729"/>
                </a:cubicBezTo>
                <a:cubicBezTo>
                  <a:pt x="1297" y="742"/>
                  <a:pt x="1336" y="755"/>
                  <a:pt x="1378" y="768"/>
                </a:cubicBezTo>
                <a:cubicBezTo>
                  <a:pt x="1417" y="768"/>
                  <a:pt x="1459" y="781"/>
                  <a:pt x="1485" y="781"/>
                </a:cubicBezTo>
                <a:cubicBezTo>
                  <a:pt x="1527" y="781"/>
                  <a:pt x="1566" y="768"/>
                  <a:pt x="1608" y="768"/>
                </a:cubicBezTo>
                <a:cubicBezTo>
                  <a:pt x="1647" y="768"/>
                  <a:pt x="1673" y="862"/>
                  <a:pt x="1715" y="862"/>
                </a:cubicBezTo>
                <a:lnTo>
                  <a:pt x="1835" y="862"/>
                </a:lnTo>
                <a:cubicBezTo>
                  <a:pt x="1877" y="862"/>
                  <a:pt x="1916" y="836"/>
                  <a:pt x="1958" y="836"/>
                </a:cubicBezTo>
                <a:cubicBezTo>
                  <a:pt x="1984" y="836"/>
                  <a:pt x="2026" y="823"/>
                  <a:pt x="2065" y="823"/>
                </a:cubicBezTo>
                <a:cubicBezTo>
                  <a:pt x="2107" y="823"/>
                  <a:pt x="2146" y="781"/>
                  <a:pt x="2188" y="781"/>
                </a:cubicBezTo>
                <a:cubicBezTo>
                  <a:pt x="2227" y="781"/>
                  <a:pt x="2269" y="862"/>
                  <a:pt x="2295" y="862"/>
                </a:cubicBezTo>
                <a:cubicBezTo>
                  <a:pt x="2337" y="862"/>
                  <a:pt x="2376" y="836"/>
                  <a:pt x="2418" y="836"/>
                </a:cubicBezTo>
                <a:cubicBezTo>
                  <a:pt x="2457" y="836"/>
                  <a:pt x="2499" y="823"/>
                  <a:pt x="2538" y="823"/>
                </a:cubicBezTo>
                <a:cubicBezTo>
                  <a:pt x="2564" y="823"/>
                  <a:pt x="2606" y="794"/>
                  <a:pt x="2645" y="794"/>
                </a:cubicBezTo>
                <a:cubicBezTo>
                  <a:pt x="2687" y="794"/>
                  <a:pt x="2726" y="768"/>
                  <a:pt x="2755" y="768"/>
                </a:cubicBezTo>
                <a:cubicBezTo>
                  <a:pt x="2794" y="755"/>
                  <a:pt x="2836" y="755"/>
                  <a:pt x="2875" y="742"/>
                </a:cubicBezTo>
                <a:cubicBezTo>
                  <a:pt x="2917" y="742"/>
                  <a:pt x="2943" y="729"/>
                  <a:pt x="2985" y="713"/>
                </a:cubicBezTo>
                <a:cubicBezTo>
                  <a:pt x="3024" y="713"/>
                  <a:pt x="3050" y="687"/>
                  <a:pt x="3092" y="687"/>
                </a:cubicBezTo>
                <a:cubicBezTo>
                  <a:pt x="3096" y="686"/>
                  <a:pt x="3100" y="685"/>
                  <a:pt x="3105" y="685"/>
                </a:cubicBezTo>
                <a:cubicBezTo>
                  <a:pt x="3137" y="685"/>
                  <a:pt x="3177" y="716"/>
                  <a:pt x="3211" y="716"/>
                </a:cubicBezTo>
                <a:cubicBezTo>
                  <a:pt x="3217" y="716"/>
                  <a:pt x="3222" y="715"/>
                  <a:pt x="3228" y="713"/>
                </a:cubicBezTo>
                <a:cubicBezTo>
                  <a:pt x="3267" y="713"/>
                  <a:pt x="3309" y="713"/>
                  <a:pt x="3335" y="700"/>
                </a:cubicBezTo>
                <a:cubicBezTo>
                  <a:pt x="3374" y="687"/>
                  <a:pt x="3390" y="619"/>
                  <a:pt x="3416" y="606"/>
                </a:cubicBezTo>
                <a:cubicBezTo>
                  <a:pt x="3471" y="580"/>
                  <a:pt x="3536" y="551"/>
                  <a:pt x="3536" y="525"/>
                </a:cubicBezTo>
                <a:cubicBezTo>
                  <a:pt x="3536" y="499"/>
                  <a:pt x="3471" y="470"/>
                  <a:pt x="3429" y="444"/>
                </a:cubicBezTo>
                <a:cubicBezTo>
                  <a:pt x="3403" y="418"/>
                  <a:pt x="3361" y="405"/>
                  <a:pt x="3322" y="389"/>
                </a:cubicBezTo>
                <a:cubicBezTo>
                  <a:pt x="3293" y="376"/>
                  <a:pt x="3254" y="376"/>
                  <a:pt x="3212" y="363"/>
                </a:cubicBezTo>
                <a:cubicBezTo>
                  <a:pt x="3203" y="360"/>
                  <a:pt x="3195" y="359"/>
                  <a:pt x="3187" y="359"/>
                </a:cubicBezTo>
                <a:cubicBezTo>
                  <a:pt x="3164" y="359"/>
                  <a:pt x="3140" y="367"/>
                  <a:pt x="3117" y="367"/>
                </a:cubicBezTo>
                <a:cubicBezTo>
                  <a:pt x="3108" y="367"/>
                  <a:pt x="3100" y="366"/>
                  <a:pt x="3092" y="363"/>
                </a:cubicBezTo>
                <a:cubicBezTo>
                  <a:pt x="3050" y="350"/>
                  <a:pt x="3024" y="295"/>
                  <a:pt x="2985" y="295"/>
                </a:cubicBezTo>
                <a:cubicBezTo>
                  <a:pt x="2956" y="295"/>
                  <a:pt x="2917" y="295"/>
                  <a:pt x="2875" y="282"/>
                </a:cubicBezTo>
                <a:cubicBezTo>
                  <a:pt x="2836" y="282"/>
                  <a:pt x="2807" y="243"/>
                  <a:pt x="2768" y="227"/>
                </a:cubicBezTo>
                <a:cubicBezTo>
                  <a:pt x="2740" y="227"/>
                  <a:pt x="2713" y="234"/>
                  <a:pt x="2686" y="234"/>
                </a:cubicBezTo>
                <a:cubicBezTo>
                  <a:pt x="2672" y="234"/>
                  <a:pt x="2659" y="232"/>
                  <a:pt x="2645" y="227"/>
                </a:cubicBezTo>
                <a:cubicBezTo>
                  <a:pt x="2606" y="227"/>
                  <a:pt x="2564" y="295"/>
                  <a:pt x="2525" y="295"/>
                </a:cubicBezTo>
                <a:cubicBezTo>
                  <a:pt x="2483" y="295"/>
                  <a:pt x="2457" y="243"/>
                  <a:pt x="2418" y="243"/>
                </a:cubicBezTo>
                <a:lnTo>
                  <a:pt x="2295" y="243"/>
                </a:lnTo>
                <a:cubicBezTo>
                  <a:pt x="2256" y="243"/>
                  <a:pt x="2214" y="269"/>
                  <a:pt x="2175" y="269"/>
                </a:cubicBezTo>
                <a:lnTo>
                  <a:pt x="2159" y="269"/>
                </a:lnTo>
                <a:cubicBezTo>
                  <a:pt x="2175" y="256"/>
                  <a:pt x="2175" y="243"/>
                  <a:pt x="2188" y="243"/>
                </a:cubicBezTo>
                <a:cubicBezTo>
                  <a:pt x="2214" y="214"/>
                  <a:pt x="2269" y="188"/>
                  <a:pt x="2269" y="162"/>
                </a:cubicBezTo>
                <a:cubicBezTo>
                  <a:pt x="2269" y="146"/>
                  <a:pt x="2227" y="94"/>
                  <a:pt x="2188" y="81"/>
                </a:cubicBezTo>
                <a:cubicBezTo>
                  <a:pt x="2185" y="77"/>
                  <a:pt x="2180" y="76"/>
                  <a:pt x="2175" y="76"/>
                </a:cubicBezTo>
                <a:cubicBezTo>
                  <a:pt x="2160" y="76"/>
                  <a:pt x="2139" y="84"/>
                  <a:pt x="2116" y="84"/>
                </a:cubicBezTo>
                <a:cubicBezTo>
                  <a:pt x="2109" y="84"/>
                  <a:pt x="2101" y="84"/>
                  <a:pt x="2094" y="81"/>
                </a:cubicBezTo>
                <a:cubicBezTo>
                  <a:pt x="2087" y="77"/>
                  <a:pt x="2081" y="76"/>
                  <a:pt x="2074" y="76"/>
                </a:cubicBezTo>
                <a:cubicBezTo>
                  <a:pt x="2058" y="76"/>
                  <a:pt x="2041" y="84"/>
                  <a:pt x="2019" y="84"/>
                </a:cubicBezTo>
                <a:cubicBezTo>
                  <a:pt x="2012" y="84"/>
                  <a:pt x="2005" y="84"/>
                  <a:pt x="1997" y="81"/>
                </a:cubicBezTo>
                <a:cubicBezTo>
                  <a:pt x="1971" y="81"/>
                  <a:pt x="1958" y="13"/>
                  <a:pt x="1932" y="0"/>
                </a:cubicBezTo>
                <a:lnTo>
                  <a:pt x="1835" y="0"/>
                </a:lnTo>
                <a:cubicBezTo>
                  <a:pt x="1809" y="0"/>
                  <a:pt x="1770" y="52"/>
                  <a:pt x="1741" y="52"/>
                </a:cubicBezTo>
                <a:cubicBezTo>
                  <a:pt x="1715" y="52"/>
                  <a:pt x="1689" y="13"/>
                  <a:pt x="1647" y="13"/>
                </a:cubicBezTo>
                <a:cubicBezTo>
                  <a:pt x="1621" y="13"/>
                  <a:pt x="1592" y="26"/>
                  <a:pt x="1566" y="26"/>
                </a:cubicBezTo>
                <a:cubicBezTo>
                  <a:pt x="1527" y="26"/>
                  <a:pt x="1498" y="0"/>
                  <a:pt x="1472" y="0"/>
                </a:cubicBezTo>
                <a:cubicBezTo>
                  <a:pt x="1446" y="0"/>
                  <a:pt x="1417" y="13"/>
                  <a:pt x="1378" y="13"/>
                </a:cubicBezTo>
                <a:cubicBezTo>
                  <a:pt x="1349" y="13"/>
                  <a:pt x="1323" y="0"/>
                  <a:pt x="1297" y="0"/>
                </a:cubicBezTo>
                <a:cubicBezTo>
                  <a:pt x="1283" y="4"/>
                  <a:pt x="1271" y="6"/>
                  <a:pt x="1260" y="6"/>
                </a:cubicBezTo>
                <a:cubicBezTo>
                  <a:pt x="1237" y="6"/>
                  <a:pt x="1220" y="0"/>
                  <a:pt x="120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5" name="Google Shape;335;p11"/>
          <p:cNvSpPr/>
          <p:nvPr/>
        </p:nvSpPr>
        <p:spPr>
          <a:xfrm>
            <a:off x="3376594" y="4948236"/>
            <a:ext cx="737617" cy="224937"/>
          </a:xfrm>
          <a:custGeom>
            <a:avLst/>
            <a:gdLst/>
            <a:ahLst/>
            <a:cxnLst/>
            <a:rect l="l" t="t" r="r" b="b"/>
            <a:pathLst>
              <a:path w="2982" h="1203" extrusionOk="0">
                <a:moveTo>
                  <a:pt x="1404" y="1"/>
                </a:moveTo>
                <a:cubicBezTo>
                  <a:pt x="1378" y="1"/>
                  <a:pt x="1349" y="56"/>
                  <a:pt x="1323" y="56"/>
                </a:cubicBezTo>
                <a:cubicBezTo>
                  <a:pt x="1297" y="56"/>
                  <a:pt x="1268" y="43"/>
                  <a:pt x="1242" y="43"/>
                </a:cubicBezTo>
                <a:cubicBezTo>
                  <a:pt x="1216" y="43"/>
                  <a:pt x="1187" y="17"/>
                  <a:pt x="1161" y="17"/>
                </a:cubicBezTo>
                <a:lnTo>
                  <a:pt x="1093" y="17"/>
                </a:lnTo>
                <a:cubicBezTo>
                  <a:pt x="1067" y="17"/>
                  <a:pt x="1038" y="69"/>
                  <a:pt x="1012" y="69"/>
                </a:cubicBezTo>
                <a:cubicBezTo>
                  <a:pt x="986" y="69"/>
                  <a:pt x="957" y="56"/>
                  <a:pt x="931" y="56"/>
                </a:cubicBezTo>
                <a:lnTo>
                  <a:pt x="850" y="56"/>
                </a:lnTo>
                <a:cubicBezTo>
                  <a:pt x="824" y="56"/>
                  <a:pt x="811" y="82"/>
                  <a:pt x="782" y="82"/>
                </a:cubicBezTo>
                <a:cubicBezTo>
                  <a:pt x="764" y="82"/>
                  <a:pt x="747" y="76"/>
                  <a:pt x="729" y="76"/>
                </a:cubicBezTo>
                <a:cubicBezTo>
                  <a:pt x="720" y="76"/>
                  <a:pt x="710" y="78"/>
                  <a:pt x="701" y="82"/>
                </a:cubicBezTo>
                <a:cubicBezTo>
                  <a:pt x="675" y="82"/>
                  <a:pt x="649" y="98"/>
                  <a:pt x="620" y="98"/>
                </a:cubicBezTo>
                <a:cubicBezTo>
                  <a:pt x="594" y="98"/>
                  <a:pt x="568" y="56"/>
                  <a:pt x="539" y="56"/>
                </a:cubicBezTo>
                <a:cubicBezTo>
                  <a:pt x="513" y="69"/>
                  <a:pt x="487" y="69"/>
                  <a:pt x="471" y="82"/>
                </a:cubicBezTo>
                <a:cubicBezTo>
                  <a:pt x="445" y="82"/>
                  <a:pt x="419" y="111"/>
                  <a:pt x="390" y="111"/>
                </a:cubicBezTo>
                <a:cubicBezTo>
                  <a:pt x="369" y="111"/>
                  <a:pt x="349" y="93"/>
                  <a:pt x="327" y="93"/>
                </a:cubicBezTo>
                <a:cubicBezTo>
                  <a:pt x="321" y="93"/>
                  <a:pt x="315" y="95"/>
                  <a:pt x="309" y="98"/>
                </a:cubicBezTo>
                <a:cubicBezTo>
                  <a:pt x="283" y="98"/>
                  <a:pt x="270" y="150"/>
                  <a:pt x="244" y="150"/>
                </a:cubicBezTo>
                <a:cubicBezTo>
                  <a:pt x="234" y="154"/>
                  <a:pt x="225" y="156"/>
                  <a:pt x="216" y="156"/>
                </a:cubicBezTo>
                <a:cubicBezTo>
                  <a:pt x="197" y="156"/>
                  <a:pt x="180" y="150"/>
                  <a:pt x="163" y="150"/>
                </a:cubicBezTo>
                <a:cubicBezTo>
                  <a:pt x="134" y="163"/>
                  <a:pt x="108" y="163"/>
                  <a:pt x="95" y="179"/>
                </a:cubicBezTo>
                <a:cubicBezTo>
                  <a:pt x="66" y="192"/>
                  <a:pt x="40" y="218"/>
                  <a:pt x="27" y="231"/>
                </a:cubicBezTo>
                <a:cubicBezTo>
                  <a:pt x="1" y="244"/>
                  <a:pt x="14" y="273"/>
                  <a:pt x="14" y="299"/>
                </a:cubicBezTo>
                <a:cubicBezTo>
                  <a:pt x="14" y="325"/>
                  <a:pt x="14" y="341"/>
                  <a:pt x="40" y="354"/>
                </a:cubicBezTo>
                <a:cubicBezTo>
                  <a:pt x="46" y="360"/>
                  <a:pt x="60" y="360"/>
                  <a:pt x="75" y="360"/>
                </a:cubicBezTo>
                <a:cubicBezTo>
                  <a:pt x="91" y="360"/>
                  <a:pt x="108" y="360"/>
                  <a:pt x="121" y="367"/>
                </a:cubicBezTo>
                <a:cubicBezTo>
                  <a:pt x="134" y="380"/>
                  <a:pt x="163" y="406"/>
                  <a:pt x="189" y="406"/>
                </a:cubicBezTo>
                <a:cubicBezTo>
                  <a:pt x="197" y="411"/>
                  <a:pt x="206" y="413"/>
                  <a:pt x="216" y="413"/>
                </a:cubicBezTo>
                <a:cubicBezTo>
                  <a:pt x="234" y="413"/>
                  <a:pt x="253" y="406"/>
                  <a:pt x="270" y="406"/>
                </a:cubicBezTo>
                <a:cubicBezTo>
                  <a:pt x="296" y="422"/>
                  <a:pt x="309" y="461"/>
                  <a:pt x="338" y="461"/>
                </a:cubicBezTo>
                <a:cubicBezTo>
                  <a:pt x="364" y="461"/>
                  <a:pt x="390" y="487"/>
                  <a:pt x="419" y="487"/>
                </a:cubicBezTo>
                <a:lnTo>
                  <a:pt x="500" y="487"/>
                </a:lnTo>
                <a:cubicBezTo>
                  <a:pt x="526" y="487"/>
                  <a:pt x="552" y="516"/>
                  <a:pt x="581" y="516"/>
                </a:cubicBezTo>
                <a:lnTo>
                  <a:pt x="662" y="516"/>
                </a:lnTo>
                <a:cubicBezTo>
                  <a:pt x="688" y="516"/>
                  <a:pt x="714" y="503"/>
                  <a:pt x="743" y="503"/>
                </a:cubicBezTo>
                <a:cubicBezTo>
                  <a:pt x="769" y="503"/>
                  <a:pt x="782" y="474"/>
                  <a:pt x="811" y="474"/>
                </a:cubicBezTo>
                <a:cubicBezTo>
                  <a:pt x="756" y="503"/>
                  <a:pt x="769" y="542"/>
                  <a:pt x="769" y="568"/>
                </a:cubicBezTo>
                <a:cubicBezTo>
                  <a:pt x="769" y="597"/>
                  <a:pt x="769" y="610"/>
                  <a:pt x="795" y="636"/>
                </a:cubicBezTo>
                <a:cubicBezTo>
                  <a:pt x="798" y="639"/>
                  <a:pt x="803" y="640"/>
                  <a:pt x="808" y="640"/>
                </a:cubicBezTo>
                <a:cubicBezTo>
                  <a:pt x="822" y="640"/>
                  <a:pt x="841" y="632"/>
                  <a:pt x="858" y="632"/>
                </a:cubicBezTo>
                <a:cubicBezTo>
                  <a:pt x="864" y="632"/>
                  <a:pt x="870" y="633"/>
                  <a:pt x="876" y="636"/>
                </a:cubicBezTo>
                <a:cubicBezTo>
                  <a:pt x="892" y="649"/>
                  <a:pt x="892" y="691"/>
                  <a:pt x="918" y="691"/>
                </a:cubicBezTo>
                <a:cubicBezTo>
                  <a:pt x="892" y="691"/>
                  <a:pt x="876" y="678"/>
                  <a:pt x="850" y="678"/>
                </a:cubicBezTo>
                <a:cubicBezTo>
                  <a:pt x="824" y="691"/>
                  <a:pt x="795" y="717"/>
                  <a:pt x="782" y="717"/>
                </a:cubicBezTo>
                <a:cubicBezTo>
                  <a:pt x="743" y="730"/>
                  <a:pt x="730" y="746"/>
                  <a:pt x="701" y="759"/>
                </a:cubicBezTo>
                <a:cubicBezTo>
                  <a:pt x="695" y="762"/>
                  <a:pt x="689" y="763"/>
                  <a:pt x="682" y="763"/>
                </a:cubicBezTo>
                <a:cubicBezTo>
                  <a:pt x="664" y="763"/>
                  <a:pt x="643" y="755"/>
                  <a:pt x="625" y="755"/>
                </a:cubicBezTo>
                <a:cubicBezTo>
                  <a:pt x="618" y="755"/>
                  <a:pt x="612" y="756"/>
                  <a:pt x="607" y="759"/>
                </a:cubicBezTo>
                <a:cubicBezTo>
                  <a:pt x="581" y="785"/>
                  <a:pt x="594" y="827"/>
                  <a:pt x="594" y="840"/>
                </a:cubicBezTo>
                <a:cubicBezTo>
                  <a:pt x="607" y="866"/>
                  <a:pt x="594" y="892"/>
                  <a:pt x="620" y="921"/>
                </a:cubicBezTo>
                <a:cubicBezTo>
                  <a:pt x="649" y="921"/>
                  <a:pt x="675" y="934"/>
                  <a:pt x="701" y="947"/>
                </a:cubicBezTo>
                <a:lnTo>
                  <a:pt x="782" y="947"/>
                </a:lnTo>
                <a:cubicBezTo>
                  <a:pt x="795" y="947"/>
                  <a:pt x="824" y="960"/>
                  <a:pt x="850" y="960"/>
                </a:cubicBezTo>
                <a:cubicBezTo>
                  <a:pt x="876" y="960"/>
                  <a:pt x="905" y="960"/>
                  <a:pt x="931" y="973"/>
                </a:cubicBezTo>
                <a:cubicBezTo>
                  <a:pt x="957" y="973"/>
                  <a:pt x="986" y="960"/>
                  <a:pt x="1012" y="960"/>
                </a:cubicBezTo>
                <a:cubicBezTo>
                  <a:pt x="1038" y="960"/>
                  <a:pt x="1054" y="989"/>
                  <a:pt x="1080" y="989"/>
                </a:cubicBezTo>
                <a:cubicBezTo>
                  <a:pt x="1083" y="991"/>
                  <a:pt x="1087" y="992"/>
                  <a:pt x="1090" y="992"/>
                </a:cubicBezTo>
                <a:cubicBezTo>
                  <a:pt x="1113" y="992"/>
                  <a:pt x="1138" y="960"/>
                  <a:pt x="1161" y="960"/>
                </a:cubicBezTo>
                <a:cubicBezTo>
                  <a:pt x="1187" y="960"/>
                  <a:pt x="1216" y="973"/>
                  <a:pt x="1242" y="973"/>
                </a:cubicBezTo>
                <a:cubicBezTo>
                  <a:pt x="1268" y="973"/>
                  <a:pt x="1281" y="989"/>
                  <a:pt x="1310" y="989"/>
                </a:cubicBezTo>
                <a:cubicBezTo>
                  <a:pt x="1297" y="1002"/>
                  <a:pt x="1297" y="1015"/>
                  <a:pt x="1297" y="1028"/>
                </a:cubicBezTo>
                <a:cubicBezTo>
                  <a:pt x="1297" y="1054"/>
                  <a:pt x="1297" y="1096"/>
                  <a:pt x="1323" y="1109"/>
                </a:cubicBezTo>
                <a:cubicBezTo>
                  <a:pt x="1328" y="1112"/>
                  <a:pt x="1334" y="1113"/>
                  <a:pt x="1340" y="1113"/>
                </a:cubicBezTo>
                <a:cubicBezTo>
                  <a:pt x="1365" y="1113"/>
                  <a:pt x="1396" y="1096"/>
                  <a:pt x="1417" y="1096"/>
                </a:cubicBezTo>
                <a:cubicBezTo>
                  <a:pt x="1443" y="1109"/>
                  <a:pt x="1459" y="1122"/>
                  <a:pt x="1485" y="1135"/>
                </a:cubicBezTo>
                <a:cubicBezTo>
                  <a:pt x="1511" y="1135"/>
                  <a:pt x="1540" y="1151"/>
                  <a:pt x="1566" y="1151"/>
                </a:cubicBezTo>
                <a:cubicBezTo>
                  <a:pt x="1592" y="1151"/>
                  <a:pt x="1621" y="1177"/>
                  <a:pt x="1647" y="1177"/>
                </a:cubicBezTo>
                <a:cubicBezTo>
                  <a:pt x="1660" y="1177"/>
                  <a:pt x="1686" y="1190"/>
                  <a:pt x="1715" y="1190"/>
                </a:cubicBezTo>
                <a:cubicBezTo>
                  <a:pt x="1741" y="1190"/>
                  <a:pt x="1767" y="1151"/>
                  <a:pt x="1796" y="1151"/>
                </a:cubicBezTo>
                <a:cubicBezTo>
                  <a:pt x="1822" y="1151"/>
                  <a:pt x="1848" y="1203"/>
                  <a:pt x="1877" y="1203"/>
                </a:cubicBezTo>
                <a:cubicBezTo>
                  <a:pt x="1903" y="1203"/>
                  <a:pt x="1929" y="1151"/>
                  <a:pt x="1958" y="1151"/>
                </a:cubicBezTo>
                <a:lnTo>
                  <a:pt x="2039" y="1151"/>
                </a:lnTo>
                <a:cubicBezTo>
                  <a:pt x="2065" y="1151"/>
                  <a:pt x="2091" y="1177"/>
                  <a:pt x="2120" y="1177"/>
                </a:cubicBezTo>
                <a:cubicBezTo>
                  <a:pt x="2146" y="1177"/>
                  <a:pt x="2172" y="1164"/>
                  <a:pt x="2188" y="1164"/>
                </a:cubicBezTo>
                <a:cubicBezTo>
                  <a:pt x="2214" y="1164"/>
                  <a:pt x="2253" y="1190"/>
                  <a:pt x="2269" y="1190"/>
                </a:cubicBezTo>
                <a:cubicBezTo>
                  <a:pt x="2295" y="1190"/>
                  <a:pt x="2321" y="1164"/>
                  <a:pt x="2350" y="1164"/>
                </a:cubicBezTo>
                <a:cubicBezTo>
                  <a:pt x="2359" y="1160"/>
                  <a:pt x="2367" y="1158"/>
                  <a:pt x="2376" y="1158"/>
                </a:cubicBezTo>
                <a:cubicBezTo>
                  <a:pt x="2393" y="1158"/>
                  <a:pt x="2411" y="1164"/>
                  <a:pt x="2431" y="1164"/>
                </a:cubicBezTo>
                <a:lnTo>
                  <a:pt x="2512" y="1164"/>
                </a:lnTo>
                <a:cubicBezTo>
                  <a:pt x="2538" y="1151"/>
                  <a:pt x="2551" y="1109"/>
                  <a:pt x="2577" y="1109"/>
                </a:cubicBezTo>
                <a:cubicBezTo>
                  <a:pt x="2601" y="1109"/>
                  <a:pt x="2632" y="1139"/>
                  <a:pt x="2659" y="1139"/>
                </a:cubicBezTo>
                <a:cubicBezTo>
                  <a:pt x="2664" y="1139"/>
                  <a:pt x="2669" y="1137"/>
                  <a:pt x="2674" y="1135"/>
                </a:cubicBezTo>
                <a:cubicBezTo>
                  <a:pt x="2700" y="1135"/>
                  <a:pt x="2713" y="1109"/>
                  <a:pt x="2739" y="1096"/>
                </a:cubicBezTo>
                <a:cubicBezTo>
                  <a:pt x="2768" y="1083"/>
                  <a:pt x="2794" y="1070"/>
                  <a:pt x="2807" y="1070"/>
                </a:cubicBezTo>
                <a:cubicBezTo>
                  <a:pt x="2836" y="1054"/>
                  <a:pt x="2875" y="1054"/>
                  <a:pt x="2888" y="1041"/>
                </a:cubicBezTo>
                <a:cubicBezTo>
                  <a:pt x="2917" y="1015"/>
                  <a:pt x="2901" y="1002"/>
                  <a:pt x="2901" y="973"/>
                </a:cubicBezTo>
                <a:cubicBezTo>
                  <a:pt x="2901" y="960"/>
                  <a:pt x="2930" y="908"/>
                  <a:pt x="2901" y="892"/>
                </a:cubicBezTo>
                <a:cubicBezTo>
                  <a:pt x="2896" y="889"/>
                  <a:pt x="2891" y="889"/>
                  <a:pt x="2885" y="889"/>
                </a:cubicBezTo>
                <a:cubicBezTo>
                  <a:pt x="2861" y="889"/>
                  <a:pt x="2831" y="908"/>
                  <a:pt x="2807" y="908"/>
                </a:cubicBezTo>
                <a:cubicBezTo>
                  <a:pt x="2781" y="892"/>
                  <a:pt x="2768" y="866"/>
                  <a:pt x="2739" y="866"/>
                </a:cubicBezTo>
                <a:cubicBezTo>
                  <a:pt x="2730" y="862"/>
                  <a:pt x="2721" y="860"/>
                  <a:pt x="2713" y="860"/>
                </a:cubicBezTo>
                <a:cubicBezTo>
                  <a:pt x="2695" y="860"/>
                  <a:pt x="2677" y="866"/>
                  <a:pt x="2658" y="866"/>
                </a:cubicBezTo>
                <a:cubicBezTo>
                  <a:pt x="2632" y="866"/>
                  <a:pt x="2606" y="853"/>
                  <a:pt x="2577" y="840"/>
                </a:cubicBezTo>
                <a:cubicBezTo>
                  <a:pt x="2551" y="840"/>
                  <a:pt x="2525" y="866"/>
                  <a:pt x="2496" y="866"/>
                </a:cubicBezTo>
                <a:cubicBezTo>
                  <a:pt x="2483" y="866"/>
                  <a:pt x="2457" y="853"/>
                  <a:pt x="2431" y="853"/>
                </a:cubicBezTo>
                <a:cubicBezTo>
                  <a:pt x="2402" y="840"/>
                  <a:pt x="2376" y="798"/>
                  <a:pt x="2350" y="798"/>
                </a:cubicBezTo>
                <a:lnTo>
                  <a:pt x="2269" y="798"/>
                </a:lnTo>
                <a:cubicBezTo>
                  <a:pt x="2253" y="798"/>
                  <a:pt x="2240" y="827"/>
                  <a:pt x="2214" y="827"/>
                </a:cubicBezTo>
                <a:cubicBezTo>
                  <a:pt x="2240" y="811"/>
                  <a:pt x="2253" y="798"/>
                  <a:pt x="2253" y="785"/>
                </a:cubicBezTo>
                <a:cubicBezTo>
                  <a:pt x="2253" y="772"/>
                  <a:pt x="2227" y="759"/>
                  <a:pt x="2214" y="746"/>
                </a:cubicBezTo>
                <a:cubicBezTo>
                  <a:pt x="2240" y="746"/>
                  <a:pt x="2240" y="704"/>
                  <a:pt x="2269" y="704"/>
                </a:cubicBezTo>
                <a:cubicBezTo>
                  <a:pt x="2295" y="704"/>
                  <a:pt x="2321" y="730"/>
                  <a:pt x="2350" y="730"/>
                </a:cubicBezTo>
                <a:cubicBezTo>
                  <a:pt x="2376" y="717"/>
                  <a:pt x="2389" y="717"/>
                  <a:pt x="2415" y="704"/>
                </a:cubicBezTo>
                <a:lnTo>
                  <a:pt x="2496" y="704"/>
                </a:lnTo>
                <a:cubicBezTo>
                  <a:pt x="2525" y="704"/>
                  <a:pt x="2551" y="691"/>
                  <a:pt x="2564" y="678"/>
                </a:cubicBezTo>
                <a:cubicBezTo>
                  <a:pt x="2593" y="678"/>
                  <a:pt x="2619" y="665"/>
                  <a:pt x="2645" y="665"/>
                </a:cubicBezTo>
                <a:cubicBezTo>
                  <a:pt x="2650" y="662"/>
                  <a:pt x="2654" y="661"/>
                  <a:pt x="2659" y="661"/>
                </a:cubicBezTo>
                <a:cubicBezTo>
                  <a:pt x="2679" y="661"/>
                  <a:pt x="2697" y="681"/>
                  <a:pt x="2715" y="681"/>
                </a:cubicBezTo>
                <a:cubicBezTo>
                  <a:pt x="2719" y="681"/>
                  <a:pt x="2722" y="680"/>
                  <a:pt x="2726" y="678"/>
                </a:cubicBezTo>
                <a:cubicBezTo>
                  <a:pt x="2755" y="678"/>
                  <a:pt x="2768" y="610"/>
                  <a:pt x="2781" y="597"/>
                </a:cubicBezTo>
                <a:lnTo>
                  <a:pt x="2862" y="597"/>
                </a:lnTo>
                <a:cubicBezTo>
                  <a:pt x="2888" y="584"/>
                  <a:pt x="2901" y="555"/>
                  <a:pt x="2917" y="542"/>
                </a:cubicBezTo>
                <a:cubicBezTo>
                  <a:pt x="2943" y="529"/>
                  <a:pt x="2982" y="516"/>
                  <a:pt x="2982" y="487"/>
                </a:cubicBezTo>
                <a:cubicBezTo>
                  <a:pt x="2982" y="474"/>
                  <a:pt x="2930" y="474"/>
                  <a:pt x="2901" y="448"/>
                </a:cubicBezTo>
                <a:cubicBezTo>
                  <a:pt x="2888" y="448"/>
                  <a:pt x="2875" y="393"/>
                  <a:pt x="2849" y="380"/>
                </a:cubicBezTo>
                <a:cubicBezTo>
                  <a:pt x="2836" y="380"/>
                  <a:pt x="2807" y="367"/>
                  <a:pt x="2768" y="367"/>
                </a:cubicBezTo>
                <a:cubicBezTo>
                  <a:pt x="2765" y="364"/>
                  <a:pt x="2762" y="363"/>
                  <a:pt x="2757" y="363"/>
                </a:cubicBezTo>
                <a:cubicBezTo>
                  <a:pt x="2739" y="363"/>
                  <a:pt x="2708" y="380"/>
                  <a:pt x="2687" y="380"/>
                </a:cubicBezTo>
                <a:cubicBezTo>
                  <a:pt x="2658" y="367"/>
                  <a:pt x="2645" y="341"/>
                  <a:pt x="2619" y="325"/>
                </a:cubicBezTo>
                <a:cubicBezTo>
                  <a:pt x="2593" y="325"/>
                  <a:pt x="2564" y="341"/>
                  <a:pt x="2538" y="341"/>
                </a:cubicBezTo>
                <a:cubicBezTo>
                  <a:pt x="2529" y="336"/>
                  <a:pt x="2520" y="334"/>
                  <a:pt x="2511" y="334"/>
                </a:cubicBezTo>
                <a:cubicBezTo>
                  <a:pt x="2493" y="334"/>
                  <a:pt x="2474" y="341"/>
                  <a:pt x="2457" y="341"/>
                </a:cubicBezTo>
                <a:cubicBezTo>
                  <a:pt x="2448" y="336"/>
                  <a:pt x="2439" y="334"/>
                  <a:pt x="2430" y="334"/>
                </a:cubicBezTo>
                <a:cubicBezTo>
                  <a:pt x="2412" y="334"/>
                  <a:pt x="2393" y="341"/>
                  <a:pt x="2376" y="341"/>
                </a:cubicBezTo>
                <a:cubicBezTo>
                  <a:pt x="2350" y="325"/>
                  <a:pt x="2321" y="286"/>
                  <a:pt x="2295" y="286"/>
                </a:cubicBezTo>
                <a:cubicBezTo>
                  <a:pt x="2269" y="286"/>
                  <a:pt x="2240" y="312"/>
                  <a:pt x="2214" y="312"/>
                </a:cubicBezTo>
                <a:cubicBezTo>
                  <a:pt x="2188" y="312"/>
                  <a:pt x="2133" y="286"/>
                  <a:pt x="2107" y="286"/>
                </a:cubicBezTo>
                <a:cubicBezTo>
                  <a:pt x="2159" y="260"/>
                  <a:pt x="2201" y="244"/>
                  <a:pt x="2201" y="218"/>
                </a:cubicBezTo>
                <a:cubicBezTo>
                  <a:pt x="2201" y="192"/>
                  <a:pt x="2188" y="179"/>
                  <a:pt x="2159" y="163"/>
                </a:cubicBezTo>
                <a:cubicBezTo>
                  <a:pt x="2146" y="156"/>
                  <a:pt x="2133" y="156"/>
                  <a:pt x="2119" y="156"/>
                </a:cubicBezTo>
                <a:cubicBezTo>
                  <a:pt x="2106" y="156"/>
                  <a:pt x="2092" y="156"/>
                  <a:pt x="2078" y="150"/>
                </a:cubicBezTo>
                <a:cubicBezTo>
                  <a:pt x="2065" y="137"/>
                  <a:pt x="2039" y="111"/>
                  <a:pt x="2010" y="98"/>
                </a:cubicBezTo>
                <a:cubicBezTo>
                  <a:pt x="1997" y="98"/>
                  <a:pt x="1971" y="69"/>
                  <a:pt x="1945" y="69"/>
                </a:cubicBezTo>
                <a:cubicBezTo>
                  <a:pt x="1939" y="66"/>
                  <a:pt x="1933" y="65"/>
                  <a:pt x="1928" y="65"/>
                </a:cubicBezTo>
                <a:cubicBezTo>
                  <a:pt x="1905" y="65"/>
                  <a:pt x="1885" y="82"/>
                  <a:pt x="1864" y="82"/>
                </a:cubicBezTo>
                <a:cubicBezTo>
                  <a:pt x="1835" y="82"/>
                  <a:pt x="1809" y="69"/>
                  <a:pt x="1783" y="69"/>
                </a:cubicBezTo>
                <a:cubicBezTo>
                  <a:pt x="1754" y="69"/>
                  <a:pt x="1741" y="30"/>
                  <a:pt x="1715" y="17"/>
                </a:cubicBezTo>
                <a:lnTo>
                  <a:pt x="1634" y="17"/>
                </a:lnTo>
                <a:cubicBezTo>
                  <a:pt x="1609" y="17"/>
                  <a:pt x="1586" y="46"/>
                  <a:pt x="1564" y="46"/>
                </a:cubicBezTo>
                <a:cubicBezTo>
                  <a:pt x="1560" y="46"/>
                  <a:pt x="1557" y="45"/>
                  <a:pt x="1553" y="43"/>
                </a:cubicBezTo>
                <a:cubicBezTo>
                  <a:pt x="1524" y="43"/>
                  <a:pt x="1498" y="17"/>
                  <a:pt x="1485" y="17"/>
                </a:cubicBezTo>
                <a:cubicBezTo>
                  <a:pt x="1459" y="17"/>
                  <a:pt x="1430" y="1"/>
                  <a:pt x="1404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6" name="Google Shape;336;p11"/>
          <p:cNvSpPr/>
          <p:nvPr/>
        </p:nvSpPr>
        <p:spPr>
          <a:xfrm>
            <a:off x="4324701" y="4885223"/>
            <a:ext cx="20283" cy="8040"/>
          </a:xfrm>
          <a:custGeom>
            <a:avLst/>
            <a:gdLst/>
            <a:ahLst/>
            <a:cxnLst/>
            <a:rect l="l" t="t" r="r" b="b"/>
            <a:pathLst>
              <a:path w="82" h="43" extrusionOk="0">
                <a:moveTo>
                  <a:pt x="40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14" y="43"/>
                  <a:pt x="40" y="43"/>
                </a:cubicBezTo>
                <a:cubicBezTo>
                  <a:pt x="69" y="43"/>
                  <a:pt x="82" y="30"/>
                  <a:pt x="82" y="30"/>
                </a:cubicBezTo>
                <a:cubicBezTo>
                  <a:pt x="82" y="14"/>
                  <a:pt x="69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7" name="Google Shape;337;p11"/>
          <p:cNvSpPr/>
          <p:nvPr/>
        </p:nvSpPr>
        <p:spPr>
          <a:xfrm>
            <a:off x="4241344" y="4875687"/>
            <a:ext cx="23499" cy="4861"/>
          </a:xfrm>
          <a:custGeom>
            <a:avLst/>
            <a:gdLst/>
            <a:ahLst/>
            <a:cxnLst/>
            <a:rect l="l" t="t" r="r" b="b"/>
            <a:pathLst>
              <a:path w="95" h="26" extrusionOk="0">
                <a:moveTo>
                  <a:pt x="53" y="0"/>
                </a:moveTo>
                <a:cubicBezTo>
                  <a:pt x="27" y="0"/>
                  <a:pt x="1" y="0"/>
                  <a:pt x="1" y="13"/>
                </a:cubicBezTo>
                <a:cubicBezTo>
                  <a:pt x="1" y="26"/>
                  <a:pt x="27" y="26"/>
                  <a:pt x="40" y="26"/>
                </a:cubicBezTo>
                <a:cubicBezTo>
                  <a:pt x="69" y="26"/>
                  <a:pt x="95" y="26"/>
                  <a:pt x="95" y="13"/>
                </a:cubicBezTo>
                <a:cubicBezTo>
                  <a:pt x="95" y="13"/>
                  <a:pt x="69" y="0"/>
                  <a:pt x="5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8" name="Google Shape;338;p11"/>
          <p:cNvSpPr/>
          <p:nvPr/>
        </p:nvSpPr>
        <p:spPr>
          <a:xfrm>
            <a:off x="4287845" y="4867647"/>
            <a:ext cx="23499" cy="822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43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14" y="43"/>
                  <a:pt x="43" y="43"/>
                </a:cubicBezTo>
                <a:cubicBezTo>
                  <a:pt x="69" y="43"/>
                  <a:pt x="95" y="43"/>
                  <a:pt x="95" y="27"/>
                </a:cubicBezTo>
                <a:cubicBezTo>
                  <a:pt x="95" y="14"/>
                  <a:pt x="69" y="14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9" name="Google Shape;339;p11"/>
          <p:cNvSpPr/>
          <p:nvPr/>
        </p:nvSpPr>
        <p:spPr>
          <a:xfrm>
            <a:off x="4194099" y="4887654"/>
            <a:ext cx="20283" cy="5609"/>
          </a:xfrm>
          <a:custGeom>
            <a:avLst/>
            <a:gdLst/>
            <a:ahLst/>
            <a:cxnLst/>
            <a:rect l="l" t="t" r="r" b="b"/>
            <a:pathLst>
              <a:path w="82" h="30" extrusionOk="0">
                <a:moveTo>
                  <a:pt x="43" y="1"/>
                </a:moveTo>
                <a:cubicBezTo>
                  <a:pt x="17" y="1"/>
                  <a:pt x="1" y="1"/>
                  <a:pt x="1" y="17"/>
                </a:cubicBezTo>
                <a:cubicBezTo>
                  <a:pt x="1" y="17"/>
                  <a:pt x="17" y="30"/>
                  <a:pt x="43" y="30"/>
                </a:cubicBezTo>
                <a:cubicBezTo>
                  <a:pt x="69" y="30"/>
                  <a:pt x="82" y="30"/>
                  <a:pt x="82" y="17"/>
                </a:cubicBezTo>
                <a:cubicBezTo>
                  <a:pt x="82" y="17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0" name="Google Shape;340;p11"/>
          <p:cNvSpPr/>
          <p:nvPr/>
        </p:nvSpPr>
        <p:spPr>
          <a:xfrm>
            <a:off x="4367989" y="4872509"/>
            <a:ext cx="23499" cy="5609"/>
          </a:xfrm>
          <a:custGeom>
            <a:avLst/>
            <a:gdLst/>
            <a:ahLst/>
            <a:cxnLst/>
            <a:rect l="l" t="t" r="r" b="b"/>
            <a:pathLst>
              <a:path w="95" h="30" extrusionOk="0">
                <a:moveTo>
                  <a:pt x="43" y="1"/>
                </a:moveTo>
                <a:cubicBezTo>
                  <a:pt x="27" y="1"/>
                  <a:pt x="1" y="1"/>
                  <a:pt x="1" y="17"/>
                </a:cubicBezTo>
                <a:cubicBezTo>
                  <a:pt x="1" y="17"/>
                  <a:pt x="14" y="30"/>
                  <a:pt x="43" y="30"/>
                </a:cubicBezTo>
                <a:cubicBezTo>
                  <a:pt x="69" y="30"/>
                  <a:pt x="95" y="30"/>
                  <a:pt x="95" y="17"/>
                </a:cubicBezTo>
                <a:cubicBezTo>
                  <a:pt x="95" y="1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1" name="Google Shape;341;p11"/>
          <p:cNvSpPr/>
          <p:nvPr/>
        </p:nvSpPr>
        <p:spPr>
          <a:xfrm>
            <a:off x="4351168" y="4904483"/>
            <a:ext cx="23499" cy="6357"/>
          </a:xfrm>
          <a:custGeom>
            <a:avLst/>
            <a:gdLst/>
            <a:ahLst/>
            <a:cxnLst/>
            <a:rect l="l" t="t" r="r" b="b"/>
            <a:pathLst>
              <a:path w="95" h="34" extrusionOk="0">
                <a:moveTo>
                  <a:pt x="19" y="1"/>
                </a:moveTo>
                <a:cubicBezTo>
                  <a:pt x="6" y="1"/>
                  <a:pt x="1" y="8"/>
                  <a:pt x="1" y="8"/>
                </a:cubicBezTo>
                <a:cubicBezTo>
                  <a:pt x="1" y="21"/>
                  <a:pt x="14" y="34"/>
                  <a:pt x="43" y="34"/>
                </a:cubicBezTo>
                <a:cubicBezTo>
                  <a:pt x="69" y="34"/>
                  <a:pt x="82" y="34"/>
                  <a:pt x="82" y="21"/>
                </a:cubicBezTo>
                <a:cubicBezTo>
                  <a:pt x="95" y="8"/>
                  <a:pt x="69" y="8"/>
                  <a:pt x="43" y="8"/>
                </a:cubicBezTo>
                <a:cubicBezTo>
                  <a:pt x="33" y="3"/>
                  <a:pt x="25" y="1"/>
                  <a:pt x="1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2" name="Google Shape;342;p11"/>
          <p:cNvSpPr/>
          <p:nvPr/>
        </p:nvSpPr>
        <p:spPr>
          <a:xfrm>
            <a:off x="4204488" y="4859233"/>
            <a:ext cx="23499" cy="6171"/>
          </a:xfrm>
          <a:custGeom>
            <a:avLst/>
            <a:gdLst/>
            <a:ahLst/>
            <a:cxnLst/>
            <a:rect l="l" t="t" r="r" b="b"/>
            <a:pathLst>
              <a:path w="95" h="33" extrusionOk="0">
                <a:moveTo>
                  <a:pt x="26" y="0"/>
                </a:moveTo>
                <a:cubicBezTo>
                  <a:pt x="14" y="0"/>
                  <a:pt x="1" y="11"/>
                  <a:pt x="1" y="20"/>
                </a:cubicBezTo>
                <a:cubicBezTo>
                  <a:pt x="1" y="20"/>
                  <a:pt x="14" y="33"/>
                  <a:pt x="40" y="33"/>
                </a:cubicBezTo>
                <a:cubicBezTo>
                  <a:pt x="69" y="33"/>
                  <a:pt x="82" y="33"/>
                  <a:pt x="95" y="20"/>
                </a:cubicBezTo>
                <a:cubicBezTo>
                  <a:pt x="95" y="7"/>
                  <a:pt x="69" y="7"/>
                  <a:pt x="40" y="7"/>
                </a:cubicBezTo>
                <a:cubicBezTo>
                  <a:pt x="36" y="2"/>
                  <a:pt x="31" y="0"/>
                  <a:pt x="26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3" name="Google Shape;343;p11"/>
          <p:cNvSpPr/>
          <p:nvPr/>
        </p:nvSpPr>
        <p:spPr>
          <a:xfrm>
            <a:off x="4318271" y="4850071"/>
            <a:ext cx="23499" cy="7479"/>
          </a:xfrm>
          <a:custGeom>
            <a:avLst/>
            <a:gdLst/>
            <a:ahLst/>
            <a:cxnLst/>
            <a:rect l="l" t="t" r="r" b="b"/>
            <a:pathLst>
              <a:path w="95" h="40" extrusionOk="0">
                <a:moveTo>
                  <a:pt x="40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14" y="27"/>
                  <a:pt x="40" y="40"/>
                </a:cubicBezTo>
                <a:cubicBezTo>
                  <a:pt x="66" y="40"/>
                  <a:pt x="95" y="27"/>
                  <a:pt x="95" y="27"/>
                </a:cubicBezTo>
                <a:cubicBezTo>
                  <a:pt x="95" y="14"/>
                  <a:pt x="66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4" name="Google Shape;344;p11"/>
          <p:cNvSpPr/>
          <p:nvPr/>
        </p:nvSpPr>
        <p:spPr>
          <a:xfrm>
            <a:off x="4414492" y="4887653"/>
            <a:ext cx="24241" cy="8040"/>
          </a:xfrm>
          <a:custGeom>
            <a:avLst/>
            <a:gdLst/>
            <a:ahLst/>
            <a:cxnLst/>
            <a:rect l="l" t="t" r="r" b="b"/>
            <a:pathLst>
              <a:path w="98" h="43" extrusionOk="0">
                <a:moveTo>
                  <a:pt x="43" y="1"/>
                </a:moveTo>
                <a:cubicBezTo>
                  <a:pt x="30" y="1"/>
                  <a:pt x="1" y="1"/>
                  <a:pt x="1" y="17"/>
                </a:cubicBezTo>
                <a:cubicBezTo>
                  <a:pt x="1" y="30"/>
                  <a:pt x="17" y="30"/>
                  <a:pt x="43" y="43"/>
                </a:cubicBezTo>
                <a:cubicBezTo>
                  <a:pt x="69" y="43"/>
                  <a:pt x="98" y="30"/>
                  <a:pt x="98" y="30"/>
                </a:cubicBezTo>
                <a:cubicBezTo>
                  <a:pt x="98" y="17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5" name="Google Shape;345;p11"/>
          <p:cNvSpPr/>
          <p:nvPr/>
        </p:nvSpPr>
        <p:spPr>
          <a:xfrm>
            <a:off x="4133993" y="4875687"/>
            <a:ext cx="24241" cy="4861"/>
          </a:xfrm>
          <a:custGeom>
            <a:avLst/>
            <a:gdLst/>
            <a:ahLst/>
            <a:cxnLst/>
            <a:rect l="l" t="t" r="r" b="b"/>
            <a:pathLst>
              <a:path w="98" h="26" extrusionOk="0">
                <a:moveTo>
                  <a:pt x="56" y="0"/>
                </a:moveTo>
                <a:cubicBezTo>
                  <a:pt x="30" y="0"/>
                  <a:pt x="17" y="0"/>
                  <a:pt x="17" y="13"/>
                </a:cubicBezTo>
                <a:cubicBezTo>
                  <a:pt x="1" y="26"/>
                  <a:pt x="30" y="26"/>
                  <a:pt x="56" y="26"/>
                </a:cubicBezTo>
                <a:cubicBezTo>
                  <a:pt x="82" y="26"/>
                  <a:pt x="98" y="26"/>
                  <a:pt x="98" y="13"/>
                </a:cubicBezTo>
                <a:cubicBezTo>
                  <a:pt x="98" y="13"/>
                  <a:pt x="82" y="0"/>
                  <a:pt x="56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6" name="Google Shape;346;p11"/>
          <p:cNvSpPr/>
          <p:nvPr/>
        </p:nvSpPr>
        <p:spPr>
          <a:xfrm>
            <a:off x="4247775" y="4913083"/>
            <a:ext cx="23499" cy="822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56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27" y="27"/>
                  <a:pt x="56" y="43"/>
                </a:cubicBezTo>
                <a:cubicBezTo>
                  <a:pt x="69" y="43"/>
                  <a:pt x="95" y="27"/>
                  <a:pt x="95" y="27"/>
                </a:cubicBezTo>
                <a:cubicBezTo>
                  <a:pt x="95" y="14"/>
                  <a:pt x="82" y="1"/>
                  <a:pt x="5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7" name="Google Shape;347;p11"/>
          <p:cNvSpPr/>
          <p:nvPr/>
        </p:nvSpPr>
        <p:spPr>
          <a:xfrm>
            <a:off x="4284631" y="4897937"/>
            <a:ext cx="23499" cy="5048"/>
          </a:xfrm>
          <a:custGeom>
            <a:avLst/>
            <a:gdLst/>
            <a:ahLst/>
            <a:cxnLst/>
            <a:rect l="l" t="t" r="r" b="b"/>
            <a:pathLst>
              <a:path w="95" h="27" extrusionOk="0">
                <a:moveTo>
                  <a:pt x="56" y="1"/>
                </a:moveTo>
                <a:cubicBezTo>
                  <a:pt x="27" y="1"/>
                  <a:pt x="1" y="1"/>
                  <a:pt x="1" y="14"/>
                </a:cubicBezTo>
                <a:cubicBezTo>
                  <a:pt x="1" y="14"/>
                  <a:pt x="27" y="27"/>
                  <a:pt x="40" y="27"/>
                </a:cubicBezTo>
                <a:cubicBezTo>
                  <a:pt x="69" y="27"/>
                  <a:pt x="95" y="27"/>
                  <a:pt x="95" y="14"/>
                </a:cubicBezTo>
                <a:cubicBezTo>
                  <a:pt x="95" y="14"/>
                  <a:pt x="69" y="1"/>
                  <a:pt x="5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8" name="Google Shape;348;p11"/>
          <p:cNvSpPr/>
          <p:nvPr/>
        </p:nvSpPr>
        <p:spPr>
          <a:xfrm>
            <a:off x="644567" y="4698618"/>
            <a:ext cx="23499" cy="7479"/>
          </a:xfrm>
          <a:custGeom>
            <a:avLst/>
            <a:gdLst/>
            <a:ahLst/>
            <a:cxnLst/>
            <a:rect l="l" t="t" r="r" b="b"/>
            <a:pathLst>
              <a:path w="95" h="40" extrusionOk="0">
                <a:moveTo>
                  <a:pt x="56" y="1"/>
                </a:moveTo>
                <a:cubicBezTo>
                  <a:pt x="30" y="1"/>
                  <a:pt x="14" y="1"/>
                  <a:pt x="1" y="14"/>
                </a:cubicBezTo>
                <a:cubicBezTo>
                  <a:pt x="1" y="27"/>
                  <a:pt x="30" y="27"/>
                  <a:pt x="56" y="40"/>
                </a:cubicBezTo>
                <a:cubicBezTo>
                  <a:pt x="69" y="40"/>
                  <a:pt x="95" y="27"/>
                  <a:pt x="95" y="27"/>
                </a:cubicBezTo>
                <a:cubicBezTo>
                  <a:pt x="95" y="14"/>
                  <a:pt x="82" y="1"/>
                  <a:pt x="5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9" name="Google Shape;349;p11"/>
          <p:cNvSpPr/>
          <p:nvPr/>
        </p:nvSpPr>
        <p:spPr>
          <a:xfrm>
            <a:off x="564423" y="4688335"/>
            <a:ext cx="23499" cy="5796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43" y="1"/>
                </a:moveTo>
                <a:cubicBezTo>
                  <a:pt x="30" y="1"/>
                  <a:pt x="1" y="1"/>
                  <a:pt x="1" y="14"/>
                </a:cubicBezTo>
                <a:cubicBezTo>
                  <a:pt x="1" y="14"/>
                  <a:pt x="14" y="30"/>
                  <a:pt x="43" y="30"/>
                </a:cubicBezTo>
                <a:cubicBezTo>
                  <a:pt x="69" y="30"/>
                  <a:pt x="95" y="30"/>
                  <a:pt x="95" y="14"/>
                </a:cubicBezTo>
                <a:cubicBezTo>
                  <a:pt x="95" y="14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0" name="Google Shape;350;p11"/>
          <p:cNvSpPr/>
          <p:nvPr/>
        </p:nvSpPr>
        <p:spPr>
          <a:xfrm>
            <a:off x="611668" y="4681230"/>
            <a:ext cx="20283" cy="7292"/>
          </a:xfrm>
          <a:custGeom>
            <a:avLst/>
            <a:gdLst/>
            <a:ahLst/>
            <a:cxnLst/>
            <a:rect l="l" t="t" r="r" b="b"/>
            <a:pathLst>
              <a:path w="82" h="39" extrusionOk="0">
                <a:moveTo>
                  <a:pt x="40" y="0"/>
                </a:moveTo>
                <a:cubicBezTo>
                  <a:pt x="14" y="0"/>
                  <a:pt x="1" y="13"/>
                  <a:pt x="1" y="13"/>
                </a:cubicBezTo>
                <a:cubicBezTo>
                  <a:pt x="1" y="26"/>
                  <a:pt x="14" y="39"/>
                  <a:pt x="40" y="39"/>
                </a:cubicBezTo>
                <a:cubicBezTo>
                  <a:pt x="66" y="39"/>
                  <a:pt x="82" y="26"/>
                  <a:pt x="82" y="26"/>
                </a:cubicBezTo>
                <a:cubicBezTo>
                  <a:pt x="82" y="13"/>
                  <a:pt x="66" y="0"/>
                  <a:pt x="40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1" name="Google Shape;351;p11"/>
          <p:cNvSpPr/>
          <p:nvPr/>
        </p:nvSpPr>
        <p:spPr>
          <a:xfrm>
            <a:off x="514705" y="4701048"/>
            <a:ext cx="23499" cy="5048"/>
          </a:xfrm>
          <a:custGeom>
            <a:avLst/>
            <a:gdLst/>
            <a:ahLst/>
            <a:cxnLst/>
            <a:rect l="l" t="t" r="r" b="b"/>
            <a:pathLst>
              <a:path w="95" h="27" extrusionOk="0">
                <a:moveTo>
                  <a:pt x="53" y="1"/>
                </a:moveTo>
                <a:cubicBezTo>
                  <a:pt x="27" y="1"/>
                  <a:pt x="14" y="1"/>
                  <a:pt x="1" y="14"/>
                </a:cubicBezTo>
                <a:cubicBezTo>
                  <a:pt x="1" y="14"/>
                  <a:pt x="27" y="27"/>
                  <a:pt x="53" y="27"/>
                </a:cubicBezTo>
                <a:cubicBezTo>
                  <a:pt x="69" y="27"/>
                  <a:pt x="95" y="27"/>
                  <a:pt x="95" y="14"/>
                </a:cubicBezTo>
                <a:cubicBezTo>
                  <a:pt x="95" y="14"/>
                  <a:pt x="82" y="1"/>
                  <a:pt x="5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2" name="Google Shape;352;p11"/>
          <p:cNvSpPr/>
          <p:nvPr/>
        </p:nvSpPr>
        <p:spPr>
          <a:xfrm>
            <a:off x="691811" y="4684968"/>
            <a:ext cx="23499" cy="5984"/>
          </a:xfrm>
          <a:custGeom>
            <a:avLst/>
            <a:gdLst/>
            <a:ahLst/>
            <a:cxnLst/>
            <a:rect l="l" t="t" r="r" b="b"/>
            <a:pathLst>
              <a:path w="95" h="32" extrusionOk="0">
                <a:moveTo>
                  <a:pt x="18" y="0"/>
                </a:moveTo>
                <a:cubicBezTo>
                  <a:pt x="7" y="0"/>
                  <a:pt x="1" y="6"/>
                  <a:pt x="1" y="6"/>
                </a:cubicBezTo>
                <a:cubicBezTo>
                  <a:pt x="1" y="19"/>
                  <a:pt x="14" y="32"/>
                  <a:pt x="40" y="32"/>
                </a:cubicBezTo>
                <a:cubicBezTo>
                  <a:pt x="66" y="32"/>
                  <a:pt x="82" y="32"/>
                  <a:pt x="82" y="19"/>
                </a:cubicBezTo>
                <a:cubicBezTo>
                  <a:pt x="95" y="6"/>
                  <a:pt x="66" y="6"/>
                  <a:pt x="40" y="6"/>
                </a:cubicBezTo>
                <a:cubicBezTo>
                  <a:pt x="31" y="2"/>
                  <a:pt x="24" y="0"/>
                  <a:pt x="18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3" name="Google Shape;353;p11"/>
          <p:cNvSpPr/>
          <p:nvPr/>
        </p:nvSpPr>
        <p:spPr>
          <a:xfrm>
            <a:off x="674991" y="4716193"/>
            <a:ext cx="20283" cy="8227"/>
          </a:xfrm>
          <a:custGeom>
            <a:avLst/>
            <a:gdLst/>
            <a:ahLst/>
            <a:cxnLst/>
            <a:rect l="l" t="t" r="r" b="b"/>
            <a:pathLst>
              <a:path w="82" h="44" extrusionOk="0">
                <a:moveTo>
                  <a:pt x="40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27"/>
                  <a:pt x="14" y="43"/>
                  <a:pt x="40" y="43"/>
                </a:cubicBezTo>
                <a:cubicBezTo>
                  <a:pt x="69" y="43"/>
                  <a:pt x="82" y="43"/>
                  <a:pt x="82" y="27"/>
                </a:cubicBezTo>
                <a:cubicBezTo>
                  <a:pt x="82" y="14"/>
                  <a:pt x="69" y="14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4" name="Google Shape;354;p11"/>
          <p:cNvSpPr/>
          <p:nvPr/>
        </p:nvSpPr>
        <p:spPr>
          <a:xfrm>
            <a:off x="527568" y="4672253"/>
            <a:ext cx="20283" cy="6731"/>
          </a:xfrm>
          <a:custGeom>
            <a:avLst/>
            <a:gdLst/>
            <a:ahLst/>
            <a:cxnLst/>
            <a:rect l="l" t="t" r="r" b="b"/>
            <a:pathLst>
              <a:path w="82" h="36" extrusionOk="0">
                <a:moveTo>
                  <a:pt x="20" y="0"/>
                </a:moveTo>
                <a:cubicBezTo>
                  <a:pt x="8" y="0"/>
                  <a:pt x="1" y="6"/>
                  <a:pt x="1" y="6"/>
                </a:cubicBezTo>
                <a:cubicBezTo>
                  <a:pt x="1" y="19"/>
                  <a:pt x="17" y="35"/>
                  <a:pt x="43" y="35"/>
                </a:cubicBezTo>
                <a:cubicBezTo>
                  <a:pt x="69" y="35"/>
                  <a:pt x="82" y="35"/>
                  <a:pt x="82" y="19"/>
                </a:cubicBezTo>
                <a:cubicBezTo>
                  <a:pt x="82" y="6"/>
                  <a:pt x="69" y="6"/>
                  <a:pt x="43" y="6"/>
                </a:cubicBezTo>
                <a:cubicBezTo>
                  <a:pt x="34" y="2"/>
                  <a:pt x="27" y="0"/>
                  <a:pt x="20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5" name="Google Shape;355;p11"/>
          <p:cNvSpPr/>
          <p:nvPr/>
        </p:nvSpPr>
        <p:spPr>
          <a:xfrm>
            <a:off x="641351" y="4663654"/>
            <a:ext cx="20283" cy="7292"/>
          </a:xfrm>
          <a:custGeom>
            <a:avLst/>
            <a:gdLst/>
            <a:ahLst/>
            <a:cxnLst/>
            <a:rect l="l" t="t" r="r" b="b"/>
            <a:pathLst>
              <a:path w="82" h="39" extrusionOk="0">
                <a:moveTo>
                  <a:pt x="43" y="0"/>
                </a:moveTo>
                <a:cubicBezTo>
                  <a:pt x="14" y="0"/>
                  <a:pt x="1" y="0"/>
                  <a:pt x="1" y="13"/>
                </a:cubicBezTo>
                <a:cubicBezTo>
                  <a:pt x="1" y="26"/>
                  <a:pt x="14" y="26"/>
                  <a:pt x="43" y="39"/>
                </a:cubicBezTo>
                <a:cubicBezTo>
                  <a:pt x="69" y="39"/>
                  <a:pt x="82" y="26"/>
                  <a:pt x="82" y="26"/>
                </a:cubicBezTo>
                <a:cubicBezTo>
                  <a:pt x="82" y="13"/>
                  <a:pt x="69" y="0"/>
                  <a:pt x="4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6" name="Google Shape;356;p11"/>
          <p:cNvSpPr/>
          <p:nvPr/>
        </p:nvSpPr>
        <p:spPr>
          <a:xfrm>
            <a:off x="738313" y="4701048"/>
            <a:ext cx="23499" cy="6544"/>
          </a:xfrm>
          <a:custGeom>
            <a:avLst/>
            <a:gdLst/>
            <a:ahLst/>
            <a:cxnLst/>
            <a:rect l="l" t="t" r="r" b="b"/>
            <a:pathLst>
              <a:path w="95" h="35" extrusionOk="0">
                <a:moveTo>
                  <a:pt x="40" y="1"/>
                </a:moveTo>
                <a:cubicBezTo>
                  <a:pt x="14" y="1"/>
                  <a:pt x="1" y="1"/>
                  <a:pt x="1" y="14"/>
                </a:cubicBezTo>
                <a:cubicBezTo>
                  <a:pt x="1" y="27"/>
                  <a:pt x="14" y="27"/>
                  <a:pt x="40" y="27"/>
                </a:cubicBezTo>
                <a:cubicBezTo>
                  <a:pt x="49" y="32"/>
                  <a:pt x="57" y="34"/>
                  <a:pt x="64" y="34"/>
                </a:cubicBezTo>
                <a:cubicBezTo>
                  <a:pt x="76" y="34"/>
                  <a:pt x="82" y="27"/>
                  <a:pt x="82" y="27"/>
                </a:cubicBezTo>
                <a:cubicBezTo>
                  <a:pt x="95" y="14"/>
                  <a:pt x="69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7" name="Google Shape;357;p11"/>
          <p:cNvSpPr/>
          <p:nvPr/>
        </p:nvSpPr>
        <p:spPr>
          <a:xfrm>
            <a:off x="457813" y="4688335"/>
            <a:ext cx="23499" cy="5796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56" y="1"/>
                </a:moveTo>
                <a:cubicBezTo>
                  <a:pt x="27" y="1"/>
                  <a:pt x="1" y="1"/>
                  <a:pt x="1" y="14"/>
                </a:cubicBezTo>
                <a:cubicBezTo>
                  <a:pt x="1" y="14"/>
                  <a:pt x="27" y="30"/>
                  <a:pt x="56" y="30"/>
                </a:cubicBezTo>
                <a:cubicBezTo>
                  <a:pt x="69" y="30"/>
                  <a:pt x="95" y="30"/>
                  <a:pt x="95" y="14"/>
                </a:cubicBezTo>
                <a:cubicBezTo>
                  <a:pt x="95" y="14"/>
                  <a:pt x="82" y="1"/>
                  <a:pt x="5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8" name="Google Shape;358;p11"/>
          <p:cNvSpPr/>
          <p:nvPr/>
        </p:nvSpPr>
        <p:spPr>
          <a:xfrm>
            <a:off x="571596" y="4726666"/>
            <a:ext cx="23499" cy="7292"/>
          </a:xfrm>
          <a:custGeom>
            <a:avLst/>
            <a:gdLst/>
            <a:ahLst/>
            <a:cxnLst/>
            <a:rect l="l" t="t" r="r" b="b"/>
            <a:pathLst>
              <a:path w="95" h="39" extrusionOk="0">
                <a:moveTo>
                  <a:pt x="53" y="0"/>
                </a:moveTo>
                <a:cubicBezTo>
                  <a:pt x="27" y="0"/>
                  <a:pt x="1" y="0"/>
                  <a:pt x="1" y="13"/>
                </a:cubicBezTo>
                <a:cubicBezTo>
                  <a:pt x="1" y="26"/>
                  <a:pt x="27" y="26"/>
                  <a:pt x="40" y="39"/>
                </a:cubicBezTo>
                <a:cubicBezTo>
                  <a:pt x="66" y="39"/>
                  <a:pt x="95" y="26"/>
                  <a:pt x="95" y="26"/>
                </a:cubicBezTo>
                <a:cubicBezTo>
                  <a:pt x="95" y="13"/>
                  <a:pt x="66" y="0"/>
                  <a:pt x="5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9" name="Google Shape;359;p11"/>
          <p:cNvSpPr/>
          <p:nvPr/>
        </p:nvSpPr>
        <p:spPr>
          <a:xfrm>
            <a:off x="607712" y="4711520"/>
            <a:ext cx="24241" cy="4861"/>
          </a:xfrm>
          <a:custGeom>
            <a:avLst/>
            <a:gdLst/>
            <a:ahLst/>
            <a:cxnLst/>
            <a:rect l="l" t="t" r="r" b="b"/>
            <a:pathLst>
              <a:path w="98" h="26" extrusionOk="0">
                <a:moveTo>
                  <a:pt x="43" y="0"/>
                </a:moveTo>
                <a:cubicBezTo>
                  <a:pt x="30" y="0"/>
                  <a:pt x="1" y="0"/>
                  <a:pt x="1" y="13"/>
                </a:cubicBezTo>
                <a:cubicBezTo>
                  <a:pt x="1" y="13"/>
                  <a:pt x="17" y="26"/>
                  <a:pt x="43" y="26"/>
                </a:cubicBezTo>
                <a:cubicBezTo>
                  <a:pt x="69" y="26"/>
                  <a:pt x="82" y="26"/>
                  <a:pt x="98" y="13"/>
                </a:cubicBezTo>
                <a:cubicBezTo>
                  <a:pt x="98" y="0"/>
                  <a:pt x="69" y="0"/>
                  <a:pt x="4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0" name="Google Shape;360;p11"/>
          <p:cNvSpPr/>
          <p:nvPr/>
        </p:nvSpPr>
        <p:spPr>
          <a:xfrm>
            <a:off x="2407707" y="4851567"/>
            <a:ext cx="23499" cy="5984"/>
          </a:xfrm>
          <a:custGeom>
            <a:avLst/>
            <a:gdLst/>
            <a:ahLst/>
            <a:cxnLst/>
            <a:rect l="l" t="t" r="r" b="b"/>
            <a:pathLst>
              <a:path w="95" h="32" extrusionOk="0">
                <a:moveTo>
                  <a:pt x="68" y="0"/>
                </a:moveTo>
                <a:cubicBezTo>
                  <a:pt x="60" y="0"/>
                  <a:pt x="52" y="2"/>
                  <a:pt x="43" y="6"/>
                </a:cubicBezTo>
                <a:cubicBezTo>
                  <a:pt x="30" y="6"/>
                  <a:pt x="1" y="6"/>
                  <a:pt x="1" y="19"/>
                </a:cubicBezTo>
                <a:cubicBezTo>
                  <a:pt x="1" y="32"/>
                  <a:pt x="30" y="32"/>
                  <a:pt x="56" y="32"/>
                </a:cubicBezTo>
                <a:cubicBezTo>
                  <a:pt x="69" y="32"/>
                  <a:pt x="95" y="19"/>
                  <a:pt x="95" y="6"/>
                </a:cubicBezTo>
                <a:cubicBezTo>
                  <a:pt x="95" y="6"/>
                  <a:pt x="83" y="0"/>
                  <a:pt x="68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1" name="Google Shape;361;p11"/>
          <p:cNvSpPr/>
          <p:nvPr/>
        </p:nvSpPr>
        <p:spPr>
          <a:xfrm>
            <a:off x="2491065" y="4839787"/>
            <a:ext cx="20283" cy="8040"/>
          </a:xfrm>
          <a:custGeom>
            <a:avLst/>
            <a:gdLst/>
            <a:ahLst/>
            <a:cxnLst/>
            <a:rect l="l" t="t" r="r" b="b"/>
            <a:pathLst>
              <a:path w="82" h="43" extrusionOk="0">
                <a:moveTo>
                  <a:pt x="43" y="1"/>
                </a:moveTo>
                <a:cubicBezTo>
                  <a:pt x="17" y="1"/>
                  <a:pt x="1" y="14"/>
                  <a:pt x="1" y="30"/>
                </a:cubicBezTo>
                <a:cubicBezTo>
                  <a:pt x="1" y="30"/>
                  <a:pt x="17" y="43"/>
                  <a:pt x="43" y="43"/>
                </a:cubicBezTo>
                <a:cubicBezTo>
                  <a:pt x="69" y="30"/>
                  <a:pt x="82" y="30"/>
                  <a:pt x="82" y="14"/>
                </a:cubicBezTo>
                <a:cubicBezTo>
                  <a:pt x="82" y="14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2" name="Google Shape;362;p11"/>
          <p:cNvSpPr/>
          <p:nvPr/>
        </p:nvSpPr>
        <p:spPr>
          <a:xfrm>
            <a:off x="2444563" y="4834925"/>
            <a:ext cx="23499" cy="5048"/>
          </a:xfrm>
          <a:custGeom>
            <a:avLst/>
            <a:gdLst/>
            <a:ahLst/>
            <a:cxnLst/>
            <a:rect l="l" t="t" r="r" b="b"/>
            <a:pathLst>
              <a:path w="95" h="27" extrusionOk="0">
                <a:moveTo>
                  <a:pt x="43" y="1"/>
                </a:moveTo>
                <a:cubicBezTo>
                  <a:pt x="14" y="1"/>
                  <a:pt x="1" y="1"/>
                  <a:pt x="1" y="14"/>
                </a:cubicBezTo>
                <a:cubicBezTo>
                  <a:pt x="1" y="27"/>
                  <a:pt x="14" y="27"/>
                  <a:pt x="43" y="27"/>
                </a:cubicBezTo>
                <a:cubicBezTo>
                  <a:pt x="69" y="27"/>
                  <a:pt x="95" y="14"/>
                  <a:pt x="82" y="14"/>
                </a:cubicBezTo>
                <a:cubicBezTo>
                  <a:pt x="82" y="1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3" name="Google Shape;363;p11"/>
          <p:cNvSpPr/>
          <p:nvPr/>
        </p:nvSpPr>
        <p:spPr>
          <a:xfrm>
            <a:off x="2538309" y="4852501"/>
            <a:ext cx="23499" cy="822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40" y="1"/>
                </a:moveTo>
                <a:cubicBezTo>
                  <a:pt x="27" y="1"/>
                  <a:pt x="1" y="14"/>
                  <a:pt x="1" y="27"/>
                </a:cubicBezTo>
                <a:cubicBezTo>
                  <a:pt x="1" y="27"/>
                  <a:pt x="27" y="43"/>
                  <a:pt x="53" y="43"/>
                </a:cubicBezTo>
                <a:cubicBezTo>
                  <a:pt x="69" y="27"/>
                  <a:pt x="95" y="27"/>
                  <a:pt x="95" y="14"/>
                </a:cubicBezTo>
                <a:cubicBezTo>
                  <a:pt x="95" y="1"/>
                  <a:pt x="69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4" name="Google Shape;364;p11"/>
          <p:cNvSpPr/>
          <p:nvPr/>
        </p:nvSpPr>
        <p:spPr>
          <a:xfrm>
            <a:off x="2364420" y="4837356"/>
            <a:ext cx="20283" cy="5048"/>
          </a:xfrm>
          <a:custGeom>
            <a:avLst/>
            <a:gdLst/>
            <a:ahLst/>
            <a:cxnLst/>
            <a:rect l="l" t="t" r="r" b="b"/>
            <a:pathLst>
              <a:path w="82" h="27" extrusionOk="0">
                <a:moveTo>
                  <a:pt x="43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27"/>
                  <a:pt x="14" y="27"/>
                  <a:pt x="43" y="27"/>
                </a:cubicBezTo>
                <a:cubicBezTo>
                  <a:pt x="69" y="27"/>
                  <a:pt x="82" y="27"/>
                  <a:pt x="82" y="14"/>
                </a:cubicBezTo>
                <a:cubicBezTo>
                  <a:pt x="82" y="1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5" name="Google Shape;365;p11"/>
          <p:cNvSpPr/>
          <p:nvPr/>
        </p:nvSpPr>
        <p:spPr>
          <a:xfrm>
            <a:off x="2381240" y="4870078"/>
            <a:ext cx="23499" cy="5796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40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27" y="30"/>
                  <a:pt x="40" y="30"/>
                </a:cubicBezTo>
                <a:cubicBezTo>
                  <a:pt x="69" y="30"/>
                  <a:pt x="95" y="14"/>
                  <a:pt x="95" y="14"/>
                </a:cubicBezTo>
                <a:cubicBezTo>
                  <a:pt x="95" y="1"/>
                  <a:pt x="69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6" name="Google Shape;366;p11"/>
          <p:cNvSpPr/>
          <p:nvPr/>
        </p:nvSpPr>
        <p:spPr>
          <a:xfrm>
            <a:off x="2527921" y="4824642"/>
            <a:ext cx="23499" cy="5796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43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30" y="30"/>
                  <a:pt x="43" y="30"/>
                </a:cubicBezTo>
                <a:cubicBezTo>
                  <a:pt x="69" y="30"/>
                  <a:pt x="95" y="30"/>
                  <a:pt x="95" y="14"/>
                </a:cubicBezTo>
                <a:cubicBezTo>
                  <a:pt x="95" y="1"/>
                  <a:pt x="69" y="1"/>
                  <a:pt x="4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7" name="Google Shape;367;p11"/>
          <p:cNvSpPr/>
          <p:nvPr/>
        </p:nvSpPr>
        <p:spPr>
          <a:xfrm>
            <a:off x="2414880" y="4816415"/>
            <a:ext cx="23499" cy="5984"/>
          </a:xfrm>
          <a:custGeom>
            <a:avLst/>
            <a:gdLst/>
            <a:ahLst/>
            <a:cxnLst/>
            <a:rect l="l" t="t" r="r" b="b"/>
            <a:pathLst>
              <a:path w="95" h="32" extrusionOk="0">
                <a:moveTo>
                  <a:pt x="62" y="0"/>
                </a:moveTo>
                <a:cubicBezTo>
                  <a:pt x="56" y="0"/>
                  <a:pt x="48" y="2"/>
                  <a:pt x="40" y="6"/>
                </a:cubicBezTo>
                <a:cubicBezTo>
                  <a:pt x="14" y="6"/>
                  <a:pt x="1" y="6"/>
                  <a:pt x="1" y="19"/>
                </a:cubicBezTo>
                <a:cubicBezTo>
                  <a:pt x="1" y="32"/>
                  <a:pt x="14" y="32"/>
                  <a:pt x="40" y="32"/>
                </a:cubicBezTo>
                <a:cubicBezTo>
                  <a:pt x="66" y="32"/>
                  <a:pt x="95" y="19"/>
                  <a:pt x="82" y="6"/>
                </a:cubicBezTo>
                <a:cubicBezTo>
                  <a:pt x="82" y="6"/>
                  <a:pt x="75" y="0"/>
                  <a:pt x="62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8" name="Google Shape;368;p11"/>
          <p:cNvSpPr/>
          <p:nvPr/>
        </p:nvSpPr>
        <p:spPr>
          <a:xfrm>
            <a:off x="2317917" y="4852501"/>
            <a:ext cx="20283" cy="8227"/>
          </a:xfrm>
          <a:custGeom>
            <a:avLst/>
            <a:gdLst/>
            <a:ahLst/>
            <a:cxnLst/>
            <a:rect l="l" t="t" r="r" b="b"/>
            <a:pathLst>
              <a:path w="82" h="44" extrusionOk="0">
                <a:moveTo>
                  <a:pt x="40" y="1"/>
                </a:moveTo>
                <a:cubicBezTo>
                  <a:pt x="14" y="14"/>
                  <a:pt x="1" y="14"/>
                  <a:pt x="1" y="27"/>
                </a:cubicBezTo>
                <a:cubicBezTo>
                  <a:pt x="1" y="43"/>
                  <a:pt x="14" y="43"/>
                  <a:pt x="40" y="43"/>
                </a:cubicBezTo>
                <a:cubicBezTo>
                  <a:pt x="69" y="43"/>
                  <a:pt x="82" y="27"/>
                  <a:pt x="82" y="14"/>
                </a:cubicBezTo>
                <a:cubicBezTo>
                  <a:pt x="82" y="14"/>
                  <a:pt x="69" y="1"/>
                  <a:pt x="40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9" name="Google Shape;369;p11"/>
          <p:cNvSpPr/>
          <p:nvPr/>
        </p:nvSpPr>
        <p:spPr>
          <a:xfrm>
            <a:off x="2595201" y="4839787"/>
            <a:ext cx="23499" cy="8040"/>
          </a:xfrm>
          <a:custGeom>
            <a:avLst/>
            <a:gdLst/>
            <a:ahLst/>
            <a:cxnLst/>
            <a:rect l="l" t="t" r="r" b="b"/>
            <a:pathLst>
              <a:path w="95" h="43" extrusionOk="0">
                <a:moveTo>
                  <a:pt x="53" y="1"/>
                </a:moveTo>
                <a:cubicBezTo>
                  <a:pt x="27" y="1"/>
                  <a:pt x="1" y="14"/>
                  <a:pt x="1" y="30"/>
                </a:cubicBezTo>
                <a:cubicBezTo>
                  <a:pt x="1" y="30"/>
                  <a:pt x="27" y="43"/>
                  <a:pt x="53" y="43"/>
                </a:cubicBezTo>
                <a:cubicBezTo>
                  <a:pt x="82" y="30"/>
                  <a:pt x="95" y="30"/>
                  <a:pt x="95" y="14"/>
                </a:cubicBezTo>
                <a:cubicBezTo>
                  <a:pt x="95" y="1"/>
                  <a:pt x="66" y="1"/>
                  <a:pt x="5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0" name="Google Shape;370;p11"/>
          <p:cNvSpPr/>
          <p:nvPr/>
        </p:nvSpPr>
        <p:spPr>
          <a:xfrm>
            <a:off x="2481419" y="4878118"/>
            <a:ext cx="23499" cy="7292"/>
          </a:xfrm>
          <a:custGeom>
            <a:avLst/>
            <a:gdLst/>
            <a:ahLst/>
            <a:cxnLst/>
            <a:rect l="l" t="t" r="r" b="b"/>
            <a:pathLst>
              <a:path w="95" h="39" extrusionOk="0">
                <a:moveTo>
                  <a:pt x="56" y="0"/>
                </a:moveTo>
                <a:cubicBezTo>
                  <a:pt x="27" y="13"/>
                  <a:pt x="1" y="13"/>
                  <a:pt x="14" y="26"/>
                </a:cubicBezTo>
                <a:cubicBezTo>
                  <a:pt x="14" y="39"/>
                  <a:pt x="27" y="39"/>
                  <a:pt x="56" y="39"/>
                </a:cubicBezTo>
                <a:cubicBezTo>
                  <a:pt x="82" y="39"/>
                  <a:pt x="95" y="26"/>
                  <a:pt x="95" y="13"/>
                </a:cubicBezTo>
                <a:cubicBezTo>
                  <a:pt x="95" y="13"/>
                  <a:pt x="82" y="0"/>
                  <a:pt x="56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1" name="Google Shape;371;p11"/>
          <p:cNvSpPr/>
          <p:nvPr/>
        </p:nvSpPr>
        <p:spPr>
          <a:xfrm>
            <a:off x="2447779" y="4862972"/>
            <a:ext cx="20283" cy="5984"/>
          </a:xfrm>
          <a:custGeom>
            <a:avLst/>
            <a:gdLst/>
            <a:ahLst/>
            <a:cxnLst/>
            <a:rect l="l" t="t" r="r" b="b"/>
            <a:pathLst>
              <a:path w="82" h="32" extrusionOk="0">
                <a:moveTo>
                  <a:pt x="43" y="0"/>
                </a:moveTo>
                <a:cubicBezTo>
                  <a:pt x="14" y="0"/>
                  <a:pt x="1" y="13"/>
                  <a:pt x="1" y="26"/>
                </a:cubicBezTo>
                <a:cubicBezTo>
                  <a:pt x="1" y="26"/>
                  <a:pt x="7" y="32"/>
                  <a:pt x="19" y="32"/>
                </a:cubicBezTo>
                <a:cubicBezTo>
                  <a:pt x="25" y="32"/>
                  <a:pt x="33" y="30"/>
                  <a:pt x="43" y="26"/>
                </a:cubicBezTo>
                <a:cubicBezTo>
                  <a:pt x="69" y="26"/>
                  <a:pt x="82" y="26"/>
                  <a:pt x="82" y="13"/>
                </a:cubicBezTo>
                <a:cubicBezTo>
                  <a:pt x="82" y="0"/>
                  <a:pt x="69" y="0"/>
                  <a:pt x="4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2" name="Google Shape;372;p11"/>
          <p:cNvSpPr/>
          <p:nvPr/>
        </p:nvSpPr>
        <p:spPr>
          <a:xfrm>
            <a:off x="9135255" y="4810335"/>
            <a:ext cx="815288" cy="630684"/>
          </a:xfrm>
          <a:custGeom>
            <a:avLst/>
            <a:gdLst/>
            <a:ahLst/>
            <a:cxnLst/>
            <a:rect l="l" t="t" r="r" b="b"/>
            <a:pathLst>
              <a:path w="3296" h="3373" extrusionOk="0">
                <a:moveTo>
                  <a:pt x="1932" y="0"/>
                </a:moveTo>
                <a:lnTo>
                  <a:pt x="1757" y="457"/>
                </a:lnTo>
                <a:lnTo>
                  <a:pt x="1689" y="392"/>
                </a:lnTo>
                <a:lnTo>
                  <a:pt x="1595" y="214"/>
                </a:lnTo>
                <a:lnTo>
                  <a:pt x="1498" y="94"/>
                </a:lnTo>
                <a:lnTo>
                  <a:pt x="1404" y="243"/>
                </a:lnTo>
                <a:lnTo>
                  <a:pt x="1297" y="149"/>
                </a:lnTo>
                <a:lnTo>
                  <a:pt x="1203" y="188"/>
                </a:lnTo>
                <a:lnTo>
                  <a:pt x="1174" y="418"/>
                </a:lnTo>
                <a:lnTo>
                  <a:pt x="1067" y="405"/>
                </a:lnTo>
                <a:lnTo>
                  <a:pt x="837" y="120"/>
                </a:lnTo>
                <a:lnTo>
                  <a:pt x="973" y="606"/>
                </a:lnTo>
                <a:lnTo>
                  <a:pt x="973" y="606"/>
                </a:lnTo>
                <a:lnTo>
                  <a:pt x="717" y="350"/>
                </a:lnTo>
                <a:lnTo>
                  <a:pt x="607" y="376"/>
                </a:lnTo>
                <a:lnTo>
                  <a:pt x="649" y="593"/>
                </a:lnTo>
                <a:lnTo>
                  <a:pt x="649" y="593"/>
                </a:lnTo>
                <a:lnTo>
                  <a:pt x="445" y="525"/>
                </a:lnTo>
                <a:lnTo>
                  <a:pt x="338" y="567"/>
                </a:lnTo>
                <a:lnTo>
                  <a:pt x="487" y="823"/>
                </a:lnTo>
                <a:lnTo>
                  <a:pt x="594" y="998"/>
                </a:lnTo>
                <a:lnTo>
                  <a:pt x="150" y="836"/>
                </a:lnTo>
                <a:lnTo>
                  <a:pt x="150" y="836"/>
                </a:lnTo>
                <a:lnTo>
                  <a:pt x="202" y="985"/>
                </a:lnTo>
                <a:lnTo>
                  <a:pt x="406" y="1186"/>
                </a:lnTo>
                <a:lnTo>
                  <a:pt x="14" y="1134"/>
                </a:lnTo>
                <a:lnTo>
                  <a:pt x="218" y="1309"/>
                </a:lnTo>
                <a:lnTo>
                  <a:pt x="244" y="1403"/>
                </a:lnTo>
                <a:lnTo>
                  <a:pt x="14" y="1471"/>
                </a:lnTo>
                <a:lnTo>
                  <a:pt x="364" y="1591"/>
                </a:lnTo>
                <a:lnTo>
                  <a:pt x="202" y="1672"/>
                </a:lnTo>
                <a:lnTo>
                  <a:pt x="1" y="1782"/>
                </a:lnTo>
                <a:lnTo>
                  <a:pt x="95" y="1876"/>
                </a:lnTo>
                <a:lnTo>
                  <a:pt x="150" y="1957"/>
                </a:lnTo>
                <a:lnTo>
                  <a:pt x="393" y="1996"/>
                </a:lnTo>
                <a:lnTo>
                  <a:pt x="189" y="2145"/>
                </a:lnTo>
                <a:lnTo>
                  <a:pt x="312" y="2213"/>
                </a:lnTo>
                <a:lnTo>
                  <a:pt x="121" y="2401"/>
                </a:lnTo>
                <a:lnTo>
                  <a:pt x="121" y="2401"/>
                </a:lnTo>
                <a:lnTo>
                  <a:pt x="461" y="2336"/>
                </a:lnTo>
                <a:lnTo>
                  <a:pt x="380" y="2482"/>
                </a:lnTo>
                <a:lnTo>
                  <a:pt x="312" y="2660"/>
                </a:lnTo>
                <a:lnTo>
                  <a:pt x="312" y="2660"/>
                </a:lnTo>
                <a:lnTo>
                  <a:pt x="636" y="2524"/>
                </a:lnTo>
                <a:lnTo>
                  <a:pt x="688" y="2579"/>
                </a:lnTo>
                <a:lnTo>
                  <a:pt x="769" y="2618"/>
                </a:lnTo>
                <a:lnTo>
                  <a:pt x="850" y="2644"/>
                </a:lnTo>
                <a:lnTo>
                  <a:pt x="743" y="2942"/>
                </a:lnTo>
                <a:lnTo>
                  <a:pt x="931" y="2822"/>
                </a:lnTo>
                <a:lnTo>
                  <a:pt x="879" y="3146"/>
                </a:lnTo>
                <a:lnTo>
                  <a:pt x="1122" y="2835"/>
                </a:lnTo>
                <a:lnTo>
                  <a:pt x="1109" y="3130"/>
                </a:lnTo>
                <a:lnTo>
                  <a:pt x="1203" y="3146"/>
                </a:lnTo>
                <a:lnTo>
                  <a:pt x="1297" y="3211"/>
                </a:lnTo>
                <a:lnTo>
                  <a:pt x="1391" y="3240"/>
                </a:lnTo>
                <a:lnTo>
                  <a:pt x="1514" y="3049"/>
                </a:lnTo>
                <a:lnTo>
                  <a:pt x="1595" y="3373"/>
                </a:lnTo>
                <a:lnTo>
                  <a:pt x="1702" y="3159"/>
                </a:lnTo>
                <a:lnTo>
                  <a:pt x="1809" y="3292"/>
                </a:lnTo>
                <a:lnTo>
                  <a:pt x="1838" y="2874"/>
                </a:lnTo>
                <a:lnTo>
                  <a:pt x="1945" y="2955"/>
                </a:lnTo>
                <a:lnTo>
                  <a:pt x="2052" y="3023"/>
                </a:lnTo>
                <a:lnTo>
                  <a:pt x="2094" y="2874"/>
                </a:lnTo>
                <a:lnTo>
                  <a:pt x="2256" y="3023"/>
                </a:lnTo>
                <a:lnTo>
                  <a:pt x="2324" y="2929"/>
                </a:lnTo>
                <a:lnTo>
                  <a:pt x="2499" y="3010"/>
                </a:lnTo>
                <a:lnTo>
                  <a:pt x="2499" y="3010"/>
                </a:lnTo>
                <a:lnTo>
                  <a:pt x="2457" y="2793"/>
                </a:lnTo>
                <a:lnTo>
                  <a:pt x="2606" y="2822"/>
                </a:lnTo>
                <a:lnTo>
                  <a:pt x="2632" y="2712"/>
                </a:lnTo>
                <a:lnTo>
                  <a:pt x="2674" y="2618"/>
                </a:lnTo>
                <a:lnTo>
                  <a:pt x="2781" y="2592"/>
                </a:lnTo>
                <a:lnTo>
                  <a:pt x="2972" y="2592"/>
                </a:lnTo>
                <a:lnTo>
                  <a:pt x="2768" y="2349"/>
                </a:lnTo>
                <a:lnTo>
                  <a:pt x="2956" y="2349"/>
                </a:lnTo>
                <a:lnTo>
                  <a:pt x="2781" y="2158"/>
                </a:lnTo>
                <a:lnTo>
                  <a:pt x="2917" y="2119"/>
                </a:lnTo>
                <a:lnTo>
                  <a:pt x="2810" y="1996"/>
                </a:lnTo>
                <a:lnTo>
                  <a:pt x="3024" y="1957"/>
                </a:lnTo>
                <a:lnTo>
                  <a:pt x="2930" y="1850"/>
                </a:lnTo>
                <a:lnTo>
                  <a:pt x="2810" y="1753"/>
                </a:lnTo>
                <a:lnTo>
                  <a:pt x="3118" y="1672"/>
                </a:lnTo>
                <a:lnTo>
                  <a:pt x="2956" y="1578"/>
                </a:lnTo>
                <a:lnTo>
                  <a:pt x="3296" y="1458"/>
                </a:lnTo>
                <a:lnTo>
                  <a:pt x="2917" y="1416"/>
                </a:lnTo>
                <a:lnTo>
                  <a:pt x="3118" y="1267"/>
                </a:lnTo>
                <a:lnTo>
                  <a:pt x="2875" y="1241"/>
                </a:lnTo>
                <a:lnTo>
                  <a:pt x="2998" y="1092"/>
                </a:lnTo>
                <a:lnTo>
                  <a:pt x="2943" y="1011"/>
                </a:lnTo>
                <a:lnTo>
                  <a:pt x="2943" y="904"/>
                </a:lnTo>
                <a:lnTo>
                  <a:pt x="3011" y="729"/>
                </a:lnTo>
                <a:lnTo>
                  <a:pt x="2687" y="836"/>
                </a:lnTo>
                <a:lnTo>
                  <a:pt x="2619" y="768"/>
                </a:lnTo>
                <a:lnTo>
                  <a:pt x="2755" y="525"/>
                </a:lnTo>
                <a:lnTo>
                  <a:pt x="2431" y="729"/>
                </a:lnTo>
                <a:lnTo>
                  <a:pt x="2470" y="538"/>
                </a:lnTo>
                <a:lnTo>
                  <a:pt x="2499" y="337"/>
                </a:lnTo>
                <a:lnTo>
                  <a:pt x="2444" y="201"/>
                </a:lnTo>
                <a:lnTo>
                  <a:pt x="2243" y="363"/>
                </a:lnTo>
                <a:lnTo>
                  <a:pt x="2175" y="295"/>
                </a:lnTo>
                <a:lnTo>
                  <a:pt x="2052" y="350"/>
                </a:lnTo>
                <a:lnTo>
                  <a:pt x="1958" y="337"/>
                </a:lnTo>
                <a:lnTo>
                  <a:pt x="1932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3" name="Google Shape;373;p11"/>
          <p:cNvSpPr/>
          <p:nvPr/>
        </p:nvSpPr>
        <p:spPr>
          <a:xfrm>
            <a:off x="8708075" y="5016760"/>
            <a:ext cx="584504" cy="452117"/>
          </a:xfrm>
          <a:custGeom>
            <a:avLst/>
            <a:gdLst/>
            <a:ahLst/>
            <a:cxnLst/>
            <a:rect l="l" t="t" r="r" b="b"/>
            <a:pathLst>
              <a:path w="2363" h="2418" extrusionOk="0">
                <a:moveTo>
                  <a:pt x="973" y="1"/>
                </a:moveTo>
                <a:lnTo>
                  <a:pt x="957" y="244"/>
                </a:lnTo>
                <a:lnTo>
                  <a:pt x="892" y="244"/>
                </a:lnTo>
                <a:lnTo>
                  <a:pt x="811" y="218"/>
                </a:lnTo>
                <a:lnTo>
                  <a:pt x="756" y="273"/>
                </a:lnTo>
                <a:lnTo>
                  <a:pt x="607" y="150"/>
                </a:lnTo>
                <a:lnTo>
                  <a:pt x="581" y="244"/>
                </a:lnTo>
                <a:lnTo>
                  <a:pt x="594" y="393"/>
                </a:lnTo>
                <a:lnTo>
                  <a:pt x="620" y="516"/>
                </a:lnTo>
                <a:lnTo>
                  <a:pt x="620" y="516"/>
                </a:lnTo>
                <a:lnTo>
                  <a:pt x="390" y="380"/>
                </a:lnTo>
                <a:lnTo>
                  <a:pt x="487" y="555"/>
                </a:lnTo>
                <a:lnTo>
                  <a:pt x="432" y="597"/>
                </a:lnTo>
                <a:lnTo>
                  <a:pt x="202" y="529"/>
                </a:lnTo>
                <a:lnTo>
                  <a:pt x="202" y="529"/>
                </a:lnTo>
                <a:lnTo>
                  <a:pt x="257" y="649"/>
                </a:lnTo>
                <a:lnTo>
                  <a:pt x="244" y="730"/>
                </a:lnTo>
                <a:lnTo>
                  <a:pt x="215" y="785"/>
                </a:lnTo>
                <a:lnTo>
                  <a:pt x="296" y="892"/>
                </a:lnTo>
                <a:lnTo>
                  <a:pt x="121" y="908"/>
                </a:lnTo>
                <a:lnTo>
                  <a:pt x="270" y="1015"/>
                </a:lnTo>
                <a:lnTo>
                  <a:pt x="1" y="1041"/>
                </a:lnTo>
                <a:lnTo>
                  <a:pt x="244" y="1135"/>
                </a:lnTo>
                <a:lnTo>
                  <a:pt x="121" y="1203"/>
                </a:lnTo>
                <a:lnTo>
                  <a:pt x="351" y="1258"/>
                </a:lnTo>
                <a:lnTo>
                  <a:pt x="270" y="1326"/>
                </a:lnTo>
                <a:lnTo>
                  <a:pt x="189" y="1407"/>
                </a:lnTo>
                <a:lnTo>
                  <a:pt x="351" y="1433"/>
                </a:lnTo>
                <a:lnTo>
                  <a:pt x="270" y="1527"/>
                </a:lnTo>
                <a:lnTo>
                  <a:pt x="364" y="1556"/>
                </a:lnTo>
                <a:lnTo>
                  <a:pt x="244" y="1689"/>
                </a:lnTo>
                <a:lnTo>
                  <a:pt x="377" y="1689"/>
                </a:lnTo>
                <a:lnTo>
                  <a:pt x="228" y="1864"/>
                </a:lnTo>
                <a:lnTo>
                  <a:pt x="364" y="1851"/>
                </a:lnTo>
                <a:lnTo>
                  <a:pt x="445" y="1880"/>
                </a:lnTo>
                <a:lnTo>
                  <a:pt x="471" y="1945"/>
                </a:lnTo>
                <a:lnTo>
                  <a:pt x="500" y="2026"/>
                </a:lnTo>
                <a:lnTo>
                  <a:pt x="607" y="2000"/>
                </a:lnTo>
                <a:lnTo>
                  <a:pt x="581" y="2162"/>
                </a:lnTo>
                <a:lnTo>
                  <a:pt x="581" y="2162"/>
                </a:lnTo>
                <a:lnTo>
                  <a:pt x="701" y="2094"/>
                </a:lnTo>
                <a:lnTo>
                  <a:pt x="743" y="2162"/>
                </a:lnTo>
                <a:lnTo>
                  <a:pt x="863" y="2068"/>
                </a:lnTo>
                <a:lnTo>
                  <a:pt x="892" y="2175"/>
                </a:lnTo>
                <a:lnTo>
                  <a:pt x="973" y="2123"/>
                </a:lnTo>
                <a:lnTo>
                  <a:pt x="1038" y="2068"/>
                </a:lnTo>
                <a:lnTo>
                  <a:pt x="1067" y="2366"/>
                </a:lnTo>
                <a:lnTo>
                  <a:pt x="1148" y="2269"/>
                </a:lnTo>
                <a:lnTo>
                  <a:pt x="1216" y="2418"/>
                </a:lnTo>
                <a:lnTo>
                  <a:pt x="1281" y="2188"/>
                </a:lnTo>
                <a:lnTo>
                  <a:pt x="1362" y="2324"/>
                </a:lnTo>
                <a:lnTo>
                  <a:pt x="1430" y="2298"/>
                </a:lnTo>
                <a:lnTo>
                  <a:pt x="1498" y="2256"/>
                </a:lnTo>
                <a:lnTo>
                  <a:pt x="1566" y="2243"/>
                </a:lnTo>
                <a:lnTo>
                  <a:pt x="1566" y="2042"/>
                </a:lnTo>
                <a:lnTo>
                  <a:pt x="1741" y="2256"/>
                </a:lnTo>
                <a:lnTo>
                  <a:pt x="1686" y="2026"/>
                </a:lnTo>
                <a:lnTo>
                  <a:pt x="1822" y="2123"/>
                </a:lnTo>
                <a:lnTo>
                  <a:pt x="1822" y="2123"/>
                </a:lnTo>
                <a:lnTo>
                  <a:pt x="1754" y="1906"/>
                </a:lnTo>
                <a:lnTo>
                  <a:pt x="1809" y="1880"/>
                </a:lnTo>
                <a:lnTo>
                  <a:pt x="1864" y="1851"/>
                </a:lnTo>
                <a:lnTo>
                  <a:pt x="1916" y="1812"/>
                </a:lnTo>
                <a:lnTo>
                  <a:pt x="2146" y="1919"/>
                </a:lnTo>
                <a:lnTo>
                  <a:pt x="2091" y="1783"/>
                </a:lnTo>
                <a:lnTo>
                  <a:pt x="2026" y="1676"/>
                </a:lnTo>
                <a:lnTo>
                  <a:pt x="2026" y="1676"/>
                </a:lnTo>
                <a:lnTo>
                  <a:pt x="2282" y="1731"/>
                </a:lnTo>
                <a:lnTo>
                  <a:pt x="2146" y="1582"/>
                </a:lnTo>
                <a:lnTo>
                  <a:pt x="2227" y="1540"/>
                </a:lnTo>
                <a:lnTo>
                  <a:pt x="2078" y="1433"/>
                </a:lnTo>
                <a:lnTo>
                  <a:pt x="2253" y="1407"/>
                </a:lnTo>
                <a:lnTo>
                  <a:pt x="2295" y="1339"/>
                </a:lnTo>
                <a:lnTo>
                  <a:pt x="2363" y="1284"/>
                </a:lnTo>
                <a:lnTo>
                  <a:pt x="2227" y="1203"/>
                </a:lnTo>
                <a:lnTo>
                  <a:pt x="2107" y="1151"/>
                </a:lnTo>
                <a:lnTo>
                  <a:pt x="2350" y="1054"/>
                </a:lnTo>
                <a:lnTo>
                  <a:pt x="2188" y="1015"/>
                </a:lnTo>
                <a:lnTo>
                  <a:pt x="2214" y="934"/>
                </a:lnTo>
                <a:lnTo>
                  <a:pt x="2350" y="811"/>
                </a:lnTo>
                <a:lnTo>
                  <a:pt x="2065" y="853"/>
                </a:lnTo>
                <a:lnTo>
                  <a:pt x="2214" y="704"/>
                </a:lnTo>
                <a:lnTo>
                  <a:pt x="2253" y="597"/>
                </a:lnTo>
                <a:lnTo>
                  <a:pt x="2253" y="597"/>
                </a:lnTo>
                <a:lnTo>
                  <a:pt x="1929" y="717"/>
                </a:lnTo>
                <a:lnTo>
                  <a:pt x="1929" y="717"/>
                </a:lnTo>
                <a:lnTo>
                  <a:pt x="2010" y="597"/>
                </a:lnTo>
                <a:lnTo>
                  <a:pt x="2120" y="406"/>
                </a:lnTo>
                <a:lnTo>
                  <a:pt x="2039" y="380"/>
                </a:lnTo>
                <a:lnTo>
                  <a:pt x="1890" y="435"/>
                </a:lnTo>
                <a:lnTo>
                  <a:pt x="1929" y="273"/>
                </a:lnTo>
                <a:lnTo>
                  <a:pt x="1848" y="260"/>
                </a:lnTo>
                <a:lnTo>
                  <a:pt x="1660" y="435"/>
                </a:lnTo>
                <a:lnTo>
                  <a:pt x="1767" y="98"/>
                </a:lnTo>
                <a:lnTo>
                  <a:pt x="1592" y="299"/>
                </a:lnTo>
                <a:lnTo>
                  <a:pt x="1524" y="299"/>
                </a:lnTo>
                <a:lnTo>
                  <a:pt x="1498" y="137"/>
                </a:lnTo>
                <a:lnTo>
                  <a:pt x="1430" y="111"/>
                </a:lnTo>
                <a:lnTo>
                  <a:pt x="1349" y="179"/>
                </a:lnTo>
                <a:lnTo>
                  <a:pt x="1297" y="69"/>
                </a:lnTo>
                <a:lnTo>
                  <a:pt x="1216" y="150"/>
                </a:lnTo>
                <a:lnTo>
                  <a:pt x="1161" y="286"/>
                </a:lnTo>
                <a:lnTo>
                  <a:pt x="1106" y="341"/>
                </a:lnTo>
                <a:lnTo>
                  <a:pt x="973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4" name="Google Shape;374;p11"/>
          <p:cNvSpPr/>
          <p:nvPr/>
        </p:nvSpPr>
        <p:spPr>
          <a:xfrm>
            <a:off x="1792023" y="5159629"/>
            <a:ext cx="10542341" cy="2003491"/>
          </a:xfrm>
          <a:custGeom>
            <a:avLst/>
            <a:gdLst/>
            <a:ahLst/>
            <a:cxnLst/>
            <a:rect l="l" t="t" r="r" b="b"/>
            <a:pathLst>
              <a:path w="42620" h="10715" extrusionOk="0">
                <a:moveTo>
                  <a:pt x="42620" y="0"/>
                </a:moveTo>
                <a:cubicBezTo>
                  <a:pt x="40783" y="94"/>
                  <a:pt x="38907" y="214"/>
                  <a:pt x="37005" y="350"/>
                </a:cubicBezTo>
                <a:cubicBezTo>
                  <a:pt x="16415" y="1847"/>
                  <a:pt x="1" y="5236"/>
                  <a:pt x="325" y="7896"/>
                </a:cubicBezTo>
                <a:cubicBezTo>
                  <a:pt x="553" y="9699"/>
                  <a:pt x="8423" y="10715"/>
                  <a:pt x="19883" y="10715"/>
                </a:cubicBezTo>
                <a:cubicBezTo>
                  <a:pt x="25329" y="10715"/>
                  <a:pt x="31587" y="10485"/>
                  <a:pt x="38220" y="10002"/>
                </a:cubicBezTo>
                <a:cubicBezTo>
                  <a:pt x="39717" y="9895"/>
                  <a:pt x="41175" y="9772"/>
                  <a:pt x="42620" y="9652"/>
                </a:cubicBezTo>
                <a:lnTo>
                  <a:pt x="4262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5" name="Google Shape;375;p11"/>
          <p:cNvSpPr/>
          <p:nvPr/>
        </p:nvSpPr>
        <p:spPr>
          <a:xfrm>
            <a:off x="43496" y="4986379"/>
            <a:ext cx="772000" cy="601328"/>
          </a:xfrm>
          <a:custGeom>
            <a:avLst/>
            <a:gdLst/>
            <a:ahLst/>
            <a:cxnLst/>
            <a:rect l="l" t="t" r="r" b="b"/>
            <a:pathLst>
              <a:path w="3121" h="3216" extrusionOk="0">
                <a:moveTo>
                  <a:pt x="1825" y="1"/>
                </a:moveTo>
                <a:lnTo>
                  <a:pt x="1663" y="445"/>
                </a:lnTo>
                <a:lnTo>
                  <a:pt x="1595" y="380"/>
                </a:lnTo>
                <a:lnTo>
                  <a:pt x="1514" y="218"/>
                </a:lnTo>
                <a:lnTo>
                  <a:pt x="1420" y="95"/>
                </a:lnTo>
                <a:lnTo>
                  <a:pt x="1339" y="244"/>
                </a:lnTo>
                <a:lnTo>
                  <a:pt x="1229" y="150"/>
                </a:lnTo>
                <a:lnTo>
                  <a:pt x="1135" y="189"/>
                </a:lnTo>
                <a:lnTo>
                  <a:pt x="1109" y="406"/>
                </a:lnTo>
                <a:lnTo>
                  <a:pt x="1015" y="393"/>
                </a:lnTo>
                <a:lnTo>
                  <a:pt x="785" y="137"/>
                </a:lnTo>
                <a:lnTo>
                  <a:pt x="921" y="581"/>
                </a:lnTo>
                <a:lnTo>
                  <a:pt x="921" y="581"/>
                </a:lnTo>
                <a:lnTo>
                  <a:pt x="678" y="338"/>
                </a:lnTo>
                <a:lnTo>
                  <a:pt x="568" y="380"/>
                </a:lnTo>
                <a:lnTo>
                  <a:pt x="623" y="581"/>
                </a:lnTo>
                <a:lnTo>
                  <a:pt x="435" y="513"/>
                </a:lnTo>
                <a:lnTo>
                  <a:pt x="325" y="555"/>
                </a:lnTo>
                <a:lnTo>
                  <a:pt x="461" y="785"/>
                </a:lnTo>
                <a:lnTo>
                  <a:pt x="568" y="960"/>
                </a:lnTo>
                <a:lnTo>
                  <a:pt x="568" y="960"/>
                </a:lnTo>
                <a:lnTo>
                  <a:pt x="137" y="798"/>
                </a:lnTo>
                <a:lnTo>
                  <a:pt x="137" y="798"/>
                </a:lnTo>
                <a:lnTo>
                  <a:pt x="192" y="947"/>
                </a:lnTo>
                <a:lnTo>
                  <a:pt x="380" y="1135"/>
                </a:lnTo>
                <a:lnTo>
                  <a:pt x="14" y="1080"/>
                </a:lnTo>
                <a:lnTo>
                  <a:pt x="205" y="1242"/>
                </a:lnTo>
                <a:lnTo>
                  <a:pt x="231" y="1336"/>
                </a:lnTo>
                <a:lnTo>
                  <a:pt x="14" y="1404"/>
                </a:lnTo>
                <a:lnTo>
                  <a:pt x="338" y="1527"/>
                </a:lnTo>
                <a:lnTo>
                  <a:pt x="192" y="1595"/>
                </a:lnTo>
                <a:lnTo>
                  <a:pt x="1" y="1702"/>
                </a:lnTo>
                <a:lnTo>
                  <a:pt x="95" y="1783"/>
                </a:lnTo>
                <a:lnTo>
                  <a:pt x="150" y="1864"/>
                </a:lnTo>
                <a:lnTo>
                  <a:pt x="367" y="1903"/>
                </a:lnTo>
                <a:lnTo>
                  <a:pt x="192" y="2052"/>
                </a:lnTo>
                <a:lnTo>
                  <a:pt x="299" y="2107"/>
                </a:lnTo>
                <a:lnTo>
                  <a:pt x="111" y="2282"/>
                </a:lnTo>
                <a:lnTo>
                  <a:pt x="435" y="2214"/>
                </a:lnTo>
                <a:lnTo>
                  <a:pt x="367" y="2363"/>
                </a:lnTo>
                <a:lnTo>
                  <a:pt x="299" y="2538"/>
                </a:lnTo>
                <a:lnTo>
                  <a:pt x="299" y="2538"/>
                </a:lnTo>
                <a:lnTo>
                  <a:pt x="597" y="2405"/>
                </a:lnTo>
                <a:lnTo>
                  <a:pt x="649" y="2457"/>
                </a:lnTo>
                <a:lnTo>
                  <a:pt x="730" y="2486"/>
                </a:lnTo>
                <a:lnTo>
                  <a:pt x="811" y="2512"/>
                </a:lnTo>
                <a:lnTo>
                  <a:pt x="704" y="2810"/>
                </a:lnTo>
                <a:lnTo>
                  <a:pt x="879" y="2687"/>
                </a:lnTo>
                <a:lnTo>
                  <a:pt x="824" y="2985"/>
                </a:lnTo>
                <a:lnTo>
                  <a:pt x="1054" y="2700"/>
                </a:lnTo>
                <a:lnTo>
                  <a:pt x="1041" y="2972"/>
                </a:lnTo>
                <a:lnTo>
                  <a:pt x="1135" y="2985"/>
                </a:lnTo>
                <a:lnTo>
                  <a:pt x="1216" y="3053"/>
                </a:lnTo>
                <a:lnTo>
                  <a:pt x="1310" y="3079"/>
                </a:lnTo>
                <a:lnTo>
                  <a:pt x="1433" y="2891"/>
                </a:lnTo>
                <a:lnTo>
                  <a:pt x="1514" y="3215"/>
                </a:lnTo>
                <a:lnTo>
                  <a:pt x="1608" y="2998"/>
                </a:lnTo>
                <a:lnTo>
                  <a:pt x="1715" y="3134"/>
                </a:lnTo>
                <a:lnTo>
                  <a:pt x="1744" y="2742"/>
                </a:lnTo>
                <a:lnTo>
                  <a:pt x="1838" y="2810"/>
                </a:lnTo>
                <a:lnTo>
                  <a:pt x="1945" y="2875"/>
                </a:lnTo>
                <a:lnTo>
                  <a:pt x="1987" y="2742"/>
                </a:lnTo>
                <a:lnTo>
                  <a:pt x="2136" y="2862"/>
                </a:lnTo>
                <a:lnTo>
                  <a:pt x="2188" y="2781"/>
                </a:lnTo>
                <a:lnTo>
                  <a:pt x="2363" y="2862"/>
                </a:lnTo>
                <a:lnTo>
                  <a:pt x="2324" y="2661"/>
                </a:lnTo>
                <a:lnTo>
                  <a:pt x="2473" y="2687"/>
                </a:lnTo>
                <a:lnTo>
                  <a:pt x="2499" y="2580"/>
                </a:lnTo>
                <a:lnTo>
                  <a:pt x="2525" y="2486"/>
                </a:lnTo>
                <a:lnTo>
                  <a:pt x="2635" y="2457"/>
                </a:lnTo>
                <a:lnTo>
                  <a:pt x="2810" y="2470"/>
                </a:lnTo>
                <a:lnTo>
                  <a:pt x="2622" y="2227"/>
                </a:lnTo>
                <a:lnTo>
                  <a:pt x="2797" y="2227"/>
                </a:lnTo>
                <a:lnTo>
                  <a:pt x="2635" y="2065"/>
                </a:lnTo>
                <a:lnTo>
                  <a:pt x="2755" y="2026"/>
                </a:lnTo>
                <a:lnTo>
                  <a:pt x="2661" y="1903"/>
                </a:lnTo>
                <a:lnTo>
                  <a:pt x="2865" y="1864"/>
                </a:lnTo>
                <a:lnTo>
                  <a:pt x="2768" y="1770"/>
                </a:lnTo>
                <a:lnTo>
                  <a:pt x="2661" y="1676"/>
                </a:lnTo>
                <a:lnTo>
                  <a:pt x="2959" y="1595"/>
                </a:lnTo>
                <a:lnTo>
                  <a:pt x="2797" y="1514"/>
                </a:lnTo>
                <a:lnTo>
                  <a:pt x="3121" y="1391"/>
                </a:lnTo>
                <a:lnTo>
                  <a:pt x="2755" y="1352"/>
                </a:lnTo>
                <a:lnTo>
                  <a:pt x="2946" y="1216"/>
                </a:lnTo>
                <a:lnTo>
                  <a:pt x="2729" y="1190"/>
                </a:lnTo>
                <a:lnTo>
                  <a:pt x="2836" y="1054"/>
                </a:lnTo>
                <a:lnTo>
                  <a:pt x="2797" y="973"/>
                </a:lnTo>
                <a:lnTo>
                  <a:pt x="2784" y="866"/>
                </a:lnTo>
                <a:lnTo>
                  <a:pt x="2849" y="704"/>
                </a:lnTo>
                <a:lnTo>
                  <a:pt x="2554" y="798"/>
                </a:lnTo>
                <a:lnTo>
                  <a:pt x="2486" y="743"/>
                </a:lnTo>
                <a:lnTo>
                  <a:pt x="2606" y="500"/>
                </a:lnTo>
                <a:lnTo>
                  <a:pt x="2298" y="704"/>
                </a:lnTo>
                <a:lnTo>
                  <a:pt x="2337" y="526"/>
                </a:lnTo>
                <a:lnTo>
                  <a:pt x="2363" y="325"/>
                </a:lnTo>
                <a:lnTo>
                  <a:pt x="2311" y="202"/>
                </a:lnTo>
                <a:lnTo>
                  <a:pt x="2120" y="364"/>
                </a:lnTo>
                <a:lnTo>
                  <a:pt x="2055" y="299"/>
                </a:lnTo>
                <a:lnTo>
                  <a:pt x="1932" y="338"/>
                </a:lnTo>
                <a:lnTo>
                  <a:pt x="1851" y="338"/>
                </a:lnTo>
                <a:lnTo>
                  <a:pt x="1825" y="1"/>
                </a:ln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6" name="Google Shape;376;p11"/>
          <p:cNvSpPr/>
          <p:nvPr/>
        </p:nvSpPr>
        <p:spPr>
          <a:xfrm>
            <a:off x="-77718" y="5421775"/>
            <a:ext cx="6708033" cy="2011157"/>
          </a:xfrm>
          <a:custGeom>
            <a:avLst/>
            <a:gdLst/>
            <a:ahLst/>
            <a:cxnLst/>
            <a:rect l="l" t="t" r="r" b="b"/>
            <a:pathLst>
              <a:path w="27026" h="10756" extrusionOk="0">
                <a:moveTo>
                  <a:pt x="1" y="1"/>
                </a:moveTo>
                <a:lnTo>
                  <a:pt x="1" y="9261"/>
                </a:lnTo>
                <a:cubicBezTo>
                  <a:pt x="1660" y="9572"/>
                  <a:pt x="3390" y="9828"/>
                  <a:pt x="5185" y="10058"/>
                </a:cubicBezTo>
                <a:cubicBezTo>
                  <a:pt x="8967" y="10531"/>
                  <a:pt x="12535" y="10756"/>
                  <a:pt x="15642" y="10756"/>
                </a:cubicBezTo>
                <a:cubicBezTo>
                  <a:pt x="22197" y="10756"/>
                  <a:pt x="26701" y="9756"/>
                  <a:pt x="26838" y="7978"/>
                </a:cubicBezTo>
                <a:cubicBezTo>
                  <a:pt x="27026" y="5360"/>
                  <a:pt x="17646" y="2039"/>
                  <a:pt x="5872" y="555"/>
                </a:cubicBezTo>
                <a:cubicBezTo>
                  <a:pt x="3847" y="299"/>
                  <a:pt x="1877" y="121"/>
                  <a:pt x="1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7" name="Google Shape;377;p11"/>
          <p:cNvSpPr/>
          <p:nvPr/>
        </p:nvSpPr>
        <p:spPr>
          <a:xfrm>
            <a:off x="-77733" y="6026231"/>
            <a:ext cx="12435025" cy="1220559"/>
          </a:xfrm>
          <a:custGeom>
            <a:avLst/>
            <a:gdLst/>
            <a:ahLst/>
            <a:cxnLst/>
            <a:rect l="l" t="t" r="r" b="b"/>
            <a:pathLst>
              <a:path w="50179" h="7521" extrusionOk="0">
                <a:moveTo>
                  <a:pt x="23964" y="1"/>
                </a:moveTo>
                <a:cubicBezTo>
                  <a:pt x="14458" y="1"/>
                  <a:pt x="5927" y="529"/>
                  <a:pt x="1" y="1378"/>
                </a:cubicBezTo>
                <a:lnTo>
                  <a:pt x="1" y="7009"/>
                </a:lnTo>
                <a:cubicBezTo>
                  <a:pt x="1323" y="7197"/>
                  <a:pt x="2794" y="7372"/>
                  <a:pt x="4362" y="7521"/>
                </a:cubicBezTo>
                <a:lnTo>
                  <a:pt x="43566" y="7521"/>
                </a:lnTo>
                <a:cubicBezTo>
                  <a:pt x="46090" y="7278"/>
                  <a:pt x="48316" y="6983"/>
                  <a:pt x="50179" y="6643"/>
                </a:cubicBezTo>
                <a:lnTo>
                  <a:pt x="50179" y="1731"/>
                </a:lnTo>
                <a:cubicBezTo>
                  <a:pt x="44308" y="691"/>
                  <a:pt x="34750" y="1"/>
                  <a:pt x="23964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8" name="Google Shape;378;p11"/>
          <p:cNvSpPr/>
          <p:nvPr/>
        </p:nvSpPr>
        <p:spPr>
          <a:xfrm>
            <a:off x="7156538" y="6212605"/>
            <a:ext cx="4267892" cy="662096"/>
          </a:xfrm>
          <a:custGeom>
            <a:avLst/>
            <a:gdLst/>
            <a:ahLst/>
            <a:cxnLst/>
            <a:rect l="l" t="t" r="r" b="b"/>
            <a:pathLst>
              <a:path w="17254" h="3541" extrusionOk="0">
                <a:moveTo>
                  <a:pt x="7184" y="1"/>
                </a:moveTo>
                <a:cubicBezTo>
                  <a:pt x="7103" y="1"/>
                  <a:pt x="7009" y="124"/>
                  <a:pt x="6915" y="124"/>
                </a:cubicBezTo>
                <a:cubicBezTo>
                  <a:pt x="6834" y="124"/>
                  <a:pt x="6740" y="30"/>
                  <a:pt x="6643" y="30"/>
                </a:cubicBezTo>
                <a:cubicBezTo>
                  <a:pt x="6549" y="43"/>
                  <a:pt x="6468" y="150"/>
                  <a:pt x="6374" y="150"/>
                </a:cubicBezTo>
                <a:cubicBezTo>
                  <a:pt x="6297" y="150"/>
                  <a:pt x="6197" y="42"/>
                  <a:pt x="6106" y="42"/>
                </a:cubicBezTo>
                <a:cubicBezTo>
                  <a:pt x="6102" y="42"/>
                  <a:pt x="6097" y="42"/>
                  <a:pt x="6092" y="43"/>
                </a:cubicBezTo>
                <a:cubicBezTo>
                  <a:pt x="6011" y="43"/>
                  <a:pt x="5914" y="124"/>
                  <a:pt x="5833" y="124"/>
                </a:cubicBezTo>
                <a:cubicBezTo>
                  <a:pt x="5739" y="137"/>
                  <a:pt x="5658" y="179"/>
                  <a:pt x="5564" y="179"/>
                </a:cubicBezTo>
                <a:cubicBezTo>
                  <a:pt x="5554" y="180"/>
                  <a:pt x="5544" y="181"/>
                  <a:pt x="5534" y="181"/>
                </a:cubicBezTo>
                <a:cubicBezTo>
                  <a:pt x="5460" y="181"/>
                  <a:pt x="5387" y="148"/>
                  <a:pt x="5321" y="148"/>
                </a:cubicBezTo>
                <a:cubicBezTo>
                  <a:pt x="5312" y="148"/>
                  <a:pt x="5303" y="148"/>
                  <a:pt x="5295" y="150"/>
                </a:cubicBezTo>
                <a:cubicBezTo>
                  <a:pt x="5201" y="163"/>
                  <a:pt x="5104" y="163"/>
                  <a:pt x="5023" y="179"/>
                </a:cubicBezTo>
                <a:cubicBezTo>
                  <a:pt x="4941" y="179"/>
                  <a:pt x="4850" y="147"/>
                  <a:pt x="4774" y="147"/>
                </a:cubicBezTo>
                <a:cubicBezTo>
                  <a:pt x="4763" y="147"/>
                  <a:pt x="4752" y="148"/>
                  <a:pt x="4741" y="150"/>
                </a:cubicBezTo>
                <a:cubicBezTo>
                  <a:pt x="4647" y="150"/>
                  <a:pt x="4592" y="299"/>
                  <a:pt x="4498" y="312"/>
                </a:cubicBezTo>
                <a:cubicBezTo>
                  <a:pt x="4404" y="325"/>
                  <a:pt x="4323" y="341"/>
                  <a:pt x="4242" y="354"/>
                </a:cubicBezTo>
                <a:cubicBezTo>
                  <a:pt x="4235" y="355"/>
                  <a:pt x="4228" y="355"/>
                  <a:pt x="4220" y="355"/>
                </a:cubicBezTo>
                <a:cubicBezTo>
                  <a:pt x="4137" y="355"/>
                  <a:pt x="4036" y="298"/>
                  <a:pt x="3963" y="298"/>
                </a:cubicBezTo>
                <a:cubicBezTo>
                  <a:pt x="3956" y="298"/>
                  <a:pt x="3950" y="298"/>
                  <a:pt x="3944" y="299"/>
                </a:cubicBezTo>
                <a:cubicBezTo>
                  <a:pt x="3850" y="312"/>
                  <a:pt x="3756" y="341"/>
                  <a:pt x="3675" y="354"/>
                </a:cubicBezTo>
                <a:cubicBezTo>
                  <a:pt x="3581" y="380"/>
                  <a:pt x="3565" y="516"/>
                  <a:pt x="3484" y="542"/>
                </a:cubicBezTo>
                <a:cubicBezTo>
                  <a:pt x="3472" y="545"/>
                  <a:pt x="3459" y="547"/>
                  <a:pt x="3445" y="547"/>
                </a:cubicBezTo>
                <a:cubicBezTo>
                  <a:pt x="3366" y="547"/>
                  <a:pt x="3257" y="505"/>
                  <a:pt x="3190" y="505"/>
                </a:cubicBezTo>
                <a:cubicBezTo>
                  <a:pt x="3172" y="505"/>
                  <a:pt x="3157" y="508"/>
                  <a:pt x="3147" y="516"/>
                </a:cubicBezTo>
                <a:cubicBezTo>
                  <a:pt x="3053" y="568"/>
                  <a:pt x="3053" y="678"/>
                  <a:pt x="3053" y="730"/>
                </a:cubicBezTo>
                <a:cubicBezTo>
                  <a:pt x="3053" y="785"/>
                  <a:pt x="3108" y="840"/>
                  <a:pt x="3176" y="879"/>
                </a:cubicBezTo>
                <a:cubicBezTo>
                  <a:pt x="3228" y="921"/>
                  <a:pt x="3322" y="947"/>
                  <a:pt x="3403" y="973"/>
                </a:cubicBezTo>
                <a:cubicBezTo>
                  <a:pt x="3309" y="989"/>
                  <a:pt x="3189" y="1002"/>
                  <a:pt x="3108" y="1002"/>
                </a:cubicBezTo>
                <a:cubicBezTo>
                  <a:pt x="3100" y="1003"/>
                  <a:pt x="3091" y="1004"/>
                  <a:pt x="3083" y="1004"/>
                </a:cubicBezTo>
                <a:cubicBezTo>
                  <a:pt x="3005" y="1004"/>
                  <a:pt x="2925" y="958"/>
                  <a:pt x="2848" y="958"/>
                </a:cubicBezTo>
                <a:cubicBezTo>
                  <a:pt x="2839" y="958"/>
                  <a:pt x="2831" y="959"/>
                  <a:pt x="2823" y="960"/>
                </a:cubicBezTo>
                <a:cubicBezTo>
                  <a:pt x="2729" y="960"/>
                  <a:pt x="2661" y="1070"/>
                  <a:pt x="2567" y="1083"/>
                </a:cubicBezTo>
                <a:cubicBezTo>
                  <a:pt x="2486" y="1083"/>
                  <a:pt x="2379" y="989"/>
                  <a:pt x="2285" y="989"/>
                </a:cubicBezTo>
                <a:cubicBezTo>
                  <a:pt x="2204" y="1002"/>
                  <a:pt x="2107" y="1002"/>
                  <a:pt x="2013" y="1015"/>
                </a:cubicBezTo>
                <a:cubicBezTo>
                  <a:pt x="1932" y="1028"/>
                  <a:pt x="1851" y="1096"/>
                  <a:pt x="1770" y="1096"/>
                </a:cubicBezTo>
                <a:cubicBezTo>
                  <a:pt x="1756" y="1098"/>
                  <a:pt x="1742" y="1099"/>
                  <a:pt x="1728" y="1099"/>
                </a:cubicBezTo>
                <a:cubicBezTo>
                  <a:pt x="1659" y="1099"/>
                  <a:pt x="1587" y="1080"/>
                  <a:pt x="1525" y="1080"/>
                </a:cubicBezTo>
                <a:cubicBezTo>
                  <a:pt x="1512" y="1080"/>
                  <a:pt x="1500" y="1081"/>
                  <a:pt x="1488" y="1083"/>
                </a:cubicBezTo>
                <a:cubicBezTo>
                  <a:pt x="1394" y="1096"/>
                  <a:pt x="1313" y="1151"/>
                  <a:pt x="1232" y="1164"/>
                </a:cubicBezTo>
                <a:cubicBezTo>
                  <a:pt x="1183" y="1170"/>
                  <a:pt x="1135" y="1170"/>
                  <a:pt x="1090" y="1170"/>
                </a:cubicBezTo>
                <a:cubicBezTo>
                  <a:pt x="1044" y="1170"/>
                  <a:pt x="1000" y="1170"/>
                  <a:pt x="960" y="1177"/>
                </a:cubicBezTo>
                <a:cubicBezTo>
                  <a:pt x="866" y="1190"/>
                  <a:pt x="811" y="1284"/>
                  <a:pt x="730" y="1313"/>
                </a:cubicBezTo>
                <a:cubicBezTo>
                  <a:pt x="636" y="1326"/>
                  <a:pt x="568" y="1365"/>
                  <a:pt x="503" y="1394"/>
                </a:cubicBezTo>
                <a:cubicBezTo>
                  <a:pt x="474" y="1406"/>
                  <a:pt x="441" y="1409"/>
                  <a:pt x="407" y="1409"/>
                </a:cubicBezTo>
                <a:cubicBezTo>
                  <a:pt x="363" y="1409"/>
                  <a:pt x="317" y="1403"/>
                  <a:pt x="279" y="1403"/>
                </a:cubicBezTo>
                <a:cubicBezTo>
                  <a:pt x="248" y="1403"/>
                  <a:pt x="222" y="1407"/>
                  <a:pt x="205" y="1420"/>
                </a:cubicBezTo>
                <a:cubicBezTo>
                  <a:pt x="124" y="1475"/>
                  <a:pt x="1" y="1556"/>
                  <a:pt x="1" y="1608"/>
                </a:cubicBezTo>
                <a:cubicBezTo>
                  <a:pt x="1" y="1663"/>
                  <a:pt x="98" y="1770"/>
                  <a:pt x="192" y="1825"/>
                </a:cubicBezTo>
                <a:cubicBezTo>
                  <a:pt x="260" y="1851"/>
                  <a:pt x="380" y="1851"/>
                  <a:pt x="474" y="1893"/>
                </a:cubicBezTo>
                <a:cubicBezTo>
                  <a:pt x="490" y="1898"/>
                  <a:pt x="508" y="1900"/>
                  <a:pt x="527" y="1900"/>
                </a:cubicBezTo>
                <a:cubicBezTo>
                  <a:pt x="582" y="1900"/>
                  <a:pt x="646" y="1884"/>
                  <a:pt x="706" y="1884"/>
                </a:cubicBezTo>
                <a:cubicBezTo>
                  <a:pt x="729" y="1884"/>
                  <a:pt x="751" y="1887"/>
                  <a:pt x="772" y="1893"/>
                </a:cubicBezTo>
                <a:cubicBezTo>
                  <a:pt x="853" y="1919"/>
                  <a:pt x="921" y="1945"/>
                  <a:pt x="1015" y="1974"/>
                </a:cubicBezTo>
                <a:cubicBezTo>
                  <a:pt x="1109" y="1987"/>
                  <a:pt x="1164" y="2094"/>
                  <a:pt x="1258" y="2107"/>
                </a:cubicBezTo>
                <a:cubicBezTo>
                  <a:pt x="1270" y="2109"/>
                  <a:pt x="1282" y="2110"/>
                  <a:pt x="1295" y="2110"/>
                </a:cubicBezTo>
                <a:cubicBezTo>
                  <a:pt x="1369" y="2110"/>
                  <a:pt x="1449" y="2079"/>
                  <a:pt x="1524" y="2079"/>
                </a:cubicBezTo>
                <a:cubicBezTo>
                  <a:pt x="1535" y="2079"/>
                  <a:pt x="1545" y="2080"/>
                  <a:pt x="1556" y="2081"/>
                </a:cubicBezTo>
                <a:cubicBezTo>
                  <a:pt x="1637" y="2081"/>
                  <a:pt x="1718" y="2149"/>
                  <a:pt x="1812" y="2149"/>
                </a:cubicBezTo>
                <a:cubicBezTo>
                  <a:pt x="1825" y="2151"/>
                  <a:pt x="1839" y="2152"/>
                  <a:pt x="1852" y="2152"/>
                </a:cubicBezTo>
                <a:cubicBezTo>
                  <a:pt x="1933" y="2152"/>
                  <a:pt x="2013" y="2123"/>
                  <a:pt x="2094" y="2123"/>
                </a:cubicBezTo>
                <a:cubicBezTo>
                  <a:pt x="2188" y="2136"/>
                  <a:pt x="2269" y="2230"/>
                  <a:pt x="2366" y="2230"/>
                </a:cubicBezTo>
                <a:cubicBezTo>
                  <a:pt x="2447" y="2243"/>
                  <a:pt x="2541" y="2269"/>
                  <a:pt x="2635" y="2269"/>
                </a:cubicBezTo>
                <a:cubicBezTo>
                  <a:pt x="2645" y="2271"/>
                  <a:pt x="2655" y="2271"/>
                  <a:pt x="2665" y="2271"/>
                </a:cubicBezTo>
                <a:cubicBezTo>
                  <a:pt x="2749" y="2271"/>
                  <a:pt x="2833" y="2217"/>
                  <a:pt x="2917" y="2217"/>
                </a:cubicBezTo>
                <a:cubicBezTo>
                  <a:pt x="3014" y="2217"/>
                  <a:pt x="3160" y="2230"/>
                  <a:pt x="3257" y="2230"/>
                </a:cubicBezTo>
                <a:cubicBezTo>
                  <a:pt x="3176" y="2269"/>
                  <a:pt x="3027" y="2324"/>
                  <a:pt x="3027" y="2379"/>
                </a:cubicBezTo>
                <a:cubicBezTo>
                  <a:pt x="3027" y="2418"/>
                  <a:pt x="3014" y="2447"/>
                  <a:pt x="3095" y="2486"/>
                </a:cubicBezTo>
                <a:cubicBezTo>
                  <a:pt x="2998" y="2486"/>
                  <a:pt x="3014" y="2554"/>
                  <a:pt x="2917" y="2554"/>
                </a:cubicBezTo>
                <a:cubicBezTo>
                  <a:pt x="2829" y="2554"/>
                  <a:pt x="2741" y="2472"/>
                  <a:pt x="2653" y="2472"/>
                </a:cubicBezTo>
                <a:cubicBezTo>
                  <a:pt x="2647" y="2472"/>
                  <a:pt x="2641" y="2472"/>
                  <a:pt x="2635" y="2473"/>
                </a:cubicBezTo>
                <a:cubicBezTo>
                  <a:pt x="2541" y="2473"/>
                  <a:pt x="2460" y="2609"/>
                  <a:pt x="2379" y="2609"/>
                </a:cubicBezTo>
                <a:cubicBezTo>
                  <a:pt x="2285" y="2609"/>
                  <a:pt x="2175" y="2554"/>
                  <a:pt x="2081" y="2554"/>
                </a:cubicBezTo>
                <a:cubicBezTo>
                  <a:pt x="2061" y="2557"/>
                  <a:pt x="2041" y="2558"/>
                  <a:pt x="2021" y="2558"/>
                </a:cubicBezTo>
                <a:cubicBezTo>
                  <a:pt x="1967" y="2558"/>
                  <a:pt x="1914" y="2550"/>
                  <a:pt x="1865" y="2550"/>
                </a:cubicBezTo>
                <a:cubicBezTo>
                  <a:pt x="1847" y="2550"/>
                  <a:pt x="1829" y="2551"/>
                  <a:pt x="1812" y="2554"/>
                </a:cubicBezTo>
                <a:cubicBezTo>
                  <a:pt x="1718" y="2554"/>
                  <a:pt x="1621" y="2609"/>
                  <a:pt x="1540" y="2609"/>
                </a:cubicBezTo>
                <a:cubicBezTo>
                  <a:pt x="1531" y="2610"/>
                  <a:pt x="1523" y="2611"/>
                  <a:pt x="1514" y="2611"/>
                </a:cubicBezTo>
                <a:cubicBezTo>
                  <a:pt x="1434" y="2611"/>
                  <a:pt x="1339" y="2565"/>
                  <a:pt x="1267" y="2565"/>
                </a:cubicBezTo>
                <a:cubicBezTo>
                  <a:pt x="1259" y="2565"/>
                  <a:pt x="1252" y="2566"/>
                  <a:pt x="1245" y="2567"/>
                </a:cubicBezTo>
                <a:cubicBezTo>
                  <a:pt x="1151" y="2580"/>
                  <a:pt x="1096" y="2729"/>
                  <a:pt x="1015" y="2742"/>
                </a:cubicBezTo>
                <a:cubicBezTo>
                  <a:pt x="981" y="2752"/>
                  <a:pt x="944" y="2755"/>
                  <a:pt x="908" y="2755"/>
                </a:cubicBezTo>
                <a:cubicBezTo>
                  <a:pt x="865" y="2755"/>
                  <a:pt x="822" y="2751"/>
                  <a:pt x="782" y="2751"/>
                </a:cubicBezTo>
                <a:cubicBezTo>
                  <a:pt x="764" y="2751"/>
                  <a:pt x="746" y="2752"/>
                  <a:pt x="730" y="2755"/>
                </a:cubicBezTo>
                <a:cubicBezTo>
                  <a:pt x="636" y="2784"/>
                  <a:pt x="597" y="2865"/>
                  <a:pt x="529" y="2891"/>
                </a:cubicBezTo>
                <a:cubicBezTo>
                  <a:pt x="422" y="2946"/>
                  <a:pt x="231" y="2933"/>
                  <a:pt x="231" y="2985"/>
                </a:cubicBezTo>
                <a:cubicBezTo>
                  <a:pt x="231" y="3040"/>
                  <a:pt x="354" y="3108"/>
                  <a:pt x="448" y="3147"/>
                </a:cubicBezTo>
                <a:cubicBezTo>
                  <a:pt x="516" y="3189"/>
                  <a:pt x="597" y="3215"/>
                  <a:pt x="691" y="3241"/>
                </a:cubicBezTo>
                <a:cubicBezTo>
                  <a:pt x="700" y="3243"/>
                  <a:pt x="709" y="3243"/>
                  <a:pt x="718" y="3243"/>
                </a:cubicBezTo>
                <a:cubicBezTo>
                  <a:pt x="790" y="3243"/>
                  <a:pt x="882" y="3200"/>
                  <a:pt x="963" y="3200"/>
                </a:cubicBezTo>
                <a:cubicBezTo>
                  <a:pt x="972" y="3200"/>
                  <a:pt x="980" y="3201"/>
                  <a:pt x="989" y="3202"/>
                </a:cubicBezTo>
                <a:cubicBezTo>
                  <a:pt x="1054" y="3215"/>
                  <a:pt x="1109" y="3322"/>
                  <a:pt x="1203" y="3338"/>
                </a:cubicBezTo>
                <a:cubicBezTo>
                  <a:pt x="1284" y="3351"/>
                  <a:pt x="1365" y="3377"/>
                  <a:pt x="1459" y="3390"/>
                </a:cubicBezTo>
                <a:cubicBezTo>
                  <a:pt x="1475" y="3392"/>
                  <a:pt x="1492" y="3393"/>
                  <a:pt x="1509" y="3393"/>
                </a:cubicBezTo>
                <a:cubicBezTo>
                  <a:pt x="1578" y="3393"/>
                  <a:pt x="1656" y="3377"/>
                  <a:pt x="1731" y="3377"/>
                </a:cubicBezTo>
                <a:cubicBezTo>
                  <a:pt x="1812" y="3390"/>
                  <a:pt x="1893" y="3471"/>
                  <a:pt x="1987" y="3484"/>
                </a:cubicBezTo>
                <a:cubicBezTo>
                  <a:pt x="2068" y="3484"/>
                  <a:pt x="2162" y="3432"/>
                  <a:pt x="2256" y="3432"/>
                </a:cubicBezTo>
                <a:cubicBezTo>
                  <a:pt x="2337" y="3432"/>
                  <a:pt x="2431" y="3419"/>
                  <a:pt x="2512" y="3419"/>
                </a:cubicBezTo>
                <a:cubicBezTo>
                  <a:pt x="2609" y="3432"/>
                  <a:pt x="2690" y="3526"/>
                  <a:pt x="2771" y="3526"/>
                </a:cubicBezTo>
                <a:cubicBezTo>
                  <a:pt x="2865" y="3526"/>
                  <a:pt x="2946" y="3513"/>
                  <a:pt x="3040" y="3513"/>
                </a:cubicBezTo>
                <a:cubicBezTo>
                  <a:pt x="3121" y="3513"/>
                  <a:pt x="3215" y="3539"/>
                  <a:pt x="3309" y="3539"/>
                </a:cubicBezTo>
                <a:cubicBezTo>
                  <a:pt x="3390" y="3539"/>
                  <a:pt x="3484" y="3500"/>
                  <a:pt x="3565" y="3500"/>
                </a:cubicBezTo>
                <a:lnTo>
                  <a:pt x="3837" y="3500"/>
                </a:lnTo>
                <a:cubicBezTo>
                  <a:pt x="3931" y="3500"/>
                  <a:pt x="4012" y="3458"/>
                  <a:pt x="4093" y="3458"/>
                </a:cubicBezTo>
                <a:cubicBezTo>
                  <a:pt x="4181" y="3458"/>
                  <a:pt x="4269" y="3540"/>
                  <a:pt x="4346" y="3540"/>
                </a:cubicBezTo>
                <a:cubicBezTo>
                  <a:pt x="4351" y="3540"/>
                  <a:pt x="4356" y="3540"/>
                  <a:pt x="4362" y="3539"/>
                </a:cubicBezTo>
                <a:cubicBezTo>
                  <a:pt x="4456" y="3539"/>
                  <a:pt x="4537" y="3403"/>
                  <a:pt x="4618" y="3403"/>
                </a:cubicBezTo>
                <a:cubicBezTo>
                  <a:pt x="4626" y="3402"/>
                  <a:pt x="4635" y="3401"/>
                  <a:pt x="4643" y="3401"/>
                </a:cubicBezTo>
                <a:cubicBezTo>
                  <a:pt x="4731" y="3401"/>
                  <a:pt x="4816" y="3458"/>
                  <a:pt x="4890" y="3458"/>
                </a:cubicBezTo>
                <a:cubicBezTo>
                  <a:pt x="4984" y="3445"/>
                  <a:pt x="5052" y="3364"/>
                  <a:pt x="5146" y="3364"/>
                </a:cubicBezTo>
                <a:cubicBezTo>
                  <a:pt x="5150" y="3363"/>
                  <a:pt x="5155" y="3363"/>
                  <a:pt x="5160" y="3363"/>
                </a:cubicBezTo>
                <a:cubicBezTo>
                  <a:pt x="5239" y="3363"/>
                  <a:pt x="5339" y="3458"/>
                  <a:pt x="5428" y="3458"/>
                </a:cubicBezTo>
                <a:cubicBezTo>
                  <a:pt x="5509" y="3445"/>
                  <a:pt x="5577" y="3309"/>
                  <a:pt x="5658" y="3296"/>
                </a:cubicBezTo>
                <a:cubicBezTo>
                  <a:pt x="5733" y="3296"/>
                  <a:pt x="5810" y="3312"/>
                  <a:pt x="5879" y="3312"/>
                </a:cubicBezTo>
                <a:cubicBezTo>
                  <a:pt x="5897" y="3312"/>
                  <a:pt x="5914" y="3311"/>
                  <a:pt x="5930" y="3309"/>
                </a:cubicBezTo>
                <a:cubicBezTo>
                  <a:pt x="5938" y="3308"/>
                  <a:pt x="5946" y="3307"/>
                  <a:pt x="5955" y="3307"/>
                </a:cubicBezTo>
                <a:cubicBezTo>
                  <a:pt x="6034" y="3307"/>
                  <a:pt x="6120" y="3353"/>
                  <a:pt x="6190" y="3353"/>
                </a:cubicBezTo>
                <a:cubicBezTo>
                  <a:pt x="6197" y="3353"/>
                  <a:pt x="6205" y="3352"/>
                  <a:pt x="6212" y="3351"/>
                </a:cubicBezTo>
                <a:cubicBezTo>
                  <a:pt x="6306" y="3338"/>
                  <a:pt x="6335" y="3189"/>
                  <a:pt x="6400" y="3160"/>
                </a:cubicBezTo>
                <a:cubicBezTo>
                  <a:pt x="6510" y="3134"/>
                  <a:pt x="6578" y="3121"/>
                  <a:pt x="6643" y="3095"/>
                </a:cubicBezTo>
                <a:cubicBezTo>
                  <a:pt x="6740" y="3053"/>
                  <a:pt x="6847" y="3040"/>
                  <a:pt x="6847" y="2985"/>
                </a:cubicBezTo>
                <a:cubicBezTo>
                  <a:pt x="6847" y="2946"/>
                  <a:pt x="6847" y="2917"/>
                  <a:pt x="6766" y="2865"/>
                </a:cubicBezTo>
                <a:cubicBezTo>
                  <a:pt x="6860" y="2865"/>
                  <a:pt x="6886" y="2836"/>
                  <a:pt x="6983" y="2836"/>
                </a:cubicBezTo>
                <a:cubicBezTo>
                  <a:pt x="7077" y="2836"/>
                  <a:pt x="7171" y="2852"/>
                  <a:pt x="7265" y="2852"/>
                </a:cubicBezTo>
                <a:cubicBezTo>
                  <a:pt x="7359" y="2836"/>
                  <a:pt x="7440" y="2771"/>
                  <a:pt x="7534" y="2771"/>
                </a:cubicBezTo>
                <a:cubicBezTo>
                  <a:pt x="7631" y="2771"/>
                  <a:pt x="7725" y="2836"/>
                  <a:pt x="7819" y="2836"/>
                </a:cubicBezTo>
                <a:cubicBezTo>
                  <a:pt x="7836" y="2833"/>
                  <a:pt x="7853" y="2833"/>
                  <a:pt x="7870" y="2833"/>
                </a:cubicBezTo>
                <a:cubicBezTo>
                  <a:pt x="7947" y="2833"/>
                  <a:pt x="8024" y="2852"/>
                  <a:pt x="8101" y="2852"/>
                </a:cubicBezTo>
                <a:cubicBezTo>
                  <a:pt x="8198" y="2836"/>
                  <a:pt x="8263" y="2742"/>
                  <a:pt x="8360" y="2729"/>
                </a:cubicBezTo>
                <a:cubicBezTo>
                  <a:pt x="8380" y="2726"/>
                  <a:pt x="8400" y="2725"/>
                  <a:pt x="8419" y="2725"/>
                </a:cubicBezTo>
                <a:cubicBezTo>
                  <a:pt x="8474" y="2725"/>
                  <a:pt x="8528" y="2733"/>
                  <a:pt x="8582" y="2733"/>
                </a:cubicBezTo>
                <a:cubicBezTo>
                  <a:pt x="8602" y="2733"/>
                  <a:pt x="8622" y="2732"/>
                  <a:pt x="8642" y="2729"/>
                </a:cubicBezTo>
                <a:cubicBezTo>
                  <a:pt x="8736" y="2716"/>
                  <a:pt x="8830" y="2703"/>
                  <a:pt x="8911" y="2690"/>
                </a:cubicBezTo>
                <a:cubicBezTo>
                  <a:pt x="9008" y="2674"/>
                  <a:pt x="9060" y="2567"/>
                  <a:pt x="9141" y="2554"/>
                </a:cubicBezTo>
                <a:cubicBezTo>
                  <a:pt x="9235" y="2528"/>
                  <a:pt x="9303" y="2486"/>
                  <a:pt x="9358" y="2460"/>
                </a:cubicBezTo>
                <a:cubicBezTo>
                  <a:pt x="9465" y="2405"/>
                  <a:pt x="9559" y="2431"/>
                  <a:pt x="9559" y="2379"/>
                </a:cubicBezTo>
                <a:cubicBezTo>
                  <a:pt x="9559" y="2371"/>
                  <a:pt x="9562" y="2368"/>
                  <a:pt x="9566" y="2368"/>
                </a:cubicBezTo>
                <a:cubicBezTo>
                  <a:pt x="9575" y="2368"/>
                  <a:pt x="9590" y="2382"/>
                  <a:pt x="9590" y="2382"/>
                </a:cubicBezTo>
                <a:cubicBezTo>
                  <a:pt x="9590" y="2382"/>
                  <a:pt x="9590" y="2381"/>
                  <a:pt x="9588" y="2379"/>
                </a:cubicBezTo>
                <a:cubicBezTo>
                  <a:pt x="9669" y="2379"/>
                  <a:pt x="9750" y="2366"/>
                  <a:pt x="9844" y="2366"/>
                </a:cubicBezTo>
                <a:cubicBezTo>
                  <a:pt x="9848" y="2367"/>
                  <a:pt x="9853" y="2367"/>
                  <a:pt x="9858" y="2367"/>
                </a:cubicBezTo>
                <a:cubicBezTo>
                  <a:pt x="9931" y="2367"/>
                  <a:pt x="10022" y="2283"/>
                  <a:pt x="10106" y="2283"/>
                </a:cubicBezTo>
                <a:cubicBezTo>
                  <a:pt x="10113" y="2283"/>
                  <a:pt x="10119" y="2284"/>
                  <a:pt x="10126" y="2285"/>
                </a:cubicBezTo>
                <a:cubicBezTo>
                  <a:pt x="10207" y="2285"/>
                  <a:pt x="10288" y="2431"/>
                  <a:pt x="10385" y="2431"/>
                </a:cubicBezTo>
                <a:cubicBezTo>
                  <a:pt x="10479" y="2431"/>
                  <a:pt x="10612" y="2311"/>
                  <a:pt x="10693" y="2311"/>
                </a:cubicBezTo>
                <a:cubicBezTo>
                  <a:pt x="10680" y="2324"/>
                  <a:pt x="10748" y="2405"/>
                  <a:pt x="10748" y="2418"/>
                </a:cubicBezTo>
                <a:cubicBezTo>
                  <a:pt x="10748" y="2473"/>
                  <a:pt x="10693" y="2528"/>
                  <a:pt x="10790" y="2580"/>
                </a:cubicBezTo>
                <a:cubicBezTo>
                  <a:pt x="10855" y="2609"/>
                  <a:pt x="10923" y="2661"/>
                  <a:pt x="11017" y="2690"/>
                </a:cubicBezTo>
                <a:cubicBezTo>
                  <a:pt x="11098" y="2703"/>
                  <a:pt x="11166" y="2755"/>
                  <a:pt x="11260" y="2771"/>
                </a:cubicBezTo>
                <a:cubicBezTo>
                  <a:pt x="11264" y="2772"/>
                  <a:pt x="11269" y="2772"/>
                  <a:pt x="11274" y="2772"/>
                </a:cubicBezTo>
                <a:cubicBezTo>
                  <a:pt x="11348" y="2772"/>
                  <a:pt x="11453" y="2688"/>
                  <a:pt x="11538" y="2688"/>
                </a:cubicBezTo>
                <a:cubicBezTo>
                  <a:pt x="11545" y="2688"/>
                  <a:pt x="11551" y="2689"/>
                  <a:pt x="11558" y="2690"/>
                </a:cubicBezTo>
                <a:cubicBezTo>
                  <a:pt x="11639" y="2703"/>
                  <a:pt x="11707" y="2810"/>
                  <a:pt x="11788" y="2823"/>
                </a:cubicBezTo>
                <a:cubicBezTo>
                  <a:pt x="11795" y="2824"/>
                  <a:pt x="11802" y="2824"/>
                  <a:pt x="11809" y="2824"/>
                </a:cubicBezTo>
                <a:cubicBezTo>
                  <a:pt x="11887" y="2824"/>
                  <a:pt x="11966" y="2769"/>
                  <a:pt x="12044" y="2769"/>
                </a:cubicBezTo>
                <a:cubicBezTo>
                  <a:pt x="12052" y="2769"/>
                  <a:pt x="12061" y="2770"/>
                  <a:pt x="12070" y="2771"/>
                </a:cubicBezTo>
                <a:cubicBezTo>
                  <a:pt x="12151" y="2784"/>
                  <a:pt x="12232" y="2865"/>
                  <a:pt x="12313" y="2878"/>
                </a:cubicBezTo>
                <a:cubicBezTo>
                  <a:pt x="12410" y="2878"/>
                  <a:pt x="12491" y="2946"/>
                  <a:pt x="12572" y="2946"/>
                </a:cubicBezTo>
                <a:cubicBezTo>
                  <a:pt x="12576" y="2947"/>
                  <a:pt x="12580" y="2947"/>
                  <a:pt x="12585" y="2947"/>
                </a:cubicBezTo>
                <a:cubicBezTo>
                  <a:pt x="12674" y="2947"/>
                  <a:pt x="12764" y="2823"/>
                  <a:pt x="12854" y="2823"/>
                </a:cubicBezTo>
                <a:cubicBezTo>
                  <a:pt x="12935" y="2836"/>
                  <a:pt x="13016" y="2904"/>
                  <a:pt x="13110" y="2917"/>
                </a:cubicBezTo>
                <a:cubicBezTo>
                  <a:pt x="13191" y="2917"/>
                  <a:pt x="13285" y="2959"/>
                  <a:pt x="13366" y="2959"/>
                </a:cubicBezTo>
                <a:cubicBezTo>
                  <a:pt x="13454" y="2959"/>
                  <a:pt x="13530" y="2902"/>
                  <a:pt x="13614" y="2902"/>
                </a:cubicBezTo>
                <a:cubicBezTo>
                  <a:pt x="13622" y="2902"/>
                  <a:pt x="13630" y="2903"/>
                  <a:pt x="13638" y="2904"/>
                </a:cubicBezTo>
                <a:cubicBezTo>
                  <a:pt x="13719" y="2904"/>
                  <a:pt x="13813" y="2946"/>
                  <a:pt x="13907" y="2946"/>
                </a:cubicBezTo>
                <a:cubicBezTo>
                  <a:pt x="13988" y="2946"/>
                  <a:pt x="14082" y="2985"/>
                  <a:pt x="14163" y="2985"/>
                </a:cubicBezTo>
                <a:cubicBezTo>
                  <a:pt x="14257" y="2985"/>
                  <a:pt x="14338" y="2852"/>
                  <a:pt x="14419" y="2836"/>
                </a:cubicBezTo>
                <a:cubicBezTo>
                  <a:pt x="14506" y="2836"/>
                  <a:pt x="14590" y="2880"/>
                  <a:pt x="14665" y="2880"/>
                </a:cubicBezTo>
                <a:cubicBezTo>
                  <a:pt x="14674" y="2880"/>
                  <a:pt x="14682" y="2879"/>
                  <a:pt x="14691" y="2878"/>
                </a:cubicBezTo>
                <a:cubicBezTo>
                  <a:pt x="14785" y="2878"/>
                  <a:pt x="14879" y="2917"/>
                  <a:pt x="14960" y="2917"/>
                </a:cubicBezTo>
                <a:cubicBezTo>
                  <a:pt x="15054" y="2904"/>
                  <a:pt x="15122" y="2823"/>
                  <a:pt x="15216" y="2823"/>
                </a:cubicBezTo>
                <a:cubicBezTo>
                  <a:pt x="15297" y="2810"/>
                  <a:pt x="15391" y="2810"/>
                  <a:pt x="15472" y="2810"/>
                </a:cubicBezTo>
                <a:cubicBezTo>
                  <a:pt x="15491" y="2807"/>
                  <a:pt x="15510" y="2806"/>
                  <a:pt x="15530" y="2806"/>
                </a:cubicBezTo>
                <a:cubicBezTo>
                  <a:pt x="15606" y="2806"/>
                  <a:pt x="15679" y="2823"/>
                  <a:pt x="15744" y="2823"/>
                </a:cubicBezTo>
                <a:cubicBezTo>
                  <a:pt x="15754" y="2822"/>
                  <a:pt x="15764" y="2821"/>
                  <a:pt x="15773" y="2821"/>
                </a:cubicBezTo>
                <a:cubicBezTo>
                  <a:pt x="15857" y="2821"/>
                  <a:pt x="15940" y="2865"/>
                  <a:pt x="16013" y="2865"/>
                </a:cubicBezTo>
                <a:cubicBezTo>
                  <a:pt x="16107" y="2852"/>
                  <a:pt x="16175" y="2755"/>
                  <a:pt x="16256" y="2742"/>
                </a:cubicBezTo>
                <a:cubicBezTo>
                  <a:pt x="16350" y="2729"/>
                  <a:pt x="16418" y="2674"/>
                  <a:pt x="16499" y="2661"/>
                </a:cubicBezTo>
                <a:cubicBezTo>
                  <a:pt x="16525" y="2654"/>
                  <a:pt x="16551" y="2651"/>
                  <a:pt x="16576" y="2651"/>
                </a:cubicBezTo>
                <a:cubicBezTo>
                  <a:pt x="16618" y="2651"/>
                  <a:pt x="16659" y="2657"/>
                  <a:pt x="16698" y="2657"/>
                </a:cubicBezTo>
                <a:cubicBezTo>
                  <a:pt x="16722" y="2657"/>
                  <a:pt x="16745" y="2655"/>
                  <a:pt x="16768" y="2648"/>
                </a:cubicBezTo>
                <a:cubicBezTo>
                  <a:pt x="16816" y="2635"/>
                  <a:pt x="16871" y="2635"/>
                  <a:pt x="16920" y="2635"/>
                </a:cubicBezTo>
                <a:cubicBezTo>
                  <a:pt x="16969" y="2635"/>
                  <a:pt x="17012" y="2635"/>
                  <a:pt x="17040" y="2622"/>
                </a:cubicBezTo>
                <a:cubicBezTo>
                  <a:pt x="17147" y="2567"/>
                  <a:pt x="17254" y="2473"/>
                  <a:pt x="17254" y="2418"/>
                </a:cubicBezTo>
                <a:cubicBezTo>
                  <a:pt x="17254" y="2379"/>
                  <a:pt x="17147" y="2285"/>
                  <a:pt x="17053" y="2243"/>
                </a:cubicBezTo>
                <a:cubicBezTo>
                  <a:pt x="16985" y="2217"/>
                  <a:pt x="16904" y="2175"/>
                  <a:pt x="16810" y="2149"/>
                </a:cubicBezTo>
                <a:cubicBezTo>
                  <a:pt x="16796" y="2144"/>
                  <a:pt x="16780" y="2142"/>
                  <a:pt x="16762" y="2142"/>
                </a:cubicBezTo>
                <a:cubicBezTo>
                  <a:pt x="16704" y="2142"/>
                  <a:pt x="16630" y="2164"/>
                  <a:pt x="16570" y="2164"/>
                </a:cubicBezTo>
                <a:cubicBezTo>
                  <a:pt x="16560" y="2164"/>
                  <a:pt x="16550" y="2163"/>
                  <a:pt x="16541" y="2162"/>
                </a:cubicBezTo>
                <a:cubicBezTo>
                  <a:pt x="16460" y="2149"/>
                  <a:pt x="16379" y="2136"/>
                  <a:pt x="16298" y="2123"/>
                </a:cubicBezTo>
                <a:cubicBezTo>
                  <a:pt x="16217" y="2107"/>
                  <a:pt x="16136" y="2068"/>
                  <a:pt x="16055" y="2055"/>
                </a:cubicBezTo>
                <a:cubicBezTo>
                  <a:pt x="16046" y="2054"/>
                  <a:pt x="16036" y="2053"/>
                  <a:pt x="16027" y="2053"/>
                </a:cubicBezTo>
                <a:cubicBezTo>
                  <a:pt x="15962" y="2053"/>
                  <a:pt x="15888" y="2083"/>
                  <a:pt x="15815" y="2083"/>
                </a:cubicBezTo>
                <a:cubicBezTo>
                  <a:pt x="15804" y="2083"/>
                  <a:pt x="15793" y="2082"/>
                  <a:pt x="15783" y="2081"/>
                </a:cubicBezTo>
                <a:cubicBezTo>
                  <a:pt x="15702" y="2081"/>
                  <a:pt x="15634" y="1987"/>
                  <a:pt x="15553" y="1974"/>
                </a:cubicBezTo>
                <a:lnTo>
                  <a:pt x="15216" y="1974"/>
                </a:lnTo>
                <a:cubicBezTo>
                  <a:pt x="15310" y="1932"/>
                  <a:pt x="15459" y="1906"/>
                  <a:pt x="15514" y="1864"/>
                </a:cubicBezTo>
                <a:cubicBezTo>
                  <a:pt x="15608" y="1812"/>
                  <a:pt x="15731" y="1770"/>
                  <a:pt x="15731" y="1718"/>
                </a:cubicBezTo>
                <a:cubicBezTo>
                  <a:pt x="15731" y="1663"/>
                  <a:pt x="15553" y="1663"/>
                  <a:pt x="15472" y="1608"/>
                </a:cubicBezTo>
                <a:cubicBezTo>
                  <a:pt x="15407" y="1569"/>
                  <a:pt x="15378" y="1501"/>
                  <a:pt x="15284" y="1475"/>
                </a:cubicBezTo>
                <a:cubicBezTo>
                  <a:pt x="15216" y="1446"/>
                  <a:pt x="15177" y="1326"/>
                  <a:pt x="15083" y="1297"/>
                </a:cubicBezTo>
                <a:cubicBezTo>
                  <a:pt x="15074" y="1295"/>
                  <a:pt x="15063" y="1294"/>
                  <a:pt x="15052" y="1294"/>
                </a:cubicBezTo>
                <a:cubicBezTo>
                  <a:pt x="14993" y="1294"/>
                  <a:pt x="14911" y="1316"/>
                  <a:pt x="14838" y="1316"/>
                </a:cubicBezTo>
                <a:cubicBezTo>
                  <a:pt x="14824" y="1316"/>
                  <a:pt x="14811" y="1315"/>
                  <a:pt x="14798" y="1313"/>
                </a:cubicBezTo>
                <a:cubicBezTo>
                  <a:pt x="14717" y="1297"/>
                  <a:pt x="14623" y="1284"/>
                  <a:pt x="14529" y="1271"/>
                </a:cubicBezTo>
                <a:cubicBezTo>
                  <a:pt x="14448" y="1258"/>
                  <a:pt x="14380" y="1177"/>
                  <a:pt x="14286" y="1164"/>
                </a:cubicBezTo>
                <a:cubicBezTo>
                  <a:pt x="14280" y="1163"/>
                  <a:pt x="14274" y="1163"/>
                  <a:pt x="14267" y="1163"/>
                </a:cubicBezTo>
                <a:cubicBezTo>
                  <a:pt x="14195" y="1163"/>
                  <a:pt x="14097" y="1218"/>
                  <a:pt x="14024" y="1218"/>
                </a:cubicBezTo>
                <a:cubicBezTo>
                  <a:pt x="14016" y="1218"/>
                  <a:pt x="14008" y="1217"/>
                  <a:pt x="14001" y="1216"/>
                </a:cubicBezTo>
                <a:cubicBezTo>
                  <a:pt x="13907" y="1203"/>
                  <a:pt x="13839" y="1096"/>
                  <a:pt x="13745" y="1096"/>
                </a:cubicBezTo>
                <a:cubicBezTo>
                  <a:pt x="13736" y="1094"/>
                  <a:pt x="13726" y="1094"/>
                  <a:pt x="13716" y="1094"/>
                </a:cubicBezTo>
                <a:cubicBezTo>
                  <a:pt x="13650" y="1094"/>
                  <a:pt x="13570" y="1124"/>
                  <a:pt x="13495" y="1124"/>
                </a:cubicBezTo>
                <a:cubicBezTo>
                  <a:pt x="13484" y="1124"/>
                  <a:pt x="13473" y="1123"/>
                  <a:pt x="13463" y="1122"/>
                </a:cubicBezTo>
                <a:cubicBezTo>
                  <a:pt x="13382" y="1122"/>
                  <a:pt x="13301" y="1054"/>
                  <a:pt x="13204" y="1041"/>
                </a:cubicBezTo>
                <a:cubicBezTo>
                  <a:pt x="13114" y="1041"/>
                  <a:pt x="13024" y="1165"/>
                  <a:pt x="12935" y="1165"/>
                </a:cubicBezTo>
                <a:cubicBezTo>
                  <a:pt x="12930" y="1165"/>
                  <a:pt x="12926" y="1165"/>
                  <a:pt x="12922" y="1164"/>
                </a:cubicBezTo>
                <a:cubicBezTo>
                  <a:pt x="12828" y="1164"/>
                  <a:pt x="12747" y="1096"/>
                  <a:pt x="12653" y="1096"/>
                </a:cubicBezTo>
                <a:cubicBezTo>
                  <a:pt x="12572" y="1096"/>
                  <a:pt x="12475" y="1054"/>
                  <a:pt x="12381" y="1054"/>
                </a:cubicBezTo>
                <a:cubicBezTo>
                  <a:pt x="12300" y="1054"/>
                  <a:pt x="12206" y="1041"/>
                  <a:pt x="12112" y="1041"/>
                </a:cubicBezTo>
                <a:cubicBezTo>
                  <a:pt x="12031" y="1041"/>
                  <a:pt x="11937" y="1135"/>
                  <a:pt x="11843" y="1135"/>
                </a:cubicBezTo>
                <a:cubicBezTo>
                  <a:pt x="11746" y="1122"/>
                  <a:pt x="11665" y="1122"/>
                  <a:pt x="11571" y="1122"/>
                </a:cubicBezTo>
                <a:cubicBezTo>
                  <a:pt x="11477" y="1122"/>
                  <a:pt x="11409" y="1054"/>
                  <a:pt x="11328" y="1054"/>
                </a:cubicBezTo>
                <a:cubicBezTo>
                  <a:pt x="11358" y="1044"/>
                  <a:pt x="11389" y="1042"/>
                  <a:pt x="11420" y="1042"/>
                </a:cubicBezTo>
                <a:cubicBezTo>
                  <a:pt x="11454" y="1042"/>
                  <a:pt x="11487" y="1045"/>
                  <a:pt x="11515" y="1045"/>
                </a:cubicBezTo>
                <a:cubicBezTo>
                  <a:pt x="11531" y="1045"/>
                  <a:pt x="11545" y="1044"/>
                  <a:pt x="11558" y="1041"/>
                </a:cubicBezTo>
                <a:cubicBezTo>
                  <a:pt x="11652" y="1002"/>
                  <a:pt x="11733" y="960"/>
                  <a:pt x="11788" y="934"/>
                </a:cubicBezTo>
                <a:cubicBezTo>
                  <a:pt x="11869" y="879"/>
                  <a:pt x="11788" y="785"/>
                  <a:pt x="11788" y="730"/>
                </a:cubicBezTo>
                <a:cubicBezTo>
                  <a:pt x="11788" y="678"/>
                  <a:pt x="11746" y="678"/>
                  <a:pt x="11652" y="623"/>
                </a:cubicBezTo>
                <a:cubicBezTo>
                  <a:pt x="11600" y="597"/>
                  <a:pt x="11571" y="516"/>
                  <a:pt x="11477" y="474"/>
                </a:cubicBezTo>
                <a:cubicBezTo>
                  <a:pt x="11456" y="467"/>
                  <a:pt x="11433" y="465"/>
                  <a:pt x="11409" y="465"/>
                </a:cubicBezTo>
                <a:cubicBezTo>
                  <a:pt x="11355" y="465"/>
                  <a:pt x="11295" y="477"/>
                  <a:pt x="11238" y="477"/>
                </a:cubicBezTo>
                <a:cubicBezTo>
                  <a:pt x="11223" y="477"/>
                  <a:pt x="11209" y="476"/>
                  <a:pt x="11195" y="474"/>
                </a:cubicBezTo>
                <a:cubicBezTo>
                  <a:pt x="11114" y="448"/>
                  <a:pt x="11059" y="354"/>
                  <a:pt x="10978" y="341"/>
                </a:cubicBezTo>
                <a:cubicBezTo>
                  <a:pt x="10943" y="330"/>
                  <a:pt x="10907" y="327"/>
                  <a:pt x="10872" y="327"/>
                </a:cubicBezTo>
                <a:cubicBezTo>
                  <a:pt x="10837" y="327"/>
                  <a:pt x="10801" y="330"/>
                  <a:pt x="10765" y="330"/>
                </a:cubicBezTo>
                <a:cubicBezTo>
                  <a:pt x="10741" y="330"/>
                  <a:pt x="10717" y="329"/>
                  <a:pt x="10693" y="325"/>
                </a:cubicBezTo>
                <a:cubicBezTo>
                  <a:pt x="10652" y="318"/>
                  <a:pt x="10608" y="318"/>
                  <a:pt x="10563" y="318"/>
                </a:cubicBezTo>
                <a:cubicBezTo>
                  <a:pt x="10518" y="318"/>
                  <a:pt x="10471" y="318"/>
                  <a:pt x="10424" y="312"/>
                </a:cubicBezTo>
                <a:cubicBezTo>
                  <a:pt x="10343" y="299"/>
                  <a:pt x="10262" y="260"/>
                  <a:pt x="10168" y="244"/>
                </a:cubicBezTo>
                <a:cubicBezTo>
                  <a:pt x="10074" y="231"/>
                  <a:pt x="9993" y="218"/>
                  <a:pt x="9899" y="205"/>
                </a:cubicBezTo>
                <a:cubicBezTo>
                  <a:pt x="9818" y="192"/>
                  <a:pt x="9737" y="98"/>
                  <a:pt x="9640" y="82"/>
                </a:cubicBezTo>
                <a:cubicBezTo>
                  <a:pt x="9573" y="82"/>
                  <a:pt x="9498" y="101"/>
                  <a:pt x="9422" y="101"/>
                </a:cubicBezTo>
                <a:cubicBezTo>
                  <a:pt x="9405" y="101"/>
                  <a:pt x="9388" y="100"/>
                  <a:pt x="9371" y="98"/>
                </a:cubicBezTo>
                <a:cubicBezTo>
                  <a:pt x="9277" y="98"/>
                  <a:pt x="9196" y="82"/>
                  <a:pt x="9102" y="69"/>
                </a:cubicBezTo>
                <a:cubicBezTo>
                  <a:pt x="9008" y="69"/>
                  <a:pt x="8911" y="137"/>
                  <a:pt x="8817" y="137"/>
                </a:cubicBezTo>
                <a:cubicBezTo>
                  <a:pt x="8723" y="137"/>
                  <a:pt x="8642" y="30"/>
                  <a:pt x="8561" y="30"/>
                </a:cubicBezTo>
                <a:cubicBezTo>
                  <a:pt x="8467" y="30"/>
                  <a:pt x="8373" y="124"/>
                  <a:pt x="8279" y="124"/>
                </a:cubicBezTo>
                <a:lnTo>
                  <a:pt x="8007" y="124"/>
                </a:lnTo>
                <a:cubicBezTo>
                  <a:pt x="7913" y="111"/>
                  <a:pt x="7832" y="69"/>
                  <a:pt x="7738" y="69"/>
                </a:cubicBezTo>
                <a:cubicBezTo>
                  <a:pt x="7644" y="69"/>
                  <a:pt x="7550" y="150"/>
                  <a:pt x="7469" y="150"/>
                </a:cubicBezTo>
                <a:cubicBezTo>
                  <a:pt x="7372" y="150"/>
                  <a:pt x="7278" y="1"/>
                  <a:pt x="7184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9" name="Google Shape;379;p11"/>
          <p:cNvSpPr/>
          <p:nvPr/>
        </p:nvSpPr>
        <p:spPr>
          <a:xfrm>
            <a:off x="7973186" y="5337991"/>
            <a:ext cx="2634596" cy="409112"/>
          </a:xfrm>
          <a:custGeom>
            <a:avLst/>
            <a:gdLst/>
            <a:ahLst/>
            <a:cxnLst/>
            <a:rect l="l" t="t" r="r" b="b"/>
            <a:pathLst>
              <a:path w="10651" h="2188" extrusionOk="0">
                <a:moveTo>
                  <a:pt x="7615" y="0"/>
                </a:moveTo>
                <a:cubicBezTo>
                  <a:pt x="7560" y="0"/>
                  <a:pt x="7492" y="39"/>
                  <a:pt x="7440" y="39"/>
                </a:cubicBezTo>
                <a:lnTo>
                  <a:pt x="7265" y="39"/>
                </a:lnTo>
                <a:cubicBezTo>
                  <a:pt x="7210" y="39"/>
                  <a:pt x="7155" y="65"/>
                  <a:pt x="7103" y="81"/>
                </a:cubicBezTo>
                <a:cubicBezTo>
                  <a:pt x="7048" y="81"/>
                  <a:pt x="6980" y="65"/>
                  <a:pt x="6925" y="65"/>
                </a:cubicBezTo>
                <a:cubicBezTo>
                  <a:pt x="6880" y="65"/>
                  <a:pt x="6833" y="36"/>
                  <a:pt x="6778" y="36"/>
                </a:cubicBezTo>
                <a:cubicBezTo>
                  <a:pt x="6769" y="36"/>
                  <a:pt x="6759" y="37"/>
                  <a:pt x="6750" y="39"/>
                </a:cubicBezTo>
                <a:cubicBezTo>
                  <a:pt x="6698" y="39"/>
                  <a:pt x="6643" y="107"/>
                  <a:pt x="6588" y="107"/>
                </a:cubicBezTo>
                <a:cubicBezTo>
                  <a:pt x="6582" y="108"/>
                  <a:pt x="6577" y="109"/>
                  <a:pt x="6571" y="109"/>
                </a:cubicBezTo>
                <a:cubicBezTo>
                  <a:pt x="6524" y="109"/>
                  <a:pt x="6474" y="65"/>
                  <a:pt x="6413" y="65"/>
                </a:cubicBezTo>
                <a:cubicBezTo>
                  <a:pt x="6358" y="65"/>
                  <a:pt x="6306" y="133"/>
                  <a:pt x="6251" y="133"/>
                </a:cubicBezTo>
                <a:cubicBezTo>
                  <a:pt x="6202" y="133"/>
                  <a:pt x="6145" y="92"/>
                  <a:pt x="6094" y="92"/>
                </a:cubicBezTo>
                <a:cubicBezTo>
                  <a:pt x="6088" y="92"/>
                  <a:pt x="6082" y="93"/>
                  <a:pt x="6076" y="94"/>
                </a:cubicBezTo>
                <a:cubicBezTo>
                  <a:pt x="6021" y="94"/>
                  <a:pt x="5969" y="175"/>
                  <a:pt x="5914" y="188"/>
                </a:cubicBezTo>
                <a:cubicBezTo>
                  <a:pt x="5868" y="188"/>
                  <a:pt x="5812" y="158"/>
                  <a:pt x="5765" y="158"/>
                </a:cubicBezTo>
                <a:cubicBezTo>
                  <a:pt x="5756" y="158"/>
                  <a:pt x="5747" y="159"/>
                  <a:pt x="5739" y="162"/>
                </a:cubicBezTo>
                <a:cubicBezTo>
                  <a:pt x="5684" y="162"/>
                  <a:pt x="5629" y="188"/>
                  <a:pt x="5577" y="201"/>
                </a:cubicBezTo>
                <a:cubicBezTo>
                  <a:pt x="5522" y="201"/>
                  <a:pt x="5467" y="214"/>
                  <a:pt x="5415" y="214"/>
                </a:cubicBezTo>
                <a:cubicBezTo>
                  <a:pt x="5405" y="216"/>
                  <a:pt x="5395" y="217"/>
                  <a:pt x="5386" y="217"/>
                </a:cubicBezTo>
                <a:cubicBezTo>
                  <a:pt x="5328" y="217"/>
                  <a:pt x="5271" y="188"/>
                  <a:pt x="5224" y="188"/>
                </a:cubicBezTo>
                <a:cubicBezTo>
                  <a:pt x="5172" y="201"/>
                  <a:pt x="5130" y="256"/>
                  <a:pt x="5078" y="269"/>
                </a:cubicBezTo>
                <a:cubicBezTo>
                  <a:pt x="5023" y="269"/>
                  <a:pt x="4955" y="243"/>
                  <a:pt x="4900" y="243"/>
                </a:cubicBezTo>
                <a:cubicBezTo>
                  <a:pt x="4835" y="256"/>
                  <a:pt x="4780" y="269"/>
                  <a:pt x="4725" y="282"/>
                </a:cubicBezTo>
                <a:lnTo>
                  <a:pt x="4563" y="282"/>
                </a:lnTo>
                <a:cubicBezTo>
                  <a:pt x="4495" y="295"/>
                  <a:pt x="4469" y="363"/>
                  <a:pt x="4414" y="376"/>
                </a:cubicBezTo>
                <a:cubicBezTo>
                  <a:pt x="4349" y="376"/>
                  <a:pt x="4294" y="389"/>
                  <a:pt x="4239" y="405"/>
                </a:cubicBezTo>
                <a:cubicBezTo>
                  <a:pt x="4187" y="418"/>
                  <a:pt x="4145" y="444"/>
                  <a:pt x="4090" y="457"/>
                </a:cubicBezTo>
                <a:cubicBezTo>
                  <a:pt x="4038" y="470"/>
                  <a:pt x="3970" y="470"/>
                  <a:pt x="3928" y="486"/>
                </a:cubicBezTo>
                <a:cubicBezTo>
                  <a:pt x="3863" y="499"/>
                  <a:pt x="3808" y="499"/>
                  <a:pt x="3753" y="512"/>
                </a:cubicBezTo>
                <a:cubicBezTo>
                  <a:pt x="3701" y="525"/>
                  <a:pt x="3672" y="580"/>
                  <a:pt x="3633" y="593"/>
                </a:cubicBezTo>
                <a:cubicBezTo>
                  <a:pt x="3599" y="606"/>
                  <a:pt x="3565" y="606"/>
                  <a:pt x="3534" y="606"/>
                </a:cubicBezTo>
                <a:cubicBezTo>
                  <a:pt x="3504" y="606"/>
                  <a:pt x="3477" y="606"/>
                  <a:pt x="3458" y="619"/>
                </a:cubicBezTo>
                <a:cubicBezTo>
                  <a:pt x="3390" y="648"/>
                  <a:pt x="3390" y="687"/>
                  <a:pt x="3348" y="713"/>
                </a:cubicBezTo>
                <a:cubicBezTo>
                  <a:pt x="3296" y="742"/>
                  <a:pt x="3267" y="742"/>
                  <a:pt x="3280" y="781"/>
                </a:cubicBezTo>
                <a:cubicBezTo>
                  <a:pt x="3280" y="810"/>
                  <a:pt x="3241" y="862"/>
                  <a:pt x="3296" y="875"/>
                </a:cubicBezTo>
                <a:cubicBezTo>
                  <a:pt x="3322" y="891"/>
                  <a:pt x="3390" y="917"/>
                  <a:pt x="3442" y="917"/>
                </a:cubicBezTo>
                <a:cubicBezTo>
                  <a:pt x="3451" y="920"/>
                  <a:pt x="3460" y="921"/>
                  <a:pt x="3470" y="921"/>
                </a:cubicBezTo>
                <a:cubicBezTo>
                  <a:pt x="3497" y="921"/>
                  <a:pt x="3527" y="913"/>
                  <a:pt x="3558" y="913"/>
                </a:cubicBezTo>
                <a:cubicBezTo>
                  <a:pt x="3569" y="913"/>
                  <a:pt x="3580" y="914"/>
                  <a:pt x="3591" y="917"/>
                </a:cubicBezTo>
                <a:cubicBezTo>
                  <a:pt x="3539" y="917"/>
                  <a:pt x="3497" y="956"/>
                  <a:pt x="3442" y="972"/>
                </a:cubicBezTo>
                <a:cubicBezTo>
                  <a:pt x="3377" y="972"/>
                  <a:pt x="3322" y="985"/>
                  <a:pt x="3267" y="985"/>
                </a:cubicBezTo>
                <a:cubicBezTo>
                  <a:pt x="3260" y="987"/>
                  <a:pt x="3253" y="987"/>
                  <a:pt x="3245" y="987"/>
                </a:cubicBezTo>
                <a:cubicBezTo>
                  <a:pt x="3197" y="987"/>
                  <a:pt x="3139" y="956"/>
                  <a:pt x="3092" y="956"/>
                </a:cubicBezTo>
                <a:cubicBezTo>
                  <a:pt x="3037" y="972"/>
                  <a:pt x="2985" y="972"/>
                  <a:pt x="2930" y="985"/>
                </a:cubicBezTo>
                <a:cubicBezTo>
                  <a:pt x="2875" y="998"/>
                  <a:pt x="2823" y="1011"/>
                  <a:pt x="2768" y="1024"/>
                </a:cubicBezTo>
                <a:cubicBezTo>
                  <a:pt x="2713" y="1037"/>
                  <a:pt x="2661" y="1079"/>
                  <a:pt x="2606" y="1079"/>
                </a:cubicBezTo>
                <a:cubicBezTo>
                  <a:pt x="2601" y="1080"/>
                  <a:pt x="2596" y="1081"/>
                  <a:pt x="2591" y="1081"/>
                </a:cubicBezTo>
                <a:cubicBezTo>
                  <a:pt x="2542" y="1081"/>
                  <a:pt x="2479" y="1035"/>
                  <a:pt x="2432" y="1035"/>
                </a:cubicBezTo>
                <a:cubicBezTo>
                  <a:pt x="2427" y="1035"/>
                  <a:pt x="2422" y="1036"/>
                  <a:pt x="2418" y="1037"/>
                </a:cubicBezTo>
                <a:cubicBezTo>
                  <a:pt x="2363" y="1037"/>
                  <a:pt x="2324" y="1079"/>
                  <a:pt x="2269" y="1092"/>
                </a:cubicBezTo>
                <a:cubicBezTo>
                  <a:pt x="2254" y="1095"/>
                  <a:pt x="2240" y="1096"/>
                  <a:pt x="2226" y="1096"/>
                </a:cubicBezTo>
                <a:cubicBezTo>
                  <a:pt x="2187" y="1096"/>
                  <a:pt x="2149" y="1088"/>
                  <a:pt x="2116" y="1088"/>
                </a:cubicBezTo>
                <a:cubicBezTo>
                  <a:pt x="2103" y="1088"/>
                  <a:pt x="2092" y="1089"/>
                  <a:pt x="2081" y="1092"/>
                </a:cubicBezTo>
                <a:cubicBezTo>
                  <a:pt x="2026" y="1105"/>
                  <a:pt x="2000" y="1160"/>
                  <a:pt x="1945" y="1173"/>
                </a:cubicBezTo>
                <a:cubicBezTo>
                  <a:pt x="1933" y="1176"/>
                  <a:pt x="1920" y="1177"/>
                  <a:pt x="1907" y="1177"/>
                </a:cubicBezTo>
                <a:cubicBezTo>
                  <a:pt x="1870" y="1177"/>
                  <a:pt x="1829" y="1169"/>
                  <a:pt x="1793" y="1169"/>
                </a:cubicBezTo>
                <a:cubicBezTo>
                  <a:pt x="1780" y="1169"/>
                  <a:pt x="1768" y="1170"/>
                  <a:pt x="1757" y="1173"/>
                </a:cubicBezTo>
                <a:cubicBezTo>
                  <a:pt x="1702" y="1186"/>
                  <a:pt x="1660" y="1228"/>
                  <a:pt x="1608" y="1241"/>
                </a:cubicBezTo>
                <a:cubicBezTo>
                  <a:pt x="1553" y="1254"/>
                  <a:pt x="1498" y="1267"/>
                  <a:pt x="1446" y="1280"/>
                </a:cubicBezTo>
                <a:cubicBezTo>
                  <a:pt x="1418" y="1288"/>
                  <a:pt x="1388" y="1288"/>
                  <a:pt x="1357" y="1288"/>
                </a:cubicBezTo>
                <a:cubicBezTo>
                  <a:pt x="1327" y="1288"/>
                  <a:pt x="1297" y="1288"/>
                  <a:pt x="1271" y="1296"/>
                </a:cubicBezTo>
                <a:cubicBezTo>
                  <a:pt x="1216" y="1309"/>
                  <a:pt x="1203" y="1377"/>
                  <a:pt x="1161" y="1403"/>
                </a:cubicBezTo>
                <a:cubicBezTo>
                  <a:pt x="1109" y="1416"/>
                  <a:pt x="1093" y="1458"/>
                  <a:pt x="1054" y="1484"/>
                </a:cubicBezTo>
                <a:cubicBezTo>
                  <a:pt x="999" y="1510"/>
                  <a:pt x="892" y="1523"/>
                  <a:pt x="905" y="1552"/>
                </a:cubicBezTo>
                <a:cubicBezTo>
                  <a:pt x="905" y="1591"/>
                  <a:pt x="986" y="1604"/>
                  <a:pt x="1054" y="1620"/>
                </a:cubicBezTo>
                <a:cubicBezTo>
                  <a:pt x="1093" y="1633"/>
                  <a:pt x="1174" y="1646"/>
                  <a:pt x="1242" y="1659"/>
                </a:cubicBezTo>
                <a:cubicBezTo>
                  <a:pt x="1190" y="1672"/>
                  <a:pt x="1080" y="1672"/>
                  <a:pt x="1041" y="1685"/>
                </a:cubicBezTo>
                <a:cubicBezTo>
                  <a:pt x="986" y="1701"/>
                  <a:pt x="947" y="1753"/>
                  <a:pt x="892" y="1753"/>
                </a:cubicBezTo>
                <a:cubicBezTo>
                  <a:pt x="873" y="1757"/>
                  <a:pt x="855" y="1759"/>
                  <a:pt x="838" y="1759"/>
                </a:cubicBezTo>
                <a:cubicBezTo>
                  <a:pt x="802" y="1759"/>
                  <a:pt x="767" y="1753"/>
                  <a:pt x="730" y="1753"/>
                </a:cubicBezTo>
                <a:cubicBezTo>
                  <a:pt x="675" y="1766"/>
                  <a:pt x="636" y="1795"/>
                  <a:pt x="581" y="1808"/>
                </a:cubicBezTo>
                <a:cubicBezTo>
                  <a:pt x="526" y="1821"/>
                  <a:pt x="487" y="1834"/>
                  <a:pt x="432" y="1847"/>
                </a:cubicBezTo>
                <a:cubicBezTo>
                  <a:pt x="406" y="1855"/>
                  <a:pt x="376" y="1855"/>
                  <a:pt x="345" y="1855"/>
                </a:cubicBezTo>
                <a:cubicBezTo>
                  <a:pt x="315" y="1855"/>
                  <a:pt x="284" y="1855"/>
                  <a:pt x="257" y="1863"/>
                </a:cubicBezTo>
                <a:cubicBezTo>
                  <a:pt x="202" y="1876"/>
                  <a:pt x="163" y="1902"/>
                  <a:pt x="121" y="1928"/>
                </a:cubicBezTo>
                <a:cubicBezTo>
                  <a:pt x="69" y="1957"/>
                  <a:pt x="1" y="2009"/>
                  <a:pt x="14" y="2038"/>
                </a:cubicBezTo>
                <a:cubicBezTo>
                  <a:pt x="14" y="2064"/>
                  <a:pt x="95" y="2106"/>
                  <a:pt x="150" y="2119"/>
                </a:cubicBezTo>
                <a:cubicBezTo>
                  <a:pt x="163" y="2123"/>
                  <a:pt x="180" y="2125"/>
                  <a:pt x="200" y="2125"/>
                </a:cubicBezTo>
                <a:cubicBezTo>
                  <a:pt x="240" y="2125"/>
                  <a:pt x="288" y="2119"/>
                  <a:pt x="325" y="2119"/>
                </a:cubicBezTo>
                <a:cubicBezTo>
                  <a:pt x="336" y="2122"/>
                  <a:pt x="347" y="2123"/>
                  <a:pt x="358" y="2123"/>
                </a:cubicBezTo>
                <a:cubicBezTo>
                  <a:pt x="401" y="2123"/>
                  <a:pt x="445" y="2106"/>
                  <a:pt x="500" y="2106"/>
                </a:cubicBezTo>
                <a:cubicBezTo>
                  <a:pt x="542" y="2119"/>
                  <a:pt x="594" y="2145"/>
                  <a:pt x="649" y="2145"/>
                </a:cubicBezTo>
                <a:cubicBezTo>
                  <a:pt x="704" y="2145"/>
                  <a:pt x="756" y="2187"/>
                  <a:pt x="811" y="2187"/>
                </a:cubicBezTo>
                <a:cubicBezTo>
                  <a:pt x="866" y="2187"/>
                  <a:pt x="918" y="2145"/>
                  <a:pt x="973" y="2145"/>
                </a:cubicBezTo>
                <a:cubicBezTo>
                  <a:pt x="1028" y="2145"/>
                  <a:pt x="1080" y="2132"/>
                  <a:pt x="1148" y="2132"/>
                </a:cubicBezTo>
                <a:cubicBezTo>
                  <a:pt x="1203" y="2119"/>
                  <a:pt x="1255" y="2119"/>
                  <a:pt x="1310" y="2119"/>
                </a:cubicBezTo>
                <a:cubicBezTo>
                  <a:pt x="1318" y="2117"/>
                  <a:pt x="1325" y="2116"/>
                  <a:pt x="1333" y="2116"/>
                </a:cubicBezTo>
                <a:cubicBezTo>
                  <a:pt x="1380" y="2116"/>
                  <a:pt x="1425" y="2145"/>
                  <a:pt x="1472" y="2145"/>
                </a:cubicBezTo>
                <a:cubicBezTo>
                  <a:pt x="1527" y="2145"/>
                  <a:pt x="1579" y="2119"/>
                  <a:pt x="1634" y="2119"/>
                </a:cubicBezTo>
                <a:cubicBezTo>
                  <a:pt x="1689" y="2106"/>
                  <a:pt x="1741" y="2077"/>
                  <a:pt x="1796" y="2077"/>
                </a:cubicBezTo>
                <a:cubicBezTo>
                  <a:pt x="1846" y="2077"/>
                  <a:pt x="1907" y="2134"/>
                  <a:pt x="1957" y="2134"/>
                </a:cubicBezTo>
                <a:cubicBezTo>
                  <a:pt x="1962" y="2134"/>
                  <a:pt x="1966" y="2133"/>
                  <a:pt x="1971" y="2132"/>
                </a:cubicBezTo>
                <a:cubicBezTo>
                  <a:pt x="2026" y="2132"/>
                  <a:pt x="2081" y="2106"/>
                  <a:pt x="2133" y="2090"/>
                </a:cubicBezTo>
                <a:cubicBezTo>
                  <a:pt x="2188" y="2090"/>
                  <a:pt x="2243" y="2064"/>
                  <a:pt x="2295" y="2051"/>
                </a:cubicBezTo>
                <a:cubicBezTo>
                  <a:pt x="2339" y="2051"/>
                  <a:pt x="2383" y="2068"/>
                  <a:pt x="2425" y="2068"/>
                </a:cubicBezTo>
                <a:cubicBezTo>
                  <a:pt x="2436" y="2068"/>
                  <a:pt x="2446" y="2067"/>
                  <a:pt x="2457" y="2064"/>
                </a:cubicBezTo>
                <a:cubicBezTo>
                  <a:pt x="2512" y="2064"/>
                  <a:pt x="2567" y="2038"/>
                  <a:pt x="2619" y="2025"/>
                </a:cubicBezTo>
                <a:cubicBezTo>
                  <a:pt x="2674" y="2025"/>
                  <a:pt x="2713" y="1970"/>
                  <a:pt x="2768" y="1970"/>
                </a:cubicBezTo>
                <a:cubicBezTo>
                  <a:pt x="2773" y="1969"/>
                  <a:pt x="2778" y="1968"/>
                  <a:pt x="2783" y="1968"/>
                </a:cubicBezTo>
                <a:cubicBezTo>
                  <a:pt x="2830" y="1968"/>
                  <a:pt x="2892" y="2011"/>
                  <a:pt x="2938" y="2011"/>
                </a:cubicBezTo>
                <a:cubicBezTo>
                  <a:pt x="2944" y="2011"/>
                  <a:pt x="2950" y="2011"/>
                  <a:pt x="2956" y="2009"/>
                </a:cubicBezTo>
                <a:cubicBezTo>
                  <a:pt x="3011" y="1996"/>
                  <a:pt x="3053" y="1970"/>
                  <a:pt x="3105" y="1957"/>
                </a:cubicBezTo>
                <a:cubicBezTo>
                  <a:pt x="3160" y="1944"/>
                  <a:pt x="3199" y="1889"/>
                  <a:pt x="3254" y="1889"/>
                </a:cubicBezTo>
                <a:cubicBezTo>
                  <a:pt x="3265" y="1886"/>
                  <a:pt x="3278" y="1885"/>
                  <a:pt x="3290" y="1885"/>
                </a:cubicBezTo>
                <a:cubicBezTo>
                  <a:pt x="3324" y="1885"/>
                  <a:pt x="3361" y="1893"/>
                  <a:pt x="3394" y="1893"/>
                </a:cubicBezTo>
                <a:cubicBezTo>
                  <a:pt x="3406" y="1893"/>
                  <a:pt x="3418" y="1892"/>
                  <a:pt x="3429" y="1889"/>
                </a:cubicBezTo>
                <a:cubicBezTo>
                  <a:pt x="3484" y="1889"/>
                  <a:pt x="3510" y="1821"/>
                  <a:pt x="3565" y="1808"/>
                </a:cubicBezTo>
                <a:cubicBezTo>
                  <a:pt x="3571" y="1806"/>
                  <a:pt x="3578" y="1806"/>
                  <a:pt x="3584" y="1806"/>
                </a:cubicBezTo>
                <a:cubicBezTo>
                  <a:pt x="3631" y="1806"/>
                  <a:pt x="3689" y="1836"/>
                  <a:pt x="3734" y="1836"/>
                </a:cubicBezTo>
                <a:cubicBezTo>
                  <a:pt x="3741" y="1836"/>
                  <a:pt x="3747" y="1835"/>
                  <a:pt x="3753" y="1834"/>
                </a:cubicBezTo>
                <a:cubicBezTo>
                  <a:pt x="3808" y="1821"/>
                  <a:pt x="3847" y="1782"/>
                  <a:pt x="3902" y="1766"/>
                </a:cubicBezTo>
                <a:cubicBezTo>
                  <a:pt x="3957" y="1753"/>
                  <a:pt x="3996" y="1714"/>
                  <a:pt x="4025" y="1701"/>
                </a:cubicBezTo>
                <a:cubicBezTo>
                  <a:pt x="4090" y="1672"/>
                  <a:pt x="4051" y="1646"/>
                  <a:pt x="4051" y="1620"/>
                </a:cubicBezTo>
                <a:cubicBezTo>
                  <a:pt x="4051" y="1604"/>
                  <a:pt x="4077" y="1552"/>
                  <a:pt x="4064" y="1552"/>
                </a:cubicBezTo>
                <a:cubicBezTo>
                  <a:pt x="4070" y="1551"/>
                  <a:pt x="4076" y="1550"/>
                  <a:pt x="4083" y="1550"/>
                </a:cubicBezTo>
                <a:cubicBezTo>
                  <a:pt x="4140" y="1550"/>
                  <a:pt x="4203" y="1593"/>
                  <a:pt x="4252" y="1593"/>
                </a:cubicBezTo>
                <a:cubicBezTo>
                  <a:pt x="4258" y="1593"/>
                  <a:pt x="4263" y="1592"/>
                  <a:pt x="4268" y="1591"/>
                </a:cubicBezTo>
                <a:cubicBezTo>
                  <a:pt x="4333" y="1591"/>
                  <a:pt x="4375" y="1497"/>
                  <a:pt x="4430" y="1497"/>
                </a:cubicBezTo>
                <a:cubicBezTo>
                  <a:pt x="4435" y="1496"/>
                  <a:pt x="4441" y="1495"/>
                  <a:pt x="4447" y="1495"/>
                </a:cubicBezTo>
                <a:cubicBezTo>
                  <a:pt x="4489" y="1495"/>
                  <a:pt x="4538" y="1526"/>
                  <a:pt x="4583" y="1526"/>
                </a:cubicBezTo>
                <a:cubicBezTo>
                  <a:pt x="4590" y="1526"/>
                  <a:pt x="4598" y="1525"/>
                  <a:pt x="4605" y="1523"/>
                </a:cubicBezTo>
                <a:cubicBezTo>
                  <a:pt x="4639" y="1516"/>
                  <a:pt x="4666" y="1516"/>
                  <a:pt x="4691" y="1516"/>
                </a:cubicBezTo>
                <a:cubicBezTo>
                  <a:pt x="4716" y="1516"/>
                  <a:pt x="4739" y="1516"/>
                  <a:pt x="4767" y="1510"/>
                </a:cubicBezTo>
                <a:cubicBezTo>
                  <a:pt x="4767" y="1513"/>
                  <a:pt x="4767" y="1514"/>
                  <a:pt x="4768" y="1514"/>
                </a:cubicBezTo>
                <a:cubicBezTo>
                  <a:pt x="4771" y="1514"/>
                  <a:pt x="4776" y="1506"/>
                  <a:pt x="4778" y="1506"/>
                </a:cubicBezTo>
                <a:cubicBezTo>
                  <a:pt x="4779" y="1506"/>
                  <a:pt x="4780" y="1507"/>
                  <a:pt x="4780" y="1510"/>
                </a:cubicBezTo>
                <a:cubicBezTo>
                  <a:pt x="4780" y="1539"/>
                  <a:pt x="4848" y="1523"/>
                  <a:pt x="4916" y="1539"/>
                </a:cubicBezTo>
                <a:cubicBezTo>
                  <a:pt x="4955" y="1552"/>
                  <a:pt x="4997" y="1565"/>
                  <a:pt x="5049" y="1578"/>
                </a:cubicBezTo>
                <a:cubicBezTo>
                  <a:pt x="5104" y="1578"/>
                  <a:pt x="5143" y="1633"/>
                  <a:pt x="5211" y="1633"/>
                </a:cubicBezTo>
                <a:cubicBezTo>
                  <a:pt x="5229" y="1637"/>
                  <a:pt x="5247" y="1639"/>
                  <a:pt x="5266" y="1639"/>
                </a:cubicBezTo>
                <a:cubicBezTo>
                  <a:pt x="5302" y="1639"/>
                  <a:pt x="5338" y="1633"/>
                  <a:pt x="5373" y="1633"/>
                </a:cubicBezTo>
                <a:cubicBezTo>
                  <a:pt x="5384" y="1636"/>
                  <a:pt x="5395" y="1637"/>
                  <a:pt x="5407" y="1637"/>
                </a:cubicBezTo>
                <a:cubicBezTo>
                  <a:pt x="5454" y="1637"/>
                  <a:pt x="5506" y="1620"/>
                  <a:pt x="5548" y="1620"/>
                </a:cubicBezTo>
                <a:cubicBezTo>
                  <a:pt x="5603" y="1620"/>
                  <a:pt x="5658" y="1672"/>
                  <a:pt x="5726" y="1672"/>
                </a:cubicBezTo>
                <a:cubicBezTo>
                  <a:pt x="5778" y="1672"/>
                  <a:pt x="5833" y="1646"/>
                  <a:pt x="5901" y="1646"/>
                </a:cubicBezTo>
                <a:cubicBezTo>
                  <a:pt x="5953" y="1646"/>
                  <a:pt x="6008" y="1591"/>
                  <a:pt x="6076" y="1591"/>
                </a:cubicBezTo>
                <a:cubicBezTo>
                  <a:pt x="6131" y="1591"/>
                  <a:pt x="6183" y="1620"/>
                  <a:pt x="6251" y="1620"/>
                </a:cubicBezTo>
                <a:cubicBezTo>
                  <a:pt x="6306" y="1604"/>
                  <a:pt x="6358" y="1591"/>
                  <a:pt x="6413" y="1591"/>
                </a:cubicBezTo>
                <a:cubicBezTo>
                  <a:pt x="6449" y="1591"/>
                  <a:pt x="6473" y="1597"/>
                  <a:pt x="6501" y="1597"/>
                </a:cubicBezTo>
                <a:cubicBezTo>
                  <a:pt x="6515" y="1597"/>
                  <a:pt x="6530" y="1595"/>
                  <a:pt x="6549" y="1591"/>
                </a:cubicBezTo>
                <a:lnTo>
                  <a:pt x="6549" y="1591"/>
                </a:lnTo>
                <a:cubicBezTo>
                  <a:pt x="6507" y="1620"/>
                  <a:pt x="6507" y="1646"/>
                  <a:pt x="6507" y="1659"/>
                </a:cubicBezTo>
                <a:cubicBezTo>
                  <a:pt x="6520" y="1685"/>
                  <a:pt x="6588" y="1685"/>
                  <a:pt x="6643" y="1714"/>
                </a:cubicBezTo>
                <a:cubicBezTo>
                  <a:pt x="6682" y="1727"/>
                  <a:pt x="6737" y="1727"/>
                  <a:pt x="6792" y="1727"/>
                </a:cubicBezTo>
                <a:cubicBezTo>
                  <a:pt x="6844" y="1740"/>
                  <a:pt x="6873" y="1808"/>
                  <a:pt x="6925" y="1821"/>
                </a:cubicBezTo>
                <a:cubicBezTo>
                  <a:pt x="6980" y="1821"/>
                  <a:pt x="7048" y="1782"/>
                  <a:pt x="7103" y="1782"/>
                </a:cubicBezTo>
                <a:cubicBezTo>
                  <a:pt x="7155" y="1782"/>
                  <a:pt x="7210" y="1753"/>
                  <a:pt x="7278" y="1753"/>
                </a:cubicBezTo>
                <a:cubicBezTo>
                  <a:pt x="7330" y="1753"/>
                  <a:pt x="7372" y="1821"/>
                  <a:pt x="7427" y="1821"/>
                </a:cubicBezTo>
                <a:cubicBezTo>
                  <a:pt x="7479" y="1821"/>
                  <a:pt x="7547" y="1753"/>
                  <a:pt x="7602" y="1753"/>
                </a:cubicBezTo>
                <a:cubicBezTo>
                  <a:pt x="7654" y="1753"/>
                  <a:pt x="7709" y="1782"/>
                  <a:pt x="7764" y="1782"/>
                </a:cubicBezTo>
                <a:cubicBezTo>
                  <a:pt x="7816" y="1782"/>
                  <a:pt x="7871" y="1740"/>
                  <a:pt x="7926" y="1740"/>
                </a:cubicBezTo>
                <a:cubicBezTo>
                  <a:pt x="7973" y="1740"/>
                  <a:pt x="8023" y="1797"/>
                  <a:pt x="8073" y="1797"/>
                </a:cubicBezTo>
                <a:cubicBezTo>
                  <a:pt x="8078" y="1797"/>
                  <a:pt x="8083" y="1796"/>
                  <a:pt x="8088" y="1795"/>
                </a:cubicBezTo>
                <a:cubicBezTo>
                  <a:pt x="8140" y="1795"/>
                  <a:pt x="8195" y="1740"/>
                  <a:pt x="8250" y="1740"/>
                </a:cubicBezTo>
                <a:lnTo>
                  <a:pt x="8425" y="1740"/>
                </a:lnTo>
                <a:cubicBezTo>
                  <a:pt x="8480" y="1740"/>
                  <a:pt x="8532" y="1727"/>
                  <a:pt x="8587" y="1727"/>
                </a:cubicBezTo>
                <a:cubicBezTo>
                  <a:pt x="8605" y="1723"/>
                  <a:pt x="8623" y="1721"/>
                  <a:pt x="8641" y="1721"/>
                </a:cubicBezTo>
                <a:cubicBezTo>
                  <a:pt x="8677" y="1721"/>
                  <a:pt x="8712" y="1727"/>
                  <a:pt x="8749" y="1727"/>
                </a:cubicBezTo>
                <a:cubicBezTo>
                  <a:pt x="8804" y="1727"/>
                  <a:pt x="8856" y="1701"/>
                  <a:pt x="8911" y="1701"/>
                </a:cubicBezTo>
                <a:cubicBezTo>
                  <a:pt x="8938" y="1693"/>
                  <a:pt x="8968" y="1693"/>
                  <a:pt x="8997" y="1693"/>
                </a:cubicBezTo>
                <a:cubicBezTo>
                  <a:pt x="9025" y="1693"/>
                  <a:pt x="9052" y="1693"/>
                  <a:pt x="9073" y="1685"/>
                </a:cubicBezTo>
                <a:cubicBezTo>
                  <a:pt x="9141" y="1672"/>
                  <a:pt x="9180" y="1620"/>
                  <a:pt x="9235" y="1620"/>
                </a:cubicBezTo>
                <a:cubicBezTo>
                  <a:pt x="9290" y="1604"/>
                  <a:pt x="9342" y="1604"/>
                  <a:pt x="9397" y="1604"/>
                </a:cubicBezTo>
                <a:cubicBezTo>
                  <a:pt x="9407" y="1601"/>
                  <a:pt x="9417" y="1601"/>
                  <a:pt x="9428" y="1601"/>
                </a:cubicBezTo>
                <a:cubicBezTo>
                  <a:pt x="9475" y="1601"/>
                  <a:pt x="9527" y="1620"/>
                  <a:pt x="9572" y="1620"/>
                </a:cubicBezTo>
                <a:cubicBezTo>
                  <a:pt x="9627" y="1604"/>
                  <a:pt x="9666" y="1552"/>
                  <a:pt x="9721" y="1539"/>
                </a:cubicBezTo>
                <a:cubicBezTo>
                  <a:pt x="9776" y="1539"/>
                  <a:pt x="9828" y="1539"/>
                  <a:pt x="9883" y="1523"/>
                </a:cubicBezTo>
                <a:cubicBezTo>
                  <a:pt x="9938" y="1523"/>
                  <a:pt x="9990" y="1497"/>
                  <a:pt x="10045" y="1484"/>
                </a:cubicBezTo>
                <a:cubicBezTo>
                  <a:pt x="10100" y="1471"/>
                  <a:pt x="10126" y="1416"/>
                  <a:pt x="10165" y="1403"/>
                </a:cubicBezTo>
                <a:cubicBezTo>
                  <a:pt x="10176" y="1400"/>
                  <a:pt x="10189" y="1399"/>
                  <a:pt x="10203" y="1399"/>
                </a:cubicBezTo>
                <a:cubicBezTo>
                  <a:pt x="10239" y="1399"/>
                  <a:pt x="10281" y="1407"/>
                  <a:pt x="10318" y="1407"/>
                </a:cubicBezTo>
                <a:cubicBezTo>
                  <a:pt x="10331" y="1407"/>
                  <a:pt x="10344" y="1406"/>
                  <a:pt x="10356" y="1403"/>
                </a:cubicBezTo>
                <a:cubicBezTo>
                  <a:pt x="10408" y="1377"/>
                  <a:pt x="10450" y="1361"/>
                  <a:pt x="10489" y="1335"/>
                </a:cubicBezTo>
                <a:cubicBezTo>
                  <a:pt x="10544" y="1309"/>
                  <a:pt x="10625" y="1267"/>
                  <a:pt x="10625" y="1241"/>
                </a:cubicBezTo>
                <a:cubicBezTo>
                  <a:pt x="10612" y="1215"/>
                  <a:pt x="10505" y="1228"/>
                  <a:pt x="10424" y="1199"/>
                </a:cubicBezTo>
                <a:cubicBezTo>
                  <a:pt x="10382" y="1186"/>
                  <a:pt x="10356" y="1160"/>
                  <a:pt x="10288" y="1147"/>
                </a:cubicBezTo>
                <a:cubicBezTo>
                  <a:pt x="10233" y="1147"/>
                  <a:pt x="10181" y="1160"/>
                  <a:pt x="10113" y="1160"/>
                </a:cubicBezTo>
                <a:cubicBezTo>
                  <a:pt x="10058" y="1160"/>
                  <a:pt x="10019" y="1079"/>
                  <a:pt x="9964" y="1079"/>
                </a:cubicBezTo>
                <a:cubicBezTo>
                  <a:pt x="9909" y="1079"/>
                  <a:pt x="9841" y="1118"/>
                  <a:pt x="9776" y="1118"/>
                </a:cubicBezTo>
                <a:cubicBezTo>
                  <a:pt x="9721" y="1118"/>
                  <a:pt x="9666" y="1105"/>
                  <a:pt x="9614" y="1105"/>
                </a:cubicBezTo>
                <a:cubicBezTo>
                  <a:pt x="9546" y="1105"/>
                  <a:pt x="9491" y="1118"/>
                  <a:pt x="9436" y="1118"/>
                </a:cubicBezTo>
                <a:cubicBezTo>
                  <a:pt x="9384" y="1118"/>
                  <a:pt x="9316" y="1173"/>
                  <a:pt x="9261" y="1173"/>
                </a:cubicBezTo>
                <a:cubicBezTo>
                  <a:pt x="9209" y="1173"/>
                  <a:pt x="9141" y="1105"/>
                  <a:pt x="9086" y="1105"/>
                </a:cubicBezTo>
                <a:cubicBezTo>
                  <a:pt x="9031" y="1118"/>
                  <a:pt x="8979" y="1173"/>
                  <a:pt x="8911" y="1173"/>
                </a:cubicBezTo>
                <a:cubicBezTo>
                  <a:pt x="8903" y="1175"/>
                  <a:pt x="8896" y="1176"/>
                  <a:pt x="8890" y="1176"/>
                </a:cubicBezTo>
                <a:cubicBezTo>
                  <a:pt x="8855" y="1176"/>
                  <a:pt x="8848" y="1147"/>
                  <a:pt x="8804" y="1147"/>
                </a:cubicBezTo>
                <a:cubicBezTo>
                  <a:pt x="8843" y="1118"/>
                  <a:pt x="8843" y="1105"/>
                  <a:pt x="8843" y="1092"/>
                </a:cubicBezTo>
                <a:cubicBezTo>
                  <a:pt x="8830" y="1066"/>
                  <a:pt x="8736" y="1037"/>
                  <a:pt x="8681" y="1024"/>
                </a:cubicBezTo>
                <a:cubicBezTo>
                  <a:pt x="8749" y="1011"/>
                  <a:pt x="8830" y="998"/>
                  <a:pt x="8898" y="998"/>
                </a:cubicBezTo>
                <a:cubicBezTo>
                  <a:pt x="8905" y="996"/>
                  <a:pt x="8913" y="995"/>
                  <a:pt x="8922" y="995"/>
                </a:cubicBezTo>
                <a:cubicBezTo>
                  <a:pt x="8961" y="995"/>
                  <a:pt x="9007" y="1014"/>
                  <a:pt x="9048" y="1014"/>
                </a:cubicBezTo>
                <a:cubicBezTo>
                  <a:pt x="9056" y="1014"/>
                  <a:pt x="9065" y="1013"/>
                  <a:pt x="9073" y="1011"/>
                </a:cubicBezTo>
                <a:cubicBezTo>
                  <a:pt x="9128" y="998"/>
                  <a:pt x="9180" y="985"/>
                  <a:pt x="9235" y="972"/>
                </a:cubicBezTo>
                <a:cubicBezTo>
                  <a:pt x="9303" y="956"/>
                  <a:pt x="9342" y="904"/>
                  <a:pt x="9397" y="891"/>
                </a:cubicBezTo>
                <a:cubicBezTo>
                  <a:pt x="9409" y="887"/>
                  <a:pt x="9423" y="886"/>
                  <a:pt x="9436" y="886"/>
                </a:cubicBezTo>
                <a:cubicBezTo>
                  <a:pt x="9470" y="886"/>
                  <a:pt x="9505" y="894"/>
                  <a:pt x="9539" y="894"/>
                </a:cubicBezTo>
                <a:cubicBezTo>
                  <a:pt x="9550" y="894"/>
                  <a:pt x="9561" y="894"/>
                  <a:pt x="9572" y="891"/>
                </a:cubicBezTo>
                <a:cubicBezTo>
                  <a:pt x="9627" y="875"/>
                  <a:pt x="9679" y="849"/>
                  <a:pt x="9734" y="836"/>
                </a:cubicBezTo>
                <a:cubicBezTo>
                  <a:pt x="9752" y="832"/>
                  <a:pt x="9772" y="830"/>
                  <a:pt x="9792" y="830"/>
                </a:cubicBezTo>
                <a:cubicBezTo>
                  <a:pt x="9832" y="830"/>
                  <a:pt x="9874" y="836"/>
                  <a:pt x="9909" y="836"/>
                </a:cubicBezTo>
                <a:cubicBezTo>
                  <a:pt x="9977" y="810"/>
                  <a:pt x="10003" y="755"/>
                  <a:pt x="10058" y="742"/>
                </a:cubicBezTo>
                <a:cubicBezTo>
                  <a:pt x="10113" y="729"/>
                  <a:pt x="10152" y="700"/>
                  <a:pt x="10207" y="687"/>
                </a:cubicBezTo>
                <a:cubicBezTo>
                  <a:pt x="10234" y="674"/>
                  <a:pt x="10268" y="674"/>
                  <a:pt x="10300" y="674"/>
                </a:cubicBezTo>
                <a:cubicBezTo>
                  <a:pt x="10332" y="674"/>
                  <a:pt x="10362" y="674"/>
                  <a:pt x="10382" y="661"/>
                </a:cubicBezTo>
                <a:cubicBezTo>
                  <a:pt x="10450" y="632"/>
                  <a:pt x="10518" y="632"/>
                  <a:pt x="10557" y="606"/>
                </a:cubicBezTo>
                <a:cubicBezTo>
                  <a:pt x="10612" y="580"/>
                  <a:pt x="10651" y="512"/>
                  <a:pt x="10651" y="486"/>
                </a:cubicBezTo>
                <a:cubicBezTo>
                  <a:pt x="10651" y="457"/>
                  <a:pt x="10570" y="418"/>
                  <a:pt x="10518" y="389"/>
                </a:cubicBezTo>
                <a:cubicBezTo>
                  <a:pt x="10510" y="386"/>
                  <a:pt x="10501" y="386"/>
                  <a:pt x="10491" y="386"/>
                </a:cubicBezTo>
                <a:cubicBezTo>
                  <a:pt x="10447" y="386"/>
                  <a:pt x="10382" y="405"/>
                  <a:pt x="10327" y="405"/>
                </a:cubicBezTo>
                <a:cubicBezTo>
                  <a:pt x="10288" y="389"/>
                  <a:pt x="10246" y="376"/>
                  <a:pt x="10181" y="363"/>
                </a:cubicBezTo>
                <a:cubicBezTo>
                  <a:pt x="10126" y="363"/>
                  <a:pt x="10084" y="308"/>
                  <a:pt x="10032" y="308"/>
                </a:cubicBezTo>
                <a:cubicBezTo>
                  <a:pt x="9977" y="308"/>
                  <a:pt x="9922" y="324"/>
                  <a:pt x="9857" y="324"/>
                </a:cubicBezTo>
                <a:cubicBezTo>
                  <a:pt x="9802" y="324"/>
                  <a:pt x="9760" y="295"/>
                  <a:pt x="9695" y="295"/>
                </a:cubicBezTo>
                <a:cubicBezTo>
                  <a:pt x="9640" y="295"/>
                  <a:pt x="9585" y="324"/>
                  <a:pt x="9533" y="324"/>
                </a:cubicBezTo>
                <a:cubicBezTo>
                  <a:pt x="9478" y="324"/>
                  <a:pt x="9423" y="295"/>
                  <a:pt x="9355" y="295"/>
                </a:cubicBezTo>
                <a:lnTo>
                  <a:pt x="9193" y="295"/>
                </a:lnTo>
                <a:cubicBezTo>
                  <a:pt x="9141" y="295"/>
                  <a:pt x="9073" y="363"/>
                  <a:pt x="9018" y="363"/>
                </a:cubicBezTo>
                <a:cubicBezTo>
                  <a:pt x="8966" y="363"/>
                  <a:pt x="8911" y="308"/>
                  <a:pt x="8856" y="308"/>
                </a:cubicBezTo>
                <a:cubicBezTo>
                  <a:pt x="8804" y="324"/>
                  <a:pt x="8749" y="350"/>
                  <a:pt x="8681" y="363"/>
                </a:cubicBezTo>
                <a:lnTo>
                  <a:pt x="8493" y="363"/>
                </a:lnTo>
                <a:cubicBezTo>
                  <a:pt x="8545" y="350"/>
                  <a:pt x="8600" y="324"/>
                  <a:pt x="8626" y="295"/>
                </a:cubicBezTo>
                <a:cubicBezTo>
                  <a:pt x="8668" y="269"/>
                  <a:pt x="8707" y="243"/>
                  <a:pt x="8707" y="214"/>
                </a:cubicBezTo>
                <a:cubicBezTo>
                  <a:pt x="8694" y="175"/>
                  <a:pt x="8681" y="120"/>
                  <a:pt x="8626" y="94"/>
                </a:cubicBezTo>
                <a:cubicBezTo>
                  <a:pt x="8622" y="93"/>
                  <a:pt x="8618" y="92"/>
                  <a:pt x="8613" y="92"/>
                </a:cubicBezTo>
                <a:cubicBezTo>
                  <a:pt x="8572" y="92"/>
                  <a:pt x="8492" y="135"/>
                  <a:pt x="8431" y="135"/>
                </a:cubicBezTo>
                <a:cubicBezTo>
                  <a:pt x="8425" y="135"/>
                  <a:pt x="8418" y="134"/>
                  <a:pt x="8412" y="133"/>
                </a:cubicBezTo>
                <a:cubicBezTo>
                  <a:pt x="8370" y="120"/>
                  <a:pt x="8344" y="52"/>
                  <a:pt x="8289" y="52"/>
                </a:cubicBezTo>
                <a:cubicBezTo>
                  <a:pt x="8237" y="39"/>
                  <a:pt x="8169" y="39"/>
                  <a:pt x="8114" y="39"/>
                </a:cubicBezTo>
                <a:cubicBezTo>
                  <a:pt x="8108" y="38"/>
                  <a:pt x="8102" y="37"/>
                  <a:pt x="8096" y="37"/>
                </a:cubicBezTo>
                <a:cubicBezTo>
                  <a:pt x="8045" y="37"/>
                  <a:pt x="7988" y="81"/>
                  <a:pt x="7939" y="81"/>
                </a:cubicBezTo>
                <a:lnTo>
                  <a:pt x="7764" y="81"/>
                </a:lnTo>
                <a:cubicBezTo>
                  <a:pt x="7709" y="81"/>
                  <a:pt x="7670" y="0"/>
                  <a:pt x="7615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0" name="Google Shape;380;p11"/>
          <p:cNvSpPr/>
          <p:nvPr/>
        </p:nvSpPr>
        <p:spPr>
          <a:xfrm>
            <a:off x="-2605834" y="565334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1" name="Google Shape;381;p11"/>
          <p:cNvSpPr/>
          <p:nvPr/>
        </p:nvSpPr>
        <p:spPr>
          <a:xfrm>
            <a:off x="10104193" y="-535248"/>
            <a:ext cx="4035276" cy="1851277"/>
          </a:xfrm>
          <a:custGeom>
            <a:avLst/>
            <a:gdLst/>
            <a:ahLst/>
            <a:cxnLst/>
            <a:rect l="l" t="t" r="r" b="b"/>
            <a:pathLst>
              <a:path w="13353" h="6126" extrusionOk="0">
                <a:moveTo>
                  <a:pt x="13095" y="1"/>
                </a:moveTo>
                <a:cubicBezTo>
                  <a:pt x="13024" y="1"/>
                  <a:pt x="12953" y="8"/>
                  <a:pt x="12880" y="21"/>
                </a:cubicBezTo>
                <a:cubicBezTo>
                  <a:pt x="12313" y="102"/>
                  <a:pt x="11921" y="588"/>
                  <a:pt x="11840" y="1139"/>
                </a:cubicBezTo>
                <a:cubicBezTo>
                  <a:pt x="11652" y="925"/>
                  <a:pt x="11302" y="750"/>
                  <a:pt x="11017" y="750"/>
                </a:cubicBezTo>
                <a:cubicBezTo>
                  <a:pt x="11003" y="749"/>
                  <a:pt x="10989" y="748"/>
                  <a:pt x="10975" y="748"/>
                </a:cubicBezTo>
                <a:cubicBezTo>
                  <a:pt x="10799" y="748"/>
                  <a:pt x="10615" y="841"/>
                  <a:pt x="10492" y="964"/>
                </a:cubicBezTo>
                <a:cubicBezTo>
                  <a:pt x="10343" y="1113"/>
                  <a:pt x="10275" y="1317"/>
                  <a:pt x="10288" y="1518"/>
                </a:cubicBezTo>
                <a:cubicBezTo>
                  <a:pt x="10211" y="1506"/>
                  <a:pt x="10129" y="1493"/>
                  <a:pt x="10048" y="1493"/>
                </a:cubicBezTo>
                <a:cubicBezTo>
                  <a:pt x="9957" y="1493"/>
                  <a:pt x="9868" y="1509"/>
                  <a:pt x="9789" y="1560"/>
                </a:cubicBezTo>
                <a:cubicBezTo>
                  <a:pt x="9666" y="1654"/>
                  <a:pt x="9614" y="1816"/>
                  <a:pt x="9666" y="1965"/>
                </a:cubicBezTo>
                <a:cubicBezTo>
                  <a:pt x="9465" y="1774"/>
                  <a:pt x="9180" y="1654"/>
                  <a:pt x="8911" y="1654"/>
                </a:cubicBezTo>
                <a:cubicBezTo>
                  <a:pt x="8629" y="1654"/>
                  <a:pt x="8344" y="1803"/>
                  <a:pt x="8195" y="2030"/>
                </a:cubicBezTo>
                <a:cubicBezTo>
                  <a:pt x="8114" y="2153"/>
                  <a:pt x="8075" y="2302"/>
                  <a:pt x="8033" y="2451"/>
                </a:cubicBezTo>
                <a:cubicBezTo>
                  <a:pt x="7981" y="2678"/>
                  <a:pt x="8020" y="2882"/>
                  <a:pt x="8007" y="3112"/>
                </a:cubicBezTo>
                <a:cubicBezTo>
                  <a:pt x="7888" y="3061"/>
                  <a:pt x="7763" y="3015"/>
                  <a:pt x="7636" y="3015"/>
                </a:cubicBezTo>
                <a:cubicBezTo>
                  <a:pt x="7562" y="3015"/>
                  <a:pt x="7488" y="3030"/>
                  <a:pt x="7414" y="3070"/>
                </a:cubicBezTo>
                <a:cubicBezTo>
                  <a:pt x="7210" y="3164"/>
                  <a:pt x="7090" y="3368"/>
                  <a:pt x="7074" y="3585"/>
                </a:cubicBezTo>
                <a:cubicBezTo>
                  <a:pt x="6891" y="3395"/>
                  <a:pt x="6691" y="3317"/>
                  <a:pt x="6491" y="3317"/>
                </a:cubicBezTo>
                <a:cubicBezTo>
                  <a:pt x="5877" y="3317"/>
                  <a:pt x="5255" y="4053"/>
                  <a:pt x="5091" y="4583"/>
                </a:cubicBezTo>
                <a:cubicBezTo>
                  <a:pt x="4916" y="4366"/>
                  <a:pt x="4699" y="4152"/>
                  <a:pt x="4417" y="4110"/>
                </a:cubicBezTo>
                <a:cubicBezTo>
                  <a:pt x="4396" y="4107"/>
                  <a:pt x="4374" y="4106"/>
                  <a:pt x="4352" y="4106"/>
                </a:cubicBezTo>
                <a:cubicBezTo>
                  <a:pt x="4085" y="4106"/>
                  <a:pt x="3813" y="4319"/>
                  <a:pt x="3876" y="4583"/>
                </a:cubicBezTo>
                <a:cubicBezTo>
                  <a:pt x="3687" y="4484"/>
                  <a:pt x="3490" y="4393"/>
                  <a:pt x="3289" y="4393"/>
                </a:cubicBezTo>
                <a:cubicBezTo>
                  <a:pt x="3273" y="4393"/>
                  <a:pt x="3257" y="4394"/>
                  <a:pt x="3241" y="4395"/>
                </a:cubicBezTo>
                <a:cubicBezTo>
                  <a:pt x="2972" y="4421"/>
                  <a:pt x="2849" y="4609"/>
                  <a:pt x="2755" y="4826"/>
                </a:cubicBezTo>
                <a:cubicBezTo>
                  <a:pt x="2679" y="4710"/>
                  <a:pt x="2540" y="4643"/>
                  <a:pt x="2403" y="4643"/>
                </a:cubicBezTo>
                <a:cubicBezTo>
                  <a:pt x="2348" y="4643"/>
                  <a:pt x="2293" y="4654"/>
                  <a:pt x="2243" y="4677"/>
                </a:cubicBezTo>
                <a:cubicBezTo>
                  <a:pt x="2052" y="4745"/>
                  <a:pt x="1932" y="4933"/>
                  <a:pt x="1919" y="5137"/>
                </a:cubicBezTo>
                <a:cubicBezTo>
                  <a:pt x="1878" y="5027"/>
                  <a:pt x="1766" y="4961"/>
                  <a:pt x="1650" y="4961"/>
                </a:cubicBezTo>
                <a:cubicBezTo>
                  <a:pt x="1608" y="4961"/>
                  <a:pt x="1566" y="4970"/>
                  <a:pt x="1527" y="4988"/>
                </a:cubicBezTo>
                <a:cubicBezTo>
                  <a:pt x="1378" y="5043"/>
                  <a:pt x="1297" y="5189"/>
                  <a:pt x="1271" y="5351"/>
                </a:cubicBezTo>
                <a:cubicBezTo>
                  <a:pt x="1189" y="5294"/>
                  <a:pt x="1103" y="5258"/>
                  <a:pt x="1015" y="5258"/>
                </a:cubicBezTo>
                <a:cubicBezTo>
                  <a:pt x="956" y="5258"/>
                  <a:pt x="897" y="5274"/>
                  <a:pt x="837" y="5312"/>
                </a:cubicBezTo>
                <a:cubicBezTo>
                  <a:pt x="798" y="5351"/>
                  <a:pt x="743" y="5406"/>
                  <a:pt x="691" y="5432"/>
                </a:cubicBezTo>
                <a:cubicBezTo>
                  <a:pt x="623" y="5461"/>
                  <a:pt x="542" y="5461"/>
                  <a:pt x="474" y="5461"/>
                </a:cubicBezTo>
                <a:lnTo>
                  <a:pt x="43" y="5461"/>
                </a:lnTo>
                <a:cubicBezTo>
                  <a:pt x="1" y="5513"/>
                  <a:pt x="69" y="5581"/>
                  <a:pt x="137" y="5610"/>
                </a:cubicBezTo>
                <a:cubicBezTo>
                  <a:pt x="284" y="5676"/>
                  <a:pt x="459" y="5710"/>
                  <a:pt x="636" y="5710"/>
                </a:cubicBezTo>
                <a:cubicBezTo>
                  <a:pt x="813" y="5710"/>
                  <a:pt x="992" y="5676"/>
                  <a:pt x="1148" y="5610"/>
                </a:cubicBezTo>
                <a:cubicBezTo>
                  <a:pt x="1221" y="5677"/>
                  <a:pt x="1320" y="5708"/>
                  <a:pt x="1422" y="5708"/>
                </a:cubicBezTo>
                <a:cubicBezTo>
                  <a:pt x="1588" y="5708"/>
                  <a:pt x="1762" y="5625"/>
                  <a:pt x="1838" y="5474"/>
                </a:cubicBezTo>
                <a:cubicBezTo>
                  <a:pt x="1917" y="5516"/>
                  <a:pt x="2010" y="5537"/>
                  <a:pt x="2104" y="5537"/>
                </a:cubicBezTo>
                <a:cubicBezTo>
                  <a:pt x="2219" y="5537"/>
                  <a:pt x="2335" y="5507"/>
                  <a:pt x="2431" y="5448"/>
                </a:cubicBezTo>
                <a:cubicBezTo>
                  <a:pt x="2623" y="5738"/>
                  <a:pt x="2969" y="5948"/>
                  <a:pt x="3307" y="5948"/>
                </a:cubicBezTo>
                <a:cubicBezTo>
                  <a:pt x="3517" y="5948"/>
                  <a:pt x="3724" y="5867"/>
                  <a:pt x="3889" y="5675"/>
                </a:cubicBezTo>
                <a:cubicBezTo>
                  <a:pt x="3955" y="5950"/>
                  <a:pt x="4250" y="6126"/>
                  <a:pt x="4540" y="6126"/>
                </a:cubicBezTo>
                <a:cubicBezTo>
                  <a:pt x="4608" y="6126"/>
                  <a:pt x="4676" y="6116"/>
                  <a:pt x="4741" y="6096"/>
                </a:cubicBezTo>
                <a:cubicBezTo>
                  <a:pt x="5078" y="5999"/>
                  <a:pt x="5308" y="5662"/>
                  <a:pt x="5373" y="5325"/>
                </a:cubicBezTo>
                <a:lnTo>
                  <a:pt x="5373" y="5325"/>
                </a:lnTo>
                <a:cubicBezTo>
                  <a:pt x="5334" y="5529"/>
                  <a:pt x="6037" y="5756"/>
                  <a:pt x="6157" y="5785"/>
                </a:cubicBezTo>
                <a:cubicBezTo>
                  <a:pt x="6211" y="5792"/>
                  <a:pt x="6262" y="5796"/>
                  <a:pt x="6313" y="5796"/>
                </a:cubicBezTo>
                <a:cubicBezTo>
                  <a:pt x="6617" y="5796"/>
                  <a:pt x="6866" y="5672"/>
                  <a:pt x="7155" y="5555"/>
                </a:cubicBezTo>
                <a:cubicBezTo>
                  <a:pt x="7171" y="5662"/>
                  <a:pt x="7252" y="5772"/>
                  <a:pt x="7359" y="5798"/>
                </a:cubicBezTo>
                <a:cubicBezTo>
                  <a:pt x="7381" y="5803"/>
                  <a:pt x="7403" y="5806"/>
                  <a:pt x="7426" y="5806"/>
                </a:cubicBezTo>
                <a:cubicBezTo>
                  <a:pt x="7514" y="5806"/>
                  <a:pt x="7603" y="5766"/>
                  <a:pt x="7657" y="5691"/>
                </a:cubicBezTo>
                <a:cubicBezTo>
                  <a:pt x="7777" y="5853"/>
                  <a:pt x="7981" y="5947"/>
                  <a:pt x="8182" y="5973"/>
                </a:cubicBezTo>
                <a:cubicBezTo>
                  <a:pt x="8219" y="5978"/>
                  <a:pt x="8255" y="5980"/>
                  <a:pt x="8293" y="5980"/>
                </a:cubicBezTo>
                <a:cubicBezTo>
                  <a:pt x="8462" y="5980"/>
                  <a:pt x="8634" y="5935"/>
                  <a:pt x="8791" y="5879"/>
                </a:cubicBezTo>
                <a:cubicBezTo>
                  <a:pt x="9128" y="5772"/>
                  <a:pt x="9504" y="5568"/>
                  <a:pt x="9763" y="5325"/>
                </a:cubicBezTo>
                <a:cubicBezTo>
                  <a:pt x="9883" y="5662"/>
                  <a:pt x="10233" y="5905"/>
                  <a:pt x="10599" y="5905"/>
                </a:cubicBezTo>
                <a:cubicBezTo>
                  <a:pt x="10608" y="5905"/>
                  <a:pt x="10617" y="5905"/>
                  <a:pt x="10627" y="5905"/>
                </a:cubicBezTo>
                <a:cubicBezTo>
                  <a:pt x="10980" y="5905"/>
                  <a:pt x="11331" y="5666"/>
                  <a:pt x="11464" y="5338"/>
                </a:cubicBezTo>
                <a:cubicBezTo>
                  <a:pt x="11477" y="5649"/>
                  <a:pt x="11720" y="5934"/>
                  <a:pt x="12015" y="5999"/>
                </a:cubicBezTo>
                <a:cubicBezTo>
                  <a:pt x="12055" y="6006"/>
                  <a:pt x="12097" y="6009"/>
                  <a:pt x="12138" y="6009"/>
                </a:cubicBezTo>
                <a:cubicBezTo>
                  <a:pt x="12411" y="6009"/>
                  <a:pt x="12681" y="5855"/>
                  <a:pt x="12799" y="5610"/>
                </a:cubicBezTo>
                <a:cubicBezTo>
                  <a:pt x="12922" y="5811"/>
                  <a:pt x="13123" y="5960"/>
                  <a:pt x="13353" y="6054"/>
                </a:cubicBezTo>
                <a:lnTo>
                  <a:pt x="13353" y="34"/>
                </a:lnTo>
                <a:cubicBezTo>
                  <a:pt x="13265" y="11"/>
                  <a:pt x="13180" y="1"/>
                  <a:pt x="13095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82" name="Google Shape;382;p11"/>
          <p:cNvGrpSpPr/>
          <p:nvPr/>
        </p:nvGrpSpPr>
        <p:grpSpPr>
          <a:xfrm>
            <a:off x="1088292" y="4192999"/>
            <a:ext cx="218584" cy="325603"/>
            <a:chOff x="-1716306" y="2279074"/>
            <a:chExt cx="163938" cy="244202"/>
          </a:xfrm>
        </p:grpSpPr>
        <p:sp>
          <p:nvSpPr>
            <p:cNvPr id="383" name="Google Shape;383;p11"/>
            <p:cNvSpPr/>
            <p:nvPr/>
          </p:nvSpPr>
          <p:spPr>
            <a:xfrm>
              <a:off x="-1692019" y="2487794"/>
              <a:ext cx="17077" cy="35482"/>
            </a:xfrm>
            <a:custGeom>
              <a:avLst/>
              <a:gdLst/>
              <a:ahLst/>
              <a:cxnLst/>
              <a:rect l="l" t="t" r="r" b="b"/>
              <a:pathLst>
                <a:path w="90" h="187" extrusionOk="0">
                  <a:moveTo>
                    <a:pt x="57" y="1"/>
                  </a:moveTo>
                  <a:cubicBezTo>
                    <a:pt x="32" y="1"/>
                    <a:pt x="1" y="22"/>
                    <a:pt x="9" y="38"/>
                  </a:cubicBezTo>
                  <a:cubicBezTo>
                    <a:pt x="51" y="80"/>
                    <a:pt x="35" y="187"/>
                    <a:pt x="35" y="187"/>
                  </a:cubicBezTo>
                  <a:lnTo>
                    <a:pt x="77" y="187"/>
                  </a:lnTo>
                  <a:cubicBezTo>
                    <a:pt x="64" y="80"/>
                    <a:pt x="90" y="38"/>
                    <a:pt x="90" y="38"/>
                  </a:cubicBezTo>
                  <a:cubicBezTo>
                    <a:pt x="90" y="11"/>
                    <a:pt x="75" y="1"/>
                    <a:pt x="57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4" name="Google Shape;384;p11"/>
            <p:cNvSpPr/>
            <p:nvPr/>
          </p:nvSpPr>
          <p:spPr>
            <a:xfrm>
              <a:off x="-1713270" y="2279454"/>
              <a:ext cx="63753" cy="228643"/>
            </a:xfrm>
            <a:custGeom>
              <a:avLst/>
              <a:gdLst/>
              <a:ahLst/>
              <a:cxnLst/>
              <a:rect l="l" t="t" r="r" b="b"/>
              <a:pathLst>
                <a:path w="336" h="1205" extrusionOk="0">
                  <a:moveTo>
                    <a:pt x="169" y="1"/>
                  </a:moveTo>
                  <a:cubicBezTo>
                    <a:pt x="152" y="1"/>
                    <a:pt x="135" y="37"/>
                    <a:pt x="121" y="125"/>
                  </a:cubicBezTo>
                  <a:cubicBezTo>
                    <a:pt x="121" y="125"/>
                    <a:pt x="1" y="1097"/>
                    <a:pt x="82" y="1165"/>
                  </a:cubicBezTo>
                  <a:cubicBezTo>
                    <a:pt x="105" y="1188"/>
                    <a:pt x="140" y="1205"/>
                    <a:pt x="177" y="1205"/>
                  </a:cubicBezTo>
                  <a:cubicBezTo>
                    <a:pt x="243" y="1205"/>
                    <a:pt x="314" y="1149"/>
                    <a:pt x="325" y="974"/>
                  </a:cubicBezTo>
                  <a:cubicBezTo>
                    <a:pt x="335" y="764"/>
                    <a:pt x="246" y="1"/>
                    <a:pt x="169" y="1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5" name="Google Shape;385;p11"/>
            <p:cNvSpPr/>
            <p:nvPr/>
          </p:nvSpPr>
          <p:spPr>
            <a:xfrm>
              <a:off x="-1716306" y="2279074"/>
              <a:ext cx="38897" cy="226366"/>
            </a:xfrm>
            <a:custGeom>
              <a:avLst/>
              <a:gdLst/>
              <a:ahLst/>
              <a:cxnLst/>
              <a:rect l="l" t="t" r="r" b="b"/>
              <a:pathLst>
                <a:path w="205" h="1193" extrusionOk="0">
                  <a:moveTo>
                    <a:pt x="183" y="0"/>
                  </a:moveTo>
                  <a:cubicBezTo>
                    <a:pt x="164" y="0"/>
                    <a:pt x="146" y="38"/>
                    <a:pt x="137" y="127"/>
                  </a:cubicBezTo>
                  <a:cubicBezTo>
                    <a:pt x="137" y="127"/>
                    <a:pt x="1" y="1031"/>
                    <a:pt x="98" y="1167"/>
                  </a:cubicBezTo>
                  <a:cubicBezTo>
                    <a:pt x="98" y="1180"/>
                    <a:pt x="111" y="1180"/>
                    <a:pt x="124" y="1193"/>
                  </a:cubicBezTo>
                  <a:cubicBezTo>
                    <a:pt x="69" y="989"/>
                    <a:pt x="150" y="114"/>
                    <a:pt x="150" y="114"/>
                  </a:cubicBezTo>
                  <a:cubicBezTo>
                    <a:pt x="163" y="4"/>
                    <a:pt x="192" y="33"/>
                    <a:pt x="205" y="17"/>
                  </a:cubicBezTo>
                  <a:cubicBezTo>
                    <a:pt x="198" y="6"/>
                    <a:pt x="190" y="0"/>
                    <a:pt x="183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6" name="Google Shape;386;p11"/>
            <p:cNvSpPr/>
            <p:nvPr/>
          </p:nvSpPr>
          <p:spPr>
            <a:xfrm>
              <a:off x="-1593543" y="2487794"/>
              <a:ext cx="18785" cy="35482"/>
            </a:xfrm>
            <a:custGeom>
              <a:avLst/>
              <a:gdLst/>
              <a:ahLst/>
              <a:cxnLst/>
              <a:rect l="l" t="t" r="r" b="b"/>
              <a:pathLst>
                <a:path w="99" h="187" extrusionOk="0">
                  <a:moveTo>
                    <a:pt x="55" y="1"/>
                  </a:moveTo>
                  <a:cubicBezTo>
                    <a:pt x="27" y="1"/>
                    <a:pt x="0" y="22"/>
                    <a:pt x="18" y="38"/>
                  </a:cubicBezTo>
                  <a:cubicBezTo>
                    <a:pt x="44" y="80"/>
                    <a:pt x="31" y="187"/>
                    <a:pt x="31" y="187"/>
                  </a:cubicBezTo>
                  <a:lnTo>
                    <a:pt x="70" y="187"/>
                  </a:lnTo>
                  <a:cubicBezTo>
                    <a:pt x="70" y="80"/>
                    <a:pt x="99" y="38"/>
                    <a:pt x="99" y="38"/>
                  </a:cubicBezTo>
                  <a:cubicBezTo>
                    <a:pt x="92" y="11"/>
                    <a:pt x="73" y="1"/>
                    <a:pt x="55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7" name="Google Shape;387;p11"/>
            <p:cNvSpPr/>
            <p:nvPr/>
          </p:nvSpPr>
          <p:spPr>
            <a:xfrm>
              <a:off x="-1616122" y="2279454"/>
              <a:ext cx="63753" cy="228643"/>
            </a:xfrm>
            <a:custGeom>
              <a:avLst/>
              <a:gdLst/>
              <a:ahLst/>
              <a:cxnLst/>
              <a:rect l="l" t="t" r="r" b="b"/>
              <a:pathLst>
                <a:path w="336" h="1205" extrusionOk="0">
                  <a:moveTo>
                    <a:pt x="174" y="1"/>
                  </a:moveTo>
                  <a:cubicBezTo>
                    <a:pt x="156" y="1"/>
                    <a:pt x="138" y="37"/>
                    <a:pt x="121" y="125"/>
                  </a:cubicBezTo>
                  <a:cubicBezTo>
                    <a:pt x="121" y="125"/>
                    <a:pt x="1" y="1097"/>
                    <a:pt x="82" y="1165"/>
                  </a:cubicBezTo>
                  <a:cubicBezTo>
                    <a:pt x="106" y="1188"/>
                    <a:pt x="142" y="1205"/>
                    <a:pt x="179" y="1205"/>
                  </a:cubicBezTo>
                  <a:cubicBezTo>
                    <a:pt x="246" y="1205"/>
                    <a:pt x="316" y="1149"/>
                    <a:pt x="325" y="974"/>
                  </a:cubicBezTo>
                  <a:cubicBezTo>
                    <a:pt x="335" y="764"/>
                    <a:pt x="257" y="1"/>
                    <a:pt x="174" y="1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8" name="Google Shape;388;p11"/>
            <p:cNvSpPr/>
            <p:nvPr/>
          </p:nvSpPr>
          <p:spPr>
            <a:xfrm>
              <a:off x="-1618589" y="2279074"/>
              <a:ext cx="38328" cy="226366"/>
            </a:xfrm>
            <a:custGeom>
              <a:avLst/>
              <a:gdLst/>
              <a:ahLst/>
              <a:cxnLst/>
              <a:rect l="l" t="t" r="r" b="b"/>
              <a:pathLst>
                <a:path w="202" h="1193" extrusionOk="0">
                  <a:moveTo>
                    <a:pt x="182" y="0"/>
                  </a:moveTo>
                  <a:cubicBezTo>
                    <a:pt x="167" y="0"/>
                    <a:pt x="155" y="38"/>
                    <a:pt x="134" y="127"/>
                  </a:cubicBezTo>
                  <a:cubicBezTo>
                    <a:pt x="134" y="127"/>
                    <a:pt x="1" y="1031"/>
                    <a:pt x="95" y="1167"/>
                  </a:cubicBezTo>
                  <a:cubicBezTo>
                    <a:pt x="108" y="1180"/>
                    <a:pt x="121" y="1180"/>
                    <a:pt x="134" y="1193"/>
                  </a:cubicBezTo>
                  <a:cubicBezTo>
                    <a:pt x="82" y="989"/>
                    <a:pt x="163" y="114"/>
                    <a:pt x="163" y="114"/>
                  </a:cubicBezTo>
                  <a:cubicBezTo>
                    <a:pt x="176" y="4"/>
                    <a:pt x="202" y="33"/>
                    <a:pt x="202" y="17"/>
                  </a:cubicBezTo>
                  <a:cubicBezTo>
                    <a:pt x="194" y="6"/>
                    <a:pt x="188" y="0"/>
                    <a:pt x="182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389" name="Google Shape;389;p11"/>
          <p:cNvGrpSpPr/>
          <p:nvPr/>
        </p:nvGrpSpPr>
        <p:grpSpPr>
          <a:xfrm>
            <a:off x="2202558" y="3841844"/>
            <a:ext cx="2333073" cy="1027912"/>
            <a:chOff x="-1936407" y="2490071"/>
            <a:chExt cx="1749805" cy="770934"/>
          </a:xfrm>
        </p:grpSpPr>
        <p:sp>
          <p:nvSpPr>
            <p:cNvPr id="390" name="Google Shape;390;p11"/>
            <p:cNvSpPr/>
            <p:nvPr/>
          </p:nvSpPr>
          <p:spPr>
            <a:xfrm>
              <a:off x="-1580450" y="2835407"/>
              <a:ext cx="651196" cy="254069"/>
            </a:xfrm>
            <a:custGeom>
              <a:avLst/>
              <a:gdLst/>
              <a:ahLst/>
              <a:cxnLst/>
              <a:rect l="l" t="t" r="r" b="b"/>
              <a:pathLst>
                <a:path w="3432" h="1339" extrusionOk="0">
                  <a:moveTo>
                    <a:pt x="1" y="1"/>
                  </a:moveTo>
                  <a:lnTo>
                    <a:pt x="1" y="1339"/>
                  </a:lnTo>
                  <a:lnTo>
                    <a:pt x="3432" y="1339"/>
                  </a:lnTo>
                  <a:lnTo>
                    <a:pt x="3432" y="1"/>
                  </a:ln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1" name="Google Shape;391;p11"/>
            <p:cNvSpPr/>
            <p:nvPr/>
          </p:nvSpPr>
          <p:spPr>
            <a:xfrm>
              <a:off x="-1170417" y="2853812"/>
              <a:ext cx="266398" cy="235663"/>
            </a:xfrm>
            <a:custGeom>
              <a:avLst/>
              <a:gdLst/>
              <a:ahLst/>
              <a:cxnLst/>
              <a:rect l="l" t="t" r="r" b="b"/>
              <a:pathLst>
                <a:path w="1404" h="1242" extrusionOk="0">
                  <a:moveTo>
                    <a:pt x="1" y="1"/>
                  </a:moveTo>
                  <a:lnTo>
                    <a:pt x="1" y="1242"/>
                  </a:lnTo>
                  <a:lnTo>
                    <a:pt x="1404" y="1242"/>
                  </a:lnTo>
                  <a:lnTo>
                    <a:pt x="1404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2" name="Google Shape;392;p11"/>
            <p:cNvSpPr/>
            <p:nvPr/>
          </p:nvSpPr>
          <p:spPr>
            <a:xfrm>
              <a:off x="-1375149" y="2490071"/>
              <a:ext cx="471131" cy="363931"/>
            </a:xfrm>
            <a:custGeom>
              <a:avLst/>
              <a:gdLst/>
              <a:ahLst/>
              <a:cxnLst/>
              <a:rect l="l" t="t" r="r" b="b"/>
              <a:pathLst>
                <a:path w="2483" h="1918" extrusionOk="0">
                  <a:moveTo>
                    <a:pt x="934" y="0"/>
                  </a:moveTo>
                  <a:cubicBezTo>
                    <a:pt x="486" y="0"/>
                    <a:pt x="1" y="55"/>
                    <a:pt x="1" y="55"/>
                  </a:cubicBezTo>
                  <a:lnTo>
                    <a:pt x="837" y="1918"/>
                  </a:lnTo>
                  <a:lnTo>
                    <a:pt x="2483" y="1918"/>
                  </a:lnTo>
                  <a:cubicBezTo>
                    <a:pt x="2483" y="1918"/>
                    <a:pt x="1929" y="175"/>
                    <a:pt x="1511" y="55"/>
                  </a:cubicBezTo>
                  <a:cubicBezTo>
                    <a:pt x="1371" y="14"/>
                    <a:pt x="1157" y="0"/>
                    <a:pt x="934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3" name="Google Shape;393;p11"/>
            <p:cNvSpPr/>
            <p:nvPr/>
          </p:nvSpPr>
          <p:spPr>
            <a:xfrm>
              <a:off x="-1603220" y="2499748"/>
              <a:ext cx="455761" cy="354254"/>
            </a:xfrm>
            <a:custGeom>
              <a:avLst/>
              <a:gdLst/>
              <a:ahLst/>
              <a:cxnLst/>
              <a:rect l="l" t="t" r="r" b="b"/>
              <a:pathLst>
                <a:path w="2402" h="1867" extrusionOk="0">
                  <a:moveTo>
                    <a:pt x="1211" y="1"/>
                  </a:moveTo>
                  <a:cubicBezTo>
                    <a:pt x="855" y="1"/>
                    <a:pt x="441" y="467"/>
                    <a:pt x="1" y="1867"/>
                  </a:cubicBezTo>
                  <a:lnTo>
                    <a:pt x="2402" y="1867"/>
                  </a:lnTo>
                  <a:cubicBezTo>
                    <a:pt x="2402" y="1867"/>
                    <a:pt x="1922" y="1"/>
                    <a:pt x="1211" y="1"/>
                  </a:cubicBez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4" name="Google Shape;394;p11"/>
            <p:cNvSpPr/>
            <p:nvPr/>
          </p:nvSpPr>
          <p:spPr>
            <a:xfrm>
              <a:off x="-1580450" y="2537317"/>
              <a:ext cx="410223" cy="332054"/>
            </a:xfrm>
            <a:custGeom>
              <a:avLst/>
              <a:gdLst/>
              <a:ahLst/>
              <a:cxnLst/>
              <a:rect l="l" t="t" r="r" b="b"/>
              <a:pathLst>
                <a:path w="2162" h="1750" extrusionOk="0">
                  <a:moveTo>
                    <a:pt x="1078" y="0"/>
                  </a:moveTo>
                  <a:cubicBezTo>
                    <a:pt x="758" y="0"/>
                    <a:pt x="388" y="417"/>
                    <a:pt x="1" y="1669"/>
                  </a:cubicBezTo>
                  <a:lnTo>
                    <a:pt x="1015" y="1750"/>
                  </a:lnTo>
                  <a:lnTo>
                    <a:pt x="2162" y="1669"/>
                  </a:lnTo>
                  <a:cubicBezTo>
                    <a:pt x="2162" y="1669"/>
                    <a:pt x="1718" y="0"/>
                    <a:pt x="1078" y="0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5" name="Google Shape;395;p11"/>
            <p:cNvSpPr/>
            <p:nvPr/>
          </p:nvSpPr>
          <p:spPr>
            <a:xfrm>
              <a:off x="-1493169" y="2907320"/>
              <a:ext cx="195055" cy="182155"/>
            </a:xfrm>
            <a:custGeom>
              <a:avLst/>
              <a:gdLst/>
              <a:ahLst/>
              <a:cxnLst/>
              <a:rect l="l" t="t" r="r" b="b"/>
              <a:pathLst>
                <a:path w="1028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028" y="960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6" name="Google Shape;396;p11"/>
            <p:cNvSpPr/>
            <p:nvPr/>
          </p:nvSpPr>
          <p:spPr>
            <a:xfrm>
              <a:off x="-1467364" y="2925156"/>
              <a:ext cx="145912" cy="164319"/>
            </a:xfrm>
            <a:custGeom>
              <a:avLst/>
              <a:gdLst/>
              <a:ahLst/>
              <a:cxnLst/>
              <a:rect l="l" t="t" r="r" b="b"/>
              <a:pathLst>
                <a:path w="769" h="866" extrusionOk="0">
                  <a:moveTo>
                    <a:pt x="1" y="1"/>
                  </a:moveTo>
                  <a:lnTo>
                    <a:pt x="1" y="866"/>
                  </a:lnTo>
                  <a:lnTo>
                    <a:pt x="769" y="866"/>
                  </a:lnTo>
                  <a:lnTo>
                    <a:pt x="769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7" name="Google Shape;397;p11"/>
            <p:cNvSpPr/>
            <p:nvPr/>
          </p:nvSpPr>
          <p:spPr>
            <a:xfrm>
              <a:off x="-1449528" y="2925156"/>
              <a:ext cx="128076" cy="164319"/>
            </a:xfrm>
            <a:custGeom>
              <a:avLst/>
              <a:gdLst/>
              <a:ahLst/>
              <a:cxnLst/>
              <a:rect l="l" t="t" r="r" b="b"/>
              <a:pathLst>
                <a:path w="675" h="866" extrusionOk="0">
                  <a:moveTo>
                    <a:pt x="1" y="1"/>
                  </a:moveTo>
                  <a:lnTo>
                    <a:pt x="1" y="866"/>
                  </a:lnTo>
                  <a:lnTo>
                    <a:pt x="675" y="866"/>
                  </a:lnTo>
                  <a:lnTo>
                    <a:pt x="675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8" name="Google Shape;398;p11"/>
            <p:cNvSpPr/>
            <p:nvPr/>
          </p:nvSpPr>
          <p:spPr>
            <a:xfrm>
              <a:off x="-1439662" y="2676780"/>
              <a:ext cx="107774" cy="89939"/>
            </a:xfrm>
            <a:custGeom>
              <a:avLst/>
              <a:gdLst/>
              <a:ahLst/>
              <a:cxnLst/>
              <a:rect l="l" t="t" r="r" b="b"/>
              <a:pathLst>
                <a:path w="568" h="474" extrusionOk="0">
                  <a:moveTo>
                    <a:pt x="1" y="1"/>
                  </a:moveTo>
                  <a:lnTo>
                    <a:pt x="1" y="474"/>
                  </a:lnTo>
                  <a:lnTo>
                    <a:pt x="568" y="474"/>
                  </a:lnTo>
                  <a:lnTo>
                    <a:pt x="568" y="1"/>
                  </a:ln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99" name="Google Shape;399;p11"/>
            <p:cNvSpPr/>
            <p:nvPr/>
          </p:nvSpPr>
          <p:spPr>
            <a:xfrm>
              <a:off x="-1424292" y="2684749"/>
              <a:ext cx="80071" cy="81970"/>
            </a:xfrm>
            <a:custGeom>
              <a:avLst/>
              <a:gdLst/>
              <a:ahLst/>
              <a:cxnLst/>
              <a:rect l="l" t="t" r="r" b="b"/>
              <a:pathLst>
                <a:path w="422" h="432" extrusionOk="0">
                  <a:moveTo>
                    <a:pt x="1" y="1"/>
                  </a:moveTo>
                  <a:lnTo>
                    <a:pt x="1" y="432"/>
                  </a:lnTo>
                  <a:lnTo>
                    <a:pt x="422" y="432"/>
                  </a:lnTo>
                  <a:lnTo>
                    <a:pt x="422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0" name="Google Shape;400;p11"/>
            <p:cNvSpPr/>
            <p:nvPr/>
          </p:nvSpPr>
          <p:spPr>
            <a:xfrm>
              <a:off x="-1413857" y="2684749"/>
              <a:ext cx="69635" cy="81970"/>
            </a:xfrm>
            <a:custGeom>
              <a:avLst/>
              <a:gdLst/>
              <a:ahLst/>
              <a:cxnLst/>
              <a:rect l="l" t="t" r="r" b="b"/>
              <a:pathLst>
                <a:path w="367" h="432" extrusionOk="0">
                  <a:moveTo>
                    <a:pt x="1" y="1"/>
                  </a:moveTo>
                  <a:lnTo>
                    <a:pt x="1" y="432"/>
                  </a:lnTo>
                  <a:lnTo>
                    <a:pt x="367" y="432"/>
                  </a:lnTo>
                  <a:lnTo>
                    <a:pt x="36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1" name="Google Shape;401;p11"/>
            <p:cNvSpPr/>
            <p:nvPr/>
          </p:nvSpPr>
          <p:spPr>
            <a:xfrm>
              <a:off x="-1730727" y="3021547"/>
              <a:ext cx="22579" cy="44590"/>
            </a:xfrm>
            <a:custGeom>
              <a:avLst/>
              <a:gdLst/>
              <a:ahLst/>
              <a:cxnLst/>
              <a:rect l="l" t="t" r="r" b="b"/>
              <a:pathLst>
                <a:path w="119" h="235" extrusionOk="0">
                  <a:moveTo>
                    <a:pt x="70" y="1"/>
                  </a:moveTo>
                  <a:cubicBezTo>
                    <a:pt x="36" y="1"/>
                    <a:pt x="0" y="24"/>
                    <a:pt x="25" y="47"/>
                  </a:cubicBezTo>
                  <a:cubicBezTo>
                    <a:pt x="64" y="102"/>
                    <a:pt x="51" y="235"/>
                    <a:pt x="51" y="235"/>
                  </a:cubicBezTo>
                  <a:lnTo>
                    <a:pt x="93" y="235"/>
                  </a:lnTo>
                  <a:cubicBezTo>
                    <a:pt x="93" y="102"/>
                    <a:pt x="119" y="47"/>
                    <a:pt x="119" y="47"/>
                  </a:cubicBezTo>
                  <a:cubicBezTo>
                    <a:pt x="119" y="13"/>
                    <a:pt x="95" y="1"/>
                    <a:pt x="70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2" name="Google Shape;402;p11"/>
            <p:cNvSpPr/>
            <p:nvPr/>
          </p:nvSpPr>
          <p:spPr>
            <a:xfrm>
              <a:off x="-1759378" y="2747175"/>
              <a:ext cx="83676" cy="300366"/>
            </a:xfrm>
            <a:custGeom>
              <a:avLst/>
              <a:gdLst/>
              <a:ahLst/>
              <a:cxnLst/>
              <a:rect l="l" t="t" r="r" b="b"/>
              <a:pathLst>
                <a:path w="441" h="1583" extrusionOk="0">
                  <a:moveTo>
                    <a:pt x="225" y="1"/>
                  </a:moveTo>
                  <a:cubicBezTo>
                    <a:pt x="203" y="1"/>
                    <a:pt x="182" y="48"/>
                    <a:pt x="163" y="158"/>
                  </a:cubicBezTo>
                  <a:cubicBezTo>
                    <a:pt x="163" y="158"/>
                    <a:pt x="1" y="1438"/>
                    <a:pt x="108" y="1535"/>
                  </a:cubicBezTo>
                  <a:cubicBezTo>
                    <a:pt x="140" y="1563"/>
                    <a:pt x="186" y="1583"/>
                    <a:pt x="233" y="1583"/>
                  </a:cubicBezTo>
                  <a:cubicBezTo>
                    <a:pt x="320" y="1583"/>
                    <a:pt x="410" y="1512"/>
                    <a:pt x="419" y="1292"/>
                  </a:cubicBezTo>
                  <a:cubicBezTo>
                    <a:pt x="440" y="1002"/>
                    <a:pt x="326" y="1"/>
                    <a:pt x="225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3" name="Google Shape;403;p11"/>
            <p:cNvSpPr/>
            <p:nvPr/>
          </p:nvSpPr>
          <p:spPr>
            <a:xfrm>
              <a:off x="-1762414" y="2747934"/>
              <a:ext cx="51800" cy="295433"/>
            </a:xfrm>
            <a:custGeom>
              <a:avLst/>
              <a:gdLst/>
              <a:ahLst/>
              <a:cxnLst/>
              <a:rect l="l" t="t" r="r" b="b"/>
              <a:pathLst>
                <a:path w="273" h="1557" extrusionOk="0">
                  <a:moveTo>
                    <a:pt x="242" y="0"/>
                  </a:moveTo>
                  <a:cubicBezTo>
                    <a:pt x="217" y="0"/>
                    <a:pt x="198" y="45"/>
                    <a:pt x="179" y="154"/>
                  </a:cubicBezTo>
                  <a:cubicBezTo>
                    <a:pt x="179" y="154"/>
                    <a:pt x="1" y="1353"/>
                    <a:pt x="124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98" y="1301"/>
                    <a:pt x="205" y="154"/>
                    <a:pt x="205" y="154"/>
                  </a:cubicBezTo>
                  <a:cubicBezTo>
                    <a:pt x="218" y="5"/>
                    <a:pt x="260" y="44"/>
                    <a:pt x="273" y="18"/>
                  </a:cubicBezTo>
                  <a:cubicBezTo>
                    <a:pt x="261" y="7"/>
                    <a:pt x="251" y="0"/>
                    <a:pt x="242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4" name="Google Shape;404;p11"/>
            <p:cNvSpPr/>
            <p:nvPr/>
          </p:nvSpPr>
          <p:spPr>
            <a:xfrm>
              <a:off x="-853357" y="3021547"/>
              <a:ext cx="23718" cy="44590"/>
            </a:xfrm>
            <a:custGeom>
              <a:avLst/>
              <a:gdLst/>
              <a:ahLst/>
              <a:cxnLst/>
              <a:rect l="l" t="t" r="r" b="b"/>
              <a:pathLst>
                <a:path w="125" h="235" extrusionOk="0">
                  <a:moveTo>
                    <a:pt x="75" y="1"/>
                  </a:moveTo>
                  <a:cubicBezTo>
                    <a:pt x="40" y="1"/>
                    <a:pt x="1" y="24"/>
                    <a:pt x="18" y="47"/>
                  </a:cubicBezTo>
                  <a:cubicBezTo>
                    <a:pt x="70" y="102"/>
                    <a:pt x="57" y="235"/>
                    <a:pt x="57" y="235"/>
                  </a:cubicBezTo>
                  <a:lnTo>
                    <a:pt x="99" y="235"/>
                  </a:lnTo>
                  <a:cubicBezTo>
                    <a:pt x="99" y="102"/>
                    <a:pt x="125" y="47"/>
                    <a:pt x="125" y="47"/>
                  </a:cubicBezTo>
                  <a:cubicBezTo>
                    <a:pt x="125" y="13"/>
                    <a:pt x="101" y="1"/>
                    <a:pt x="75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5" name="Google Shape;405;p11"/>
            <p:cNvSpPr/>
            <p:nvPr/>
          </p:nvSpPr>
          <p:spPr>
            <a:xfrm>
              <a:off x="-880870" y="2747175"/>
              <a:ext cx="83676" cy="300366"/>
            </a:xfrm>
            <a:custGeom>
              <a:avLst/>
              <a:gdLst/>
              <a:ahLst/>
              <a:cxnLst/>
              <a:rect l="l" t="t" r="r" b="b"/>
              <a:pathLst>
                <a:path w="441" h="1583" extrusionOk="0">
                  <a:moveTo>
                    <a:pt x="225" y="1"/>
                  </a:moveTo>
                  <a:cubicBezTo>
                    <a:pt x="203" y="1"/>
                    <a:pt x="182" y="48"/>
                    <a:pt x="163" y="158"/>
                  </a:cubicBezTo>
                  <a:cubicBezTo>
                    <a:pt x="163" y="158"/>
                    <a:pt x="1" y="1438"/>
                    <a:pt x="108" y="1535"/>
                  </a:cubicBezTo>
                  <a:cubicBezTo>
                    <a:pt x="140" y="1563"/>
                    <a:pt x="186" y="1583"/>
                    <a:pt x="233" y="1583"/>
                  </a:cubicBezTo>
                  <a:cubicBezTo>
                    <a:pt x="320" y="1583"/>
                    <a:pt x="410" y="1512"/>
                    <a:pt x="419" y="1292"/>
                  </a:cubicBezTo>
                  <a:cubicBezTo>
                    <a:pt x="440" y="1002"/>
                    <a:pt x="326" y="1"/>
                    <a:pt x="225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6" name="Google Shape;406;p11"/>
            <p:cNvSpPr/>
            <p:nvPr/>
          </p:nvSpPr>
          <p:spPr>
            <a:xfrm>
              <a:off x="-883337" y="2747934"/>
              <a:ext cx="48764" cy="295433"/>
            </a:xfrm>
            <a:custGeom>
              <a:avLst/>
              <a:gdLst/>
              <a:ahLst/>
              <a:cxnLst/>
              <a:rect l="l" t="t" r="r" b="b"/>
              <a:pathLst>
                <a:path w="257" h="1557" extrusionOk="0">
                  <a:moveTo>
                    <a:pt x="234" y="0"/>
                  </a:moveTo>
                  <a:cubicBezTo>
                    <a:pt x="214" y="0"/>
                    <a:pt x="195" y="45"/>
                    <a:pt x="176" y="154"/>
                  </a:cubicBezTo>
                  <a:cubicBezTo>
                    <a:pt x="176" y="154"/>
                    <a:pt x="1" y="1353"/>
                    <a:pt x="121" y="1531"/>
                  </a:cubicBezTo>
                  <a:cubicBezTo>
                    <a:pt x="134" y="1544"/>
                    <a:pt x="147" y="1544"/>
                    <a:pt x="163" y="1557"/>
                  </a:cubicBezTo>
                  <a:cubicBezTo>
                    <a:pt x="95" y="1301"/>
                    <a:pt x="202" y="154"/>
                    <a:pt x="202" y="154"/>
                  </a:cubicBezTo>
                  <a:cubicBezTo>
                    <a:pt x="215" y="5"/>
                    <a:pt x="257" y="44"/>
                    <a:pt x="257" y="18"/>
                  </a:cubicBezTo>
                  <a:cubicBezTo>
                    <a:pt x="249" y="7"/>
                    <a:pt x="241" y="0"/>
                    <a:pt x="234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7" name="Google Shape;407;p11"/>
            <p:cNvSpPr/>
            <p:nvPr/>
          </p:nvSpPr>
          <p:spPr>
            <a:xfrm>
              <a:off x="-1811367" y="3021547"/>
              <a:ext cx="23908" cy="44590"/>
            </a:xfrm>
            <a:custGeom>
              <a:avLst/>
              <a:gdLst/>
              <a:ahLst/>
              <a:cxnLst/>
              <a:rect l="l" t="t" r="r" b="b"/>
              <a:pathLst>
                <a:path w="126" h="235" extrusionOk="0">
                  <a:moveTo>
                    <a:pt x="71" y="1"/>
                  </a:moveTo>
                  <a:cubicBezTo>
                    <a:pt x="36" y="1"/>
                    <a:pt x="1" y="24"/>
                    <a:pt x="16" y="47"/>
                  </a:cubicBezTo>
                  <a:cubicBezTo>
                    <a:pt x="58" y="102"/>
                    <a:pt x="45" y="235"/>
                    <a:pt x="45" y="235"/>
                  </a:cubicBezTo>
                  <a:lnTo>
                    <a:pt x="97" y="235"/>
                  </a:lnTo>
                  <a:cubicBezTo>
                    <a:pt x="84" y="102"/>
                    <a:pt x="126" y="47"/>
                    <a:pt x="126" y="47"/>
                  </a:cubicBezTo>
                  <a:cubicBezTo>
                    <a:pt x="120" y="13"/>
                    <a:pt x="96" y="1"/>
                    <a:pt x="71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8" name="Google Shape;408;p11"/>
            <p:cNvSpPr/>
            <p:nvPr/>
          </p:nvSpPr>
          <p:spPr>
            <a:xfrm>
              <a:off x="-1839259" y="2747175"/>
              <a:ext cx="82159" cy="300366"/>
            </a:xfrm>
            <a:custGeom>
              <a:avLst/>
              <a:gdLst/>
              <a:ahLst/>
              <a:cxnLst/>
              <a:rect l="l" t="t" r="r" b="b"/>
              <a:pathLst>
                <a:path w="433" h="1583" extrusionOk="0">
                  <a:moveTo>
                    <a:pt x="218" y="1"/>
                  </a:moveTo>
                  <a:cubicBezTo>
                    <a:pt x="195" y="1"/>
                    <a:pt x="172" y="48"/>
                    <a:pt x="150" y="158"/>
                  </a:cubicBezTo>
                  <a:cubicBezTo>
                    <a:pt x="150" y="158"/>
                    <a:pt x="1" y="1438"/>
                    <a:pt x="111" y="1535"/>
                  </a:cubicBezTo>
                  <a:cubicBezTo>
                    <a:pt x="139" y="1563"/>
                    <a:pt x="183" y="1583"/>
                    <a:pt x="229" y="1583"/>
                  </a:cubicBezTo>
                  <a:cubicBezTo>
                    <a:pt x="316" y="1583"/>
                    <a:pt x="411" y="1512"/>
                    <a:pt x="422" y="1292"/>
                  </a:cubicBezTo>
                  <a:cubicBezTo>
                    <a:pt x="433" y="1002"/>
                    <a:pt x="325" y="1"/>
                    <a:pt x="218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09" name="Google Shape;409;p11"/>
            <p:cNvSpPr/>
            <p:nvPr/>
          </p:nvSpPr>
          <p:spPr>
            <a:xfrm>
              <a:off x="-1844193" y="2747934"/>
              <a:ext cx="51230" cy="295433"/>
            </a:xfrm>
            <a:custGeom>
              <a:avLst/>
              <a:gdLst/>
              <a:ahLst/>
              <a:cxnLst/>
              <a:rect l="l" t="t" r="r" b="b"/>
              <a:pathLst>
                <a:path w="270" h="1557" extrusionOk="0">
                  <a:moveTo>
                    <a:pt x="246" y="0"/>
                  </a:moveTo>
                  <a:cubicBezTo>
                    <a:pt x="223" y="0"/>
                    <a:pt x="197" y="45"/>
                    <a:pt x="176" y="154"/>
                  </a:cubicBezTo>
                  <a:cubicBezTo>
                    <a:pt x="176" y="154"/>
                    <a:pt x="1" y="1353"/>
                    <a:pt x="137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108" y="1301"/>
                    <a:pt x="205" y="154"/>
                    <a:pt x="205" y="154"/>
                  </a:cubicBezTo>
                  <a:cubicBezTo>
                    <a:pt x="218" y="5"/>
                    <a:pt x="257" y="44"/>
                    <a:pt x="270" y="18"/>
                  </a:cubicBezTo>
                  <a:cubicBezTo>
                    <a:pt x="263" y="7"/>
                    <a:pt x="255" y="0"/>
                    <a:pt x="246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0" name="Google Shape;410;p11"/>
            <p:cNvSpPr/>
            <p:nvPr/>
          </p:nvSpPr>
          <p:spPr>
            <a:xfrm>
              <a:off x="-1904910" y="3021547"/>
              <a:ext cx="25236" cy="44590"/>
            </a:xfrm>
            <a:custGeom>
              <a:avLst/>
              <a:gdLst/>
              <a:ahLst/>
              <a:cxnLst/>
              <a:rect l="l" t="t" r="r" b="b"/>
              <a:pathLst>
                <a:path w="133" h="235" extrusionOk="0">
                  <a:moveTo>
                    <a:pt x="74" y="1"/>
                  </a:moveTo>
                  <a:cubicBezTo>
                    <a:pt x="37" y="1"/>
                    <a:pt x="0" y="24"/>
                    <a:pt x="23" y="47"/>
                  </a:cubicBezTo>
                  <a:cubicBezTo>
                    <a:pt x="65" y="102"/>
                    <a:pt x="52" y="235"/>
                    <a:pt x="52" y="235"/>
                  </a:cubicBezTo>
                  <a:lnTo>
                    <a:pt x="104" y="235"/>
                  </a:lnTo>
                  <a:cubicBezTo>
                    <a:pt x="91" y="102"/>
                    <a:pt x="133" y="47"/>
                    <a:pt x="133" y="47"/>
                  </a:cubicBezTo>
                  <a:cubicBezTo>
                    <a:pt x="127" y="13"/>
                    <a:pt x="100" y="1"/>
                    <a:pt x="74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1" name="Google Shape;411;p11"/>
            <p:cNvSpPr/>
            <p:nvPr/>
          </p:nvSpPr>
          <p:spPr>
            <a:xfrm>
              <a:off x="-1933941" y="2747175"/>
              <a:ext cx="84625" cy="300366"/>
            </a:xfrm>
            <a:custGeom>
              <a:avLst/>
              <a:gdLst/>
              <a:ahLst/>
              <a:cxnLst/>
              <a:rect l="l" t="t" r="r" b="b"/>
              <a:pathLst>
                <a:path w="446" h="1583" extrusionOk="0">
                  <a:moveTo>
                    <a:pt x="231" y="1"/>
                  </a:moveTo>
                  <a:cubicBezTo>
                    <a:pt x="208" y="1"/>
                    <a:pt x="185" y="48"/>
                    <a:pt x="163" y="158"/>
                  </a:cubicBezTo>
                  <a:cubicBezTo>
                    <a:pt x="163" y="158"/>
                    <a:pt x="1" y="1438"/>
                    <a:pt x="111" y="1535"/>
                  </a:cubicBezTo>
                  <a:cubicBezTo>
                    <a:pt x="143" y="1563"/>
                    <a:pt x="189" y="1583"/>
                    <a:pt x="235" y="1583"/>
                  </a:cubicBezTo>
                  <a:cubicBezTo>
                    <a:pt x="323" y="1583"/>
                    <a:pt x="416" y="1512"/>
                    <a:pt x="435" y="1292"/>
                  </a:cubicBezTo>
                  <a:cubicBezTo>
                    <a:pt x="446" y="1002"/>
                    <a:pt x="338" y="1"/>
                    <a:pt x="23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2" name="Google Shape;412;p11"/>
            <p:cNvSpPr/>
            <p:nvPr/>
          </p:nvSpPr>
          <p:spPr>
            <a:xfrm>
              <a:off x="-1936407" y="2747934"/>
              <a:ext cx="51230" cy="295433"/>
            </a:xfrm>
            <a:custGeom>
              <a:avLst/>
              <a:gdLst/>
              <a:ahLst/>
              <a:cxnLst/>
              <a:rect l="l" t="t" r="r" b="b"/>
              <a:pathLst>
                <a:path w="270" h="1557" extrusionOk="0">
                  <a:moveTo>
                    <a:pt x="241" y="0"/>
                  </a:moveTo>
                  <a:cubicBezTo>
                    <a:pt x="217" y="0"/>
                    <a:pt x="197" y="45"/>
                    <a:pt x="176" y="154"/>
                  </a:cubicBezTo>
                  <a:cubicBezTo>
                    <a:pt x="176" y="154"/>
                    <a:pt x="1" y="1353"/>
                    <a:pt x="124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95" y="1301"/>
                    <a:pt x="205" y="154"/>
                    <a:pt x="205" y="154"/>
                  </a:cubicBezTo>
                  <a:cubicBezTo>
                    <a:pt x="218" y="5"/>
                    <a:pt x="257" y="44"/>
                    <a:pt x="270" y="18"/>
                  </a:cubicBezTo>
                  <a:cubicBezTo>
                    <a:pt x="259" y="7"/>
                    <a:pt x="250" y="0"/>
                    <a:pt x="241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3" name="Google Shape;413;p11"/>
            <p:cNvSpPr/>
            <p:nvPr/>
          </p:nvSpPr>
          <p:spPr>
            <a:xfrm>
              <a:off x="-1890300" y="3191938"/>
              <a:ext cx="333378" cy="7590"/>
            </a:xfrm>
            <a:custGeom>
              <a:avLst/>
              <a:gdLst/>
              <a:ahLst/>
              <a:cxnLst/>
              <a:rect l="l" t="t" r="r" b="b"/>
              <a:pathLst>
                <a:path w="1757" h="40" extrusionOk="0">
                  <a:moveTo>
                    <a:pt x="1" y="1"/>
                  </a:moveTo>
                  <a:lnTo>
                    <a:pt x="1" y="40"/>
                  </a:lnTo>
                  <a:lnTo>
                    <a:pt x="1757" y="4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4" name="Google Shape;414;p11"/>
            <p:cNvSpPr/>
            <p:nvPr/>
          </p:nvSpPr>
          <p:spPr>
            <a:xfrm>
              <a:off x="-1890300" y="3214707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5" name="Google Shape;415;p11"/>
            <p:cNvSpPr/>
            <p:nvPr/>
          </p:nvSpPr>
          <p:spPr>
            <a:xfrm>
              <a:off x="-1890300" y="3235010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6" name="Google Shape;416;p11"/>
            <p:cNvSpPr/>
            <p:nvPr/>
          </p:nvSpPr>
          <p:spPr>
            <a:xfrm>
              <a:off x="-1882331" y="3179035"/>
              <a:ext cx="12523" cy="81970"/>
            </a:xfrm>
            <a:custGeom>
              <a:avLst/>
              <a:gdLst/>
              <a:ahLst/>
              <a:cxnLst/>
              <a:rect l="l" t="t" r="r" b="b"/>
              <a:pathLst>
                <a:path w="6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6" y="432"/>
                  </a:lnTo>
                  <a:lnTo>
                    <a:pt x="6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7" name="Google Shape;417;p11"/>
            <p:cNvSpPr/>
            <p:nvPr/>
          </p:nvSpPr>
          <p:spPr>
            <a:xfrm>
              <a:off x="-1823890" y="3179035"/>
              <a:ext cx="10626" cy="81970"/>
            </a:xfrm>
            <a:custGeom>
              <a:avLst/>
              <a:gdLst/>
              <a:ahLst/>
              <a:cxnLst/>
              <a:rect l="l" t="t" r="r" b="b"/>
              <a:pathLst>
                <a:path w="5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56" y="432"/>
                  </a:lnTo>
                  <a:lnTo>
                    <a:pt x="5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8" name="Google Shape;418;p11"/>
            <p:cNvSpPr/>
            <p:nvPr/>
          </p:nvSpPr>
          <p:spPr>
            <a:xfrm>
              <a:off x="-1767347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9" name="Google Shape;419;p11"/>
            <p:cNvSpPr/>
            <p:nvPr/>
          </p:nvSpPr>
          <p:spPr>
            <a:xfrm>
              <a:off x="-170587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0" name="Google Shape;420;p11"/>
            <p:cNvSpPr/>
            <p:nvPr/>
          </p:nvSpPr>
          <p:spPr>
            <a:xfrm>
              <a:off x="-1644394" y="3176568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1" name="Google Shape;421;p11"/>
            <p:cNvSpPr/>
            <p:nvPr/>
          </p:nvSpPr>
          <p:spPr>
            <a:xfrm>
              <a:off x="-158045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2" name="Google Shape;422;p11"/>
            <p:cNvSpPr/>
            <p:nvPr/>
          </p:nvSpPr>
          <p:spPr>
            <a:xfrm>
              <a:off x="-519980" y="3040711"/>
              <a:ext cx="333378" cy="5123"/>
            </a:xfrm>
            <a:custGeom>
              <a:avLst/>
              <a:gdLst/>
              <a:ahLst/>
              <a:cxnLst/>
              <a:rect l="l" t="t" r="r" b="b"/>
              <a:pathLst>
                <a:path w="1757" h="27" extrusionOk="0">
                  <a:moveTo>
                    <a:pt x="1" y="1"/>
                  </a:moveTo>
                  <a:lnTo>
                    <a:pt x="1" y="27"/>
                  </a:lnTo>
                  <a:lnTo>
                    <a:pt x="1757" y="27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3" name="Google Shape;423;p11"/>
            <p:cNvSpPr/>
            <p:nvPr/>
          </p:nvSpPr>
          <p:spPr>
            <a:xfrm>
              <a:off x="-519980" y="3063480"/>
              <a:ext cx="333378" cy="5692"/>
            </a:xfrm>
            <a:custGeom>
              <a:avLst/>
              <a:gdLst/>
              <a:ahLst/>
              <a:cxnLst/>
              <a:rect l="l" t="t" r="r" b="b"/>
              <a:pathLst>
                <a:path w="1757" h="30" extrusionOk="0">
                  <a:moveTo>
                    <a:pt x="1" y="1"/>
                  </a:moveTo>
                  <a:lnTo>
                    <a:pt x="1" y="30"/>
                  </a:lnTo>
                  <a:lnTo>
                    <a:pt x="1757" y="3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4" name="Google Shape;424;p11"/>
            <p:cNvSpPr/>
            <p:nvPr/>
          </p:nvSpPr>
          <p:spPr>
            <a:xfrm>
              <a:off x="-519980" y="3084352"/>
              <a:ext cx="333378" cy="5123"/>
            </a:xfrm>
            <a:custGeom>
              <a:avLst/>
              <a:gdLst/>
              <a:ahLst/>
              <a:cxnLst/>
              <a:rect l="l" t="t" r="r" b="b"/>
              <a:pathLst>
                <a:path w="1757" h="27" extrusionOk="0">
                  <a:moveTo>
                    <a:pt x="1" y="1"/>
                  </a:moveTo>
                  <a:lnTo>
                    <a:pt x="1" y="27"/>
                  </a:lnTo>
                  <a:lnTo>
                    <a:pt x="1757" y="27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5" name="Google Shape;425;p11"/>
            <p:cNvSpPr/>
            <p:nvPr/>
          </p:nvSpPr>
          <p:spPr>
            <a:xfrm>
              <a:off x="-51201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6" name="Google Shape;426;p11"/>
            <p:cNvSpPr/>
            <p:nvPr/>
          </p:nvSpPr>
          <p:spPr>
            <a:xfrm>
              <a:off x="-453001" y="3025341"/>
              <a:ext cx="10056" cy="81970"/>
            </a:xfrm>
            <a:custGeom>
              <a:avLst/>
              <a:gdLst/>
              <a:ahLst/>
              <a:cxnLst/>
              <a:rect l="l" t="t" r="r" b="b"/>
              <a:pathLst>
                <a:path w="53" h="432" extrusionOk="0">
                  <a:moveTo>
                    <a:pt x="1" y="1"/>
                  </a:moveTo>
                  <a:lnTo>
                    <a:pt x="1" y="432"/>
                  </a:lnTo>
                  <a:lnTo>
                    <a:pt x="53" y="432"/>
                  </a:lnTo>
                  <a:lnTo>
                    <a:pt x="53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7" name="Google Shape;427;p11"/>
            <p:cNvSpPr/>
            <p:nvPr/>
          </p:nvSpPr>
          <p:spPr>
            <a:xfrm>
              <a:off x="-397026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8" name="Google Shape;428;p11"/>
            <p:cNvSpPr/>
            <p:nvPr/>
          </p:nvSpPr>
          <p:spPr>
            <a:xfrm>
              <a:off x="-33555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9" name="Google Shape;429;p11"/>
            <p:cNvSpPr/>
            <p:nvPr/>
          </p:nvSpPr>
          <p:spPr>
            <a:xfrm>
              <a:off x="-274073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0" name="Google Shape;430;p11"/>
            <p:cNvSpPr/>
            <p:nvPr/>
          </p:nvSpPr>
          <p:spPr>
            <a:xfrm>
              <a:off x="-21013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1" name="Google Shape;431;p11"/>
            <p:cNvSpPr/>
            <p:nvPr/>
          </p:nvSpPr>
          <p:spPr>
            <a:xfrm>
              <a:off x="-1488236" y="3191938"/>
              <a:ext cx="333378" cy="7590"/>
            </a:xfrm>
            <a:custGeom>
              <a:avLst/>
              <a:gdLst/>
              <a:ahLst/>
              <a:cxnLst/>
              <a:rect l="l" t="t" r="r" b="b"/>
              <a:pathLst>
                <a:path w="1757" h="40" extrusionOk="0">
                  <a:moveTo>
                    <a:pt x="1" y="1"/>
                  </a:moveTo>
                  <a:lnTo>
                    <a:pt x="1" y="40"/>
                  </a:lnTo>
                  <a:lnTo>
                    <a:pt x="1757" y="4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2" name="Google Shape;432;p11"/>
            <p:cNvSpPr/>
            <p:nvPr/>
          </p:nvSpPr>
          <p:spPr>
            <a:xfrm>
              <a:off x="-1488236" y="3214707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3" name="Google Shape;433;p11"/>
            <p:cNvSpPr/>
            <p:nvPr/>
          </p:nvSpPr>
          <p:spPr>
            <a:xfrm>
              <a:off x="-1488236" y="3235010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4" name="Google Shape;434;p11"/>
            <p:cNvSpPr/>
            <p:nvPr/>
          </p:nvSpPr>
          <p:spPr>
            <a:xfrm>
              <a:off x="-147780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5" name="Google Shape;435;p11"/>
            <p:cNvSpPr/>
            <p:nvPr/>
          </p:nvSpPr>
          <p:spPr>
            <a:xfrm>
              <a:off x="-1421256" y="3179035"/>
              <a:ext cx="12523" cy="81970"/>
            </a:xfrm>
            <a:custGeom>
              <a:avLst/>
              <a:gdLst/>
              <a:ahLst/>
              <a:cxnLst/>
              <a:rect l="l" t="t" r="r" b="b"/>
              <a:pathLst>
                <a:path w="6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6" y="432"/>
                  </a:lnTo>
                  <a:lnTo>
                    <a:pt x="6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6" name="Google Shape;436;p11"/>
            <p:cNvSpPr/>
            <p:nvPr/>
          </p:nvSpPr>
          <p:spPr>
            <a:xfrm>
              <a:off x="-136281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7" name="Google Shape;437;p11"/>
            <p:cNvSpPr/>
            <p:nvPr/>
          </p:nvSpPr>
          <p:spPr>
            <a:xfrm>
              <a:off x="-130380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8" name="Google Shape;438;p11"/>
            <p:cNvSpPr/>
            <p:nvPr/>
          </p:nvSpPr>
          <p:spPr>
            <a:xfrm>
              <a:off x="-1239863" y="3176568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9" name="Google Shape;439;p11"/>
            <p:cNvSpPr/>
            <p:nvPr/>
          </p:nvSpPr>
          <p:spPr>
            <a:xfrm>
              <a:off x="-117838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440" name="Google Shape;440;p11"/>
          <p:cNvSpPr txBox="1">
            <a:spLocks noGrp="1"/>
          </p:cNvSpPr>
          <p:nvPr>
            <p:ph type="title" hasCustomPrompt="1"/>
          </p:nvPr>
        </p:nvSpPr>
        <p:spPr>
          <a:xfrm>
            <a:off x="1792400" y="1024067"/>
            <a:ext cx="8607200" cy="211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12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41" name="Google Shape;441;p11"/>
          <p:cNvSpPr txBox="1">
            <a:spLocks noGrp="1"/>
          </p:cNvSpPr>
          <p:nvPr>
            <p:ph type="body" idx="1"/>
          </p:nvPr>
        </p:nvSpPr>
        <p:spPr>
          <a:xfrm>
            <a:off x="1792400" y="3029400"/>
            <a:ext cx="8607200" cy="51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1pPr>
            <a:lvl2pPr marL="1219170" lvl="1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2pPr>
            <a:lvl3pPr marL="1828754" lvl="2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3pPr>
            <a:lvl4pPr marL="2438339" lvl="3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4pPr>
            <a:lvl5pPr marL="3047924" lvl="4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5pPr>
            <a:lvl6pPr marL="3657509" lvl="5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6pPr>
            <a:lvl7pPr marL="4267093" lvl="6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7pPr>
            <a:lvl8pPr marL="4876678" lvl="7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8pPr>
            <a:lvl9pPr marL="5486263" lvl="8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5205888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able of contents"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Google Shape;444;p13"/>
          <p:cNvSpPr/>
          <p:nvPr/>
        </p:nvSpPr>
        <p:spPr>
          <a:xfrm>
            <a:off x="9159836" y="4280127"/>
            <a:ext cx="5411387" cy="2616965"/>
          </a:xfrm>
          <a:custGeom>
            <a:avLst/>
            <a:gdLst/>
            <a:ahLst/>
            <a:cxnLst/>
            <a:rect l="l" t="t" r="r" b="b"/>
            <a:pathLst>
              <a:path w="23491" h="11360" extrusionOk="0">
                <a:moveTo>
                  <a:pt x="23491" y="1"/>
                </a:moveTo>
                <a:cubicBezTo>
                  <a:pt x="23274" y="179"/>
                  <a:pt x="22924" y="435"/>
                  <a:pt x="22477" y="529"/>
                </a:cubicBezTo>
                <a:cubicBezTo>
                  <a:pt x="21748" y="691"/>
                  <a:pt x="21505" y="1096"/>
                  <a:pt x="20925" y="1339"/>
                </a:cubicBezTo>
                <a:cubicBezTo>
                  <a:pt x="20842" y="1374"/>
                  <a:pt x="20763" y="1389"/>
                  <a:pt x="20686" y="1389"/>
                </a:cubicBezTo>
                <a:cubicBezTo>
                  <a:pt x="20285" y="1389"/>
                  <a:pt x="19929" y="991"/>
                  <a:pt x="19368" y="991"/>
                </a:cubicBezTo>
                <a:cubicBezTo>
                  <a:pt x="19293" y="991"/>
                  <a:pt x="19213" y="999"/>
                  <a:pt x="19130" y="1015"/>
                </a:cubicBezTo>
                <a:cubicBezTo>
                  <a:pt x="18320" y="1177"/>
                  <a:pt x="18482" y="1663"/>
                  <a:pt x="17348" y="1744"/>
                </a:cubicBezTo>
                <a:cubicBezTo>
                  <a:pt x="16201" y="1838"/>
                  <a:pt x="16687" y="2405"/>
                  <a:pt x="15472" y="2729"/>
                </a:cubicBezTo>
                <a:cubicBezTo>
                  <a:pt x="14244" y="3053"/>
                  <a:pt x="14905" y="3296"/>
                  <a:pt x="14163" y="3539"/>
                </a:cubicBezTo>
                <a:cubicBezTo>
                  <a:pt x="13434" y="3782"/>
                  <a:pt x="13434" y="4038"/>
                  <a:pt x="13110" y="4362"/>
                </a:cubicBezTo>
                <a:cubicBezTo>
                  <a:pt x="13037" y="4435"/>
                  <a:pt x="12959" y="4463"/>
                  <a:pt x="12868" y="4463"/>
                </a:cubicBezTo>
                <a:cubicBezTo>
                  <a:pt x="12584" y="4463"/>
                  <a:pt x="12174" y="4192"/>
                  <a:pt x="11390" y="4192"/>
                </a:cubicBezTo>
                <a:cubicBezTo>
                  <a:pt x="11314" y="4192"/>
                  <a:pt x="11235" y="4194"/>
                  <a:pt x="11153" y="4200"/>
                </a:cubicBezTo>
                <a:cubicBezTo>
                  <a:pt x="9922" y="4281"/>
                  <a:pt x="9679" y="5010"/>
                  <a:pt x="9679" y="5010"/>
                </a:cubicBezTo>
                <a:lnTo>
                  <a:pt x="9112" y="4767"/>
                </a:lnTo>
                <a:cubicBezTo>
                  <a:pt x="8994" y="4748"/>
                  <a:pt x="8885" y="4739"/>
                  <a:pt x="8782" y="4739"/>
                </a:cubicBezTo>
                <a:cubicBezTo>
                  <a:pt x="8018" y="4739"/>
                  <a:pt x="7618" y="5230"/>
                  <a:pt x="7236" y="5658"/>
                </a:cubicBezTo>
                <a:cubicBezTo>
                  <a:pt x="3753" y="9559"/>
                  <a:pt x="1" y="10356"/>
                  <a:pt x="1" y="10356"/>
                </a:cubicBezTo>
                <a:cubicBezTo>
                  <a:pt x="1" y="10356"/>
                  <a:pt x="1249" y="11360"/>
                  <a:pt x="3772" y="11360"/>
                </a:cubicBezTo>
                <a:cubicBezTo>
                  <a:pt x="4651" y="11360"/>
                  <a:pt x="5684" y="11238"/>
                  <a:pt x="6873" y="10910"/>
                </a:cubicBezTo>
                <a:lnTo>
                  <a:pt x="23491" y="10910"/>
                </a:lnTo>
                <a:lnTo>
                  <a:pt x="23491" y="1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5" name="Google Shape;445;p13"/>
          <p:cNvSpPr/>
          <p:nvPr/>
        </p:nvSpPr>
        <p:spPr>
          <a:xfrm>
            <a:off x="34" y="6155536"/>
            <a:ext cx="12191948" cy="522709"/>
          </a:xfrm>
          <a:custGeom>
            <a:avLst/>
            <a:gdLst/>
            <a:ahLst/>
            <a:cxnLst/>
            <a:rect l="l" t="t" r="r" b="b"/>
            <a:pathLst>
              <a:path w="53351" h="10705" extrusionOk="0">
                <a:moveTo>
                  <a:pt x="1" y="0"/>
                </a:moveTo>
                <a:lnTo>
                  <a:pt x="1" y="10705"/>
                </a:lnTo>
                <a:lnTo>
                  <a:pt x="53351" y="6075"/>
                </a:lnTo>
                <a:lnTo>
                  <a:pt x="53351" y="431"/>
                </a:lnTo>
                <a:cubicBezTo>
                  <a:pt x="50211" y="280"/>
                  <a:pt x="46158" y="14"/>
                  <a:pt x="42519" y="14"/>
                </a:cubicBezTo>
                <a:cubicBezTo>
                  <a:pt x="40918" y="14"/>
                  <a:pt x="39398" y="65"/>
                  <a:pt x="38071" y="201"/>
                </a:cubicBezTo>
                <a:cubicBezTo>
                  <a:pt x="36591" y="351"/>
                  <a:pt x="33181" y="406"/>
                  <a:pt x="28961" y="406"/>
                </a:cubicBezTo>
                <a:cubicBezTo>
                  <a:pt x="18777" y="406"/>
                  <a:pt x="3875" y="85"/>
                  <a:pt x="1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6" name="Google Shape;446;p13"/>
          <p:cNvSpPr/>
          <p:nvPr/>
        </p:nvSpPr>
        <p:spPr>
          <a:xfrm>
            <a:off x="13734" y="6089065"/>
            <a:ext cx="4168037" cy="782587"/>
          </a:xfrm>
          <a:custGeom>
            <a:avLst/>
            <a:gdLst/>
            <a:ahLst/>
            <a:cxnLst/>
            <a:rect l="l" t="t" r="r" b="b"/>
            <a:pathLst>
              <a:path w="18239" h="8318" extrusionOk="0">
                <a:moveTo>
                  <a:pt x="1" y="1"/>
                </a:moveTo>
                <a:lnTo>
                  <a:pt x="1" y="8318"/>
                </a:lnTo>
                <a:lnTo>
                  <a:pt x="13690" y="5279"/>
                </a:lnTo>
                <a:lnTo>
                  <a:pt x="4469" y="2917"/>
                </a:lnTo>
                <a:cubicBezTo>
                  <a:pt x="4469" y="2917"/>
                  <a:pt x="9883" y="2823"/>
                  <a:pt x="13959" y="2823"/>
                </a:cubicBezTo>
                <a:cubicBezTo>
                  <a:pt x="15997" y="2823"/>
                  <a:pt x="17711" y="2849"/>
                  <a:pt x="18239" y="2917"/>
                </a:cubicBezTo>
                <a:cubicBezTo>
                  <a:pt x="17131" y="2243"/>
                  <a:pt x="14594" y="1582"/>
                  <a:pt x="11704" y="1015"/>
                </a:cubicBezTo>
                <a:cubicBezTo>
                  <a:pt x="6737" y="380"/>
                  <a:pt x="2175" y="11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7" name="Google Shape;447;p13"/>
          <p:cNvSpPr/>
          <p:nvPr/>
        </p:nvSpPr>
        <p:spPr>
          <a:xfrm>
            <a:off x="4398834" y="6221238"/>
            <a:ext cx="7793103" cy="636815"/>
          </a:xfrm>
          <a:custGeom>
            <a:avLst/>
            <a:gdLst/>
            <a:ahLst/>
            <a:cxnLst/>
            <a:rect l="l" t="t" r="r" b="b"/>
            <a:pathLst>
              <a:path w="34102" h="12070" extrusionOk="0">
                <a:moveTo>
                  <a:pt x="34102" y="0"/>
                </a:moveTo>
                <a:cubicBezTo>
                  <a:pt x="29744" y="107"/>
                  <a:pt x="22224" y="862"/>
                  <a:pt x="15216" y="1889"/>
                </a:cubicBezTo>
                <a:cubicBezTo>
                  <a:pt x="5104" y="3373"/>
                  <a:pt x="1" y="4063"/>
                  <a:pt x="1" y="4063"/>
                </a:cubicBezTo>
                <a:lnTo>
                  <a:pt x="27152" y="12069"/>
                </a:lnTo>
                <a:lnTo>
                  <a:pt x="34102" y="12069"/>
                </a:lnTo>
                <a:lnTo>
                  <a:pt x="3410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8" name="Google Shape;448;p13"/>
          <p:cNvSpPr/>
          <p:nvPr/>
        </p:nvSpPr>
        <p:spPr>
          <a:xfrm>
            <a:off x="8795401" y="6335337"/>
            <a:ext cx="3396543" cy="522713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9" name="Google Shape;449;p13"/>
          <p:cNvSpPr/>
          <p:nvPr/>
        </p:nvSpPr>
        <p:spPr>
          <a:xfrm>
            <a:off x="34" y="6272037"/>
            <a:ext cx="12191948" cy="585987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0" name="Google Shape;450;p13"/>
          <p:cNvSpPr txBox="1">
            <a:spLocks noGrp="1"/>
          </p:cNvSpPr>
          <p:nvPr>
            <p:ph type="title"/>
          </p:nvPr>
        </p:nvSpPr>
        <p:spPr>
          <a:xfrm>
            <a:off x="2598800" y="549200"/>
            <a:ext cx="6994400" cy="65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451" name="Google Shape;451;p13"/>
          <p:cNvSpPr txBox="1">
            <a:spLocks noGrp="1"/>
          </p:cNvSpPr>
          <p:nvPr>
            <p:ph type="subTitle" idx="1"/>
          </p:nvPr>
        </p:nvSpPr>
        <p:spPr>
          <a:xfrm>
            <a:off x="2227100" y="2888416"/>
            <a:ext cx="3569200" cy="74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52" name="Google Shape;452;p13"/>
          <p:cNvSpPr txBox="1">
            <a:spLocks noGrp="1"/>
          </p:cNvSpPr>
          <p:nvPr>
            <p:ph type="title" idx="2"/>
          </p:nvPr>
        </p:nvSpPr>
        <p:spPr>
          <a:xfrm>
            <a:off x="2227275" y="2281187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53" name="Google Shape;453;p13"/>
          <p:cNvSpPr txBox="1">
            <a:spLocks noGrp="1"/>
          </p:cNvSpPr>
          <p:nvPr>
            <p:ph type="title" idx="3" hasCustomPrompt="1"/>
          </p:nvPr>
        </p:nvSpPr>
        <p:spPr>
          <a:xfrm>
            <a:off x="2227159" y="1513567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54" name="Google Shape;454;p13"/>
          <p:cNvSpPr txBox="1">
            <a:spLocks noGrp="1"/>
          </p:cNvSpPr>
          <p:nvPr>
            <p:ph type="subTitle" idx="4"/>
          </p:nvPr>
        </p:nvSpPr>
        <p:spPr>
          <a:xfrm>
            <a:off x="6395501" y="2937395"/>
            <a:ext cx="3569200" cy="74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55" name="Google Shape;455;p13"/>
          <p:cNvSpPr txBox="1">
            <a:spLocks noGrp="1"/>
          </p:cNvSpPr>
          <p:nvPr>
            <p:ph type="title" idx="5"/>
          </p:nvPr>
        </p:nvSpPr>
        <p:spPr>
          <a:xfrm>
            <a:off x="6395685" y="2281200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56" name="Google Shape;456;p13"/>
          <p:cNvSpPr txBox="1">
            <a:spLocks noGrp="1"/>
          </p:cNvSpPr>
          <p:nvPr>
            <p:ph type="title" idx="6" hasCustomPrompt="1"/>
          </p:nvPr>
        </p:nvSpPr>
        <p:spPr>
          <a:xfrm>
            <a:off x="6395487" y="1513500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57" name="Google Shape;457;p13"/>
          <p:cNvSpPr txBox="1">
            <a:spLocks noGrp="1"/>
          </p:cNvSpPr>
          <p:nvPr>
            <p:ph type="subTitle" idx="7"/>
          </p:nvPr>
        </p:nvSpPr>
        <p:spPr>
          <a:xfrm>
            <a:off x="2227100" y="5218200"/>
            <a:ext cx="3569200" cy="74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58" name="Google Shape;458;p13"/>
          <p:cNvSpPr txBox="1">
            <a:spLocks noGrp="1"/>
          </p:cNvSpPr>
          <p:nvPr>
            <p:ph type="title" idx="8"/>
          </p:nvPr>
        </p:nvSpPr>
        <p:spPr>
          <a:xfrm>
            <a:off x="2227275" y="4617155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59" name="Google Shape;459;p13"/>
          <p:cNvSpPr txBox="1">
            <a:spLocks noGrp="1"/>
          </p:cNvSpPr>
          <p:nvPr>
            <p:ph type="title" idx="9" hasCustomPrompt="1"/>
          </p:nvPr>
        </p:nvSpPr>
        <p:spPr>
          <a:xfrm>
            <a:off x="2227120" y="3849473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60" name="Google Shape;460;p13"/>
          <p:cNvSpPr txBox="1">
            <a:spLocks noGrp="1"/>
          </p:cNvSpPr>
          <p:nvPr>
            <p:ph type="subTitle" idx="13"/>
          </p:nvPr>
        </p:nvSpPr>
        <p:spPr>
          <a:xfrm>
            <a:off x="6395467" y="5218201"/>
            <a:ext cx="3569200" cy="74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61" name="Google Shape;461;p13"/>
          <p:cNvSpPr txBox="1">
            <a:spLocks noGrp="1"/>
          </p:cNvSpPr>
          <p:nvPr>
            <p:ph type="title" idx="14"/>
          </p:nvPr>
        </p:nvSpPr>
        <p:spPr>
          <a:xfrm>
            <a:off x="6395647" y="4617159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Patrick Hand"/>
              <a:buNone/>
              <a:defRPr>
                <a:solidFill>
                  <a:schemeClr val="dk2"/>
                </a:solidFill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62" name="Google Shape;462;p13"/>
          <p:cNvSpPr txBox="1">
            <a:spLocks noGrp="1"/>
          </p:cNvSpPr>
          <p:nvPr>
            <p:ph type="title" idx="15" hasCustomPrompt="1"/>
          </p:nvPr>
        </p:nvSpPr>
        <p:spPr>
          <a:xfrm>
            <a:off x="6395487" y="3849480"/>
            <a:ext cx="3569200" cy="58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2763865284"/>
      </p:ext>
    </p:extLst>
  </p:cSld>
  <p:clrMapOvr>
    <a:masterClrMapping/>
  </p:clrMapOvr>
  <p:transition spd="slow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">
  <p:cSld name="Title and three columns ">
    <p:spTree>
      <p:nvGrpSpPr>
        <p:cNvPr id="1" name="Shape 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Google Shape;464;p14"/>
          <p:cNvSpPr/>
          <p:nvPr/>
        </p:nvSpPr>
        <p:spPr>
          <a:xfrm>
            <a:off x="-2275534" y="0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5" name="Google Shape;465;p14"/>
          <p:cNvSpPr/>
          <p:nvPr/>
        </p:nvSpPr>
        <p:spPr>
          <a:xfrm>
            <a:off x="10538759" y="249352"/>
            <a:ext cx="4035276" cy="1851277"/>
          </a:xfrm>
          <a:custGeom>
            <a:avLst/>
            <a:gdLst/>
            <a:ahLst/>
            <a:cxnLst/>
            <a:rect l="l" t="t" r="r" b="b"/>
            <a:pathLst>
              <a:path w="13353" h="6126" extrusionOk="0">
                <a:moveTo>
                  <a:pt x="13095" y="1"/>
                </a:moveTo>
                <a:cubicBezTo>
                  <a:pt x="13024" y="1"/>
                  <a:pt x="12953" y="8"/>
                  <a:pt x="12880" y="21"/>
                </a:cubicBezTo>
                <a:cubicBezTo>
                  <a:pt x="12313" y="102"/>
                  <a:pt x="11921" y="588"/>
                  <a:pt x="11840" y="1139"/>
                </a:cubicBezTo>
                <a:cubicBezTo>
                  <a:pt x="11652" y="925"/>
                  <a:pt x="11302" y="750"/>
                  <a:pt x="11017" y="750"/>
                </a:cubicBezTo>
                <a:cubicBezTo>
                  <a:pt x="11003" y="749"/>
                  <a:pt x="10989" y="748"/>
                  <a:pt x="10975" y="748"/>
                </a:cubicBezTo>
                <a:cubicBezTo>
                  <a:pt x="10799" y="748"/>
                  <a:pt x="10615" y="841"/>
                  <a:pt x="10492" y="964"/>
                </a:cubicBezTo>
                <a:cubicBezTo>
                  <a:pt x="10343" y="1113"/>
                  <a:pt x="10275" y="1317"/>
                  <a:pt x="10288" y="1518"/>
                </a:cubicBezTo>
                <a:cubicBezTo>
                  <a:pt x="10211" y="1506"/>
                  <a:pt x="10129" y="1493"/>
                  <a:pt x="10048" y="1493"/>
                </a:cubicBezTo>
                <a:cubicBezTo>
                  <a:pt x="9957" y="1493"/>
                  <a:pt x="9868" y="1509"/>
                  <a:pt x="9789" y="1560"/>
                </a:cubicBezTo>
                <a:cubicBezTo>
                  <a:pt x="9666" y="1654"/>
                  <a:pt x="9614" y="1816"/>
                  <a:pt x="9666" y="1965"/>
                </a:cubicBezTo>
                <a:cubicBezTo>
                  <a:pt x="9465" y="1774"/>
                  <a:pt x="9180" y="1654"/>
                  <a:pt x="8911" y="1654"/>
                </a:cubicBezTo>
                <a:cubicBezTo>
                  <a:pt x="8629" y="1654"/>
                  <a:pt x="8344" y="1803"/>
                  <a:pt x="8195" y="2030"/>
                </a:cubicBezTo>
                <a:cubicBezTo>
                  <a:pt x="8114" y="2153"/>
                  <a:pt x="8075" y="2302"/>
                  <a:pt x="8033" y="2451"/>
                </a:cubicBezTo>
                <a:cubicBezTo>
                  <a:pt x="7981" y="2678"/>
                  <a:pt x="8020" y="2882"/>
                  <a:pt x="8007" y="3112"/>
                </a:cubicBezTo>
                <a:cubicBezTo>
                  <a:pt x="7888" y="3061"/>
                  <a:pt x="7763" y="3015"/>
                  <a:pt x="7636" y="3015"/>
                </a:cubicBezTo>
                <a:cubicBezTo>
                  <a:pt x="7562" y="3015"/>
                  <a:pt x="7488" y="3030"/>
                  <a:pt x="7414" y="3070"/>
                </a:cubicBezTo>
                <a:cubicBezTo>
                  <a:pt x="7210" y="3164"/>
                  <a:pt x="7090" y="3368"/>
                  <a:pt x="7074" y="3585"/>
                </a:cubicBezTo>
                <a:cubicBezTo>
                  <a:pt x="6891" y="3395"/>
                  <a:pt x="6691" y="3317"/>
                  <a:pt x="6491" y="3317"/>
                </a:cubicBezTo>
                <a:cubicBezTo>
                  <a:pt x="5877" y="3317"/>
                  <a:pt x="5255" y="4053"/>
                  <a:pt x="5091" y="4583"/>
                </a:cubicBezTo>
                <a:cubicBezTo>
                  <a:pt x="4916" y="4366"/>
                  <a:pt x="4699" y="4152"/>
                  <a:pt x="4417" y="4110"/>
                </a:cubicBezTo>
                <a:cubicBezTo>
                  <a:pt x="4396" y="4107"/>
                  <a:pt x="4374" y="4106"/>
                  <a:pt x="4352" y="4106"/>
                </a:cubicBezTo>
                <a:cubicBezTo>
                  <a:pt x="4085" y="4106"/>
                  <a:pt x="3813" y="4319"/>
                  <a:pt x="3876" y="4583"/>
                </a:cubicBezTo>
                <a:cubicBezTo>
                  <a:pt x="3687" y="4484"/>
                  <a:pt x="3490" y="4393"/>
                  <a:pt x="3289" y="4393"/>
                </a:cubicBezTo>
                <a:cubicBezTo>
                  <a:pt x="3273" y="4393"/>
                  <a:pt x="3257" y="4394"/>
                  <a:pt x="3241" y="4395"/>
                </a:cubicBezTo>
                <a:cubicBezTo>
                  <a:pt x="2972" y="4421"/>
                  <a:pt x="2849" y="4609"/>
                  <a:pt x="2755" y="4826"/>
                </a:cubicBezTo>
                <a:cubicBezTo>
                  <a:pt x="2679" y="4710"/>
                  <a:pt x="2540" y="4643"/>
                  <a:pt x="2403" y="4643"/>
                </a:cubicBezTo>
                <a:cubicBezTo>
                  <a:pt x="2348" y="4643"/>
                  <a:pt x="2293" y="4654"/>
                  <a:pt x="2243" y="4677"/>
                </a:cubicBezTo>
                <a:cubicBezTo>
                  <a:pt x="2052" y="4745"/>
                  <a:pt x="1932" y="4933"/>
                  <a:pt x="1919" y="5137"/>
                </a:cubicBezTo>
                <a:cubicBezTo>
                  <a:pt x="1878" y="5027"/>
                  <a:pt x="1766" y="4961"/>
                  <a:pt x="1650" y="4961"/>
                </a:cubicBezTo>
                <a:cubicBezTo>
                  <a:pt x="1608" y="4961"/>
                  <a:pt x="1566" y="4970"/>
                  <a:pt x="1527" y="4988"/>
                </a:cubicBezTo>
                <a:cubicBezTo>
                  <a:pt x="1378" y="5043"/>
                  <a:pt x="1297" y="5189"/>
                  <a:pt x="1271" y="5351"/>
                </a:cubicBezTo>
                <a:cubicBezTo>
                  <a:pt x="1189" y="5294"/>
                  <a:pt x="1103" y="5258"/>
                  <a:pt x="1015" y="5258"/>
                </a:cubicBezTo>
                <a:cubicBezTo>
                  <a:pt x="956" y="5258"/>
                  <a:pt x="897" y="5274"/>
                  <a:pt x="837" y="5312"/>
                </a:cubicBezTo>
                <a:cubicBezTo>
                  <a:pt x="798" y="5351"/>
                  <a:pt x="743" y="5406"/>
                  <a:pt x="691" y="5432"/>
                </a:cubicBezTo>
                <a:cubicBezTo>
                  <a:pt x="623" y="5461"/>
                  <a:pt x="542" y="5461"/>
                  <a:pt x="474" y="5461"/>
                </a:cubicBezTo>
                <a:lnTo>
                  <a:pt x="43" y="5461"/>
                </a:lnTo>
                <a:cubicBezTo>
                  <a:pt x="1" y="5513"/>
                  <a:pt x="69" y="5581"/>
                  <a:pt x="137" y="5610"/>
                </a:cubicBezTo>
                <a:cubicBezTo>
                  <a:pt x="284" y="5676"/>
                  <a:pt x="459" y="5710"/>
                  <a:pt x="636" y="5710"/>
                </a:cubicBezTo>
                <a:cubicBezTo>
                  <a:pt x="813" y="5710"/>
                  <a:pt x="992" y="5676"/>
                  <a:pt x="1148" y="5610"/>
                </a:cubicBezTo>
                <a:cubicBezTo>
                  <a:pt x="1221" y="5677"/>
                  <a:pt x="1320" y="5708"/>
                  <a:pt x="1422" y="5708"/>
                </a:cubicBezTo>
                <a:cubicBezTo>
                  <a:pt x="1588" y="5708"/>
                  <a:pt x="1762" y="5625"/>
                  <a:pt x="1838" y="5474"/>
                </a:cubicBezTo>
                <a:cubicBezTo>
                  <a:pt x="1917" y="5516"/>
                  <a:pt x="2010" y="5537"/>
                  <a:pt x="2104" y="5537"/>
                </a:cubicBezTo>
                <a:cubicBezTo>
                  <a:pt x="2219" y="5537"/>
                  <a:pt x="2335" y="5507"/>
                  <a:pt x="2431" y="5448"/>
                </a:cubicBezTo>
                <a:cubicBezTo>
                  <a:pt x="2623" y="5738"/>
                  <a:pt x="2969" y="5948"/>
                  <a:pt x="3307" y="5948"/>
                </a:cubicBezTo>
                <a:cubicBezTo>
                  <a:pt x="3517" y="5948"/>
                  <a:pt x="3724" y="5867"/>
                  <a:pt x="3889" y="5675"/>
                </a:cubicBezTo>
                <a:cubicBezTo>
                  <a:pt x="3955" y="5950"/>
                  <a:pt x="4250" y="6126"/>
                  <a:pt x="4540" y="6126"/>
                </a:cubicBezTo>
                <a:cubicBezTo>
                  <a:pt x="4608" y="6126"/>
                  <a:pt x="4676" y="6116"/>
                  <a:pt x="4741" y="6096"/>
                </a:cubicBezTo>
                <a:cubicBezTo>
                  <a:pt x="5078" y="5999"/>
                  <a:pt x="5308" y="5662"/>
                  <a:pt x="5373" y="5325"/>
                </a:cubicBezTo>
                <a:lnTo>
                  <a:pt x="5373" y="5325"/>
                </a:lnTo>
                <a:cubicBezTo>
                  <a:pt x="5334" y="5529"/>
                  <a:pt x="6037" y="5756"/>
                  <a:pt x="6157" y="5785"/>
                </a:cubicBezTo>
                <a:cubicBezTo>
                  <a:pt x="6211" y="5792"/>
                  <a:pt x="6262" y="5796"/>
                  <a:pt x="6313" y="5796"/>
                </a:cubicBezTo>
                <a:cubicBezTo>
                  <a:pt x="6617" y="5796"/>
                  <a:pt x="6866" y="5672"/>
                  <a:pt x="7155" y="5555"/>
                </a:cubicBezTo>
                <a:cubicBezTo>
                  <a:pt x="7171" y="5662"/>
                  <a:pt x="7252" y="5772"/>
                  <a:pt x="7359" y="5798"/>
                </a:cubicBezTo>
                <a:cubicBezTo>
                  <a:pt x="7381" y="5803"/>
                  <a:pt x="7403" y="5806"/>
                  <a:pt x="7426" y="5806"/>
                </a:cubicBezTo>
                <a:cubicBezTo>
                  <a:pt x="7514" y="5806"/>
                  <a:pt x="7603" y="5766"/>
                  <a:pt x="7657" y="5691"/>
                </a:cubicBezTo>
                <a:cubicBezTo>
                  <a:pt x="7777" y="5853"/>
                  <a:pt x="7981" y="5947"/>
                  <a:pt x="8182" y="5973"/>
                </a:cubicBezTo>
                <a:cubicBezTo>
                  <a:pt x="8219" y="5978"/>
                  <a:pt x="8255" y="5980"/>
                  <a:pt x="8293" y="5980"/>
                </a:cubicBezTo>
                <a:cubicBezTo>
                  <a:pt x="8462" y="5980"/>
                  <a:pt x="8634" y="5935"/>
                  <a:pt x="8791" y="5879"/>
                </a:cubicBezTo>
                <a:cubicBezTo>
                  <a:pt x="9128" y="5772"/>
                  <a:pt x="9504" y="5568"/>
                  <a:pt x="9763" y="5325"/>
                </a:cubicBezTo>
                <a:cubicBezTo>
                  <a:pt x="9883" y="5662"/>
                  <a:pt x="10233" y="5905"/>
                  <a:pt x="10599" y="5905"/>
                </a:cubicBezTo>
                <a:cubicBezTo>
                  <a:pt x="10608" y="5905"/>
                  <a:pt x="10617" y="5905"/>
                  <a:pt x="10627" y="5905"/>
                </a:cubicBezTo>
                <a:cubicBezTo>
                  <a:pt x="10980" y="5905"/>
                  <a:pt x="11331" y="5666"/>
                  <a:pt x="11464" y="5338"/>
                </a:cubicBezTo>
                <a:cubicBezTo>
                  <a:pt x="11477" y="5649"/>
                  <a:pt x="11720" y="5934"/>
                  <a:pt x="12015" y="5999"/>
                </a:cubicBezTo>
                <a:cubicBezTo>
                  <a:pt x="12055" y="6006"/>
                  <a:pt x="12097" y="6009"/>
                  <a:pt x="12138" y="6009"/>
                </a:cubicBezTo>
                <a:cubicBezTo>
                  <a:pt x="12411" y="6009"/>
                  <a:pt x="12681" y="5855"/>
                  <a:pt x="12799" y="5610"/>
                </a:cubicBezTo>
                <a:cubicBezTo>
                  <a:pt x="12922" y="5811"/>
                  <a:pt x="13123" y="5960"/>
                  <a:pt x="13353" y="6054"/>
                </a:cubicBezTo>
                <a:lnTo>
                  <a:pt x="13353" y="34"/>
                </a:lnTo>
                <a:cubicBezTo>
                  <a:pt x="13265" y="11"/>
                  <a:pt x="13180" y="1"/>
                  <a:pt x="13095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6" name="Google Shape;466;p14"/>
          <p:cNvSpPr/>
          <p:nvPr/>
        </p:nvSpPr>
        <p:spPr>
          <a:xfrm>
            <a:off x="334" y="5350799"/>
            <a:ext cx="12223197" cy="1526228"/>
          </a:xfrm>
          <a:custGeom>
            <a:avLst/>
            <a:gdLst/>
            <a:ahLst/>
            <a:cxnLst/>
            <a:rect l="l" t="t" r="r" b="b"/>
            <a:pathLst>
              <a:path w="43860" h="10974" extrusionOk="0">
                <a:moveTo>
                  <a:pt x="0" y="0"/>
                </a:moveTo>
                <a:lnTo>
                  <a:pt x="0" y="10974"/>
                </a:lnTo>
                <a:lnTo>
                  <a:pt x="43860" y="10974"/>
                </a:lnTo>
                <a:lnTo>
                  <a:pt x="43860" y="0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7" name="Google Shape;467;p14"/>
          <p:cNvSpPr/>
          <p:nvPr/>
        </p:nvSpPr>
        <p:spPr>
          <a:xfrm>
            <a:off x="345" y="5291749"/>
            <a:ext cx="12223197" cy="431652"/>
          </a:xfrm>
          <a:custGeom>
            <a:avLst/>
            <a:gdLst/>
            <a:ahLst/>
            <a:cxnLst/>
            <a:rect l="l" t="t" r="r" b="b"/>
            <a:pathLst>
              <a:path w="43860" h="2495" extrusionOk="0">
                <a:moveTo>
                  <a:pt x="0" y="0"/>
                </a:moveTo>
                <a:lnTo>
                  <a:pt x="0" y="512"/>
                </a:lnTo>
                <a:cubicBezTo>
                  <a:pt x="18857" y="538"/>
                  <a:pt x="31655" y="810"/>
                  <a:pt x="43860" y="2495"/>
                </a:cubicBezTo>
                <a:lnTo>
                  <a:pt x="4386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8" name="Google Shape;468;p14"/>
          <p:cNvSpPr/>
          <p:nvPr/>
        </p:nvSpPr>
        <p:spPr>
          <a:xfrm>
            <a:off x="334" y="5715001"/>
            <a:ext cx="12223197" cy="1162047"/>
          </a:xfrm>
          <a:custGeom>
            <a:avLst/>
            <a:gdLst/>
            <a:ahLst/>
            <a:cxnLst/>
            <a:rect l="l" t="t" r="r" b="b"/>
            <a:pathLst>
              <a:path w="43860" h="8244" extrusionOk="0">
                <a:moveTo>
                  <a:pt x="19201" y="1"/>
                </a:moveTo>
                <a:cubicBezTo>
                  <a:pt x="9431" y="1"/>
                  <a:pt x="0" y="1061"/>
                  <a:pt x="0" y="1061"/>
                </a:cubicBezTo>
                <a:lnTo>
                  <a:pt x="0" y="8244"/>
                </a:lnTo>
                <a:lnTo>
                  <a:pt x="43860" y="8244"/>
                </a:lnTo>
                <a:lnTo>
                  <a:pt x="43860" y="3222"/>
                </a:lnTo>
                <a:cubicBezTo>
                  <a:pt x="43860" y="3222"/>
                  <a:pt x="38702" y="1171"/>
                  <a:pt x="26918" y="267"/>
                </a:cubicBezTo>
                <a:cubicBezTo>
                  <a:pt x="24436" y="76"/>
                  <a:pt x="21807" y="1"/>
                  <a:pt x="19201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9" name="Google Shape;469;p14"/>
          <p:cNvSpPr/>
          <p:nvPr/>
        </p:nvSpPr>
        <p:spPr>
          <a:xfrm>
            <a:off x="334" y="5350773"/>
            <a:ext cx="6501220" cy="1526241"/>
          </a:xfrm>
          <a:custGeom>
            <a:avLst/>
            <a:gdLst/>
            <a:ahLst/>
            <a:cxnLst/>
            <a:rect l="l" t="t" r="r" b="b"/>
            <a:pathLst>
              <a:path w="23328" h="5931" extrusionOk="0">
                <a:moveTo>
                  <a:pt x="1542" y="1"/>
                </a:moveTo>
                <a:cubicBezTo>
                  <a:pt x="517" y="1"/>
                  <a:pt x="0" y="73"/>
                  <a:pt x="0" y="73"/>
                </a:cubicBezTo>
                <a:lnTo>
                  <a:pt x="0" y="5931"/>
                </a:lnTo>
                <a:lnTo>
                  <a:pt x="23328" y="5931"/>
                </a:lnTo>
                <a:cubicBezTo>
                  <a:pt x="23328" y="5931"/>
                  <a:pt x="17143" y="2691"/>
                  <a:pt x="10313" y="1139"/>
                </a:cubicBezTo>
                <a:cubicBezTo>
                  <a:pt x="6113" y="185"/>
                  <a:pt x="3179" y="1"/>
                  <a:pt x="1542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0" name="Google Shape;470;p14"/>
          <p:cNvSpPr/>
          <p:nvPr/>
        </p:nvSpPr>
        <p:spPr>
          <a:xfrm>
            <a:off x="5984898" y="5496558"/>
            <a:ext cx="6238687" cy="1357879"/>
          </a:xfrm>
          <a:custGeom>
            <a:avLst/>
            <a:gdLst/>
            <a:ahLst/>
            <a:cxnLst/>
            <a:rect l="l" t="t" r="r" b="b"/>
            <a:pathLst>
              <a:path w="12002" h="4208" extrusionOk="0">
                <a:moveTo>
                  <a:pt x="11404" y="0"/>
                </a:moveTo>
                <a:cubicBezTo>
                  <a:pt x="11120" y="0"/>
                  <a:pt x="10830" y="82"/>
                  <a:pt x="10719" y="200"/>
                </a:cubicBezTo>
                <a:cubicBezTo>
                  <a:pt x="10518" y="414"/>
                  <a:pt x="10450" y="848"/>
                  <a:pt x="10557" y="1023"/>
                </a:cubicBezTo>
                <a:cubicBezTo>
                  <a:pt x="10557" y="1023"/>
                  <a:pt x="10371" y="827"/>
                  <a:pt x="10125" y="827"/>
                </a:cubicBezTo>
                <a:cubicBezTo>
                  <a:pt x="10060" y="827"/>
                  <a:pt x="9992" y="840"/>
                  <a:pt x="9922" y="874"/>
                </a:cubicBezTo>
                <a:cubicBezTo>
                  <a:pt x="9585" y="1036"/>
                  <a:pt x="9922" y="1373"/>
                  <a:pt x="9922" y="1373"/>
                </a:cubicBezTo>
                <a:cubicBezTo>
                  <a:pt x="9922" y="1373"/>
                  <a:pt x="9572" y="1441"/>
                  <a:pt x="9572" y="1671"/>
                </a:cubicBezTo>
                <a:cubicBezTo>
                  <a:pt x="9572" y="1901"/>
                  <a:pt x="9789" y="2089"/>
                  <a:pt x="9789" y="2089"/>
                </a:cubicBezTo>
                <a:cubicBezTo>
                  <a:pt x="9789" y="2089"/>
                  <a:pt x="9718" y="2065"/>
                  <a:pt x="9631" y="2065"/>
                </a:cubicBezTo>
                <a:cubicBezTo>
                  <a:pt x="9545" y="2065"/>
                  <a:pt x="9444" y="2089"/>
                  <a:pt x="9384" y="2183"/>
                </a:cubicBezTo>
                <a:cubicBezTo>
                  <a:pt x="9351" y="2239"/>
                  <a:pt x="9338" y="2291"/>
                  <a:pt x="9335" y="2337"/>
                </a:cubicBezTo>
                <a:lnTo>
                  <a:pt x="9335" y="2337"/>
                </a:lnTo>
                <a:cubicBezTo>
                  <a:pt x="9258" y="2167"/>
                  <a:pt x="9056" y="1933"/>
                  <a:pt x="8532" y="1901"/>
                </a:cubicBezTo>
                <a:cubicBezTo>
                  <a:pt x="8505" y="1900"/>
                  <a:pt x="8479" y="1899"/>
                  <a:pt x="8454" y="1899"/>
                </a:cubicBezTo>
                <a:cubicBezTo>
                  <a:pt x="7672" y="1899"/>
                  <a:pt x="7508" y="2507"/>
                  <a:pt x="7508" y="2507"/>
                </a:cubicBezTo>
                <a:cubicBezTo>
                  <a:pt x="7508" y="2507"/>
                  <a:pt x="7333" y="2234"/>
                  <a:pt x="6984" y="2234"/>
                </a:cubicBezTo>
                <a:cubicBezTo>
                  <a:pt x="6921" y="2234"/>
                  <a:pt x="6853" y="2243"/>
                  <a:pt x="6779" y="2264"/>
                </a:cubicBezTo>
                <a:cubicBezTo>
                  <a:pt x="6306" y="2400"/>
                  <a:pt x="6374" y="2711"/>
                  <a:pt x="6374" y="2711"/>
                </a:cubicBezTo>
                <a:cubicBezTo>
                  <a:pt x="6374" y="2711"/>
                  <a:pt x="6221" y="2606"/>
                  <a:pt x="6045" y="2606"/>
                </a:cubicBezTo>
                <a:cubicBezTo>
                  <a:pt x="5975" y="2606"/>
                  <a:pt x="5902" y="2623"/>
                  <a:pt x="5833" y="2669"/>
                </a:cubicBezTo>
                <a:cubicBezTo>
                  <a:pt x="5590" y="2831"/>
                  <a:pt x="5658" y="3019"/>
                  <a:pt x="5658" y="3019"/>
                </a:cubicBezTo>
                <a:cubicBezTo>
                  <a:pt x="5658" y="3019"/>
                  <a:pt x="5348" y="2774"/>
                  <a:pt x="4932" y="2774"/>
                </a:cubicBezTo>
                <a:cubicBezTo>
                  <a:pt x="4771" y="2774"/>
                  <a:pt x="4594" y="2811"/>
                  <a:pt x="4414" y="2912"/>
                </a:cubicBezTo>
                <a:cubicBezTo>
                  <a:pt x="3753" y="3262"/>
                  <a:pt x="3915" y="3696"/>
                  <a:pt x="3915" y="3696"/>
                </a:cubicBezTo>
                <a:cubicBezTo>
                  <a:pt x="3915" y="3696"/>
                  <a:pt x="3636" y="3417"/>
                  <a:pt x="3272" y="3417"/>
                </a:cubicBezTo>
                <a:cubicBezTo>
                  <a:pt x="3156" y="3417"/>
                  <a:pt x="3031" y="3446"/>
                  <a:pt x="2904" y="3521"/>
                </a:cubicBezTo>
                <a:lnTo>
                  <a:pt x="2849" y="3858"/>
                </a:lnTo>
                <a:cubicBezTo>
                  <a:pt x="2849" y="3858"/>
                  <a:pt x="2548" y="3567"/>
                  <a:pt x="2174" y="3567"/>
                </a:cubicBezTo>
                <a:cubicBezTo>
                  <a:pt x="2122" y="3567"/>
                  <a:pt x="2068" y="3573"/>
                  <a:pt x="2013" y="3586"/>
                </a:cubicBezTo>
                <a:cubicBezTo>
                  <a:pt x="1553" y="3696"/>
                  <a:pt x="1485" y="3858"/>
                  <a:pt x="1485" y="3858"/>
                </a:cubicBezTo>
                <a:cubicBezTo>
                  <a:pt x="1485" y="3858"/>
                  <a:pt x="1243" y="3754"/>
                  <a:pt x="930" y="3754"/>
                </a:cubicBezTo>
                <a:cubicBezTo>
                  <a:pt x="635" y="3754"/>
                  <a:pt x="277" y="3847"/>
                  <a:pt x="1" y="4208"/>
                </a:cubicBezTo>
                <a:lnTo>
                  <a:pt x="12002" y="4208"/>
                </a:lnTo>
                <a:lnTo>
                  <a:pt x="12002" y="200"/>
                </a:lnTo>
                <a:cubicBezTo>
                  <a:pt x="11879" y="58"/>
                  <a:pt x="11644" y="0"/>
                  <a:pt x="114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1" name="Google Shape;471;p14"/>
          <p:cNvSpPr/>
          <p:nvPr/>
        </p:nvSpPr>
        <p:spPr>
          <a:xfrm>
            <a:off x="8440466" y="6173566"/>
            <a:ext cx="3783133" cy="680876"/>
          </a:xfrm>
          <a:custGeom>
            <a:avLst/>
            <a:gdLst/>
            <a:ahLst/>
            <a:cxnLst/>
            <a:rect l="l" t="t" r="r" b="b"/>
            <a:pathLst>
              <a:path w="7278" h="2110" extrusionOk="0">
                <a:moveTo>
                  <a:pt x="7196" y="1"/>
                </a:moveTo>
                <a:cubicBezTo>
                  <a:pt x="7059" y="1"/>
                  <a:pt x="6916" y="28"/>
                  <a:pt x="6792" y="85"/>
                </a:cubicBezTo>
                <a:cubicBezTo>
                  <a:pt x="6562" y="192"/>
                  <a:pt x="6374" y="354"/>
                  <a:pt x="6225" y="545"/>
                </a:cubicBezTo>
                <a:cubicBezTo>
                  <a:pt x="6131" y="652"/>
                  <a:pt x="6063" y="775"/>
                  <a:pt x="6063" y="895"/>
                </a:cubicBezTo>
                <a:cubicBezTo>
                  <a:pt x="5966" y="827"/>
                  <a:pt x="5855" y="795"/>
                  <a:pt x="5750" y="795"/>
                </a:cubicBezTo>
                <a:cubicBezTo>
                  <a:pt x="5518" y="795"/>
                  <a:pt x="5315" y="953"/>
                  <a:pt x="5360" y="1232"/>
                </a:cubicBezTo>
                <a:cubicBezTo>
                  <a:pt x="5317" y="1168"/>
                  <a:pt x="5236" y="1138"/>
                  <a:pt x="5152" y="1138"/>
                </a:cubicBezTo>
                <a:cubicBezTo>
                  <a:pt x="5077" y="1138"/>
                  <a:pt x="5000" y="1162"/>
                  <a:pt x="4942" y="1206"/>
                </a:cubicBezTo>
                <a:cubicBezTo>
                  <a:pt x="4822" y="1313"/>
                  <a:pt x="4793" y="1462"/>
                  <a:pt x="4793" y="1611"/>
                </a:cubicBezTo>
                <a:cubicBezTo>
                  <a:pt x="4524" y="1436"/>
                  <a:pt x="4242" y="1245"/>
                  <a:pt x="3918" y="1232"/>
                </a:cubicBezTo>
                <a:cubicBezTo>
                  <a:pt x="3910" y="1232"/>
                  <a:pt x="3902" y="1231"/>
                  <a:pt x="3894" y="1231"/>
                </a:cubicBezTo>
                <a:cubicBezTo>
                  <a:pt x="3576" y="1231"/>
                  <a:pt x="3229" y="1482"/>
                  <a:pt x="3296" y="1773"/>
                </a:cubicBezTo>
                <a:cubicBezTo>
                  <a:pt x="3202" y="1637"/>
                  <a:pt x="3092" y="1504"/>
                  <a:pt x="2930" y="1449"/>
                </a:cubicBezTo>
                <a:cubicBezTo>
                  <a:pt x="2896" y="1437"/>
                  <a:pt x="2858" y="1432"/>
                  <a:pt x="2821" y="1432"/>
                </a:cubicBezTo>
                <a:cubicBezTo>
                  <a:pt x="2682" y="1432"/>
                  <a:pt x="2541" y="1509"/>
                  <a:pt x="2541" y="1637"/>
                </a:cubicBezTo>
                <a:cubicBezTo>
                  <a:pt x="2388" y="1511"/>
                  <a:pt x="2173" y="1406"/>
                  <a:pt x="1967" y="1406"/>
                </a:cubicBezTo>
                <a:cubicBezTo>
                  <a:pt x="1955" y="1406"/>
                  <a:pt x="1944" y="1406"/>
                  <a:pt x="1932" y="1407"/>
                </a:cubicBezTo>
                <a:cubicBezTo>
                  <a:pt x="1702" y="1436"/>
                  <a:pt x="1472" y="1611"/>
                  <a:pt x="1501" y="1828"/>
                </a:cubicBezTo>
                <a:cubicBezTo>
                  <a:pt x="1425" y="1700"/>
                  <a:pt x="1278" y="1610"/>
                  <a:pt x="1126" y="1610"/>
                </a:cubicBezTo>
                <a:cubicBezTo>
                  <a:pt x="1116" y="1610"/>
                  <a:pt x="1106" y="1610"/>
                  <a:pt x="1096" y="1611"/>
                </a:cubicBezTo>
                <a:cubicBezTo>
                  <a:pt x="934" y="1624"/>
                  <a:pt x="785" y="1786"/>
                  <a:pt x="811" y="1935"/>
                </a:cubicBezTo>
                <a:cubicBezTo>
                  <a:pt x="728" y="1813"/>
                  <a:pt x="571" y="1744"/>
                  <a:pt x="416" y="1744"/>
                </a:cubicBezTo>
                <a:cubicBezTo>
                  <a:pt x="347" y="1744"/>
                  <a:pt x="279" y="1757"/>
                  <a:pt x="218" y="1786"/>
                </a:cubicBezTo>
                <a:cubicBezTo>
                  <a:pt x="95" y="1854"/>
                  <a:pt x="30" y="1974"/>
                  <a:pt x="1" y="2110"/>
                </a:cubicBezTo>
                <a:lnTo>
                  <a:pt x="7278" y="2110"/>
                </a:lnTo>
                <a:lnTo>
                  <a:pt x="7278" y="4"/>
                </a:lnTo>
                <a:cubicBezTo>
                  <a:pt x="7251" y="2"/>
                  <a:pt x="7224" y="1"/>
                  <a:pt x="719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2" name="Google Shape;472;p14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73" name="Google Shape;473;p14"/>
          <p:cNvSpPr txBox="1">
            <a:spLocks noGrp="1"/>
          </p:cNvSpPr>
          <p:nvPr>
            <p:ph type="subTitle" idx="1"/>
          </p:nvPr>
        </p:nvSpPr>
        <p:spPr>
          <a:xfrm>
            <a:off x="950967" y="3670735"/>
            <a:ext cx="3456800" cy="106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74" name="Google Shape;474;p14"/>
          <p:cNvSpPr txBox="1">
            <a:spLocks noGrp="1"/>
          </p:cNvSpPr>
          <p:nvPr>
            <p:ph type="title" idx="2"/>
          </p:nvPr>
        </p:nvSpPr>
        <p:spPr>
          <a:xfrm>
            <a:off x="950967" y="3058367"/>
            <a:ext cx="34568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75" name="Google Shape;475;p14"/>
          <p:cNvSpPr txBox="1">
            <a:spLocks noGrp="1"/>
          </p:cNvSpPr>
          <p:nvPr>
            <p:ph type="subTitle" idx="3"/>
          </p:nvPr>
        </p:nvSpPr>
        <p:spPr>
          <a:xfrm>
            <a:off x="7775203" y="3670735"/>
            <a:ext cx="3456800" cy="106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76" name="Google Shape;476;p14"/>
          <p:cNvSpPr txBox="1">
            <a:spLocks noGrp="1"/>
          </p:cNvSpPr>
          <p:nvPr>
            <p:ph type="title" idx="4"/>
          </p:nvPr>
        </p:nvSpPr>
        <p:spPr>
          <a:xfrm>
            <a:off x="7775200" y="3058367"/>
            <a:ext cx="34568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477" name="Google Shape;477;p14"/>
          <p:cNvSpPr txBox="1">
            <a:spLocks noGrp="1"/>
          </p:cNvSpPr>
          <p:nvPr>
            <p:ph type="subTitle" idx="5"/>
          </p:nvPr>
        </p:nvSpPr>
        <p:spPr>
          <a:xfrm>
            <a:off x="4367435" y="3670735"/>
            <a:ext cx="3456800" cy="106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78" name="Google Shape;478;p14"/>
          <p:cNvSpPr txBox="1">
            <a:spLocks noGrp="1"/>
          </p:cNvSpPr>
          <p:nvPr>
            <p:ph type="title" idx="6"/>
          </p:nvPr>
        </p:nvSpPr>
        <p:spPr>
          <a:xfrm>
            <a:off x="4367433" y="3058367"/>
            <a:ext cx="34568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02684793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AD540ACA-A809-485A-BD40-81055C06A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2D3589E-481E-40A7-9FFD-489BCBF71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4F0A72E-B89D-4B6C-B88E-B518D292A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3638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">
  <p:cSld name="Title and text ">
    <p:spTree>
      <p:nvGrpSpPr>
        <p:cNvPr id="1" name="Shape 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Google Shape;480;p15"/>
          <p:cNvSpPr txBox="1">
            <a:spLocks noGrp="1"/>
          </p:cNvSpPr>
          <p:nvPr>
            <p:ph type="title"/>
          </p:nvPr>
        </p:nvSpPr>
        <p:spPr>
          <a:xfrm>
            <a:off x="960145" y="720000"/>
            <a:ext cx="5136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481" name="Google Shape;481;p15"/>
          <p:cNvSpPr txBox="1">
            <a:spLocks noGrp="1"/>
          </p:cNvSpPr>
          <p:nvPr>
            <p:ph type="subTitle" idx="1"/>
          </p:nvPr>
        </p:nvSpPr>
        <p:spPr>
          <a:xfrm>
            <a:off x="960000" y="2795033"/>
            <a:ext cx="5136000" cy="325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●"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○"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595B"/>
              </a:buClr>
              <a:buSzPts val="1600"/>
              <a:buFont typeface="Lato"/>
              <a:buChar char="■"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1645038"/>
      </p:ext>
    </p:extLst>
  </p:cSld>
  <p:clrMapOvr>
    <a:masterClrMapping/>
  </p:clrMapOvr>
  <p:transition spd="slow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Google Shape;483;p16"/>
          <p:cNvSpPr/>
          <p:nvPr/>
        </p:nvSpPr>
        <p:spPr>
          <a:xfrm>
            <a:off x="10707631" y="1475500"/>
            <a:ext cx="2189357" cy="2138397"/>
          </a:xfrm>
          <a:custGeom>
            <a:avLst/>
            <a:gdLst/>
            <a:ahLst/>
            <a:cxnLst/>
            <a:rect l="l" t="t" r="r" b="b"/>
            <a:pathLst>
              <a:path w="8723" h="8706" extrusionOk="0">
                <a:moveTo>
                  <a:pt x="4362" y="0"/>
                </a:moveTo>
                <a:cubicBezTo>
                  <a:pt x="1961" y="0"/>
                  <a:pt x="1" y="1944"/>
                  <a:pt x="1" y="4345"/>
                </a:cubicBezTo>
                <a:cubicBezTo>
                  <a:pt x="1" y="6749"/>
                  <a:pt x="1961" y="8706"/>
                  <a:pt x="4362" y="8706"/>
                </a:cubicBezTo>
                <a:cubicBezTo>
                  <a:pt x="6766" y="8706"/>
                  <a:pt x="8723" y="6749"/>
                  <a:pt x="8723" y="4345"/>
                </a:cubicBezTo>
                <a:cubicBezTo>
                  <a:pt x="8723" y="1944"/>
                  <a:pt x="6766" y="0"/>
                  <a:pt x="436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4" name="Google Shape;484;p16"/>
          <p:cNvSpPr/>
          <p:nvPr/>
        </p:nvSpPr>
        <p:spPr>
          <a:xfrm>
            <a:off x="7139291" y="2323764"/>
            <a:ext cx="5996052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5" name="Google Shape;485;p16"/>
          <p:cNvSpPr/>
          <p:nvPr/>
        </p:nvSpPr>
        <p:spPr>
          <a:xfrm>
            <a:off x="-101599" y="4405633"/>
            <a:ext cx="11430057" cy="1409399"/>
          </a:xfrm>
          <a:custGeom>
            <a:avLst/>
            <a:gdLst/>
            <a:ahLst/>
            <a:cxnLst/>
            <a:rect l="l" t="t" r="r" b="b"/>
            <a:pathLst>
              <a:path w="40501" h="7334" extrusionOk="0">
                <a:moveTo>
                  <a:pt x="24305" y="0"/>
                </a:moveTo>
                <a:cubicBezTo>
                  <a:pt x="24276" y="0"/>
                  <a:pt x="24248" y="1"/>
                  <a:pt x="24220" y="2"/>
                </a:cubicBezTo>
                <a:cubicBezTo>
                  <a:pt x="21521" y="112"/>
                  <a:pt x="16499" y="5296"/>
                  <a:pt x="15203" y="5672"/>
                </a:cubicBezTo>
                <a:cubicBezTo>
                  <a:pt x="15149" y="5687"/>
                  <a:pt x="15084" y="5695"/>
                  <a:pt x="15007" y="5695"/>
                </a:cubicBezTo>
                <a:cubicBezTo>
                  <a:pt x="14617" y="5695"/>
                  <a:pt x="13941" y="5504"/>
                  <a:pt x="13097" y="5199"/>
                </a:cubicBezTo>
                <a:cubicBezTo>
                  <a:pt x="11746" y="4687"/>
                  <a:pt x="9909" y="3903"/>
                  <a:pt x="8195" y="3190"/>
                </a:cubicBezTo>
                <a:cubicBezTo>
                  <a:pt x="6008" y="2244"/>
                  <a:pt x="4051" y="1392"/>
                  <a:pt x="3484" y="1366"/>
                </a:cubicBezTo>
                <a:lnTo>
                  <a:pt x="3429" y="1366"/>
                </a:lnTo>
                <a:cubicBezTo>
                  <a:pt x="2107" y="1379"/>
                  <a:pt x="1" y="4039"/>
                  <a:pt x="1" y="4039"/>
                </a:cubicBezTo>
                <a:lnTo>
                  <a:pt x="1" y="4619"/>
                </a:lnTo>
                <a:lnTo>
                  <a:pt x="1" y="4755"/>
                </a:lnTo>
                <a:lnTo>
                  <a:pt x="1" y="7292"/>
                </a:lnTo>
                <a:lnTo>
                  <a:pt x="529" y="7334"/>
                </a:lnTo>
                <a:lnTo>
                  <a:pt x="581" y="7292"/>
                </a:lnTo>
                <a:lnTo>
                  <a:pt x="40501" y="7292"/>
                </a:lnTo>
                <a:lnTo>
                  <a:pt x="40501" y="1029"/>
                </a:lnTo>
                <a:lnTo>
                  <a:pt x="40501" y="637"/>
                </a:lnTo>
                <a:lnTo>
                  <a:pt x="40501" y="355"/>
                </a:lnTo>
                <a:cubicBezTo>
                  <a:pt x="39069" y="650"/>
                  <a:pt x="39584" y="3971"/>
                  <a:pt x="36020" y="4405"/>
                </a:cubicBezTo>
                <a:cubicBezTo>
                  <a:pt x="35869" y="4423"/>
                  <a:pt x="35714" y="4432"/>
                  <a:pt x="35556" y="4432"/>
                </a:cubicBezTo>
                <a:cubicBezTo>
                  <a:pt x="34107" y="4432"/>
                  <a:pt x="32390" y="3688"/>
                  <a:pt x="30687" y="2811"/>
                </a:cubicBezTo>
                <a:cubicBezTo>
                  <a:pt x="29835" y="2338"/>
                  <a:pt x="28986" y="1865"/>
                  <a:pt x="28163" y="1447"/>
                </a:cubicBezTo>
                <a:cubicBezTo>
                  <a:pt x="26667" y="647"/>
                  <a:pt x="25297" y="0"/>
                  <a:pt x="24305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6" name="Google Shape;486;p16"/>
          <p:cNvSpPr/>
          <p:nvPr/>
        </p:nvSpPr>
        <p:spPr>
          <a:xfrm>
            <a:off x="5122925" y="5798355"/>
            <a:ext cx="70951" cy="3439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7" name="Google Shape;487;p16"/>
          <p:cNvSpPr/>
          <p:nvPr/>
        </p:nvSpPr>
        <p:spPr>
          <a:xfrm>
            <a:off x="9750361" y="5352300"/>
            <a:ext cx="597393" cy="22352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8" name="Google Shape;488;p16"/>
          <p:cNvSpPr/>
          <p:nvPr/>
        </p:nvSpPr>
        <p:spPr>
          <a:xfrm>
            <a:off x="-101599" y="4232267"/>
            <a:ext cx="12439612" cy="1409399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9" name="Google Shape;489;p16"/>
          <p:cNvSpPr/>
          <p:nvPr/>
        </p:nvSpPr>
        <p:spPr>
          <a:xfrm>
            <a:off x="-101599" y="4783366"/>
            <a:ext cx="12439612" cy="1639308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90" name="Google Shape;490;p16"/>
          <p:cNvSpPr/>
          <p:nvPr/>
        </p:nvSpPr>
        <p:spPr>
          <a:xfrm>
            <a:off x="4999801" y="4626133"/>
            <a:ext cx="7338209" cy="201984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91" name="Google Shape;491;p16"/>
          <p:cNvSpPr/>
          <p:nvPr/>
        </p:nvSpPr>
        <p:spPr>
          <a:xfrm>
            <a:off x="-101599" y="5448603"/>
            <a:ext cx="12439612" cy="1409387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92" name="Google Shape;492;p16"/>
          <p:cNvSpPr txBox="1">
            <a:spLocks noGrp="1"/>
          </p:cNvSpPr>
          <p:nvPr>
            <p:ph type="title"/>
          </p:nvPr>
        </p:nvSpPr>
        <p:spPr>
          <a:xfrm>
            <a:off x="960000" y="3160368"/>
            <a:ext cx="6455600" cy="69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467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493" name="Google Shape;493;p16"/>
          <p:cNvSpPr txBox="1">
            <a:spLocks noGrp="1"/>
          </p:cNvSpPr>
          <p:nvPr>
            <p:ph type="subTitle" idx="1"/>
          </p:nvPr>
        </p:nvSpPr>
        <p:spPr>
          <a:xfrm>
            <a:off x="960000" y="1067400"/>
            <a:ext cx="8831200" cy="2262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733"/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09120346"/>
      </p:ext>
    </p:extLst>
  </p:cSld>
  <p:clrMapOvr>
    <a:masterClrMapping/>
  </p:clrMapOvr>
  <p:transition spd="slow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 ">
  <p:cSld name="Title and six columns ">
    <p:spTree>
      <p:nvGrpSpPr>
        <p:cNvPr id="1" name="Shape 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5" name="Google Shape;495;p17"/>
          <p:cNvGrpSpPr/>
          <p:nvPr/>
        </p:nvGrpSpPr>
        <p:grpSpPr>
          <a:xfrm>
            <a:off x="367" y="5717157"/>
            <a:ext cx="12223208" cy="1464784"/>
            <a:chOff x="271" y="2964551"/>
            <a:chExt cx="9167406" cy="2193229"/>
          </a:xfrm>
        </p:grpSpPr>
        <p:sp>
          <p:nvSpPr>
            <p:cNvPr id="496" name="Google Shape;496;p17"/>
            <p:cNvSpPr/>
            <p:nvPr/>
          </p:nvSpPr>
          <p:spPr>
            <a:xfrm>
              <a:off x="275" y="3538374"/>
              <a:ext cx="9167398" cy="1619406"/>
            </a:xfrm>
            <a:custGeom>
              <a:avLst/>
              <a:gdLst/>
              <a:ahLst/>
              <a:cxnLst/>
              <a:rect l="l" t="t" r="r" b="b"/>
              <a:pathLst>
                <a:path w="43860" h="10974" extrusionOk="0">
                  <a:moveTo>
                    <a:pt x="0" y="0"/>
                  </a:moveTo>
                  <a:lnTo>
                    <a:pt x="0" y="10974"/>
                  </a:lnTo>
                  <a:lnTo>
                    <a:pt x="43860" y="10974"/>
                  </a:lnTo>
                  <a:lnTo>
                    <a:pt x="43860" y="0"/>
                  </a:ln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7" name="Google Shape;497;p17"/>
            <p:cNvSpPr/>
            <p:nvPr/>
          </p:nvSpPr>
          <p:spPr>
            <a:xfrm>
              <a:off x="1413430" y="2964551"/>
              <a:ext cx="7754247" cy="680775"/>
            </a:xfrm>
            <a:custGeom>
              <a:avLst/>
              <a:gdLst/>
              <a:ahLst/>
              <a:cxnLst/>
              <a:rect l="l" t="t" r="r" b="b"/>
              <a:pathLst>
                <a:path w="37099" h="4687" extrusionOk="0">
                  <a:moveTo>
                    <a:pt x="29289" y="0"/>
                  </a:moveTo>
                  <a:cubicBezTo>
                    <a:pt x="28606" y="0"/>
                    <a:pt x="27911" y="10"/>
                    <a:pt x="27217" y="28"/>
                  </a:cubicBezTo>
                  <a:cubicBezTo>
                    <a:pt x="18981" y="245"/>
                    <a:pt x="8493" y="2688"/>
                    <a:pt x="1" y="4687"/>
                  </a:cubicBezTo>
                  <a:lnTo>
                    <a:pt x="37099" y="4687"/>
                  </a:lnTo>
                  <a:lnTo>
                    <a:pt x="37099" y="731"/>
                  </a:lnTo>
                  <a:cubicBezTo>
                    <a:pt x="35742" y="225"/>
                    <a:pt x="32651" y="0"/>
                    <a:pt x="2928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8" name="Google Shape;498;p17"/>
            <p:cNvSpPr/>
            <p:nvPr/>
          </p:nvSpPr>
          <p:spPr>
            <a:xfrm>
              <a:off x="271" y="3209866"/>
              <a:ext cx="4762825" cy="666541"/>
            </a:xfrm>
            <a:custGeom>
              <a:avLst/>
              <a:gdLst/>
              <a:ahLst/>
              <a:cxnLst/>
              <a:rect l="l" t="t" r="r" b="b"/>
              <a:pathLst>
                <a:path w="22787" h="4589" extrusionOk="0">
                  <a:moveTo>
                    <a:pt x="3161" y="1"/>
                  </a:moveTo>
                  <a:cubicBezTo>
                    <a:pt x="1090" y="1"/>
                    <a:pt x="0" y="199"/>
                    <a:pt x="0" y="199"/>
                  </a:cubicBezTo>
                  <a:lnTo>
                    <a:pt x="0" y="4589"/>
                  </a:lnTo>
                  <a:lnTo>
                    <a:pt x="22787" y="4589"/>
                  </a:lnTo>
                  <a:cubicBezTo>
                    <a:pt x="22787" y="4589"/>
                    <a:pt x="18128" y="2036"/>
                    <a:pt x="11029" y="766"/>
                  </a:cubicBezTo>
                  <a:cubicBezTo>
                    <a:pt x="7669" y="160"/>
                    <a:pt x="5020" y="1"/>
                    <a:pt x="316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99" name="Google Shape;499;p17"/>
            <p:cNvSpPr/>
            <p:nvPr/>
          </p:nvSpPr>
          <p:spPr>
            <a:xfrm>
              <a:off x="271" y="3612551"/>
              <a:ext cx="9167398" cy="362393"/>
            </a:xfrm>
            <a:custGeom>
              <a:avLst/>
              <a:gdLst/>
              <a:ahLst/>
              <a:cxnLst/>
              <a:rect l="l" t="t" r="r" b="b"/>
              <a:pathLst>
                <a:path w="43860" h="2495" extrusionOk="0">
                  <a:moveTo>
                    <a:pt x="0" y="0"/>
                  </a:moveTo>
                  <a:lnTo>
                    <a:pt x="0" y="512"/>
                  </a:lnTo>
                  <a:cubicBezTo>
                    <a:pt x="18857" y="538"/>
                    <a:pt x="31655" y="810"/>
                    <a:pt x="43860" y="2495"/>
                  </a:cubicBezTo>
                  <a:lnTo>
                    <a:pt x="4386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00" name="Google Shape;500;p17"/>
          <p:cNvSpPr/>
          <p:nvPr/>
        </p:nvSpPr>
        <p:spPr>
          <a:xfrm>
            <a:off x="8684265" y="-846866"/>
            <a:ext cx="4603027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1" name="Google Shape;501;p17"/>
          <p:cNvSpPr/>
          <p:nvPr/>
        </p:nvSpPr>
        <p:spPr>
          <a:xfrm>
            <a:off x="-503734" y="258867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02" name="Google Shape;502;p17"/>
          <p:cNvGrpSpPr/>
          <p:nvPr/>
        </p:nvGrpSpPr>
        <p:grpSpPr>
          <a:xfrm>
            <a:off x="240723" y="4640041"/>
            <a:ext cx="1756639" cy="1570331"/>
            <a:chOff x="3198025" y="2914625"/>
            <a:chExt cx="318925" cy="285100"/>
          </a:xfrm>
        </p:grpSpPr>
        <p:sp>
          <p:nvSpPr>
            <p:cNvPr id="503" name="Google Shape;503;p17"/>
            <p:cNvSpPr/>
            <p:nvPr/>
          </p:nvSpPr>
          <p:spPr>
            <a:xfrm>
              <a:off x="3294050" y="3126200"/>
              <a:ext cx="18050" cy="34000"/>
            </a:xfrm>
            <a:custGeom>
              <a:avLst/>
              <a:gdLst/>
              <a:ahLst/>
              <a:cxnLst/>
              <a:rect l="l" t="t" r="r" b="b"/>
              <a:pathLst>
                <a:path w="722" h="1360" extrusionOk="0">
                  <a:moveTo>
                    <a:pt x="407" y="0"/>
                  </a:moveTo>
                  <a:cubicBezTo>
                    <a:pt x="205" y="0"/>
                    <a:pt x="0" y="141"/>
                    <a:pt x="103" y="281"/>
                  </a:cubicBezTo>
                  <a:cubicBezTo>
                    <a:pt x="346" y="605"/>
                    <a:pt x="265" y="1360"/>
                    <a:pt x="265" y="1360"/>
                  </a:cubicBezTo>
                  <a:lnTo>
                    <a:pt x="573" y="1360"/>
                  </a:lnTo>
                  <a:cubicBezTo>
                    <a:pt x="508" y="563"/>
                    <a:pt x="722" y="281"/>
                    <a:pt x="722" y="281"/>
                  </a:cubicBezTo>
                  <a:cubicBezTo>
                    <a:pt x="700" y="76"/>
                    <a:pt x="554" y="0"/>
                    <a:pt x="407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4" name="Google Shape;504;p17"/>
            <p:cNvSpPr/>
            <p:nvPr/>
          </p:nvSpPr>
          <p:spPr>
            <a:xfrm>
              <a:off x="3272300" y="2915825"/>
              <a:ext cx="63625" cy="229725"/>
            </a:xfrm>
            <a:custGeom>
              <a:avLst/>
              <a:gdLst/>
              <a:ahLst/>
              <a:cxnLst/>
              <a:rect l="l" t="t" r="r" b="b"/>
              <a:pathLst>
                <a:path w="2545" h="9189" extrusionOk="0">
                  <a:moveTo>
                    <a:pt x="1285" y="1"/>
                  </a:moveTo>
                  <a:cubicBezTo>
                    <a:pt x="1151" y="1"/>
                    <a:pt x="1017" y="277"/>
                    <a:pt x="892" y="933"/>
                  </a:cubicBezTo>
                  <a:cubicBezTo>
                    <a:pt x="892" y="933"/>
                    <a:pt x="1" y="8359"/>
                    <a:pt x="620" y="8910"/>
                  </a:cubicBezTo>
                  <a:cubicBezTo>
                    <a:pt x="804" y="9070"/>
                    <a:pt x="1072" y="9188"/>
                    <a:pt x="1347" y="9188"/>
                  </a:cubicBezTo>
                  <a:cubicBezTo>
                    <a:pt x="1860" y="9188"/>
                    <a:pt x="2396" y="8780"/>
                    <a:pt x="2457" y="7481"/>
                  </a:cubicBezTo>
                  <a:cubicBezTo>
                    <a:pt x="2545" y="5839"/>
                    <a:pt x="1905" y="1"/>
                    <a:pt x="1285" y="1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5" name="Google Shape;505;p17"/>
            <p:cNvSpPr/>
            <p:nvPr/>
          </p:nvSpPr>
          <p:spPr>
            <a:xfrm>
              <a:off x="3269225" y="2914625"/>
              <a:ext cx="39150" cy="227675"/>
            </a:xfrm>
            <a:custGeom>
              <a:avLst/>
              <a:gdLst/>
              <a:ahLst/>
              <a:cxnLst/>
              <a:rect l="l" t="t" r="r" b="b"/>
              <a:pathLst>
                <a:path w="1566" h="9107" extrusionOk="0">
                  <a:moveTo>
                    <a:pt x="1387" y="1"/>
                  </a:moveTo>
                  <a:cubicBezTo>
                    <a:pt x="1238" y="1"/>
                    <a:pt x="1082" y="309"/>
                    <a:pt x="986" y="968"/>
                  </a:cubicBezTo>
                  <a:cubicBezTo>
                    <a:pt x="986" y="968"/>
                    <a:pt x="1" y="7934"/>
                    <a:pt x="743" y="8958"/>
                  </a:cubicBezTo>
                  <a:cubicBezTo>
                    <a:pt x="798" y="9026"/>
                    <a:pt x="892" y="9068"/>
                    <a:pt x="973" y="9107"/>
                  </a:cubicBezTo>
                  <a:cubicBezTo>
                    <a:pt x="594" y="7636"/>
                    <a:pt x="1216" y="955"/>
                    <a:pt x="1216" y="955"/>
                  </a:cubicBezTo>
                  <a:cubicBezTo>
                    <a:pt x="1283" y="257"/>
                    <a:pt x="1407" y="149"/>
                    <a:pt x="1508" y="149"/>
                  </a:cubicBezTo>
                  <a:cubicBezTo>
                    <a:pt x="1528" y="149"/>
                    <a:pt x="1548" y="153"/>
                    <a:pt x="1566" y="158"/>
                  </a:cubicBezTo>
                  <a:cubicBezTo>
                    <a:pt x="1510" y="54"/>
                    <a:pt x="1449" y="1"/>
                    <a:pt x="1387" y="1"/>
                  </a:cubicBezTo>
                  <a:close/>
                </a:path>
              </a:pathLst>
            </a:custGeom>
            <a:solidFill>
              <a:srgbClr val="96943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6" name="Google Shape;506;p17"/>
            <p:cNvSpPr/>
            <p:nvPr/>
          </p:nvSpPr>
          <p:spPr>
            <a:xfrm>
              <a:off x="3222800" y="3126200"/>
              <a:ext cx="18100" cy="34000"/>
            </a:xfrm>
            <a:custGeom>
              <a:avLst/>
              <a:gdLst/>
              <a:ahLst/>
              <a:cxnLst/>
              <a:rect l="l" t="t" r="r" b="b"/>
              <a:pathLst>
                <a:path w="724" h="1360" extrusionOk="0">
                  <a:moveTo>
                    <a:pt x="407" y="0"/>
                  </a:moveTo>
                  <a:cubicBezTo>
                    <a:pt x="205" y="0"/>
                    <a:pt x="1" y="141"/>
                    <a:pt x="102" y="281"/>
                  </a:cubicBezTo>
                  <a:cubicBezTo>
                    <a:pt x="345" y="605"/>
                    <a:pt x="280" y="1360"/>
                    <a:pt x="280" y="1360"/>
                  </a:cubicBezTo>
                  <a:lnTo>
                    <a:pt x="575" y="1360"/>
                  </a:lnTo>
                  <a:cubicBezTo>
                    <a:pt x="507" y="563"/>
                    <a:pt x="724" y="281"/>
                    <a:pt x="724" y="281"/>
                  </a:cubicBezTo>
                  <a:cubicBezTo>
                    <a:pt x="701" y="76"/>
                    <a:pt x="555" y="0"/>
                    <a:pt x="407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7" name="Google Shape;507;p17"/>
            <p:cNvSpPr/>
            <p:nvPr/>
          </p:nvSpPr>
          <p:spPr>
            <a:xfrm>
              <a:off x="3201025" y="2915825"/>
              <a:ext cx="63775" cy="229725"/>
            </a:xfrm>
            <a:custGeom>
              <a:avLst/>
              <a:gdLst/>
              <a:ahLst/>
              <a:cxnLst/>
              <a:rect l="l" t="t" r="r" b="b"/>
              <a:pathLst>
                <a:path w="2551" h="9189" extrusionOk="0">
                  <a:moveTo>
                    <a:pt x="1300" y="1"/>
                  </a:moveTo>
                  <a:cubicBezTo>
                    <a:pt x="1166" y="1"/>
                    <a:pt x="1033" y="277"/>
                    <a:pt x="908" y="933"/>
                  </a:cubicBezTo>
                  <a:cubicBezTo>
                    <a:pt x="908" y="933"/>
                    <a:pt x="1" y="8359"/>
                    <a:pt x="636" y="8910"/>
                  </a:cubicBezTo>
                  <a:cubicBezTo>
                    <a:pt x="816" y="9070"/>
                    <a:pt x="1081" y="9188"/>
                    <a:pt x="1355" y="9188"/>
                  </a:cubicBezTo>
                  <a:cubicBezTo>
                    <a:pt x="1864" y="9188"/>
                    <a:pt x="2403" y="8780"/>
                    <a:pt x="2473" y="7481"/>
                  </a:cubicBezTo>
                  <a:cubicBezTo>
                    <a:pt x="2550" y="5839"/>
                    <a:pt x="1917" y="1"/>
                    <a:pt x="1300" y="1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8" name="Google Shape;508;p17"/>
            <p:cNvSpPr/>
            <p:nvPr/>
          </p:nvSpPr>
          <p:spPr>
            <a:xfrm>
              <a:off x="3198025" y="2915125"/>
              <a:ext cx="39150" cy="227175"/>
            </a:xfrm>
            <a:custGeom>
              <a:avLst/>
              <a:gdLst/>
              <a:ahLst/>
              <a:cxnLst/>
              <a:rect l="l" t="t" r="r" b="b"/>
              <a:pathLst>
                <a:path w="1566" h="9087" extrusionOk="0">
                  <a:moveTo>
                    <a:pt x="1401" y="0"/>
                  </a:moveTo>
                  <a:cubicBezTo>
                    <a:pt x="1242" y="0"/>
                    <a:pt x="1064" y="326"/>
                    <a:pt x="986" y="974"/>
                  </a:cubicBezTo>
                  <a:cubicBezTo>
                    <a:pt x="986" y="974"/>
                    <a:pt x="1" y="7914"/>
                    <a:pt x="756" y="8938"/>
                  </a:cubicBezTo>
                  <a:cubicBezTo>
                    <a:pt x="811" y="9006"/>
                    <a:pt x="892" y="9048"/>
                    <a:pt x="986" y="9087"/>
                  </a:cubicBezTo>
                  <a:cubicBezTo>
                    <a:pt x="594" y="7616"/>
                    <a:pt x="1216" y="935"/>
                    <a:pt x="1216" y="935"/>
                  </a:cubicBezTo>
                  <a:cubicBezTo>
                    <a:pt x="1297" y="96"/>
                    <a:pt x="1485" y="164"/>
                    <a:pt x="1566" y="138"/>
                  </a:cubicBezTo>
                  <a:cubicBezTo>
                    <a:pt x="1518" y="46"/>
                    <a:pt x="1461" y="0"/>
                    <a:pt x="1401" y="0"/>
                  </a:cubicBezTo>
                  <a:close/>
                </a:path>
              </a:pathLst>
            </a:custGeom>
            <a:solidFill>
              <a:srgbClr val="96943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09" name="Google Shape;509;p17"/>
            <p:cNvSpPr/>
            <p:nvPr/>
          </p:nvSpPr>
          <p:spPr>
            <a:xfrm>
              <a:off x="3303325" y="3160175"/>
              <a:ext cx="213625" cy="37125"/>
            </a:xfrm>
            <a:custGeom>
              <a:avLst/>
              <a:gdLst/>
              <a:ahLst/>
              <a:cxnLst/>
              <a:rect l="l" t="t" r="r" b="b"/>
              <a:pathLst>
                <a:path w="8545" h="1485" extrusionOk="0">
                  <a:moveTo>
                    <a:pt x="1" y="1"/>
                  </a:moveTo>
                  <a:cubicBezTo>
                    <a:pt x="1054" y="973"/>
                    <a:pt x="5888" y="1485"/>
                    <a:pt x="7764" y="1485"/>
                  </a:cubicBezTo>
                  <a:cubicBezTo>
                    <a:pt x="8263" y="1485"/>
                    <a:pt x="8545" y="1446"/>
                    <a:pt x="8519" y="1378"/>
                  </a:cubicBezTo>
                  <a:cubicBezTo>
                    <a:pt x="8357" y="1041"/>
                    <a:pt x="299" y="1"/>
                    <a:pt x="299" y="1"/>
                  </a:cubicBezTo>
                  <a:close/>
                </a:path>
              </a:pathLst>
            </a:custGeom>
            <a:solidFill>
              <a:srgbClr val="3D7D40">
                <a:alpha val="5669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0" name="Google Shape;510;p17"/>
            <p:cNvSpPr/>
            <p:nvPr/>
          </p:nvSpPr>
          <p:spPr>
            <a:xfrm>
              <a:off x="3227350" y="3160175"/>
              <a:ext cx="169475" cy="39550"/>
            </a:xfrm>
            <a:custGeom>
              <a:avLst/>
              <a:gdLst/>
              <a:ahLst/>
              <a:cxnLst/>
              <a:rect l="l" t="t" r="r" b="b"/>
              <a:pathLst>
                <a:path w="6779" h="1582" extrusionOk="0">
                  <a:moveTo>
                    <a:pt x="1" y="1"/>
                  </a:moveTo>
                  <a:cubicBezTo>
                    <a:pt x="1083" y="999"/>
                    <a:pt x="4971" y="1582"/>
                    <a:pt x="6306" y="1582"/>
                  </a:cubicBezTo>
                  <a:cubicBezTo>
                    <a:pt x="6604" y="1582"/>
                    <a:pt x="6779" y="1553"/>
                    <a:pt x="6753" y="1485"/>
                  </a:cubicBezTo>
                  <a:cubicBezTo>
                    <a:pt x="6591" y="1148"/>
                    <a:pt x="312" y="1"/>
                    <a:pt x="312" y="1"/>
                  </a:cubicBezTo>
                  <a:close/>
                </a:path>
              </a:pathLst>
            </a:custGeom>
            <a:solidFill>
              <a:srgbClr val="3D7D40">
                <a:alpha val="56699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11" name="Google Shape;511;p17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512" name="Google Shape;512;p17"/>
          <p:cNvSpPr txBox="1">
            <a:spLocks noGrp="1"/>
          </p:cNvSpPr>
          <p:nvPr>
            <p:ph type="subTitle" idx="1"/>
          </p:nvPr>
        </p:nvSpPr>
        <p:spPr>
          <a:xfrm>
            <a:off x="965567" y="2595909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13" name="Google Shape;513;p17"/>
          <p:cNvSpPr txBox="1">
            <a:spLocks noGrp="1"/>
          </p:cNvSpPr>
          <p:nvPr>
            <p:ph type="title" idx="2"/>
          </p:nvPr>
        </p:nvSpPr>
        <p:spPr>
          <a:xfrm>
            <a:off x="965567" y="1973233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14" name="Google Shape;514;p17"/>
          <p:cNvSpPr txBox="1">
            <a:spLocks noGrp="1"/>
          </p:cNvSpPr>
          <p:nvPr>
            <p:ph type="subTitle" idx="3"/>
          </p:nvPr>
        </p:nvSpPr>
        <p:spPr>
          <a:xfrm>
            <a:off x="4473600" y="2595909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15" name="Google Shape;515;p17"/>
          <p:cNvSpPr txBox="1">
            <a:spLocks noGrp="1"/>
          </p:cNvSpPr>
          <p:nvPr>
            <p:ph type="title" idx="4"/>
          </p:nvPr>
        </p:nvSpPr>
        <p:spPr>
          <a:xfrm>
            <a:off x="4473605" y="1973233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16" name="Google Shape;516;p17"/>
          <p:cNvSpPr txBox="1">
            <a:spLocks noGrp="1"/>
          </p:cNvSpPr>
          <p:nvPr>
            <p:ph type="subTitle" idx="5"/>
          </p:nvPr>
        </p:nvSpPr>
        <p:spPr>
          <a:xfrm>
            <a:off x="7981633" y="2595909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17" name="Google Shape;517;p17"/>
          <p:cNvSpPr txBox="1">
            <a:spLocks noGrp="1"/>
          </p:cNvSpPr>
          <p:nvPr>
            <p:ph type="title" idx="6"/>
          </p:nvPr>
        </p:nvSpPr>
        <p:spPr>
          <a:xfrm>
            <a:off x="7981644" y="1973233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18" name="Google Shape;518;p17"/>
          <p:cNvSpPr txBox="1">
            <a:spLocks noGrp="1"/>
          </p:cNvSpPr>
          <p:nvPr>
            <p:ph type="subTitle" idx="7"/>
          </p:nvPr>
        </p:nvSpPr>
        <p:spPr>
          <a:xfrm>
            <a:off x="965567" y="4677693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19" name="Google Shape;519;p17"/>
          <p:cNvSpPr txBox="1">
            <a:spLocks noGrp="1"/>
          </p:cNvSpPr>
          <p:nvPr>
            <p:ph type="title" idx="8"/>
          </p:nvPr>
        </p:nvSpPr>
        <p:spPr>
          <a:xfrm>
            <a:off x="965567" y="4054985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20" name="Google Shape;520;p17"/>
          <p:cNvSpPr txBox="1">
            <a:spLocks noGrp="1"/>
          </p:cNvSpPr>
          <p:nvPr>
            <p:ph type="subTitle" idx="9"/>
          </p:nvPr>
        </p:nvSpPr>
        <p:spPr>
          <a:xfrm>
            <a:off x="4473600" y="4677693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21" name="Google Shape;521;p17"/>
          <p:cNvSpPr txBox="1">
            <a:spLocks noGrp="1"/>
          </p:cNvSpPr>
          <p:nvPr>
            <p:ph type="title" idx="13"/>
          </p:nvPr>
        </p:nvSpPr>
        <p:spPr>
          <a:xfrm>
            <a:off x="4473605" y="4054985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22" name="Google Shape;522;p17"/>
          <p:cNvSpPr txBox="1">
            <a:spLocks noGrp="1"/>
          </p:cNvSpPr>
          <p:nvPr>
            <p:ph type="subTitle" idx="14"/>
          </p:nvPr>
        </p:nvSpPr>
        <p:spPr>
          <a:xfrm>
            <a:off x="7981633" y="4677693"/>
            <a:ext cx="32448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23" name="Google Shape;523;p17"/>
          <p:cNvSpPr txBox="1">
            <a:spLocks noGrp="1"/>
          </p:cNvSpPr>
          <p:nvPr>
            <p:ph type="title" idx="15"/>
          </p:nvPr>
        </p:nvSpPr>
        <p:spPr>
          <a:xfrm>
            <a:off x="7981644" y="4054985"/>
            <a:ext cx="3244800" cy="49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35708489"/>
      </p:ext>
    </p:extLst>
  </p:cSld>
  <p:clrMapOvr>
    <a:masterClrMapping/>
  </p:clrMapOvr>
  <p:transition spd="slow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Google Shape;525;p18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26" name="Google Shape;526;p18"/>
          <p:cNvSpPr/>
          <p:nvPr/>
        </p:nvSpPr>
        <p:spPr>
          <a:xfrm>
            <a:off x="4812697" y="6068285"/>
            <a:ext cx="7379247" cy="718689"/>
          </a:xfrm>
          <a:custGeom>
            <a:avLst/>
            <a:gdLst/>
            <a:ahLst/>
            <a:cxnLst/>
            <a:rect l="l" t="t" r="r" b="b"/>
            <a:pathLst>
              <a:path w="32291" h="10923" extrusionOk="0">
                <a:moveTo>
                  <a:pt x="32291" y="1"/>
                </a:moveTo>
                <a:cubicBezTo>
                  <a:pt x="31915" y="189"/>
                  <a:pt x="31293" y="432"/>
                  <a:pt x="30509" y="542"/>
                </a:cubicBezTo>
                <a:cubicBezTo>
                  <a:pt x="29229" y="704"/>
                  <a:pt x="28795" y="1109"/>
                  <a:pt x="27797" y="1352"/>
                </a:cubicBezTo>
                <a:cubicBezTo>
                  <a:pt x="27649" y="1387"/>
                  <a:pt x="27508" y="1402"/>
                  <a:pt x="27371" y="1402"/>
                </a:cubicBezTo>
                <a:cubicBezTo>
                  <a:pt x="26657" y="1402"/>
                  <a:pt x="26030" y="1004"/>
                  <a:pt x="25053" y="1004"/>
                </a:cubicBezTo>
                <a:cubicBezTo>
                  <a:pt x="24922" y="1004"/>
                  <a:pt x="24783" y="1012"/>
                  <a:pt x="24638" y="1028"/>
                </a:cubicBezTo>
                <a:cubicBezTo>
                  <a:pt x="23206" y="1190"/>
                  <a:pt x="23491" y="1676"/>
                  <a:pt x="21492" y="1757"/>
                </a:cubicBezTo>
                <a:cubicBezTo>
                  <a:pt x="19480" y="1838"/>
                  <a:pt x="20345" y="2405"/>
                  <a:pt x="18197" y="2742"/>
                </a:cubicBezTo>
                <a:cubicBezTo>
                  <a:pt x="16039" y="3066"/>
                  <a:pt x="17186" y="3309"/>
                  <a:pt x="15903" y="3552"/>
                </a:cubicBezTo>
                <a:cubicBezTo>
                  <a:pt x="14607" y="3795"/>
                  <a:pt x="14607" y="4038"/>
                  <a:pt x="14040" y="4362"/>
                </a:cubicBezTo>
                <a:cubicBezTo>
                  <a:pt x="13909" y="4435"/>
                  <a:pt x="13771" y="4463"/>
                  <a:pt x="13611" y="4463"/>
                </a:cubicBezTo>
                <a:cubicBezTo>
                  <a:pt x="13111" y="4463"/>
                  <a:pt x="12398" y="4192"/>
                  <a:pt x="11017" y="4192"/>
                </a:cubicBezTo>
                <a:cubicBezTo>
                  <a:pt x="10884" y="4192"/>
                  <a:pt x="10745" y="4194"/>
                  <a:pt x="10599" y="4200"/>
                </a:cubicBezTo>
                <a:cubicBezTo>
                  <a:pt x="8451" y="4281"/>
                  <a:pt x="8020" y="5023"/>
                  <a:pt x="8020" y="5023"/>
                </a:cubicBezTo>
                <a:lnTo>
                  <a:pt x="7019" y="4767"/>
                </a:lnTo>
                <a:cubicBezTo>
                  <a:pt x="6852" y="4751"/>
                  <a:pt x="6696" y="4744"/>
                  <a:pt x="6550" y="4744"/>
                </a:cubicBezTo>
                <a:cubicBezTo>
                  <a:pt x="5178" y="4744"/>
                  <a:pt x="4628" y="5378"/>
                  <a:pt x="3727" y="5671"/>
                </a:cubicBezTo>
                <a:cubicBezTo>
                  <a:pt x="2713" y="5995"/>
                  <a:pt x="1" y="5995"/>
                  <a:pt x="1" y="5995"/>
                </a:cubicBezTo>
                <a:cubicBezTo>
                  <a:pt x="1" y="5995"/>
                  <a:pt x="1851" y="9073"/>
                  <a:pt x="3092" y="10923"/>
                </a:cubicBezTo>
                <a:lnTo>
                  <a:pt x="32291" y="10923"/>
                </a:lnTo>
                <a:lnTo>
                  <a:pt x="32291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7" name="Google Shape;527;p18"/>
          <p:cNvSpPr/>
          <p:nvPr/>
        </p:nvSpPr>
        <p:spPr>
          <a:xfrm>
            <a:off x="17" y="6188361"/>
            <a:ext cx="4195460" cy="717571"/>
          </a:xfrm>
          <a:custGeom>
            <a:avLst/>
            <a:gdLst/>
            <a:ahLst/>
            <a:cxnLst/>
            <a:rect l="l" t="t" r="r" b="b"/>
            <a:pathLst>
              <a:path w="18359" h="10906" extrusionOk="0">
                <a:moveTo>
                  <a:pt x="1" y="0"/>
                </a:moveTo>
                <a:lnTo>
                  <a:pt x="1" y="10906"/>
                </a:lnTo>
                <a:lnTo>
                  <a:pt x="16606" y="10906"/>
                </a:lnTo>
                <a:cubicBezTo>
                  <a:pt x="17306" y="9072"/>
                  <a:pt x="18359" y="5994"/>
                  <a:pt x="18359" y="5994"/>
                </a:cubicBezTo>
                <a:cubicBezTo>
                  <a:pt x="18359" y="5994"/>
                  <a:pt x="16820" y="5994"/>
                  <a:pt x="16240" y="5670"/>
                </a:cubicBezTo>
                <a:cubicBezTo>
                  <a:pt x="15727" y="5377"/>
                  <a:pt x="15413" y="4740"/>
                  <a:pt x="14640" y="4740"/>
                </a:cubicBezTo>
                <a:cubicBezTo>
                  <a:pt x="14557" y="4740"/>
                  <a:pt x="14470" y="4747"/>
                  <a:pt x="14377" y="4763"/>
                </a:cubicBezTo>
                <a:lnTo>
                  <a:pt x="13797" y="5006"/>
                </a:lnTo>
                <a:cubicBezTo>
                  <a:pt x="13797" y="5006"/>
                  <a:pt x="13554" y="4277"/>
                  <a:pt x="12339" y="4196"/>
                </a:cubicBezTo>
                <a:cubicBezTo>
                  <a:pt x="12272" y="4192"/>
                  <a:pt x="12208" y="4191"/>
                  <a:pt x="12146" y="4191"/>
                </a:cubicBezTo>
                <a:cubicBezTo>
                  <a:pt x="11730" y="4191"/>
                  <a:pt x="11411" y="4261"/>
                  <a:pt x="11166" y="4332"/>
                </a:cubicBezTo>
                <a:cubicBezTo>
                  <a:pt x="10937" y="4396"/>
                  <a:pt x="10767" y="4462"/>
                  <a:pt x="10627" y="4462"/>
                </a:cubicBezTo>
                <a:cubicBezTo>
                  <a:pt x="10535" y="4462"/>
                  <a:pt x="10456" y="4434"/>
                  <a:pt x="10382" y="4358"/>
                </a:cubicBezTo>
                <a:cubicBezTo>
                  <a:pt x="10058" y="4034"/>
                  <a:pt x="10058" y="3791"/>
                  <a:pt x="9316" y="3548"/>
                </a:cubicBezTo>
                <a:cubicBezTo>
                  <a:pt x="8587" y="3305"/>
                  <a:pt x="9235" y="3062"/>
                  <a:pt x="8020" y="2725"/>
                </a:cubicBezTo>
                <a:cubicBezTo>
                  <a:pt x="6792" y="2401"/>
                  <a:pt x="7278" y="1834"/>
                  <a:pt x="6144" y="1753"/>
                </a:cubicBezTo>
                <a:cubicBezTo>
                  <a:pt x="4994" y="1672"/>
                  <a:pt x="5156" y="1186"/>
                  <a:pt x="4346" y="1024"/>
                </a:cubicBezTo>
                <a:cubicBezTo>
                  <a:pt x="4259" y="1006"/>
                  <a:pt x="4178" y="998"/>
                  <a:pt x="4100" y="998"/>
                </a:cubicBezTo>
                <a:cubicBezTo>
                  <a:pt x="3826" y="998"/>
                  <a:pt x="3599" y="1095"/>
                  <a:pt x="3390" y="1199"/>
                </a:cubicBezTo>
                <a:cubicBezTo>
                  <a:pt x="3183" y="1297"/>
                  <a:pt x="2992" y="1396"/>
                  <a:pt x="2789" y="1396"/>
                </a:cubicBezTo>
                <a:cubicBezTo>
                  <a:pt x="2712" y="1396"/>
                  <a:pt x="2633" y="1382"/>
                  <a:pt x="2551" y="1348"/>
                </a:cubicBezTo>
                <a:cubicBezTo>
                  <a:pt x="1984" y="1105"/>
                  <a:pt x="1741" y="687"/>
                  <a:pt x="999" y="525"/>
                </a:cubicBezTo>
                <a:cubicBezTo>
                  <a:pt x="568" y="431"/>
                  <a:pt x="202" y="188"/>
                  <a:pt x="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8" name="Google Shape;528;p18"/>
          <p:cNvSpPr/>
          <p:nvPr/>
        </p:nvSpPr>
        <p:spPr>
          <a:xfrm>
            <a:off x="17" y="6420221"/>
            <a:ext cx="12191948" cy="450191"/>
          </a:xfrm>
          <a:custGeom>
            <a:avLst/>
            <a:gdLst/>
            <a:ahLst/>
            <a:cxnLst/>
            <a:rect l="l" t="t" r="r" b="b"/>
            <a:pathLst>
              <a:path w="53351" h="10705" extrusionOk="0">
                <a:moveTo>
                  <a:pt x="1" y="0"/>
                </a:moveTo>
                <a:lnTo>
                  <a:pt x="1" y="10705"/>
                </a:lnTo>
                <a:lnTo>
                  <a:pt x="53351" y="6075"/>
                </a:lnTo>
                <a:lnTo>
                  <a:pt x="53351" y="431"/>
                </a:lnTo>
                <a:cubicBezTo>
                  <a:pt x="50211" y="280"/>
                  <a:pt x="46158" y="14"/>
                  <a:pt x="42519" y="14"/>
                </a:cubicBezTo>
                <a:cubicBezTo>
                  <a:pt x="40918" y="14"/>
                  <a:pt x="39398" y="65"/>
                  <a:pt x="38071" y="201"/>
                </a:cubicBezTo>
                <a:cubicBezTo>
                  <a:pt x="36591" y="351"/>
                  <a:pt x="33181" y="406"/>
                  <a:pt x="28961" y="406"/>
                </a:cubicBezTo>
                <a:cubicBezTo>
                  <a:pt x="18777" y="406"/>
                  <a:pt x="3875" y="85"/>
                  <a:pt x="1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9" name="Google Shape;529;p18"/>
          <p:cNvSpPr/>
          <p:nvPr/>
        </p:nvSpPr>
        <p:spPr>
          <a:xfrm>
            <a:off x="17" y="6415552"/>
            <a:ext cx="9464980" cy="429248"/>
          </a:xfrm>
          <a:custGeom>
            <a:avLst/>
            <a:gdLst/>
            <a:ahLst/>
            <a:cxnLst/>
            <a:rect l="l" t="t" r="r" b="b"/>
            <a:pathLst>
              <a:path w="41418" h="10207" extrusionOk="0">
                <a:moveTo>
                  <a:pt x="1" y="1"/>
                </a:moveTo>
                <a:lnTo>
                  <a:pt x="1" y="10207"/>
                </a:lnTo>
                <a:lnTo>
                  <a:pt x="22383" y="10207"/>
                </a:lnTo>
                <a:cubicBezTo>
                  <a:pt x="22383" y="10207"/>
                  <a:pt x="36882" y="5658"/>
                  <a:pt x="41418" y="2703"/>
                </a:cubicBezTo>
                <a:cubicBezTo>
                  <a:pt x="30227" y="691"/>
                  <a:pt x="7006" y="124"/>
                  <a:pt x="1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0" name="Google Shape;530;p18"/>
          <p:cNvSpPr/>
          <p:nvPr/>
        </p:nvSpPr>
        <p:spPr>
          <a:xfrm>
            <a:off x="16" y="6415553"/>
            <a:ext cx="4168037" cy="349807"/>
          </a:xfrm>
          <a:custGeom>
            <a:avLst/>
            <a:gdLst/>
            <a:ahLst/>
            <a:cxnLst/>
            <a:rect l="l" t="t" r="r" b="b"/>
            <a:pathLst>
              <a:path w="18239" h="8318" extrusionOk="0">
                <a:moveTo>
                  <a:pt x="1" y="1"/>
                </a:moveTo>
                <a:lnTo>
                  <a:pt x="1" y="8318"/>
                </a:lnTo>
                <a:lnTo>
                  <a:pt x="13690" y="5279"/>
                </a:lnTo>
                <a:lnTo>
                  <a:pt x="4469" y="2917"/>
                </a:lnTo>
                <a:cubicBezTo>
                  <a:pt x="4469" y="2917"/>
                  <a:pt x="9883" y="2823"/>
                  <a:pt x="13959" y="2823"/>
                </a:cubicBezTo>
                <a:cubicBezTo>
                  <a:pt x="15997" y="2823"/>
                  <a:pt x="17711" y="2849"/>
                  <a:pt x="18239" y="2917"/>
                </a:cubicBezTo>
                <a:cubicBezTo>
                  <a:pt x="17131" y="2243"/>
                  <a:pt x="14594" y="1582"/>
                  <a:pt x="11704" y="1015"/>
                </a:cubicBezTo>
                <a:cubicBezTo>
                  <a:pt x="6737" y="380"/>
                  <a:pt x="2175" y="11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1" name="Google Shape;531;p18"/>
          <p:cNvSpPr/>
          <p:nvPr/>
        </p:nvSpPr>
        <p:spPr>
          <a:xfrm>
            <a:off x="16" y="6496464"/>
            <a:ext cx="8835627" cy="348336"/>
          </a:xfrm>
          <a:custGeom>
            <a:avLst/>
            <a:gdLst/>
            <a:ahLst/>
            <a:cxnLst/>
            <a:rect l="l" t="t" r="r" b="b"/>
            <a:pathLst>
              <a:path w="38664" h="8283" extrusionOk="0">
                <a:moveTo>
                  <a:pt x="12036" y="1"/>
                </a:moveTo>
                <a:cubicBezTo>
                  <a:pt x="7298" y="1"/>
                  <a:pt x="3031" y="77"/>
                  <a:pt x="1" y="157"/>
                </a:cubicBezTo>
                <a:lnTo>
                  <a:pt x="1" y="8283"/>
                </a:lnTo>
                <a:lnTo>
                  <a:pt x="1715" y="8283"/>
                </a:lnTo>
                <a:cubicBezTo>
                  <a:pt x="11678" y="6177"/>
                  <a:pt x="26974" y="3141"/>
                  <a:pt x="36963" y="2208"/>
                </a:cubicBezTo>
                <a:cubicBezTo>
                  <a:pt x="37585" y="1897"/>
                  <a:pt x="38165" y="1589"/>
                  <a:pt x="38664" y="1291"/>
                </a:cubicBezTo>
                <a:cubicBezTo>
                  <a:pt x="31493" y="270"/>
                  <a:pt x="20933" y="1"/>
                  <a:pt x="1203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2" name="Google Shape;532;p18"/>
          <p:cNvSpPr/>
          <p:nvPr/>
        </p:nvSpPr>
        <p:spPr>
          <a:xfrm>
            <a:off x="4398846" y="6454284"/>
            <a:ext cx="7793103" cy="507595"/>
          </a:xfrm>
          <a:custGeom>
            <a:avLst/>
            <a:gdLst/>
            <a:ahLst/>
            <a:cxnLst/>
            <a:rect l="l" t="t" r="r" b="b"/>
            <a:pathLst>
              <a:path w="34102" h="12070" extrusionOk="0">
                <a:moveTo>
                  <a:pt x="34102" y="0"/>
                </a:moveTo>
                <a:cubicBezTo>
                  <a:pt x="29744" y="107"/>
                  <a:pt x="22224" y="862"/>
                  <a:pt x="15216" y="1889"/>
                </a:cubicBezTo>
                <a:cubicBezTo>
                  <a:pt x="5104" y="3373"/>
                  <a:pt x="1" y="4063"/>
                  <a:pt x="1" y="4063"/>
                </a:cubicBezTo>
                <a:lnTo>
                  <a:pt x="27152" y="12069"/>
                </a:lnTo>
                <a:lnTo>
                  <a:pt x="34102" y="12069"/>
                </a:lnTo>
                <a:lnTo>
                  <a:pt x="3410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3" name="Google Shape;533;p18"/>
          <p:cNvSpPr/>
          <p:nvPr/>
        </p:nvSpPr>
        <p:spPr>
          <a:xfrm>
            <a:off x="8795390" y="6596637"/>
            <a:ext cx="3396543" cy="36524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4" name="Google Shape;534;p18"/>
          <p:cNvSpPr/>
          <p:nvPr/>
        </p:nvSpPr>
        <p:spPr>
          <a:xfrm>
            <a:off x="-48033" y="6519501"/>
            <a:ext cx="12239964" cy="442359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5" name="Google Shape;535;p18"/>
          <p:cNvSpPr/>
          <p:nvPr/>
        </p:nvSpPr>
        <p:spPr>
          <a:xfrm>
            <a:off x="-902901" y="-168044"/>
            <a:ext cx="2945241" cy="1889959"/>
          </a:xfrm>
          <a:custGeom>
            <a:avLst/>
            <a:gdLst/>
            <a:ahLst/>
            <a:cxnLst/>
            <a:rect l="l" t="t" r="r" b="b"/>
            <a:pathLst>
              <a:path w="9746" h="6254" extrusionOk="0">
                <a:moveTo>
                  <a:pt x="0" y="1"/>
                </a:moveTo>
                <a:lnTo>
                  <a:pt x="0" y="6092"/>
                </a:lnTo>
                <a:cubicBezTo>
                  <a:pt x="39" y="6131"/>
                  <a:pt x="94" y="6157"/>
                  <a:pt x="162" y="6186"/>
                </a:cubicBezTo>
                <a:cubicBezTo>
                  <a:pt x="282" y="6238"/>
                  <a:pt x="405" y="6254"/>
                  <a:pt x="541" y="6254"/>
                </a:cubicBezTo>
                <a:cubicBezTo>
                  <a:pt x="849" y="6254"/>
                  <a:pt x="1160" y="6092"/>
                  <a:pt x="1335" y="5833"/>
                </a:cubicBezTo>
                <a:cubicBezTo>
                  <a:pt x="1371" y="6021"/>
                  <a:pt x="1570" y="6139"/>
                  <a:pt x="1763" y="6139"/>
                </a:cubicBezTo>
                <a:cubicBezTo>
                  <a:pt x="1792" y="6139"/>
                  <a:pt x="1822" y="6136"/>
                  <a:pt x="1850" y="6131"/>
                </a:cubicBezTo>
                <a:cubicBezTo>
                  <a:pt x="2064" y="6076"/>
                  <a:pt x="2242" y="5930"/>
                  <a:pt x="2388" y="5781"/>
                </a:cubicBezTo>
                <a:cubicBezTo>
                  <a:pt x="2709" y="6054"/>
                  <a:pt x="3132" y="6222"/>
                  <a:pt x="3560" y="6222"/>
                </a:cubicBezTo>
                <a:cubicBezTo>
                  <a:pt x="3619" y="6222"/>
                  <a:pt x="3679" y="6219"/>
                  <a:pt x="3739" y="6212"/>
                </a:cubicBezTo>
                <a:cubicBezTo>
                  <a:pt x="4225" y="6173"/>
                  <a:pt x="4685" y="5930"/>
                  <a:pt x="4980" y="5551"/>
                </a:cubicBezTo>
                <a:cubicBezTo>
                  <a:pt x="5085" y="5759"/>
                  <a:pt x="5328" y="5857"/>
                  <a:pt x="5556" y="5857"/>
                </a:cubicBezTo>
                <a:cubicBezTo>
                  <a:pt x="5595" y="5857"/>
                  <a:pt x="5633" y="5855"/>
                  <a:pt x="5670" y="5849"/>
                </a:cubicBezTo>
                <a:cubicBezTo>
                  <a:pt x="5939" y="5807"/>
                  <a:pt x="6169" y="5658"/>
                  <a:pt x="6399" y="5509"/>
                </a:cubicBezTo>
                <a:cubicBezTo>
                  <a:pt x="6464" y="5683"/>
                  <a:pt x="6653" y="5781"/>
                  <a:pt x="6838" y="5781"/>
                </a:cubicBezTo>
                <a:cubicBezTo>
                  <a:pt x="6955" y="5781"/>
                  <a:pt x="7071" y="5742"/>
                  <a:pt x="7154" y="5658"/>
                </a:cubicBezTo>
                <a:cubicBezTo>
                  <a:pt x="7291" y="5764"/>
                  <a:pt x="7465" y="5815"/>
                  <a:pt x="7640" y="5815"/>
                </a:cubicBezTo>
                <a:cubicBezTo>
                  <a:pt x="7844" y="5815"/>
                  <a:pt x="8049" y="5744"/>
                  <a:pt x="8194" y="5606"/>
                </a:cubicBezTo>
                <a:cubicBezTo>
                  <a:pt x="8274" y="5684"/>
                  <a:pt x="8385" y="5725"/>
                  <a:pt x="8496" y="5725"/>
                </a:cubicBezTo>
                <a:cubicBezTo>
                  <a:pt x="8591" y="5725"/>
                  <a:pt x="8686" y="5695"/>
                  <a:pt x="8761" y="5632"/>
                </a:cubicBezTo>
                <a:cubicBezTo>
                  <a:pt x="8798" y="5704"/>
                  <a:pt x="8883" y="5727"/>
                  <a:pt x="8971" y="5727"/>
                </a:cubicBezTo>
                <a:cubicBezTo>
                  <a:pt x="9014" y="5727"/>
                  <a:pt x="9058" y="5721"/>
                  <a:pt x="9098" y="5713"/>
                </a:cubicBezTo>
                <a:cubicBezTo>
                  <a:pt x="9260" y="5700"/>
                  <a:pt x="9435" y="5671"/>
                  <a:pt x="9597" y="5645"/>
                </a:cubicBezTo>
                <a:cubicBezTo>
                  <a:pt x="9626" y="5645"/>
                  <a:pt x="9652" y="5632"/>
                  <a:pt x="9678" y="5619"/>
                </a:cubicBezTo>
                <a:cubicBezTo>
                  <a:pt x="9746" y="5551"/>
                  <a:pt x="9626" y="5457"/>
                  <a:pt x="9532" y="5457"/>
                </a:cubicBezTo>
                <a:cubicBezTo>
                  <a:pt x="9435" y="5457"/>
                  <a:pt x="9328" y="5483"/>
                  <a:pt x="9247" y="5538"/>
                </a:cubicBezTo>
                <a:cubicBezTo>
                  <a:pt x="9227" y="5452"/>
                  <a:pt x="9148" y="5402"/>
                  <a:pt x="9070" y="5402"/>
                </a:cubicBezTo>
                <a:cubicBezTo>
                  <a:pt x="9047" y="5402"/>
                  <a:pt x="9025" y="5406"/>
                  <a:pt x="9004" y="5415"/>
                </a:cubicBezTo>
                <a:cubicBezTo>
                  <a:pt x="8978" y="5444"/>
                  <a:pt x="8949" y="5457"/>
                  <a:pt x="8923" y="5470"/>
                </a:cubicBezTo>
                <a:cubicBezTo>
                  <a:pt x="8916" y="5471"/>
                  <a:pt x="8910" y="5472"/>
                  <a:pt x="8903" y="5472"/>
                </a:cubicBezTo>
                <a:cubicBezTo>
                  <a:pt x="8833" y="5472"/>
                  <a:pt x="8783" y="5410"/>
                  <a:pt x="8735" y="5363"/>
                </a:cubicBezTo>
                <a:cubicBezTo>
                  <a:pt x="8599" y="5201"/>
                  <a:pt x="8437" y="5065"/>
                  <a:pt x="8236" y="5010"/>
                </a:cubicBezTo>
                <a:cubicBezTo>
                  <a:pt x="8180" y="4996"/>
                  <a:pt x="8123" y="4988"/>
                  <a:pt x="8066" y="4988"/>
                </a:cubicBezTo>
                <a:cubicBezTo>
                  <a:pt x="7913" y="4988"/>
                  <a:pt x="7761" y="5041"/>
                  <a:pt x="7653" y="5159"/>
                </a:cubicBezTo>
                <a:cubicBezTo>
                  <a:pt x="7721" y="5078"/>
                  <a:pt x="7303" y="4848"/>
                  <a:pt x="7248" y="4835"/>
                </a:cubicBezTo>
                <a:cubicBezTo>
                  <a:pt x="7178" y="4810"/>
                  <a:pt x="7108" y="4795"/>
                  <a:pt x="7040" y="4795"/>
                </a:cubicBezTo>
                <a:cubicBezTo>
                  <a:pt x="6927" y="4795"/>
                  <a:pt x="6821" y="4835"/>
                  <a:pt x="6736" y="4929"/>
                </a:cubicBezTo>
                <a:cubicBezTo>
                  <a:pt x="6655" y="4537"/>
                  <a:pt x="6344" y="4200"/>
                  <a:pt x="5952" y="4106"/>
                </a:cubicBezTo>
                <a:cubicBezTo>
                  <a:pt x="5874" y="4087"/>
                  <a:pt x="5794" y="4078"/>
                  <a:pt x="5714" y="4078"/>
                </a:cubicBezTo>
                <a:cubicBezTo>
                  <a:pt x="5392" y="4078"/>
                  <a:pt x="5067" y="4223"/>
                  <a:pt x="4873" y="4472"/>
                </a:cubicBezTo>
                <a:cubicBezTo>
                  <a:pt x="4873" y="4275"/>
                  <a:pt x="4674" y="4135"/>
                  <a:pt x="4483" y="4135"/>
                </a:cubicBezTo>
                <a:cubicBezTo>
                  <a:pt x="4410" y="4135"/>
                  <a:pt x="4339" y="4155"/>
                  <a:pt x="4280" y="4200"/>
                </a:cubicBezTo>
                <a:cubicBezTo>
                  <a:pt x="4307" y="3976"/>
                  <a:pt x="4076" y="3810"/>
                  <a:pt x="3865" y="3810"/>
                </a:cubicBezTo>
                <a:cubicBezTo>
                  <a:pt x="3771" y="3810"/>
                  <a:pt x="3681" y="3843"/>
                  <a:pt x="3619" y="3918"/>
                </a:cubicBezTo>
                <a:cubicBezTo>
                  <a:pt x="3765" y="3458"/>
                  <a:pt x="3551" y="2904"/>
                  <a:pt x="3133" y="2690"/>
                </a:cubicBezTo>
                <a:cubicBezTo>
                  <a:pt x="2993" y="2620"/>
                  <a:pt x="2838" y="2587"/>
                  <a:pt x="2683" y="2587"/>
                </a:cubicBezTo>
                <a:cubicBezTo>
                  <a:pt x="2358" y="2587"/>
                  <a:pt x="2032" y="2734"/>
                  <a:pt x="1850" y="2998"/>
                </a:cubicBezTo>
                <a:cubicBezTo>
                  <a:pt x="1837" y="2674"/>
                  <a:pt x="1837" y="2337"/>
                  <a:pt x="1675" y="2055"/>
                </a:cubicBezTo>
                <a:cubicBezTo>
                  <a:pt x="1540" y="1839"/>
                  <a:pt x="1299" y="1679"/>
                  <a:pt x="1060" y="1679"/>
                </a:cubicBezTo>
                <a:cubicBezTo>
                  <a:pt x="984" y="1679"/>
                  <a:pt x="908" y="1695"/>
                  <a:pt x="836" y="1731"/>
                </a:cubicBezTo>
                <a:cubicBezTo>
                  <a:pt x="983" y="1498"/>
                  <a:pt x="753" y="1153"/>
                  <a:pt x="486" y="1153"/>
                </a:cubicBezTo>
                <a:cubicBezTo>
                  <a:pt x="459" y="1153"/>
                  <a:pt x="432" y="1157"/>
                  <a:pt x="405" y="1164"/>
                </a:cubicBezTo>
                <a:cubicBezTo>
                  <a:pt x="593" y="1109"/>
                  <a:pt x="486" y="584"/>
                  <a:pt x="431" y="474"/>
                </a:cubicBezTo>
                <a:cubicBezTo>
                  <a:pt x="350" y="260"/>
                  <a:pt x="188" y="98"/>
                  <a:pt x="0" y="1"/>
                </a:cubicBezTo>
                <a:close/>
              </a:path>
            </a:pathLst>
          </a:custGeom>
          <a:solidFill>
            <a:srgbClr val="FFFFFF">
              <a:alpha val="5313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3086416920"/>
      </p:ext>
    </p:extLst>
  </p:cSld>
  <p:clrMapOvr>
    <a:masterClrMapping/>
  </p:clrMapOvr>
  <p:transition spd="slow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Google Shape;537;p19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38" name="Google Shape;538;p19"/>
          <p:cNvSpPr/>
          <p:nvPr/>
        </p:nvSpPr>
        <p:spPr>
          <a:xfrm flipH="1">
            <a:off x="7144180" y="6504156"/>
            <a:ext cx="70951" cy="1593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9" name="Google Shape;539;p19"/>
          <p:cNvSpPr/>
          <p:nvPr/>
        </p:nvSpPr>
        <p:spPr>
          <a:xfrm flipH="1">
            <a:off x="1990300" y="6297427"/>
            <a:ext cx="597393" cy="10359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0" name="Google Shape;540;p19"/>
          <p:cNvSpPr/>
          <p:nvPr/>
        </p:nvSpPr>
        <p:spPr>
          <a:xfrm flipH="1">
            <a:off x="-3" y="5838391"/>
            <a:ext cx="12192016" cy="593132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1" name="Google Shape;541;p19"/>
          <p:cNvSpPr/>
          <p:nvPr/>
        </p:nvSpPr>
        <p:spPr>
          <a:xfrm flipH="1">
            <a:off x="31" y="6087815"/>
            <a:ext cx="12192016" cy="593139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2" name="Google Shape;542;p19"/>
          <p:cNvSpPr/>
          <p:nvPr/>
        </p:nvSpPr>
        <p:spPr>
          <a:xfrm flipH="1">
            <a:off x="38" y="5967206"/>
            <a:ext cx="7338209" cy="1182777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3" name="Google Shape;543;p19"/>
          <p:cNvSpPr/>
          <p:nvPr/>
        </p:nvSpPr>
        <p:spPr>
          <a:xfrm flipH="1">
            <a:off x="242846" y="6391599"/>
            <a:ext cx="11949201" cy="542732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4" name="Google Shape;544;p19"/>
          <p:cNvSpPr/>
          <p:nvPr/>
        </p:nvSpPr>
        <p:spPr>
          <a:xfrm flipH="1">
            <a:off x="31" y="6607231"/>
            <a:ext cx="12192016" cy="542747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45" name="Google Shape;545;p19"/>
          <p:cNvGrpSpPr/>
          <p:nvPr/>
        </p:nvGrpSpPr>
        <p:grpSpPr>
          <a:xfrm>
            <a:off x="826849" y="5446301"/>
            <a:ext cx="1110233" cy="977881"/>
            <a:chOff x="620125" y="3581200"/>
            <a:chExt cx="832675" cy="1022175"/>
          </a:xfrm>
        </p:grpSpPr>
        <p:sp>
          <p:nvSpPr>
            <p:cNvPr id="546" name="Google Shape;546;p19"/>
            <p:cNvSpPr/>
            <p:nvPr/>
          </p:nvSpPr>
          <p:spPr>
            <a:xfrm>
              <a:off x="1277069" y="4458809"/>
              <a:ext cx="78159" cy="144566"/>
            </a:xfrm>
            <a:custGeom>
              <a:avLst/>
              <a:gdLst/>
              <a:ahLst/>
              <a:cxnLst/>
              <a:rect l="l" t="t" r="r" b="b"/>
              <a:pathLst>
                <a:path w="306" h="566" extrusionOk="0">
                  <a:moveTo>
                    <a:pt x="166" y="1"/>
                  </a:moveTo>
                  <a:cubicBezTo>
                    <a:pt x="82" y="1"/>
                    <a:pt x="0" y="58"/>
                    <a:pt x="47" y="119"/>
                  </a:cubicBezTo>
                  <a:cubicBezTo>
                    <a:pt x="144" y="242"/>
                    <a:pt x="115" y="566"/>
                    <a:pt x="115" y="566"/>
                  </a:cubicBezTo>
                  <a:lnTo>
                    <a:pt x="238" y="566"/>
                  </a:lnTo>
                  <a:cubicBezTo>
                    <a:pt x="209" y="226"/>
                    <a:pt x="306" y="119"/>
                    <a:pt x="306" y="119"/>
                  </a:cubicBezTo>
                  <a:cubicBezTo>
                    <a:pt x="293" y="33"/>
                    <a:pt x="229" y="1"/>
                    <a:pt x="166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7" name="Google Shape;547;p19"/>
            <p:cNvSpPr/>
            <p:nvPr/>
          </p:nvSpPr>
          <p:spPr>
            <a:xfrm>
              <a:off x="1189460" y="3581455"/>
              <a:ext cx="263341" cy="958326"/>
            </a:xfrm>
            <a:custGeom>
              <a:avLst/>
              <a:gdLst/>
              <a:ahLst/>
              <a:cxnLst/>
              <a:rect l="l" t="t" r="r" b="b"/>
              <a:pathLst>
                <a:path w="1031" h="3752" extrusionOk="0">
                  <a:moveTo>
                    <a:pt x="524" y="0"/>
                  </a:moveTo>
                  <a:cubicBezTo>
                    <a:pt x="469" y="0"/>
                    <a:pt x="415" y="113"/>
                    <a:pt x="364" y="382"/>
                  </a:cubicBezTo>
                  <a:cubicBezTo>
                    <a:pt x="364" y="382"/>
                    <a:pt x="1" y="3418"/>
                    <a:pt x="257" y="3635"/>
                  </a:cubicBezTo>
                  <a:cubicBezTo>
                    <a:pt x="328" y="3702"/>
                    <a:pt x="437" y="3751"/>
                    <a:pt x="549" y="3751"/>
                  </a:cubicBezTo>
                  <a:cubicBezTo>
                    <a:pt x="754" y="3751"/>
                    <a:pt x="972" y="3586"/>
                    <a:pt x="999" y="3055"/>
                  </a:cubicBezTo>
                  <a:cubicBezTo>
                    <a:pt x="1031" y="2379"/>
                    <a:pt x="774" y="0"/>
                    <a:pt x="524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8" name="Google Shape;548;p19"/>
            <p:cNvSpPr/>
            <p:nvPr/>
          </p:nvSpPr>
          <p:spPr>
            <a:xfrm>
              <a:off x="1175412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8" y="0"/>
                  </a:moveTo>
                  <a:cubicBezTo>
                    <a:pt x="525" y="0"/>
                    <a:pt x="468" y="116"/>
                    <a:pt x="419" y="383"/>
                  </a:cubicBezTo>
                  <a:cubicBezTo>
                    <a:pt x="419" y="383"/>
                    <a:pt x="1" y="3218"/>
                    <a:pt x="312" y="3636"/>
                  </a:cubicBezTo>
                  <a:cubicBezTo>
                    <a:pt x="325" y="3662"/>
                    <a:pt x="364" y="3691"/>
                    <a:pt x="393" y="3704"/>
                  </a:cubicBezTo>
                  <a:cubicBezTo>
                    <a:pt x="244" y="3095"/>
                    <a:pt x="500" y="370"/>
                    <a:pt x="500" y="370"/>
                  </a:cubicBezTo>
                  <a:cubicBezTo>
                    <a:pt x="526" y="33"/>
                    <a:pt x="607" y="114"/>
                    <a:pt x="636" y="46"/>
                  </a:cubicBezTo>
                  <a:cubicBezTo>
                    <a:pt x="617" y="16"/>
                    <a:pt x="598" y="0"/>
                    <a:pt x="578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9" name="Google Shape;549;p19"/>
            <p:cNvSpPr/>
            <p:nvPr/>
          </p:nvSpPr>
          <p:spPr>
            <a:xfrm>
              <a:off x="1018838" y="4458809"/>
              <a:ext cx="77393" cy="144566"/>
            </a:xfrm>
            <a:custGeom>
              <a:avLst/>
              <a:gdLst/>
              <a:ahLst/>
              <a:cxnLst/>
              <a:rect l="l" t="t" r="r" b="b"/>
              <a:pathLst>
                <a:path w="303" h="566" extrusionOk="0">
                  <a:moveTo>
                    <a:pt x="166" y="1"/>
                  </a:moveTo>
                  <a:cubicBezTo>
                    <a:pt x="82" y="1"/>
                    <a:pt x="1" y="58"/>
                    <a:pt x="47" y="119"/>
                  </a:cubicBezTo>
                  <a:cubicBezTo>
                    <a:pt x="141" y="242"/>
                    <a:pt x="115" y="566"/>
                    <a:pt x="115" y="566"/>
                  </a:cubicBezTo>
                  <a:lnTo>
                    <a:pt x="235" y="566"/>
                  </a:lnTo>
                  <a:cubicBezTo>
                    <a:pt x="209" y="226"/>
                    <a:pt x="303" y="119"/>
                    <a:pt x="303" y="119"/>
                  </a:cubicBezTo>
                  <a:cubicBezTo>
                    <a:pt x="292" y="33"/>
                    <a:pt x="228" y="1"/>
                    <a:pt x="166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0" name="Google Shape;550;p19"/>
            <p:cNvSpPr/>
            <p:nvPr/>
          </p:nvSpPr>
          <p:spPr>
            <a:xfrm>
              <a:off x="927142" y="3581455"/>
              <a:ext cx="267427" cy="958326"/>
            </a:xfrm>
            <a:custGeom>
              <a:avLst/>
              <a:gdLst/>
              <a:ahLst/>
              <a:cxnLst/>
              <a:rect l="l" t="t" r="r" b="b"/>
              <a:pathLst>
                <a:path w="1047" h="3752" extrusionOk="0">
                  <a:moveTo>
                    <a:pt x="530" y="0"/>
                  </a:moveTo>
                  <a:cubicBezTo>
                    <a:pt x="473" y="0"/>
                    <a:pt x="417" y="113"/>
                    <a:pt x="364" y="382"/>
                  </a:cubicBezTo>
                  <a:cubicBezTo>
                    <a:pt x="364" y="382"/>
                    <a:pt x="1" y="3418"/>
                    <a:pt x="257" y="3635"/>
                  </a:cubicBezTo>
                  <a:cubicBezTo>
                    <a:pt x="334" y="3702"/>
                    <a:pt x="446" y="3751"/>
                    <a:pt x="561" y="3751"/>
                  </a:cubicBezTo>
                  <a:cubicBezTo>
                    <a:pt x="770" y="3751"/>
                    <a:pt x="987" y="3586"/>
                    <a:pt x="1012" y="3055"/>
                  </a:cubicBezTo>
                  <a:cubicBezTo>
                    <a:pt x="1046" y="2379"/>
                    <a:pt x="788" y="0"/>
                    <a:pt x="530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1" name="Google Shape;551;p19"/>
            <p:cNvSpPr/>
            <p:nvPr/>
          </p:nvSpPr>
          <p:spPr>
            <a:xfrm>
              <a:off x="916414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2" y="0"/>
                  </a:moveTo>
                  <a:cubicBezTo>
                    <a:pt x="517" y="0"/>
                    <a:pt x="465" y="116"/>
                    <a:pt x="406" y="383"/>
                  </a:cubicBezTo>
                  <a:cubicBezTo>
                    <a:pt x="406" y="383"/>
                    <a:pt x="1" y="3218"/>
                    <a:pt x="299" y="3636"/>
                  </a:cubicBezTo>
                  <a:cubicBezTo>
                    <a:pt x="325" y="3662"/>
                    <a:pt x="367" y="3691"/>
                    <a:pt x="393" y="3704"/>
                  </a:cubicBezTo>
                  <a:cubicBezTo>
                    <a:pt x="244" y="3095"/>
                    <a:pt x="487" y="370"/>
                    <a:pt x="487" y="370"/>
                  </a:cubicBezTo>
                  <a:cubicBezTo>
                    <a:pt x="529" y="33"/>
                    <a:pt x="610" y="114"/>
                    <a:pt x="636" y="46"/>
                  </a:cubicBezTo>
                  <a:cubicBezTo>
                    <a:pt x="614" y="16"/>
                    <a:pt x="593" y="0"/>
                    <a:pt x="572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2" name="Google Shape;552;p19"/>
            <p:cNvSpPr/>
            <p:nvPr/>
          </p:nvSpPr>
          <p:spPr>
            <a:xfrm>
              <a:off x="722549" y="4458809"/>
              <a:ext cx="77393" cy="144566"/>
            </a:xfrm>
            <a:custGeom>
              <a:avLst/>
              <a:gdLst/>
              <a:ahLst/>
              <a:cxnLst/>
              <a:rect l="l" t="t" r="r" b="b"/>
              <a:pathLst>
                <a:path w="303" h="566" extrusionOk="0">
                  <a:moveTo>
                    <a:pt x="164" y="1"/>
                  </a:moveTo>
                  <a:cubicBezTo>
                    <a:pt x="81" y="1"/>
                    <a:pt x="1" y="58"/>
                    <a:pt x="47" y="119"/>
                  </a:cubicBezTo>
                  <a:cubicBezTo>
                    <a:pt x="141" y="242"/>
                    <a:pt x="112" y="566"/>
                    <a:pt x="112" y="566"/>
                  </a:cubicBezTo>
                  <a:lnTo>
                    <a:pt x="235" y="566"/>
                  </a:lnTo>
                  <a:cubicBezTo>
                    <a:pt x="209" y="226"/>
                    <a:pt x="303" y="119"/>
                    <a:pt x="303" y="119"/>
                  </a:cubicBezTo>
                  <a:cubicBezTo>
                    <a:pt x="290" y="33"/>
                    <a:pt x="227" y="1"/>
                    <a:pt x="164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3" name="Google Shape;553;p19"/>
            <p:cNvSpPr/>
            <p:nvPr/>
          </p:nvSpPr>
          <p:spPr>
            <a:xfrm>
              <a:off x="630853" y="3581455"/>
              <a:ext cx="267427" cy="958326"/>
            </a:xfrm>
            <a:custGeom>
              <a:avLst/>
              <a:gdLst/>
              <a:ahLst/>
              <a:cxnLst/>
              <a:rect l="l" t="t" r="r" b="b"/>
              <a:pathLst>
                <a:path w="1047" h="3752" extrusionOk="0">
                  <a:moveTo>
                    <a:pt x="537" y="0"/>
                  </a:moveTo>
                  <a:cubicBezTo>
                    <a:pt x="482" y="0"/>
                    <a:pt x="428" y="113"/>
                    <a:pt x="377" y="382"/>
                  </a:cubicBezTo>
                  <a:cubicBezTo>
                    <a:pt x="377" y="382"/>
                    <a:pt x="1" y="3418"/>
                    <a:pt x="257" y="3635"/>
                  </a:cubicBezTo>
                  <a:cubicBezTo>
                    <a:pt x="333" y="3702"/>
                    <a:pt x="445" y="3751"/>
                    <a:pt x="560" y="3751"/>
                  </a:cubicBezTo>
                  <a:cubicBezTo>
                    <a:pt x="769" y="3751"/>
                    <a:pt x="987" y="3586"/>
                    <a:pt x="1012" y="3055"/>
                  </a:cubicBezTo>
                  <a:cubicBezTo>
                    <a:pt x="1046" y="2379"/>
                    <a:pt x="788" y="0"/>
                    <a:pt x="537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54" name="Google Shape;554;p19"/>
            <p:cNvSpPr/>
            <p:nvPr/>
          </p:nvSpPr>
          <p:spPr>
            <a:xfrm>
              <a:off x="620125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3" y="0"/>
                  </a:moveTo>
                  <a:cubicBezTo>
                    <a:pt x="518" y="0"/>
                    <a:pt x="468" y="116"/>
                    <a:pt x="419" y="383"/>
                  </a:cubicBezTo>
                  <a:cubicBezTo>
                    <a:pt x="419" y="383"/>
                    <a:pt x="1" y="3218"/>
                    <a:pt x="299" y="3636"/>
                  </a:cubicBezTo>
                  <a:cubicBezTo>
                    <a:pt x="325" y="3662"/>
                    <a:pt x="367" y="3691"/>
                    <a:pt x="393" y="3704"/>
                  </a:cubicBezTo>
                  <a:cubicBezTo>
                    <a:pt x="244" y="3095"/>
                    <a:pt x="500" y="370"/>
                    <a:pt x="500" y="370"/>
                  </a:cubicBezTo>
                  <a:cubicBezTo>
                    <a:pt x="529" y="33"/>
                    <a:pt x="610" y="114"/>
                    <a:pt x="636" y="46"/>
                  </a:cubicBezTo>
                  <a:cubicBezTo>
                    <a:pt x="614" y="16"/>
                    <a:pt x="593" y="0"/>
                    <a:pt x="573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535270809"/>
      </p:ext>
    </p:extLst>
  </p:cSld>
  <p:clrMapOvr>
    <a:masterClrMapping/>
  </p:clrMapOvr>
  <p:transition spd="slow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20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57" name="Google Shape;557;p20"/>
          <p:cNvSpPr/>
          <p:nvPr/>
        </p:nvSpPr>
        <p:spPr>
          <a:xfrm>
            <a:off x="4812697" y="5764676"/>
            <a:ext cx="7379247" cy="1006883"/>
          </a:xfrm>
          <a:custGeom>
            <a:avLst/>
            <a:gdLst/>
            <a:ahLst/>
            <a:cxnLst/>
            <a:rect l="l" t="t" r="r" b="b"/>
            <a:pathLst>
              <a:path w="32291" h="10923" extrusionOk="0">
                <a:moveTo>
                  <a:pt x="32291" y="1"/>
                </a:moveTo>
                <a:cubicBezTo>
                  <a:pt x="31915" y="189"/>
                  <a:pt x="31293" y="432"/>
                  <a:pt x="30509" y="542"/>
                </a:cubicBezTo>
                <a:cubicBezTo>
                  <a:pt x="29229" y="704"/>
                  <a:pt x="28795" y="1109"/>
                  <a:pt x="27797" y="1352"/>
                </a:cubicBezTo>
                <a:cubicBezTo>
                  <a:pt x="27649" y="1387"/>
                  <a:pt x="27508" y="1402"/>
                  <a:pt x="27371" y="1402"/>
                </a:cubicBezTo>
                <a:cubicBezTo>
                  <a:pt x="26657" y="1402"/>
                  <a:pt x="26030" y="1004"/>
                  <a:pt x="25053" y="1004"/>
                </a:cubicBezTo>
                <a:cubicBezTo>
                  <a:pt x="24922" y="1004"/>
                  <a:pt x="24783" y="1012"/>
                  <a:pt x="24638" y="1028"/>
                </a:cubicBezTo>
                <a:cubicBezTo>
                  <a:pt x="23206" y="1190"/>
                  <a:pt x="23491" y="1676"/>
                  <a:pt x="21492" y="1757"/>
                </a:cubicBezTo>
                <a:cubicBezTo>
                  <a:pt x="19480" y="1838"/>
                  <a:pt x="20345" y="2405"/>
                  <a:pt x="18197" y="2742"/>
                </a:cubicBezTo>
                <a:cubicBezTo>
                  <a:pt x="16039" y="3066"/>
                  <a:pt x="17186" y="3309"/>
                  <a:pt x="15903" y="3552"/>
                </a:cubicBezTo>
                <a:cubicBezTo>
                  <a:pt x="14607" y="3795"/>
                  <a:pt x="14607" y="4038"/>
                  <a:pt x="14040" y="4362"/>
                </a:cubicBezTo>
                <a:cubicBezTo>
                  <a:pt x="13909" y="4435"/>
                  <a:pt x="13771" y="4463"/>
                  <a:pt x="13611" y="4463"/>
                </a:cubicBezTo>
                <a:cubicBezTo>
                  <a:pt x="13111" y="4463"/>
                  <a:pt x="12398" y="4192"/>
                  <a:pt x="11017" y="4192"/>
                </a:cubicBezTo>
                <a:cubicBezTo>
                  <a:pt x="10884" y="4192"/>
                  <a:pt x="10745" y="4194"/>
                  <a:pt x="10599" y="4200"/>
                </a:cubicBezTo>
                <a:cubicBezTo>
                  <a:pt x="8451" y="4281"/>
                  <a:pt x="8020" y="5023"/>
                  <a:pt x="8020" y="5023"/>
                </a:cubicBezTo>
                <a:lnTo>
                  <a:pt x="7019" y="4767"/>
                </a:lnTo>
                <a:cubicBezTo>
                  <a:pt x="6852" y="4751"/>
                  <a:pt x="6696" y="4744"/>
                  <a:pt x="6550" y="4744"/>
                </a:cubicBezTo>
                <a:cubicBezTo>
                  <a:pt x="5178" y="4744"/>
                  <a:pt x="4628" y="5378"/>
                  <a:pt x="3727" y="5671"/>
                </a:cubicBezTo>
                <a:cubicBezTo>
                  <a:pt x="2713" y="5995"/>
                  <a:pt x="1" y="5995"/>
                  <a:pt x="1" y="5995"/>
                </a:cubicBezTo>
                <a:cubicBezTo>
                  <a:pt x="1" y="5995"/>
                  <a:pt x="1851" y="9073"/>
                  <a:pt x="3092" y="10923"/>
                </a:cubicBezTo>
                <a:lnTo>
                  <a:pt x="32291" y="10923"/>
                </a:lnTo>
                <a:lnTo>
                  <a:pt x="32291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8" name="Google Shape;558;p20"/>
          <p:cNvSpPr/>
          <p:nvPr/>
        </p:nvSpPr>
        <p:spPr>
          <a:xfrm>
            <a:off x="34" y="5628569"/>
            <a:ext cx="4195460" cy="1142076"/>
          </a:xfrm>
          <a:custGeom>
            <a:avLst/>
            <a:gdLst/>
            <a:ahLst/>
            <a:cxnLst/>
            <a:rect l="l" t="t" r="r" b="b"/>
            <a:pathLst>
              <a:path w="18359" h="10906" extrusionOk="0">
                <a:moveTo>
                  <a:pt x="1" y="0"/>
                </a:moveTo>
                <a:lnTo>
                  <a:pt x="1" y="10906"/>
                </a:lnTo>
                <a:lnTo>
                  <a:pt x="16606" y="10906"/>
                </a:lnTo>
                <a:cubicBezTo>
                  <a:pt x="17306" y="9072"/>
                  <a:pt x="18359" y="5994"/>
                  <a:pt x="18359" y="5994"/>
                </a:cubicBezTo>
                <a:cubicBezTo>
                  <a:pt x="18359" y="5994"/>
                  <a:pt x="16820" y="5994"/>
                  <a:pt x="16240" y="5670"/>
                </a:cubicBezTo>
                <a:cubicBezTo>
                  <a:pt x="15727" y="5377"/>
                  <a:pt x="15413" y="4740"/>
                  <a:pt x="14640" y="4740"/>
                </a:cubicBezTo>
                <a:cubicBezTo>
                  <a:pt x="14557" y="4740"/>
                  <a:pt x="14470" y="4747"/>
                  <a:pt x="14377" y="4763"/>
                </a:cubicBezTo>
                <a:lnTo>
                  <a:pt x="13797" y="5006"/>
                </a:lnTo>
                <a:cubicBezTo>
                  <a:pt x="13797" y="5006"/>
                  <a:pt x="13554" y="4277"/>
                  <a:pt x="12339" y="4196"/>
                </a:cubicBezTo>
                <a:cubicBezTo>
                  <a:pt x="12272" y="4192"/>
                  <a:pt x="12208" y="4191"/>
                  <a:pt x="12146" y="4191"/>
                </a:cubicBezTo>
                <a:cubicBezTo>
                  <a:pt x="11730" y="4191"/>
                  <a:pt x="11411" y="4261"/>
                  <a:pt x="11166" y="4332"/>
                </a:cubicBezTo>
                <a:cubicBezTo>
                  <a:pt x="10937" y="4396"/>
                  <a:pt x="10767" y="4462"/>
                  <a:pt x="10627" y="4462"/>
                </a:cubicBezTo>
                <a:cubicBezTo>
                  <a:pt x="10535" y="4462"/>
                  <a:pt x="10456" y="4434"/>
                  <a:pt x="10382" y="4358"/>
                </a:cubicBezTo>
                <a:cubicBezTo>
                  <a:pt x="10058" y="4034"/>
                  <a:pt x="10058" y="3791"/>
                  <a:pt x="9316" y="3548"/>
                </a:cubicBezTo>
                <a:cubicBezTo>
                  <a:pt x="8587" y="3305"/>
                  <a:pt x="9235" y="3062"/>
                  <a:pt x="8020" y="2725"/>
                </a:cubicBezTo>
                <a:cubicBezTo>
                  <a:pt x="6792" y="2401"/>
                  <a:pt x="7278" y="1834"/>
                  <a:pt x="6144" y="1753"/>
                </a:cubicBezTo>
                <a:cubicBezTo>
                  <a:pt x="4994" y="1672"/>
                  <a:pt x="5156" y="1186"/>
                  <a:pt x="4346" y="1024"/>
                </a:cubicBezTo>
                <a:cubicBezTo>
                  <a:pt x="4259" y="1006"/>
                  <a:pt x="4178" y="998"/>
                  <a:pt x="4100" y="998"/>
                </a:cubicBezTo>
                <a:cubicBezTo>
                  <a:pt x="3826" y="998"/>
                  <a:pt x="3599" y="1095"/>
                  <a:pt x="3390" y="1199"/>
                </a:cubicBezTo>
                <a:cubicBezTo>
                  <a:pt x="3183" y="1297"/>
                  <a:pt x="2992" y="1396"/>
                  <a:pt x="2789" y="1396"/>
                </a:cubicBezTo>
                <a:cubicBezTo>
                  <a:pt x="2712" y="1396"/>
                  <a:pt x="2633" y="1382"/>
                  <a:pt x="2551" y="1348"/>
                </a:cubicBezTo>
                <a:cubicBezTo>
                  <a:pt x="1984" y="1105"/>
                  <a:pt x="1741" y="687"/>
                  <a:pt x="999" y="525"/>
                </a:cubicBezTo>
                <a:cubicBezTo>
                  <a:pt x="568" y="431"/>
                  <a:pt x="202" y="188"/>
                  <a:pt x="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9" name="Google Shape;559;p20"/>
          <p:cNvSpPr/>
          <p:nvPr/>
        </p:nvSpPr>
        <p:spPr>
          <a:xfrm>
            <a:off x="34" y="6141236"/>
            <a:ext cx="12191948" cy="522709"/>
          </a:xfrm>
          <a:custGeom>
            <a:avLst/>
            <a:gdLst/>
            <a:ahLst/>
            <a:cxnLst/>
            <a:rect l="l" t="t" r="r" b="b"/>
            <a:pathLst>
              <a:path w="53351" h="10705" extrusionOk="0">
                <a:moveTo>
                  <a:pt x="1" y="0"/>
                </a:moveTo>
                <a:lnTo>
                  <a:pt x="1" y="10705"/>
                </a:lnTo>
                <a:lnTo>
                  <a:pt x="53351" y="6075"/>
                </a:lnTo>
                <a:lnTo>
                  <a:pt x="53351" y="431"/>
                </a:lnTo>
                <a:cubicBezTo>
                  <a:pt x="50211" y="280"/>
                  <a:pt x="46158" y="14"/>
                  <a:pt x="42519" y="14"/>
                </a:cubicBezTo>
                <a:cubicBezTo>
                  <a:pt x="40918" y="14"/>
                  <a:pt x="39398" y="65"/>
                  <a:pt x="38071" y="201"/>
                </a:cubicBezTo>
                <a:cubicBezTo>
                  <a:pt x="36591" y="351"/>
                  <a:pt x="33181" y="406"/>
                  <a:pt x="28961" y="406"/>
                </a:cubicBezTo>
                <a:cubicBezTo>
                  <a:pt x="18777" y="406"/>
                  <a:pt x="3875" y="85"/>
                  <a:pt x="1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0" name="Google Shape;560;p20"/>
          <p:cNvSpPr/>
          <p:nvPr/>
        </p:nvSpPr>
        <p:spPr>
          <a:xfrm>
            <a:off x="13734" y="6074765"/>
            <a:ext cx="4168037" cy="782587"/>
          </a:xfrm>
          <a:custGeom>
            <a:avLst/>
            <a:gdLst/>
            <a:ahLst/>
            <a:cxnLst/>
            <a:rect l="l" t="t" r="r" b="b"/>
            <a:pathLst>
              <a:path w="18239" h="8318" extrusionOk="0">
                <a:moveTo>
                  <a:pt x="1" y="1"/>
                </a:moveTo>
                <a:lnTo>
                  <a:pt x="1" y="8318"/>
                </a:lnTo>
                <a:lnTo>
                  <a:pt x="13690" y="5279"/>
                </a:lnTo>
                <a:lnTo>
                  <a:pt x="4469" y="2917"/>
                </a:lnTo>
                <a:cubicBezTo>
                  <a:pt x="4469" y="2917"/>
                  <a:pt x="9883" y="2823"/>
                  <a:pt x="13959" y="2823"/>
                </a:cubicBezTo>
                <a:cubicBezTo>
                  <a:pt x="15997" y="2823"/>
                  <a:pt x="17711" y="2849"/>
                  <a:pt x="18239" y="2917"/>
                </a:cubicBezTo>
                <a:cubicBezTo>
                  <a:pt x="17131" y="2243"/>
                  <a:pt x="14594" y="1582"/>
                  <a:pt x="11704" y="1015"/>
                </a:cubicBezTo>
                <a:cubicBezTo>
                  <a:pt x="6737" y="380"/>
                  <a:pt x="2175" y="11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1" name="Google Shape;561;p20"/>
          <p:cNvSpPr/>
          <p:nvPr/>
        </p:nvSpPr>
        <p:spPr>
          <a:xfrm>
            <a:off x="4398834" y="6206938"/>
            <a:ext cx="7793103" cy="636815"/>
          </a:xfrm>
          <a:custGeom>
            <a:avLst/>
            <a:gdLst/>
            <a:ahLst/>
            <a:cxnLst/>
            <a:rect l="l" t="t" r="r" b="b"/>
            <a:pathLst>
              <a:path w="34102" h="12070" extrusionOk="0">
                <a:moveTo>
                  <a:pt x="34102" y="0"/>
                </a:moveTo>
                <a:cubicBezTo>
                  <a:pt x="29744" y="107"/>
                  <a:pt x="22224" y="862"/>
                  <a:pt x="15216" y="1889"/>
                </a:cubicBezTo>
                <a:cubicBezTo>
                  <a:pt x="5104" y="3373"/>
                  <a:pt x="1" y="4063"/>
                  <a:pt x="1" y="4063"/>
                </a:cubicBezTo>
                <a:lnTo>
                  <a:pt x="27152" y="12069"/>
                </a:lnTo>
                <a:lnTo>
                  <a:pt x="34102" y="12069"/>
                </a:lnTo>
                <a:lnTo>
                  <a:pt x="3410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2" name="Google Shape;562;p20"/>
          <p:cNvSpPr/>
          <p:nvPr/>
        </p:nvSpPr>
        <p:spPr>
          <a:xfrm>
            <a:off x="8795401" y="6321037"/>
            <a:ext cx="3396543" cy="522713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3" name="Google Shape;563;p20"/>
          <p:cNvSpPr/>
          <p:nvPr/>
        </p:nvSpPr>
        <p:spPr>
          <a:xfrm>
            <a:off x="34" y="6257734"/>
            <a:ext cx="12191948" cy="636785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887369001"/>
      </p:ext>
    </p:extLst>
  </p:cSld>
  <p:clrMapOvr>
    <a:masterClrMapping/>
  </p:clrMapOvr>
  <p:transition spd="slow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4">
  <p:cSld name="Title only 4">
    <p:spTree>
      <p:nvGrpSpPr>
        <p:cNvPr id="1" name="Shape 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Google Shape;565;p21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66" name="Google Shape;566;p21"/>
          <p:cNvSpPr/>
          <p:nvPr/>
        </p:nvSpPr>
        <p:spPr>
          <a:xfrm>
            <a:off x="5120488" y="6119211"/>
            <a:ext cx="69539" cy="2397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7" name="Google Shape;567;p21"/>
          <p:cNvSpPr/>
          <p:nvPr/>
        </p:nvSpPr>
        <p:spPr>
          <a:xfrm>
            <a:off x="9655834" y="5808216"/>
            <a:ext cx="585505" cy="15584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8" name="Google Shape;568;p21"/>
          <p:cNvSpPr/>
          <p:nvPr/>
        </p:nvSpPr>
        <p:spPr>
          <a:xfrm>
            <a:off x="-64" y="5411547"/>
            <a:ext cx="12192064" cy="1142952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9" name="Google Shape;569;p21"/>
          <p:cNvSpPr/>
          <p:nvPr/>
        </p:nvSpPr>
        <p:spPr>
          <a:xfrm>
            <a:off x="4999814" y="5301921"/>
            <a:ext cx="7192180" cy="1408257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0" name="Google Shape;570;p21"/>
          <p:cNvSpPr/>
          <p:nvPr/>
        </p:nvSpPr>
        <p:spPr>
          <a:xfrm>
            <a:off x="-64" y="5875359"/>
            <a:ext cx="12192064" cy="982648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505386659"/>
      </p:ext>
    </p:extLst>
  </p:cSld>
  <p:clrMapOvr>
    <a:masterClrMapping/>
  </p:clrMapOvr>
  <p:transition spd="slow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3">
  <p:cSld name="Title and two columns 3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22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73" name="Google Shape;573;p22"/>
          <p:cNvSpPr txBox="1">
            <a:spLocks noGrp="1"/>
          </p:cNvSpPr>
          <p:nvPr>
            <p:ph type="subTitle" idx="1"/>
          </p:nvPr>
        </p:nvSpPr>
        <p:spPr>
          <a:xfrm>
            <a:off x="960000" y="2088500"/>
            <a:ext cx="5136000" cy="307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●"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●"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9pPr>
          </a:lstStyle>
          <a:p>
            <a:endParaRPr/>
          </a:p>
        </p:txBody>
      </p:sp>
      <p:sp>
        <p:nvSpPr>
          <p:cNvPr id="574" name="Google Shape;574;p22"/>
          <p:cNvSpPr txBox="1">
            <a:spLocks noGrp="1"/>
          </p:cNvSpPr>
          <p:nvPr>
            <p:ph type="subTitle" idx="2"/>
          </p:nvPr>
        </p:nvSpPr>
        <p:spPr>
          <a:xfrm>
            <a:off x="6096000" y="2088500"/>
            <a:ext cx="5136000" cy="307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●"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●"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○"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■"/>
              <a:defRPr sz="2800"/>
            </a:lvl9pPr>
          </a:lstStyle>
          <a:p>
            <a:endParaRPr/>
          </a:p>
        </p:txBody>
      </p:sp>
      <p:sp>
        <p:nvSpPr>
          <p:cNvPr id="575" name="Google Shape;575;p22"/>
          <p:cNvSpPr/>
          <p:nvPr/>
        </p:nvSpPr>
        <p:spPr>
          <a:xfrm>
            <a:off x="-2520834" y="268467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6" name="Google Shape;576;p22"/>
          <p:cNvSpPr/>
          <p:nvPr/>
        </p:nvSpPr>
        <p:spPr>
          <a:xfrm flipH="1">
            <a:off x="10321133" y="3913000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7" name="Google Shape;577;p22"/>
          <p:cNvSpPr/>
          <p:nvPr/>
        </p:nvSpPr>
        <p:spPr>
          <a:xfrm>
            <a:off x="4976902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8" name="Google Shape;578;p22"/>
          <p:cNvSpPr/>
          <p:nvPr/>
        </p:nvSpPr>
        <p:spPr>
          <a:xfrm>
            <a:off x="9604340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9" name="Google Shape;579;p22"/>
          <p:cNvSpPr/>
          <p:nvPr/>
        </p:nvSpPr>
        <p:spPr>
          <a:xfrm>
            <a:off x="17" y="5321402"/>
            <a:ext cx="12192016" cy="826665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0" name="Google Shape;580;p22"/>
          <p:cNvSpPr/>
          <p:nvPr/>
        </p:nvSpPr>
        <p:spPr>
          <a:xfrm>
            <a:off x="-16" y="5669032"/>
            <a:ext cx="12192016" cy="826673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1" name="Google Shape;581;p22"/>
          <p:cNvSpPr/>
          <p:nvPr/>
        </p:nvSpPr>
        <p:spPr>
          <a:xfrm>
            <a:off x="4853785" y="5500935"/>
            <a:ext cx="7338209" cy="164847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2" name="Google Shape;582;p22"/>
          <p:cNvSpPr/>
          <p:nvPr/>
        </p:nvSpPr>
        <p:spPr>
          <a:xfrm>
            <a:off x="-15" y="6092424"/>
            <a:ext cx="11949201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3" name="Google Shape;583;p22"/>
          <p:cNvSpPr/>
          <p:nvPr/>
        </p:nvSpPr>
        <p:spPr>
          <a:xfrm>
            <a:off x="-16" y="6392956"/>
            <a:ext cx="12192016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573911192"/>
      </p:ext>
    </p:extLst>
  </p:cSld>
  <p:clrMapOvr>
    <a:masterClrMapping/>
  </p:clrMapOvr>
  <p:transition spd="slow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 and two columns 2">
    <p:spTree>
      <p:nvGrpSpPr>
        <p:cNvPr id="1" name="Shape 5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" name="Google Shape;585;p23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586" name="Google Shape;586;p23"/>
          <p:cNvGrpSpPr/>
          <p:nvPr/>
        </p:nvGrpSpPr>
        <p:grpSpPr>
          <a:xfrm>
            <a:off x="-64" y="5301920"/>
            <a:ext cx="12192064" cy="1556085"/>
            <a:chOff x="-10896600" y="-1984823"/>
            <a:chExt cx="9329709" cy="2175329"/>
          </a:xfrm>
        </p:grpSpPr>
        <p:sp>
          <p:nvSpPr>
            <p:cNvPr id="587" name="Google Shape;587;p23"/>
            <p:cNvSpPr/>
            <p:nvPr/>
          </p:nvSpPr>
          <p:spPr>
            <a:xfrm>
              <a:off x="-6978211" y="-842292"/>
              <a:ext cx="53213" cy="3352"/>
            </a:xfrm>
            <a:custGeom>
              <a:avLst/>
              <a:gdLst/>
              <a:ahLst/>
              <a:cxnLst/>
              <a:rect l="l" t="t" r="r" b="b"/>
              <a:pathLst>
                <a:path w="231" h="14" extrusionOk="0">
                  <a:moveTo>
                    <a:pt x="1" y="1"/>
                  </a:moveTo>
                  <a:cubicBezTo>
                    <a:pt x="69" y="14"/>
                    <a:pt x="150" y="14"/>
                    <a:pt x="231" y="14"/>
                  </a:cubicBezTo>
                  <a:cubicBezTo>
                    <a:pt x="150" y="14"/>
                    <a:pt x="69" y="1"/>
                    <a:pt x="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8" name="Google Shape;588;p23"/>
            <p:cNvSpPr/>
            <p:nvPr/>
          </p:nvSpPr>
          <p:spPr>
            <a:xfrm>
              <a:off x="-3507637" y="-1277048"/>
              <a:ext cx="448045" cy="21786"/>
            </a:xfrm>
            <a:custGeom>
              <a:avLst/>
              <a:gdLst/>
              <a:ahLst/>
              <a:cxnLst/>
              <a:rect l="l" t="t" r="r" b="b"/>
              <a:pathLst>
                <a:path w="1945" h="91" extrusionOk="0">
                  <a:moveTo>
                    <a:pt x="1107" y="0"/>
                  </a:moveTo>
                  <a:cubicBezTo>
                    <a:pt x="738" y="0"/>
                    <a:pt x="370" y="35"/>
                    <a:pt x="1" y="35"/>
                  </a:cubicBezTo>
                  <a:cubicBezTo>
                    <a:pt x="649" y="61"/>
                    <a:pt x="1297" y="90"/>
                    <a:pt x="1945" y="90"/>
                  </a:cubicBezTo>
                  <a:cubicBezTo>
                    <a:pt x="1666" y="20"/>
                    <a:pt x="1386" y="0"/>
                    <a:pt x="1107" y="0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89" name="Google Shape;589;p23"/>
            <p:cNvSpPr/>
            <p:nvPr/>
          </p:nvSpPr>
          <p:spPr>
            <a:xfrm>
              <a:off x="-10896600" y="-1831572"/>
              <a:ext cx="9329709" cy="1597789"/>
            </a:xfrm>
            <a:custGeom>
              <a:avLst/>
              <a:gdLst/>
              <a:ahLst/>
              <a:cxnLst/>
              <a:rect l="l" t="t" r="r" b="b"/>
              <a:pathLst>
                <a:path w="40501" h="5738" extrusionOk="0">
                  <a:moveTo>
                    <a:pt x="39908" y="0"/>
                  </a:moveTo>
                  <a:cubicBezTo>
                    <a:pt x="38816" y="0"/>
                    <a:pt x="37402" y="281"/>
                    <a:pt x="33535" y="1577"/>
                  </a:cubicBezTo>
                  <a:cubicBezTo>
                    <a:pt x="31107" y="2391"/>
                    <a:pt x="27774" y="2887"/>
                    <a:pt x="23712" y="2887"/>
                  </a:cubicBezTo>
                  <a:cubicBezTo>
                    <a:pt x="20091" y="2887"/>
                    <a:pt x="15891" y="2493"/>
                    <a:pt x="11234" y="1577"/>
                  </a:cubicBezTo>
                  <a:cubicBezTo>
                    <a:pt x="7940" y="929"/>
                    <a:pt x="5594" y="713"/>
                    <a:pt x="3930" y="713"/>
                  </a:cubicBezTo>
                  <a:cubicBezTo>
                    <a:pt x="601" y="713"/>
                    <a:pt x="1" y="1577"/>
                    <a:pt x="1" y="1577"/>
                  </a:cubicBezTo>
                  <a:lnTo>
                    <a:pt x="1" y="2131"/>
                  </a:lnTo>
                  <a:lnTo>
                    <a:pt x="1" y="2805"/>
                  </a:lnTo>
                  <a:lnTo>
                    <a:pt x="1" y="2821"/>
                  </a:lnTo>
                  <a:lnTo>
                    <a:pt x="1" y="5737"/>
                  </a:lnTo>
                  <a:lnTo>
                    <a:pt x="40501" y="5737"/>
                  </a:lnTo>
                  <a:lnTo>
                    <a:pt x="40501" y="4574"/>
                  </a:lnTo>
                  <a:lnTo>
                    <a:pt x="40501" y="579"/>
                  </a:lnTo>
                  <a:lnTo>
                    <a:pt x="40501" y="25"/>
                  </a:lnTo>
                  <a:cubicBezTo>
                    <a:pt x="40305" y="10"/>
                    <a:pt x="40112" y="0"/>
                    <a:pt x="3990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90" name="Google Shape;590;p23"/>
            <p:cNvSpPr/>
            <p:nvPr/>
          </p:nvSpPr>
          <p:spPr>
            <a:xfrm>
              <a:off x="-7070554" y="-1984823"/>
              <a:ext cx="5503657" cy="1968672"/>
            </a:xfrm>
            <a:custGeom>
              <a:avLst/>
              <a:gdLst/>
              <a:ahLst/>
              <a:cxnLst/>
              <a:rect l="l" t="t" r="r" b="b"/>
              <a:pathLst>
                <a:path w="14863" h="8685" extrusionOk="0">
                  <a:moveTo>
                    <a:pt x="14863" y="1"/>
                  </a:moveTo>
                  <a:cubicBezTo>
                    <a:pt x="11827" y="1041"/>
                    <a:pt x="6332" y="3095"/>
                    <a:pt x="1" y="6348"/>
                  </a:cubicBezTo>
                  <a:lnTo>
                    <a:pt x="7913" y="8684"/>
                  </a:lnTo>
                  <a:lnTo>
                    <a:pt x="14863" y="8684"/>
                  </a:lnTo>
                  <a:lnTo>
                    <a:pt x="14863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91" name="Google Shape;591;p23"/>
            <p:cNvSpPr/>
            <p:nvPr/>
          </p:nvSpPr>
          <p:spPr>
            <a:xfrm>
              <a:off x="-10896600" y="-1183186"/>
              <a:ext cx="9329709" cy="1373692"/>
            </a:xfrm>
            <a:custGeom>
              <a:avLst/>
              <a:gdLst/>
              <a:ahLst/>
              <a:cxnLst/>
              <a:rect l="l" t="t" r="r" b="b"/>
              <a:pathLst>
                <a:path w="40501" h="5738" extrusionOk="0">
                  <a:moveTo>
                    <a:pt x="39908" y="0"/>
                  </a:moveTo>
                  <a:cubicBezTo>
                    <a:pt x="38816" y="0"/>
                    <a:pt x="37402" y="281"/>
                    <a:pt x="33535" y="1577"/>
                  </a:cubicBezTo>
                  <a:cubicBezTo>
                    <a:pt x="31107" y="2391"/>
                    <a:pt x="27774" y="2887"/>
                    <a:pt x="23712" y="2887"/>
                  </a:cubicBezTo>
                  <a:cubicBezTo>
                    <a:pt x="20091" y="2887"/>
                    <a:pt x="15891" y="2493"/>
                    <a:pt x="11234" y="1577"/>
                  </a:cubicBezTo>
                  <a:cubicBezTo>
                    <a:pt x="7940" y="929"/>
                    <a:pt x="5594" y="713"/>
                    <a:pt x="3930" y="713"/>
                  </a:cubicBezTo>
                  <a:cubicBezTo>
                    <a:pt x="601" y="713"/>
                    <a:pt x="1" y="1577"/>
                    <a:pt x="1" y="1577"/>
                  </a:cubicBezTo>
                  <a:lnTo>
                    <a:pt x="1" y="2131"/>
                  </a:lnTo>
                  <a:lnTo>
                    <a:pt x="1" y="2805"/>
                  </a:lnTo>
                  <a:lnTo>
                    <a:pt x="1" y="2821"/>
                  </a:lnTo>
                  <a:lnTo>
                    <a:pt x="1" y="5737"/>
                  </a:lnTo>
                  <a:lnTo>
                    <a:pt x="40501" y="5737"/>
                  </a:lnTo>
                  <a:lnTo>
                    <a:pt x="40501" y="4574"/>
                  </a:lnTo>
                  <a:lnTo>
                    <a:pt x="40501" y="579"/>
                  </a:lnTo>
                  <a:lnTo>
                    <a:pt x="40501" y="25"/>
                  </a:lnTo>
                  <a:cubicBezTo>
                    <a:pt x="40305" y="10"/>
                    <a:pt x="40112" y="0"/>
                    <a:pt x="399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92" name="Google Shape;592;p23"/>
          <p:cNvSpPr txBox="1">
            <a:spLocks noGrp="1"/>
          </p:cNvSpPr>
          <p:nvPr>
            <p:ph type="subTitle" idx="1"/>
          </p:nvPr>
        </p:nvSpPr>
        <p:spPr>
          <a:xfrm>
            <a:off x="1708485" y="3546731"/>
            <a:ext cx="3581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93" name="Google Shape;593;p23"/>
          <p:cNvSpPr txBox="1">
            <a:spLocks noGrp="1"/>
          </p:cNvSpPr>
          <p:nvPr>
            <p:ph type="title" idx="2"/>
          </p:nvPr>
        </p:nvSpPr>
        <p:spPr>
          <a:xfrm>
            <a:off x="1708483" y="2830467"/>
            <a:ext cx="35816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594" name="Google Shape;594;p23"/>
          <p:cNvSpPr txBox="1">
            <a:spLocks noGrp="1"/>
          </p:cNvSpPr>
          <p:nvPr>
            <p:ph type="subTitle" idx="3"/>
          </p:nvPr>
        </p:nvSpPr>
        <p:spPr>
          <a:xfrm>
            <a:off x="6901921" y="3546731"/>
            <a:ext cx="3581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595" name="Google Shape;595;p23"/>
          <p:cNvSpPr txBox="1">
            <a:spLocks noGrp="1"/>
          </p:cNvSpPr>
          <p:nvPr>
            <p:ph type="title" idx="4"/>
          </p:nvPr>
        </p:nvSpPr>
        <p:spPr>
          <a:xfrm>
            <a:off x="6901916" y="2830467"/>
            <a:ext cx="3581600" cy="5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5087283"/>
      </p:ext>
    </p:extLst>
  </p:cSld>
  <p:clrMapOvr>
    <a:masterClrMapping/>
  </p:clrMapOvr>
  <p:transition spd="slow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Title and three columns 2"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p24"/>
          <p:cNvSpPr/>
          <p:nvPr/>
        </p:nvSpPr>
        <p:spPr>
          <a:xfrm>
            <a:off x="-82664" y="5980133"/>
            <a:ext cx="10998007" cy="677560"/>
          </a:xfrm>
          <a:custGeom>
            <a:avLst/>
            <a:gdLst/>
            <a:ahLst/>
            <a:cxnLst/>
            <a:rect l="l" t="t" r="r" b="b"/>
            <a:pathLst>
              <a:path w="45536" h="8845" extrusionOk="0">
                <a:moveTo>
                  <a:pt x="10609" y="1"/>
                </a:moveTo>
                <a:cubicBezTo>
                  <a:pt x="2565" y="1"/>
                  <a:pt x="1" y="719"/>
                  <a:pt x="1" y="719"/>
                </a:cubicBezTo>
                <a:lnTo>
                  <a:pt x="1" y="8845"/>
                </a:lnTo>
                <a:lnTo>
                  <a:pt x="45536" y="8845"/>
                </a:lnTo>
                <a:lnTo>
                  <a:pt x="45536" y="3230"/>
                </a:lnTo>
                <a:cubicBezTo>
                  <a:pt x="44954" y="3336"/>
                  <a:pt x="44228" y="3384"/>
                  <a:pt x="43384" y="3384"/>
                </a:cubicBezTo>
                <a:cubicBezTo>
                  <a:pt x="36402" y="3384"/>
                  <a:pt x="21312" y="137"/>
                  <a:pt x="12676" y="16"/>
                </a:cubicBezTo>
                <a:cubicBezTo>
                  <a:pt x="11950" y="6"/>
                  <a:pt x="11262" y="1"/>
                  <a:pt x="106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98" name="Google Shape;598;p24"/>
          <p:cNvSpPr/>
          <p:nvPr/>
        </p:nvSpPr>
        <p:spPr>
          <a:xfrm>
            <a:off x="5564183" y="5990781"/>
            <a:ext cx="6710484" cy="275008"/>
          </a:xfrm>
          <a:custGeom>
            <a:avLst/>
            <a:gdLst/>
            <a:ahLst/>
            <a:cxnLst/>
            <a:rect l="l" t="t" r="r" b="b"/>
            <a:pathLst>
              <a:path w="27784" h="3590" extrusionOk="0">
                <a:moveTo>
                  <a:pt x="27784" y="0"/>
                </a:moveTo>
                <a:cubicBezTo>
                  <a:pt x="13745" y="201"/>
                  <a:pt x="1" y="3415"/>
                  <a:pt x="1" y="3415"/>
                </a:cubicBezTo>
                <a:lnTo>
                  <a:pt x="21061" y="3548"/>
                </a:lnTo>
                <a:lnTo>
                  <a:pt x="27784" y="3590"/>
                </a:lnTo>
                <a:lnTo>
                  <a:pt x="2778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99" name="Google Shape;599;p24"/>
          <p:cNvSpPr/>
          <p:nvPr/>
        </p:nvSpPr>
        <p:spPr>
          <a:xfrm>
            <a:off x="-82663" y="6242806"/>
            <a:ext cx="12357300" cy="716935"/>
          </a:xfrm>
          <a:custGeom>
            <a:avLst/>
            <a:gdLst/>
            <a:ahLst/>
            <a:cxnLst/>
            <a:rect l="l" t="t" r="r" b="b"/>
            <a:pathLst>
              <a:path w="51164" h="9359" extrusionOk="0">
                <a:moveTo>
                  <a:pt x="28954" y="0"/>
                </a:moveTo>
                <a:cubicBezTo>
                  <a:pt x="13795" y="0"/>
                  <a:pt x="1" y="193"/>
                  <a:pt x="1" y="193"/>
                </a:cubicBezTo>
                <a:lnTo>
                  <a:pt x="1" y="9359"/>
                </a:lnTo>
                <a:lnTo>
                  <a:pt x="51164" y="9359"/>
                </a:lnTo>
                <a:lnTo>
                  <a:pt x="51164" y="193"/>
                </a:lnTo>
                <a:cubicBezTo>
                  <a:pt x="44455" y="48"/>
                  <a:pt x="36534" y="0"/>
                  <a:pt x="2895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00" name="Google Shape;600;p24"/>
          <p:cNvSpPr/>
          <p:nvPr/>
        </p:nvSpPr>
        <p:spPr>
          <a:xfrm>
            <a:off x="-82663" y="6317341"/>
            <a:ext cx="12357300" cy="642399"/>
          </a:xfrm>
          <a:custGeom>
            <a:avLst/>
            <a:gdLst/>
            <a:ahLst/>
            <a:cxnLst/>
            <a:rect l="l" t="t" r="r" b="b"/>
            <a:pathLst>
              <a:path w="51164" h="8386" extrusionOk="0">
                <a:moveTo>
                  <a:pt x="51164" y="1"/>
                </a:moveTo>
                <a:cubicBezTo>
                  <a:pt x="51164" y="1"/>
                  <a:pt x="12488" y="1783"/>
                  <a:pt x="1" y="4579"/>
                </a:cubicBezTo>
                <a:lnTo>
                  <a:pt x="1" y="8386"/>
                </a:lnTo>
                <a:lnTo>
                  <a:pt x="51164" y="8386"/>
                </a:lnTo>
                <a:lnTo>
                  <a:pt x="51164" y="1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01" name="Google Shape;601;p24"/>
          <p:cNvSpPr/>
          <p:nvPr/>
        </p:nvSpPr>
        <p:spPr>
          <a:xfrm>
            <a:off x="-82663" y="6380998"/>
            <a:ext cx="12357300" cy="578741"/>
          </a:xfrm>
          <a:custGeom>
            <a:avLst/>
            <a:gdLst/>
            <a:ahLst/>
            <a:cxnLst/>
            <a:rect l="l" t="t" r="r" b="b"/>
            <a:pathLst>
              <a:path w="51164" h="7555" extrusionOk="0">
                <a:moveTo>
                  <a:pt x="7656" y="1"/>
                </a:moveTo>
                <a:cubicBezTo>
                  <a:pt x="2876" y="1"/>
                  <a:pt x="1" y="385"/>
                  <a:pt x="1" y="385"/>
                </a:cubicBezTo>
                <a:lnTo>
                  <a:pt x="1" y="7555"/>
                </a:lnTo>
                <a:lnTo>
                  <a:pt x="51164" y="7555"/>
                </a:lnTo>
                <a:lnTo>
                  <a:pt x="51164" y="3249"/>
                </a:lnTo>
                <a:cubicBezTo>
                  <a:pt x="49225" y="3578"/>
                  <a:pt x="47012" y="3826"/>
                  <a:pt x="44108" y="3826"/>
                </a:cubicBezTo>
                <a:cubicBezTo>
                  <a:pt x="39852" y="3826"/>
                  <a:pt x="34112" y="3292"/>
                  <a:pt x="25581" y="1694"/>
                </a:cubicBezTo>
                <a:cubicBezTo>
                  <a:pt x="18442" y="347"/>
                  <a:pt x="12191" y="1"/>
                  <a:pt x="7656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02" name="Google Shape;602;p24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p24"/>
          <p:cNvSpPr txBox="1">
            <a:spLocks noGrp="1"/>
          </p:cNvSpPr>
          <p:nvPr>
            <p:ph type="subTitle" idx="1"/>
          </p:nvPr>
        </p:nvSpPr>
        <p:spPr>
          <a:xfrm>
            <a:off x="3056900" y="2533436"/>
            <a:ext cx="62016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04" name="Google Shape;604;p24"/>
          <p:cNvSpPr txBox="1">
            <a:spLocks noGrp="1"/>
          </p:cNvSpPr>
          <p:nvPr>
            <p:ph type="title" idx="2"/>
          </p:nvPr>
        </p:nvSpPr>
        <p:spPr>
          <a:xfrm>
            <a:off x="3056900" y="1928533"/>
            <a:ext cx="65532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05" name="Google Shape;605;p24"/>
          <p:cNvSpPr txBox="1">
            <a:spLocks noGrp="1"/>
          </p:cNvSpPr>
          <p:nvPr>
            <p:ph type="subTitle" idx="3"/>
          </p:nvPr>
        </p:nvSpPr>
        <p:spPr>
          <a:xfrm>
            <a:off x="3056900" y="5209673"/>
            <a:ext cx="62016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06" name="Google Shape;606;p24"/>
          <p:cNvSpPr txBox="1">
            <a:spLocks noGrp="1"/>
          </p:cNvSpPr>
          <p:nvPr>
            <p:ph type="title" idx="4"/>
          </p:nvPr>
        </p:nvSpPr>
        <p:spPr>
          <a:xfrm>
            <a:off x="3056900" y="4604767"/>
            <a:ext cx="65532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07" name="Google Shape;607;p24"/>
          <p:cNvSpPr txBox="1">
            <a:spLocks noGrp="1"/>
          </p:cNvSpPr>
          <p:nvPr>
            <p:ph type="subTitle" idx="5"/>
          </p:nvPr>
        </p:nvSpPr>
        <p:spPr>
          <a:xfrm>
            <a:off x="2933500" y="3871555"/>
            <a:ext cx="62016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08" name="Google Shape;608;p24"/>
          <p:cNvSpPr txBox="1">
            <a:spLocks noGrp="1"/>
          </p:cNvSpPr>
          <p:nvPr>
            <p:ph type="title" idx="6"/>
          </p:nvPr>
        </p:nvSpPr>
        <p:spPr>
          <a:xfrm>
            <a:off x="2581900" y="3266667"/>
            <a:ext cx="65532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09" name="Google Shape;609;p24"/>
          <p:cNvSpPr txBox="1">
            <a:spLocks noGrp="1"/>
          </p:cNvSpPr>
          <p:nvPr>
            <p:ph type="title" idx="7" hasCustomPrompt="1"/>
          </p:nvPr>
        </p:nvSpPr>
        <p:spPr>
          <a:xfrm>
            <a:off x="1646100" y="1644967"/>
            <a:ext cx="1410800" cy="10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600"/>
              <a:buNone/>
              <a:defRPr sz="8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r>
              <a:t>xx%</a:t>
            </a:r>
          </a:p>
        </p:txBody>
      </p:sp>
      <p:sp>
        <p:nvSpPr>
          <p:cNvPr id="610" name="Google Shape;610;p24"/>
          <p:cNvSpPr txBox="1">
            <a:spLocks noGrp="1"/>
          </p:cNvSpPr>
          <p:nvPr>
            <p:ph type="title" idx="8" hasCustomPrompt="1"/>
          </p:nvPr>
        </p:nvSpPr>
        <p:spPr>
          <a:xfrm>
            <a:off x="9135100" y="2999069"/>
            <a:ext cx="1410800" cy="10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600"/>
              <a:buNone/>
              <a:defRPr sz="8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r>
              <a:t>xx%</a:t>
            </a:r>
          </a:p>
        </p:txBody>
      </p:sp>
      <p:sp>
        <p:nvSpPr>
          <p:cNvPr id="611" name="Google Shape;611;p24"/>
          <p:cNvSpPr txBox="1">
            <a:spLocks noGrp="1"/>
          </p:cNvSpPr>
          <p:nvPr>
            <p:ph type="title" idx="9" hasCustomPrompt="1"/>
          </p:nvPr>
        </p:nvSpPr>
        <p:spPr>
          <a:xfrm>
            <a:off x="1646100" y="4353172"/>
            <a:ext cx="1410800" cy="10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600"/>
              <a:buNone/>
              <a:defRPr sz="8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1568527887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31D7550-57CF-482A-874A-099DEF53A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450C545-4014-4553-9DFA-9A8EB50639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0A77511-1D55-42F5-AF61-B6B8748D1C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D2A1F19-09BF-4DD9-A614-94AB44604D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0EAA331-78AA-4F0B-B6E3-58FCDFF28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64AB250-7E0F-4037-AFF3-D71F9F8AF3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5936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4">
  <p:cSld name="Title and text 4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Google Shape;613;p25"/>
          <p:cNvSpPr/>
          <p:nvPr/>
        </p:nvSpPr>
        <p:spPr>
          <a:xfrm>
            <a:off x="362" y="4279822"/>
            <a:ext cx="6350449" cy="888716"/>
          </a:xfrm>
          <a:custGeom>
            <a:avLst/>
            <a:gdLst/>
            <a:ahLst/>
            <a:cxnLst/>
            <a:rect l="l" t="t" r="r" b="b"/>
            <a:pathLst>
              <a:path w="22787" h="4589" extrusionOk="0">
                <a:moveTo>
                  <a:pt x="3161" y="1"/>
                </a:moveTo>
                <a:cubicBezTo>
                  <a:pt x="1090" y="1"/>
                  <a:pt x="0" y="199"/>
                  <a:pt x="0" y="199"/>
                </a:cubicBezTo>
                <a:lnTo>
                  <a:pt x="0" y="4589"/>
                </a:lnTo>
                <a:lnTo>
                  <a:pt x="22787" y="4589"/>
                </a:lnTo>
                <a:cubicBezTo>
                  <a:pt x="22787" y="4589"/>
                  <a:pt x="18128" y="2036"/>
                  <a:pt x="11029" y="766"/>
                </a:cubicBezTo>
                <a:cubicBezTo>
                  <a:pt x="7669" y="160"/>
                  <a:pt x="5020" y="1"/>
                  <a:pt x="316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4" name="Google Shape;614;p25"/>
          <p:cNvSpPr txBox="1">
            <a:spLocks noGrp="1"/>
          </p:cNvSpPr>
          <p:nvPr>
            <p:ph type="title"/>
          </p:nvPr>
        </p:nvSpPr>
        <p:spPr>
          <a:xfrm>
            <a:off x="6664533" y="2011903"/>
            <a:ext cx="4567600" cy="147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15" name="Google Shape;615;p25"/>
          <p:cNvSpPr/>
          <p:nvPr/>
        </p:nvSpPr>
        <p:spPr>
          <a:xfrm>
            <a:off x="367" y="4888968"/>
            <a:ext cx="12223197" cy="1988049"/>
          </a:xfrm>
          <a:custGeom>
            <a:avLst/>
            <a:gdLst/>
            <a:ahLst/>
            <a:cxnLst/>
            <a:rect l="l" t="t" r="r" b="b"/>
            <a:pathLst>
              <a:path w="43860" h="10974" extrusionOk="0">
                <a:moveTo>
                  <a:pt x="0" y="0"/>
                </a:moveTo>
                <a:lnTo>
                  <a:pt x="0" y="10974"/>
                </a:lnTo>
                <a:lnTo>
                  <a:pt x="43860" y="10974"/>
                </a:lnTo>
                <a:lnTo>
                  <a:pt x="4386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6" name="Google Shape;616;p25"/>
          <p:cNvSpPr/>
          <p:nvPr/>
        </p:nvSpPr>
        <p:spPr>
          <a:xfrm>
            <a:off x="362" y="4816735"/>
            <a:ext cx="12223229" cy="483187"/>
          </a:xfrm>
          <a:custGeom>
            <a:avLst/>
            <a:gdLst/>
            <a:ahLst/>
            <a:cxnLst/>
            <a:rect l="l" t="t" r="r" b="b"/>
            <a:pathLst>
              <a:path w="43860" h="2495" extrusionOk="0">
                <a:moveTo>
                  <a:pt x="0" y="0"/>
                </a:moveTo>
                <a:lnTo>
                  <a:pt x="0" y="512"/>
                </a:lnTo>
                <a:cubicBezTo>
                  <a:pt x="18857" y="538"/>
                  <a:pt x="31655" y="810"/>
                  <a:pt x="43860" y="2495"/>
                </a:cubicBezTo>
                <a:lnTo>
                  <a:pt x="4386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7" name="Google Shape;617;p25"/>
          <p:cNvSpPr/>
          <p:nvPr/>
        </p:nvSpPr>
        <p:spPr>
          <a:xfrm>
            <a:off x="362" y="5280482"/>
            <a:ext cx="12223229" cy="1596551"/>
          </a:xfrm>
          <a:custGeom>
            <a:avLst/>
            <a:gdLst/>
            <a:ahLst/>
            <a:cxnLst/>
            <a:rect l="l" t="t" r="r" b="b"/>
            <a:pathLst>
              <a:path w="43860" h="8244" extrusionOk="0">
                <a:moveTo>
                  <a:pt x="19201" y="1"/>
                </a:moveTo>
                <a:cubicBezTo>
                  <a:pt x="9431" y="1"/>
                  <a:pt x="0" y="1061"/>
                  <a:pt x="0" y="1061"/>
                </a:cubicBezTo>
                <a:lnTo>
                  <a:pt x="0" y="8244"/>
                </a:lnTo>
                <a:lnTo>
                  <a:pt x="43860" y="8244"/>
                </a:lnTo>
                <a:lnTo>
                  <a:pt x="43860" y="3222"/>
                </a:lnTo>
                <a:cubicBezTo>
                  <a:pt x="43860" y="3222"/>
                  <a:pt x="38702" y="1171"/>
                  <a:pt x="26918" y="267"/>
                </a:cubicBezTo>
                <a:cubicBezTo>
                  <a:pt x="24436" y="76"/>
                  <a:pt x="21807" y="1"/>
                  <a:pt x="1920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8" name="Google Shape;618;p25"/>
          <p:cNvSpPr/>
          <p:nvPr/>
        </p:nvSpPr>
        <p:spPr>
          <a:xfrm>
            <a:off x="350" y="5168549"/>
            <a:ext cx="6501220" cy="1708467"/>
          </a:xfrm>
          <a:custGeom>
            <a:avLst/>
            <a:gdLst/>
            <a:ahLst/>
            <a:cxnLst/>
            <a:rect l="l" t="t" r="r" b="b"/>
            <a:pathLst>
              <a:path w="23328" h="5931" extrusionOk="0">
                <a:moveTo>
                  <a:pt x="1542" y="1"/>
                </a:moveTo>
                <a:cubicBezTo>
                  <a:pt x="517" y="1"/>
                  <a:pt x="0" y="73"/>
                  <a:pt x="0" y="73"/>
                </a:cubicBezTo>
                <a:lnTo>
                  <a:pt x="0" y="5931"/>
                </a:lnTo>
                <a:lnTo>
                  <a:pt x="23328" y="5931"/>
                </a:lnTo>
                <a:cubicBezTo>
                  <a:pt x="23328" y="5931"/>
                  <a:pt x="17143" y="2691"/>
                  <a:pt x="10313" y="1139"/>
                </a:cubicBezTo>
                <a:cubicBezTo>
                  <a:pt x="6113" y="185"/>
                  <a:pt x="3179" y="1"/>
                  <a:pt x="1542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9" name="Google Shape;619;p25"/>
          <p:cNvSpPr/>
          <p:nvPr/>
        </p:nvSpPr>
        <p:spPr>
          <a:xfrm>
            <a:off x="5984900" y="5331734"/>
            <a:ext cx="6238720" cy="1545261"/>
          </a:xfrm>
          <a:custGeom>
            <a:avLst/>
            <a:gdLst/>
            <a:ahLst/>
            <a:cxnLst/>
            <a:rect l="l" t="t" r="r" b="b"/>
            <a:pathLst>
              <a:path w="12002" h="4208" extrusionOk="0">
                <a:moveTo>
                  <a:pt x="11404" y="0"/>
                </a:moveTo>
                <a:cubicBezTo>
                  <a:pt x="11120" y="0"/>
                  <a:pt x="10830" y="82"/>
                  <a:pt x="10719" y="200"/>
                </a:cubicBezTo>
                <a:cubicBezTo>
                  <a:pt x="10518" y="414"/>
                  <a:pt x="10450" y="848"/>
                  <a:pt x="10557" y="1023"/>
                </a:cubicBezTo>
                <a:cubicBezTo>
                  <a:pt x="10557" y="1023"/>
                  <a:pt x="10371" y="827"/>
                  <a:pt x="10125" y="827"/>
                </a:cubicBezTo>
                <a:cubicBezTo>
                  <a:pt x="10060" y="827"/>
                  <a:pt x="9992" y="840"/>
                  <a:pt x="9922" y="874"/>
                </a:cubicBezTo>
                <a:cubicBezTo>
                  <a:pt x="9585" y="1036"/>
                  <a:pt x="9922" y="1373"/>
                  <a:pt x="9922" y="1373"/>
                </a:cubicBezTo>
                <a:cubicBezTo>
                  <a:pt x="9922" y="1373"/>
                  <a:pt x="9572" y="1441"/>
                  <a:pt x="9572" y="1671"/>
                </a:cubicBezTo>
                <a:cubicBezTo>
                  <a:pt x="9572" y="1901"/>
                  <a:pt x="9789" y="2089"/>
                  <a:pt x="9789" y="2089"/>
                </a:cubicBezTo>
                <a:cubicBezTo>
                  <a:pt x="9789" y="2089"/>
                  <a:pt x="9718" y="2065"/>
                  <a:pt x="9631" y="2065"/>
                </a:cubicBezTo>
                <a:cubicBezTo>
                  <a:pt x="9545" y="2065"/>
                  <a:pt x="9444" y="2089"/>
                  <a:pt x="9384" y="2183"/>
                </a:cubicBezTo>
                <a:cubicBezTo>
                  <a:pt x="9351" y="2239"/>
                  <a:pt x="9338" y="2291"/>
                  <a:pt x="9335" y="2337"/>
                </a:cubicBezTo>
                <a:lnTo>
                  <a:pt x="9335" y="2337"/>
                </a:lnTo>
                <a:cubicBezTo>
                  <a:pt x="9258" y="2167"/>
                  <a:pt x="9056" y="1933"/>
                  <a:pt x="8532" y="1901"/>
                </a:cubicBezTo>
                <a:cubicBezTo>
                  <a:pt x="8505" y="1900"/>
                  <a:pt x="8479" y="1899"/>
                  <a:pt x="8454" y="1899"/>
                </a:cubicBezTo>
                <a:cubicBezTo>
                  <a:pt x="7672" y="1899"/>
                  <a:pt x="7508" y="2507"/>
                  <a:pt x="7508" y="2507"/>
                </a:cubicBezTo>
                <a:cubicBezTo>
                  <a:pt x="7508" y="2507"/>
                  <a:pt x="7333" y="2234"/>
                  <a:pt x="6984" y="2234"/>
                </a:cubicBezTo>
                <a:cubicBezTo>
                  <a:pt x="6921" y="2234"/>
                  <a:pt x="6853" y="2243"/>
                  <a:pt x="6779" y="2264"/>
                </a:cubicBezTo>
                <a:cubicBezTo>
                  <a:pt x="6306" y="2400"/>
                  <a:pt x="6374" y="2711"/>
                  <a:pt x="6374" y="2711"/>
                </a:cubicBezTo>
                <a:cubicBezTo>
                  <a:pt x="6374" y="2711"/>
                  <a:pt x="6221" y="2606"/>
                  <a:pt x="6045" y="2606"/>
                </a:cubicBezTo>
                <a:cubicBezTo>
                  <a:pt x="5975" y="2606"/>
                  <a:pt x="5902" y="2623"/>
                  <a:pt x="5833" y="2669"/>
                </a:cubicBezTo>
                <a:cubicBezTo>
                  <a:pt x="5590" y="2831"/>
                  <a:pt x="5658" y="3019"/>
                  <a:pt x="5658" y="3019"/>
                </a:cubicBezTo>
                <a:cubicBezTo>
                  <a:pt x="5658" y="3019"/>
                  <a:pt x="5348" y="2774"/>
                  <a:pt x="4932" y="2774"/>
                </a:cubicBezTo>
                <a:cubicBezTo>
                  <a:pt x="4771" y="2774"/>
                  <a:pt x="4594" y="2811"/>
                  <a:pt x="4414" y="2912"/>
                </a:cubicBezTo>
                <a:cubicBezTo>
                  <a:pt x="3753" y="3262"/>
                  <a:pt x="3915" y="3696"/>
                  <a:pt x="3915" y="3696"/>
                </a:cubicBezTo>
                <a:cubicBezTo>
                  <a:pt x="3915" y="3696"/>
                  <a:pt x="3636" y="3417"/>
                  <a:pt x="3272" y="3417"/>
                </a:cubicBezTo>
                <a:cubicBezTo>
                  <a:pt x="3156" y="3417"/>
                  <a:pt x="3031" y="3446"/>
                  <a:pt x="2904" y="3521"/>
                </a:cubicBezTo>
                <a:lnTo>
                  <a:pt x="2849" y="3858"/>
                </a:lnTo>
                <a:cubicBezTo>
                  <a:pt x="2849" y="3858"/>
                  <a:pt x="2548" y="3567"/>
                  <a:pt x="2174" y="3567"/>
                </a:cubicBezTo>
                <a:cubicBezTo>
                  <a:pt x="2122" y="3567"/>
                  <a:pt x="2068" y="3573"/>
                  <a:pt x="2013" y="3586"/>
                </a:cubicBezTo>
                <a:cubicBezTo>
                  <a:pt x="1553" y="3696"/>
                  <a:pt x="1485" y="3858"/>
                  <a:pt x="1485" y="3858"/>
                </a:cubicBezTo>
                <a:cubicBezTo>
                  <a:pt x="1485" y="3858"/>
                  <a:pt x="1243" y="3754"/>
                  <a:pt x="930" y="3754"/>
                </a:cubicBezTo>
                <a:cubicBezTo>
                  <a:pt x="635" y="3754"/>
                  <a:pt x="277" y="3847"/>
                  <a:pt x="1" y="4208"/>
                </a:cubicBezTo>
                <a:lnTo>
                  <a:pt x="12002" y="4208"/>
                </a:lnTo>
                <a:lnTo>
                  <a:pt x="12002" y="200"/>
                </a:lnTo>
                <a:cubicBezTo>
                  <a:pt x="11879" y="58"/>
                  <a:pt x="11644" y="0"/>
                  <a:pt x="114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0" name="Google Shape;620;p25"/>
          <p:cNvSpPr/>
          <p:nvPr/>
        </p:nvSpPr>
        <p:spPr>
          <a:xfrm>
            <a:off x="8440467" y="6089565"/>
            <a:ext cx="3783128" cy="787467"/>
          </a:xfrm>
          <a:custGeom>
            <a:avLst/>
            <a:gdLst/>
            <a:ahLst/>
            <a:cxnLst/>
            <a:rect l="l" t="t" r="r" b="b"/>
            <a:pathLst>
              <a:path w="7278" h="2110" extrusionOk="0">
                <a:moveTo>
                  <a:pt x="7196" y="1"/>
                </a:moveTo>
                <a:cubicBezTo>
                  <a:pt x="7059" y="1"/>
                  <a:pt x="6916" y="28"/>
                  <a:pt x="6792" y="85"/>
                </a:cubicBezTo>
                <a:cubicBezTo>
                  <a:pt x="6562" y="192"/>
                  <a:pt x="6374" y="354"/>
                  <a:pt x="6225" y="545"/>
                </a:cubicBezTo>
                <a:cubicBezTo>
                  <a:pt x="6131" y="652"/>
                  <a:pt x="6063" y="775"/>
                  <a:pt x="6063" y="895"/>
                </a:cubicBezTo>
                <a:cubicBezTo>
                  <a:pt x="5966" y="827"/>
                  <a:pt x="5855" y="795"/>
                  <a:pt x="5750" y="795"/>
                </a:cubicBezTo>
                <a:cubicBezTo>
                  <a:pt x="5518" y="795"/>
                  <a:pt x="5315" y="953"/>
                  <a:pt x="5360" y="1232"/>
                </a:cubicBezTo>
                <a:cubicBezTo>
                  <a:pt x="5317" y="1168"/>
                  <a:pt x="5236" y="1138"/>
                  <a:pt x="5152" y="1138"/>
                </a:cubicBezTo>
                <a:cubicBezTo>
                  <a:pt x="5077" y="1138"/>
                  <a:pt x="5000" y="1162"/>
                  <a:pt x="4942" y="1206"/>
                </a:cubicBezTo>
                <a:cubicBezTo>
                  <a:pt x="4822" y="1313"/>
                  <a:pt x="4793" y="1462"/>
                  <a:pt x="4793" y="1611"/>
                </a:cubicBezTo>
                <a:cubicBezTo>
                  <a:pt x="4524" y="1436"/>
                  <a:pt x="4242" y="1245"/>
                  <a:pt x="3918" y="1232"/>
                </a:cubicBezTo>
                <a:cubicBezTo>
                  <a:pt x="3910" y="1232"/>
                  <a:pt x="3902" y="1231"/>
                  <a:pt x="3894" y="1231"/>
                </a:cubicBezTo>
                <a:cubicBezTo>
                  <a:pt x="3576" y="1231"/>
                  <a:pt x="3229" y="1482"/>
                  <a:pt x="3296" y="1773"/>
                </a:cubicBezTo>
                <a:cubicBezTo>
                  <a:pt x="3202" y="1637"/>
                  <a:pt x="3092" y="1504"/>
                  <a:pt x="2930" y="1449"/>
                </a:cubicBezTo>
                <a:cubicBezTo>
                  <a:pt x="2896" y="1437"/>
                  <a:pt x="2858" y="1432"/>
                  <a:pt x="2821" y="1432"/>
                </a:cubicBezTo>
                <a:cubicBezTo>
                  <a:pt x="2682" y="1432"/>
                  <a:pt x="2541" y="1509"/>
                  <a:pt x="2541" y="1637"/>
                </a:cubicBezTo>
                <a:cubicBezTo>
                  <a:pt x="2388" y="1511"/>
                  <a:pt x="2173" y="1406"/>
                  <a:pt x="1967" y="1406"/>
                </a:cubicBezTo>
                <a:cubicBezTo>
                  <a:pt x="1955" y="1406"/>
                  <a:pt x="1944" y="1406"/>
                  <a:pt x="1932" y="1407"/>
                </a:cubicBezTo>
                <a:cubicBezTo>
                  <a:pt x="1702" y="1436"/>
                  <a:pt x="1472" y="1611"/>
                  <a:pt x="1501" y="1828"/>
                </a:cubicBezTo>
                <a:cubicBezTo>
                  <a:pt x="1425" y="1700"/>
                  <a:pt x="1278" y="1610"/>
                  <a:pt x="1126" y="1610"/>
                </a:cubicBezTo>
                <a:cubicBezTo>
                  <a:pt x="1116" y="1610"/>
                  <a:pt x="1106" y="1610"/>
                  <a:pt x="1096" y="1611"/>
                </a:cubicBezTo>
                <a:cubicBezTo>
                  <a:pt x="934" y="1624"/>
                  <a:pt x="785" y="1786"/>
                  <a:pt x="811" y="1935"/>
                </a:cubicBezTo>
                <a:cubicBezTo>
                  <a:pt x="728" y="1813"/>
                  <a:pt x="571" y="1744"/>
                  <a:pt x="416" y="1744"/>
                </a:cubicBezTo>
                <a:cubicBezTo>
                  <a:pt x="347" y="1744"/>
                  <a:pt x="279" y="1757"/>
                  <a:pt x="218" y="1786"/>
                </a:cubicBezTo>
                <a:cubicBezTo>
                  <a:pt x="95" y="1854"/>
                  <a:pt x="30" y="1974"/>
                  <a:pt x="1" y="2110"/>
                </a:cubicBezTo>
                <a:lnTo>
                  <a:pt x="7278" y="2110"/>
                </a:lnTo>
                <a:lnTo>
                  <a:pt x="7278" y="4"/>
                </a:lnTo>
                <a:cubicBezTo>
                  <a:pt x="7251" y="2"/>
                  <a:pt x="7224" y="1"/>
                  <a:pt x="719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1" name="Google Shape;621;p25"/>
          <p:cNvSpPr txBox="1">
            <a:spLocks noGrp="1"/>
          </p:cNvSpPr>
          <p:nvPr>
            <p:ph type="subTitle" idx="1"/>
          </p:nvPr>
        </p:nvSpPr>
        <p:spPr>
          <a:xfrm>
            <a:off x="6664567" y="3487103"/>
            <a:ext cx="4567600" cy="138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9391816"/>
      </p:ext>
    </p:extLst>
  </p:cSld>
  <p:clrMapOvr>
    <a:masterClrMapping/>
  </p:clrMapOvr>
  <p:transition spd="slow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1">
  <p:cSld name="Title and three columns 1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26"/>
          <p:cNvSpPr/>
          <p:nvPr/>
        </p:nvSpPr>
        <p:spPr>
          <a:xfrm>
            <a:off x="-118548" y="5749333"/>
            <a:ext cx="12412149" cy="1179552"/>
          </a:xfrm>
          <a:custGeom>
            <a:avLst/>
            <a:gdLst/>
            <a:ahLst/>
            <a:cxnLst/>
            <a:rect l="l" t="t" r="r" b="b"/>
            <a:pathLst>
              <a:path w="49599" h="10022" extrusionOk="0">
                <a:moveTo>
                  <a:pt x="3334" y="1"/>
                </a:moveTo>
                <a:cubicBezTo>
                  <a:pt x="2192" y="1"/>
                  <a:pt x="1080" y="8"/>
                  <a:pt x="1" y="22"/>
                </a:cubicBezTo>
                <a:lnTo>
                  <a:pt x="1" y="7811"/>
                </a:lnTo>
                <a:cubicBezTo>
                  <a:pt x="5833" y="8514"/>
                  <a:pt x="12624" y="9107"/>
                  <a:pt x="19914" y="9499"/>
                </a:cubicBezTo>
                <a:cubicBezTo>
                  <a:pt x="26275" y="9854"/>
                  <a:pt x="32318" y="10022"/>
                  <a:pt x="37716" y="10022"/>
                </a:cubicBezTo>
                <a:cubicBezTo>
                  <a:pt x="42180" y="10022"/>
                  <a:pt x="46202" y="9907"/>
                  <a:pt x="49599" y="9687"/>
                </a:cubicBezTo>
                <a:lnTo>
                  <a:pt x="49599" y="3382"/>
                </a:lnTo>
                <a:cubicBezTo>
                  <a:pt x="42445" y="2180"/>
                  <a:pt x="32495" y="1127"/>
                  <a:pt x="21411" y="521"/>
                </a:cubicBezTo>
                <a:cubicBezTo>
                  <a:pt x="14945" y="164"/>
                  <a:pt x="8802" y="1"/>
                  <a:pt x="3334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4" name="Google Shape;624;p26"/>
          <p:cNvSpPr/>
          <p:nvPr/>
        </p:nvSpPr>
        <p:spPr>
          <a:xfrm>
            <a:off x="4320728" y="6094744"/>
            <a:ext cx="1435659" cy="242761"/>
          </a:xfrm>
          <a:custGeom>
            <a:avLst/>
            <a:gdLst/>
            <a:ahLst/>
            <a:cxnLst/>
            <a:rect l="l" t="t" r="r" b="b"/>
            <a:pathLst>
              <a:path w="5804" h="1595" extrusionOk="0">
                <a:moveTo>
                  <a:pt x="3212" y="1135"/>
                </a:moveTo>
                <a:cubicBezTo>
                  <a:pt x="3215" y="1138"/>
                  <a:pt x="3217" y="1139"/>
                  <a:pt x="3218" y="1139"/>
                </a:cubicBezTo>
                <a:cubicBezTo>
                  <a:pt x="3219" y="1139"/>
                  <a:pt x="3219" y="1137"/>
                  <a:pt x="3218" y="1135"/>
                </a:cubicBezTo>
                <a:close/>
                <a:moveTo>
                  <a:pt x="2094" y="1"/>
                </a:moveTo>
                <a:cubicBezTo>
                  <a:pt x="2052" y="1"/>
                  <a:pt x="2026" y="43"/>
                  <a:pt x="1997" y="43"/>
                </a:cubicBezTo>
                <a:cubicBezTo>
                  <a:pt x="1971" y="43"/>
                  <a:pt x="1932" y="56"/>
                  <a:pt x="1903" y="56"/>
                </a:cubicBezTo>
                <a:cubicBezTo>
                  <a:pt x="1877" y="56"/>
                  <a:pt x="1851" y="43"/>
                  <a:pt x="1809" y="43"/>
                </a:cubicBezTo>
                <a:lnTo>
                  <a:pt x="1715" y="43"/>
                </a:lnTo>
                <a:cubicBezTo>
                  <a:pt x="1710" y="45"/>
                  <a:pt x="1705" y="46"/>
                  <a:pt x="1700" y="46"/>
                </a:cubicBezTo>
                <a:cubicBezTo>
                  <a:pt x="1678" y="46"/>
                  <a:pt x="1653" y="27"/>
                  <a:pt x="1621" y="27"/>
                </a:cubicBezTo>
                <a:cubicBezTo>
                  <a:pt x="1592" y="27"/>
                  <a:pt x="1566" y="95"/>
                  <a:pt x="1540" y="95"/>
                </a:cubicBezTo>
                <a:cubicBezTo>
                  <a:pt x="1511" y="108"/>
                  <a:pt x="1485" y="108"/>
                  <a:pt x="1459" y="124"/>
                </a:cubicBezTo>
                <a:cubicBezTo>
                  <a:pt x="1422" y="124"/>
                  <a:pt x="1388" y="92"/>
                  <a:pt x="1361" y="92"/>
                </a:cubicBezTo>
                <a:cubicBezTo>
                  <a:pt x="1357" y="92"/>
                  <a:pt x="1353" y="93"/>
                  <a:pt x="1349" y="95"/>
                </a:cubicBezTo>
                <a:cubicBezTo>
                  <a:pt x="1323" y="95"/>
                  <a:pt x="1297" y="108"/>
                  <a:pt x="1268" y="108"/>
                </a:cubicBezTo>
                <a:cubicBezTo>
                  <a:pt x="1229" y="124"/>
                  <a:pt x="1229" y="189"/>
                  <a:pt x="1203" y="189"/>
                </a:cubicBezTo>
                <a:cubicBezTo>
                  <a:pt x="1196" y="192"/>
                  <a:pt x="1189" y="193"/>
                  <a:pt x="1181" y="193"/>
                </a:cubicBezTo>
                <a:cubicBezTo>
                  <a:pt x="1150" y="193"/>
                  <a:pt x="1115" y="173"/>
                  <a:pt x="1092" y="173"/>
                </a:cubicBezTo>
                <a:cubicBezTo>
                  <a:pt x="1087" y="173"/>
                  <a:pt x="1083" y="174"/>
                  <a:pt x="1080" y="176"/>
                </a:cubicBezTo>
                <a:cubicBezTo>
                  <a:pt x="1054" y="205"/>
                  <a:pt x="1041" y="257"/>
                  <a:pt x="1041" y="270"/>
                </a:cubicBezTo>
                <a:cubicBezTo>
                  <a:pt x="1041" y="299"/>
                  <a:pt x="1067" y="325"/>
                  <a:pt x="1080" y="351"/>
                </a:cubicBezTo>
                <a:cubicBezTo>
                  <a:pt x="1093" y="367"/>
                  <a:pt x="1135" y="380"/>
                  <a:pt x="1161" y="393"/>
                </a:cubicBezTo>
                <a:cubicBezTo>
                  <a:pt x="1135" y="393"/>
                  <a:pt x="1080" y="406"/>
                  <a:pt x="1054" y="406"/>
                </a:cubicBezTo>
                <a:cubicBezTo>
                  <a:pt x="1025" y="406"/>
                  <a:pt x="999" y="380"/>
                  <a:pt x="960" y="380"/>
                </a:cubicBezTo>
                <a:cubicBezTo>
                  <a:pt x="931" y="380"/>
                  <a:pt x="905" y="432"/>
                  <a:pt x="879" y="432"/>
                </a:cubicBezTo>
                <a:cubicBezTo>
                  <a:pt x="853" y="432"/>
                  <a:pt x="819" y="391"/>
                  <a:pt x="792" y="391"/>
                </a:cubicBezTo>
                <a:cubicBezTo>
                  <a:pt x="788" y="391"/>
                  <a:pt x="785" y="392"/>
                  <a:pt x="782" y="393"/>
                </a:cubicBezTo>
                <a:lnTo>
                  <a:pt x="688" y="393"/>
                </a:lnTo>
                <a:cubicBezTo>
                  <a:pt x="662" y="393"/>
                  <a:pt x="636" y="419"/>
                  <a:pt x="607" y="432"/>
                </a:cubicBezTo>
                <a:cubicBezTo>
                  <a:pt x="576" y="432"/>
                  <a:pt x="551" y="415"/>
                  <a:pt x="529" y="415"/>
                </a:cubicBezTo>
                <a:cubicBezTo>
                  <a:pt x="523" y="415"/>
                  <a:pt x="518" y="416"/>
                  <a:pt x="513" y="419"/>
                </a:cubicBezTo>
                <a:cubicBezTo>
                  <a:pt x="474" y="419"/>
                  <a:pt x="445" y="448"/>
                  <a:pt x="419" y="448"/>
                </a:cubicBezTo>
                <a:cubicBezTo>
                  <a:pt x="410" y="452"/>
                  <a:pt x="400" y="454"/>
                  <a:pt x="389" y="454"/>
                </a:cubicBezTo>
                <a:cubicBezTo>
                  <a:pt x="367" y="454"/>
                  <a:pt x="342" y="448"/>
                  <a:pt x="325" y="448"/>
                </a:cubicBezTo>
                <a:cubicBezTo>
                  <a:pt x="296" y="461"/>
                  <a:pt x="283" y="500"/>
                  <a:pt x="257" y="513"/>
                </a:cubicBezTo>
                <a:cubicBezTo>
                  <a:pt x="215" y="513"/>
                  <a:pt x="189" y="542"/>
                  <a:pt x="176" y="542"/>
                </a:cubicBezTo>
                <a:cubicBezTo>
                  <a:pt x="155" y="548"/>
                  <a:pt x="135" y="548"/>
                  <a:pt x="116" y="548"/>
                </a:cubicBezTo>
                <a:cubicBezTo>
                  <a:pt x="98" y="548"/>
                  <a:pt x="82" y="548"/>
                  <a:pt x="69" y="555"/>
                </a:cubicBezTo>
                <a:cubicBezTo>
                  <a:pt x="40" y="581"/>
                  <a:pt x="1" y="610"/>
                  <a:pt x="1" y="636"/>
                </a:cubicBezTo>
                <a:cubicBezTo>
                  <a:pt x="1" y="662"/>
                  <a:pt x="27" y="717"/>
                  <a:pt x="53" y="743"/>
                </a:cubicBezTo>
                <a:cubicBezTo>
                  <a:pt x="82" y="756"/>
                  <a:pt x="121" y="756"/>
                  <a:pt x="150" y="772"/>
                </a:cubicBezTo>
                <a:cubicBezTo>
                  <a:pt x="163" y="779"/>
                  <a:pt x="179" y="779"/>
                  <a:pt x="196" y="779"/>
                </a:cubicBezTo>
                <a:cubicBezTo>
                  <a:pt x="212" y="779"/>
                  <a:pt x="229" y="779"/>
                  <a:pt x="244" y="785"/>
                </a:cubicBezTo>
                <a:cubicBezTo>
                  <a:pt x="270" y="798"/>
                  <a:pt x="296" y="811"/>
                  <a:pt x="338" y="824"/>
                </a:cubicBezTo>
                <a:cubicBezTo>
                  <a:pt x="364" y="824"/>
                  <a:pt x="377" y="879"/>
                  <a:pt x="406" y="892"/>
                </a:cubicBezTo>
                <a:cubicBezTo>
                  <a:pt x="437" y="892"/>
                  <a:pt x="470" y="875"/>
                  <a:pt x="495" y="875"/>
                </a:cubicBezTo>
                <a:cubicBezTo>
                  <a:pt x="502" y="875"/>
                  <a:pt x="508" y="876"/>
                  <a:pt x="513" y="879"/>
                </a:cubicBezTo>
                <a:cubicBezTo>
                  <a:pt x="539" y="879"/>
                  <a:pt x="568" y="905"/>
                  <a:pt x="594" y="918"/>
                </a:cubicBezTo>
                <a:cubicBezTo>
                  <a:pt x="620" y="918"/>
                  <a:pt x="662" y="905"/>
                  <a:pt x="688" y="905"/>
                </a:cubicBezTo>
                <a:cubicBezTo>
                  <a:pt x="730" y="918"/>
                  <a:pt x="756" y="960"/>
                  <a:pt x="782" y="960"/>
                </a:cubicBezTo>
                <a:cubicBezTo>
                  <a:pt x="811" y="973"/>
                  <a:pt x="837" y="986"/>
                  <a:pt x="879" y="986"/>
                </a:cubicBezTo>
                <a:cubicBezTo>
                  <a:pt x="905" y="986"/>
                  <a:pt x="944" y="960"/>
                  <a:pt x="973" y="960"/>
                </a:cubicBezTo>
                <a:cubicBezTo>
                  <a:pt x="999" y="973"/>
                  <a:pt x="1054" y="973"/>
                  <a:pt x="1080" y="973"/>
                </a:cubicBezTo>
                <a:cubicBezTo>
                  <a:pt x="1054" y="986"/>
                  <a:pt x="999" y="1015"/>
                  <a:pt x="999" y="1041"/>
                </a:cubicBezTo>
                <a:cubicBezTo>
                  <a:pt x="999" y="1054"/>
                  <a:pt x="999" y="1067"/>
                  <a:pt x="1025" y="1096"/>
                </a:cubicBezTo>
                <a:cubicBezTo>
                  <a:pt x="986" y="1096"/>
                  <a:pt x="999" y="1122"/>
                  <a:pt x="960" y="1122"/>
                </a:cubicBezTo>
                <a:cubicBezTo>
                  <a:pt x="931" y="1122"/>
                  <a:pt x="905" y="1080"/>
                  <a:pt x="863" y="1080"/>
                </a:cubicBezTo>
                <a:cubicBezTo>
                  <a:pt x="837" y="1080"/>
                  <a:pt x="811" y="1135"/>
                  <a:pt x="782" y="1135"/>
                </a:cubicBezTo>
                <a:cubicBezTo>
                  <a:pt x="743" y="1135"/>
                  <a:pt x="717" y="1109"/>
                  <a:pt x="688" y="1109"/>
                </a:cubicBezTo>
                <a:cubicBezTo>
                  <a:pt x="649" y="1109"/>
                  <a:pt x="620" y="1096"/>
                  <a:pt x="594" y="1096"/>
                </a:cubicBezTo>
                <a:cubicBezTo>
                  <a:pt x="555" y="1109"/>
                  <a:pt x="526" y="1122"/>
                  <a:pt x="500" y="1122"/>
                </a:cubicBezTo>
                <a:cubicBezTo>
                  <a:pt x="494" y="1124"/>
                  <a:pt x="488" y="1125"/>
                  <a:pt x="482" y="1125"/>
                </a:cubicBezTo>
                <a:cubicBezTo>
                  <a:pt x="455" y="1125"/>
                  <a:pt x="434" y="1106"/>
                  <a:pt x="409" y="1106"/>
                </a:cubicBezTo>
                <a:cubicBezTo>
                  <a:pt x="404" y="1106"/>
                  <a:pt x="399" y="1107"/>
                  <a:pt x="393" y="1109"/>
                </a:cubicBezTo>
                <a:cubicBezTo>
                  <a:pt x="364" y="1109"/>
                  <a:pt x="351" y="1177"/>
                  <a:pt x="312" y="1177"/>
                </a:cubicBezTo>
                <a:cubicBezTo>
                  <a:pt x="297" y="1184"/>
                  <a:pt x="280" y="1184"/>
                  <a:pt x="263" y="1184"/>
                </a:cubicBezTo>
                <a:cubicBezTo>
                  <a:pt x="246" y="1184"/>
                  <a:pt x="229" y="1184"/>
                  <a:pt x="215" y="1190"/>
                </a:cubicBezTo>
                <a:cubicBezTo>
                  <a:pt x="189" y="1190"/>
                  <a:pt x="176" y="1229"/>
                  <a:pt x="150" y="1242"/>
                </a:cubicBezTo>
                <a:cubicBezTo>
                  <a:pt x="108" y="1258"/>
                  <a:pt x="40" y="1258"/>
                  <a:pt x="40" y="1284"/>
                </a:cubicBezTo>
                <a:cubicBezTo>
                  <a:pt x="40" y="1310"/>
                  <a:pt x="82" y="1339"/>
                  <a:pt x="121" y="1365"/>
                </a:cubicBezTo>
                <a:cubicBezTo>
                  <a:pt x="134" y="1378"/>
                  <a:pt x="163" y="1391"/>
                  <a:pt x="202" y="1404"/>
                </a:cubicBezTo>
                <a:cubicBezTo>
                  <a:pt x="204" y="1407"/>
                  <a:pt x="207" y="1408"/>
                  <a:pt x="211" y="1408"/>
                </a:cubicBezTo>
                <a:cubicBezTo>
                  <a:pt x="229" y="1408"/>
                  <a:pt x="261" y="1388"/>
                  <a:pt x="284" y="1388"/>
                </a:cubicBezTo>
                <a:cubicBezTo>
                  <a:pt x="288" y="1388"/>
                  <a:pt x="292" y="1389"/>
                  <a:pt x="296" y="1391"/>
                </a:cubicBezTo>
                <a:cubicBezTo>
                  <a:pt x="325" y="1404"/>
                  <a:pt x="338" y="1446"/>
                  <a:pt x="364" y="1459"/>
                </a:cubicBezTo>
                <a:cubicBezTo>
                  <a:pt x="393" y="1459"/>
                  <a:pt x="419" y="1485"/>
                  <a:pt x="458" y="1485"/>
                </a:cubicBezTo>
                <a:lnTo>
                  <a:pt x="539" y="1485"/>
                </a:lnTo>
                <a:cubicBezTo>
                  <a:pt x="568" y="1485"/>
                  <a:pt x="594" y="1527"/>
                  <a:pt x="620" y="1540"/>
                </a:cubicBezTo>
                <a:cubicBezTo>
                  <a:pt x="662" y="1540"/>
                  <a:pt x="688" y="1514"/>
                  <a:pt x="717" y="1514"/>
                </a:cubicBezTo>
                <a:cubicBezTo>
                  <a:pt x="726" y="1518"/>
                  <a:pt x="736" y="1520"/>
                  <a:pt x="746" y="1520"/>
                </a:cubicBezTo>
                <a:cubicBezTo>
                  <a:pt x="768" y="1520"/>
                  <a:pt x="791" y="1514"/>
                  <a:pt x="811" y="1514"/>
                </a:cubicBezTo>
                <a:cubicBezTo>
                  <a:pt x="837" y="1527"/>
                  <a:pt x="863" y="1566"/>
                  <a:pt x="892" y="1566"/>
                </a:cubicBezTo>
                <a:lnTo>
                  <a:pt x="986" y="1566"/>
                </a:lnTo>
                <a:cubicBezTo>
                  <a:pt x="1012" y="1566"/>
                  <a:pt x="1041" y="1582"/>
                  <a:pt x="1080" y="1582"/>
                </a:cubicBezTo>
                <a:cubicBezTo>
                  <a:pt x="1106" y="1582"/>
                  <a:pt x="1135" y="1566"/>
                  <a:pt x="1161" y="1566"/>
                </a:cubicBezTo>
                <a:lnTo>
                  <a:pt x="1255" y="1566"/>
                </a:lnTo>
                <a:cubicBezTo>
                  <a:pt x="1284" y="1566"/>
                  <a:pt x="1310" y="1553"/>
                  <a:pt x="1336" y="1553"/>
                </a:cubicBezTo>
                <a:cubicBezTo>
                  <a:pt x="1378" y="1553"/>
                  <a:pt x="1404" y="1595"/>
                  <a:pt x="1430" y="1595"/>
                </a:cubicBezTo>
                <a:cubicBezTo>
                  <a:pt x="1459" y="1595"/>
                  <a:pt x="1485" y="1540"/>
                  <a:pt x="1527" y="1540"/>
                </a:cubicBezTo>
                <a:cubicBezTo>
                  <a:pt x="1553" y="1540"/>
                  <a:pt x="1579" y="1566"/>
                  <a:pt x="1608" y="1566"/>
                </a:cubicBezTo>
                <a:cubicBezTo>
                  <a:pt x="1647" y="1566"/>
                  <a:pt x="1673" y="1527"/>
                  <a:pt x="1702" y="1527"/>
                </a:cubicBezTo>
                <a:cubicBezTo>
                  <a:pt x="1728" y="1527"/>
                  <a:pt x="1770" y="1582"/>
                  <a:pt x="1796" y="1582"/>
                </a:cubicBezTo>
                <a:cubicBezTo>
                  <a:pt x="1822" y="1566"/>
                  <a:pt x="1851" y="1514"/>
                  <a:pt x="1877" y="1514"/>
                </a:cubicBezTo>
                <a:cubicBezTo>
                  <a:pt x="1882" y="1511"/>
                  <a:pt x="1888" y="1510"/>
                  <a:pt x="1894" y="1510"/>
                </a:cubicBezTo>
                <a:cubicBezTo>
                  <a:pt x="1909" y="1510"/>
                  <a:pt x="1925" y="1518"/>
                  <a:pt x="1941" y="1518"/>
                </a:cubicBezTo>
                <a:cubicBezTo>
                  <a:pt x="1947" y="1518"/>
                  <a:pt x="1952" y="1517"/>
                  <a:pt x="1958" y="1514"/>
                </a:cubicBezTo>
                <a:cubicBezTo>
                  <a:pt x="1997" y="1514"/>
                  <a:pt x="2039" y="1540"/>
                  <a:pt x="2065" y="1540"/>
                </a:cubicBezTo>
                <a:cubicBezTo>
                  <a:pt x="2094" y="1527"/>
                  <a:pt x="2107" y="1459"/>
                  <a:pt x="2133" y="1459"/>
                </a:cubicBezTo>
                <a:cubicBezTo>
                  <a:pt x="2159" y="1446"/>
                  <a:pt x="2188" y="1446"/>
                  <a:pt x="2214" y="1433"/>
                </a:cubicBezTo>
                <a:cubicBezTo>
                  <a:pt x="2240" y="1404"/>
                  <a:pt x="2282" y="1404"/>
                  <a:pt x="2282" y="1378"/>
                </a:cubicBezTo>
                <a:cubicBezTo>
                  <a:pt x="2282" y="1365"/>
                  <a:pt x="2282" y="1352"/>
                  <a:pt x="2256" y="1323"/>
                </a:cubicBezTo>
                <a:cubicBezTo>
                  <a:pt x="2282" y="1323"/>
                  <a:pt x="2295" y="1310"/>
                  <a:pt x="2337" y="1310"/>
                </a:cubicBezTo>
                <a:cubicBezTo>
                  <a:pt x="2363" y="1310"/>
                  <a:pt x="2389" y="1323"/>
                  <a:pt x="2431" y="1323"/>
                </a:cubicBezTo>
                <a:cubicBezTo>
                  <a:pt x="2457" y="1323"/>
                  <a:pt x="2483" y="1284"/>
                  <a:pt x="2512" y="1284"/>
                </a:cubicBezTo>
                <a:cubicBezTo>
                  <a:pt x="2551" y="1284"/>
                  <a:pt x="2580" y="1323"/>
                  <a:pt x="2606" y="1323"/>
                </a:cubicBezTo>
                <a:cubicBezTo>
                  <a:pt x="2645" y="1323"/>
                  <a:pt x="2674" y="1339"/>
                  <a:pt x="2713" y="1339"/>
                </a:cubicBezTo>
                <a:cubicBezTo>
                  <a:pt x="2742" y="1323"/>
                  <a:pt x="2768" y="1284"/>
                  <a:pt x="2794" y="1284"/>
                </a:cubicBezTo>
                <a:lnTo>
                  <a:pt x="2888" y="1284"/>
                </a:lnTo>
                <a:cubicBezTo>
                  <a:pt x="2930" y="1284"/>
                  <a:pt x="2956" y="1284"/>
                  <a:pt x="2985" y="1271"/>
                </a:cubicBezTo>
                <a:cubicBezTo>
                  <a:pt x="3024" y="1271"/>
                  <a:pt x="3037" y="1216"/>
                  <a:pt x="3066" y="1203"/>
                </a:cubicBezTo>
                <a:cubicBezTo>
                  <a:pt x="3105" y="1203"/>
                  <a:pt x="3118" y="1190"/>
                  <a:pt x="3147" y="1177"/>
                </a:cubicBezTo>
                <a:cubicBezTo>
                  <a:pt x="3173" y="1148"/>
                  <a:pt x="3212" y="1161"/>
                  <a:pt x="3212" y="1135"/>
                </a:cubicBezTo>
                <a:cubicBezTo>
                  <a:pt x="3212" y="1132"/>
                  <a:pt x="3212" y="1131"/>
                  <a:pt x="3213" y="1131"/>
                </a:cubicBezTo>
                <a:cubicBezTo>
                  <a:pt x="3215" y="1131"/>
                  <a:pt x="3217" y="1133"/>
                  <a:pt x="3218" y="1135"/>
                </a:cubicBezTo>
                <a:lnTo>
                  <a:pt x="3309" y="1135"/>
                </a:lnTo>
                <a:cubicBezTo>
                  <a:pt x="3335" y="1135"/>
                  <a:pt x="3374" y="1096"/>
                  <a:pt x="3403" y="1096"/>
                </a:cubicBezTo>
                <a:cubicBezTo>
                  <a:pt x="3429" y="1109"/>
                  <a:pt x="3455" y="1177"/>
                  <a:pt x="3484" y="1177"/>
                </a:cubicBezTo>
                <a:cubicBezTo>
                  <a:pt x="3523" y="1177"/>
                  <a:pt x="3565" y="1122"/>
                  <a:pt x="3591" y="1122"/>
                </a:cubicBezTo>
                <a:cubicBezTo>
                  <a:pt x="3591" y="1135"/>
                  <a:pt x="3604" y="1161"/>
                  <a:pt x="3604" y="1177"/>
                </a:cubicBezTo>
                <a:cubicBezTo>
                  <a:pt x="3604" y="1203"/>
                  <a:pt x="3591" y="1229"/>
                  <a:pt x="3617" y="1242"/>
                </a:cubicBezTo>
                <a:cubicBezTo>
                  <a:pt x="3646" y="1258"/>
                  <a:pt x="3659" y="1284"/>
                  <a:pt x="3698" y="1297"/>
                </a:cubicBezTo>
                <a:cubicBezTo>
                  <a:pt x="3727" y="1310"/>
                  <a:pt x="3753" y="1339"/>
                  <a:pt x="3779" y="1352"/>
                </a:cubicBezTo>
                <a:cubicBezTo>
                  <a:pt x="3808" y="1352"/>
                  <a:pt x="3847" y="1310"/>
                  <a:pt x="3876" y="1310"/>
                </a:cubicBezTo>
                <a:cubicBezTo>
                  <a:pt x="3902" y="1323"/>
                  <a:pt x="3928" y="1365"/>
                  <a:pt x="3957" y="1378"/>
                </a:cubicBezTo>
                <a:cubicBezTo>
                  <a:pt x="3983" y="1378"/>
                  <a:pt x="4022" y="1352"/>
                  <a:pt x="4051" y="1352"/>
                </a:cubicBezTo>
                <a:cubicBezTo>
                  <a:pt x="4077" y="1365"/>
                  <a:pt x="4103" y="1404"/>
                  <a:pt x="4132" y="1404"/>
                </a:cubicBezTo>
                <a:cubicBezTo>
                  <a:pt x="4158" y="1420"/>
                  <a:pt x="4184" y="1446"/>
                  <a:pt x="4213" y="1446"/>
                </a:cubicBezTo>
                <a:cubicBezTo>
                  <a:pt x="4239" y="1446"/>
                  <a:pt x="4281" y="1391"/>
                  <a:pt x="4307" y="1391"/>
                </a:cubicBezTo>
                <a:cubicBezTo>
                  <a:pt x="4346" y="1391"/>
                  <a:pt x="4375" y="1433"/>
                  <a:pt x="4401" y="1433"/>
                </a:cubicBezTo>
                <a:cubicBezTo>
                  <a:pt x="4427" y="1446"/>
                  <a:pt x="4456" y="1459"/>
                  <a:pt x="4482" y="1459"/>
                </a:cubicBezTo>
                <a:cubicBezTo>
                  <a:pt x="4503" y="1459"/>
                  <a:pt x="4534" y="1442"/>
                  <a:pt x="4558" y="1442"/>
                </a:cubicBezTo>
                <a:cubicBezTo>
                  <a:pt x="4565" y="1442"/>
                  <a:pt x="4571" y="1443"/>
                  <a:pt x="4576" y="1446"/>
                </a:cubicBezTo>
                <a:cubicBezTo>
                  <a:pt x="4605" y="1446"/>
                  <a:pt x="4631" y="1459"/>
                  <a:pt x="4670" y="1459"/>
                </a:cubicBezTo>
                <a:cubicBezTo>
                  <a:pt x="4699" y="1472"/>
                  <a:pt x="4725" y="1485"/>
                  <a:pt x="4751" y="1485"/>
                </a:cubicBezTo>
                <a:cubicBezTo>
                  <a:pt x="4780" y="1485"/>
                  <a:pt x="4819" y="1420"/>
                  <a:pt x="4848" y="1420"/>
                </a:cubicBezTo>
                <a:cubicBezTo>
                  <a:pt x="4874" y="1433"/>
                  <a:pt x="4900" y="1446"/>
                  <a:pt x="4929" y="1446"/>
                </a:cubicBezTo>
                <a:cubicBezTo>
                  <a:pt x="4968" y="1446"/>
                  <a:pt x="4994" y="1472"/>
                  <a:pt x="5023" y="1472"/>
                </a:cubicBezTo>
                <a:cubicBezTo>
                  <a:pt x="5049" y="1459"/>
                  <a:pt x="5075" y="1433"/>
                  <a:pt x="5117" y="1433"/>
                </a:cubicBezTo>
                <a:cubicBezTo>
                  <a:pt x="5125" y="1429"/>
                  <a:pt x="5134" y="1427"/>
                  <a:pt x="5144" y="1427"/>
                </a:cubicBezTo>
                <a:cubicBezTo>
                  <a:pt x="5162" y="1427"/>
                  <a:pt x="5181" y="1433"/>
                  <a:pt x="5198" y="1433"/>
                </a:cubicBezTo>
                <a:cubicBezTo>
                  <a:pt x="5206" y="1429"/>
                  <a:pt x="5217" y="1427"/>
                  <a:pt x="5228" y="1427"/>
                </a:cubicBezTo>
                <a:cubicBezTo>
                  <a:pt x="5250" y="1427"/>
                  <a:pt x="5274" y="1433"/>
                  <a:pt x="5292" y="1433"/>
                </a:cubicBezTo>
                <a:cubicBezTo>
                  <a:pt x="5318" y="1433"/>
                  <a:pt x="5360" y="1459"/>
                  <a:pt x="5386" y="1459"/>
                </a:cubicBezTo>
                <a:cubicBezTo>
                  <a:pt x="5415" y="1459"/>
                  <a:pt x="5441" y="1420"/>
                  <a:pt x="5467" y="1404"/>
                </a:cubicBezTo>
                <a:cubicBezTo>
                  <a:pt x="5496" y="1404"/>
                  <a:pt x="5522" y="1378"/>
                  <a:pt x="5548" y="1365"/>
                </a:cubicBezTo>
                <a:cubicBezTo>
                  <a:pt x="5567" y="1365"/>
                  <a:pt x="5591" y="1371"/>
                  <a:pt x="5612" y="1371"/>
                </a:cubicBezTo>
                <a:cubicBezTo>
                  <a:pt x="5623" y="1371"/>
                  <a:pt x="5633" y="1369"/>
                  <a:pt x="5642" y="1365"/>
                </a:cubicBezTo>
                <a:cubicBezTo>
                  <a:pt x="5661" y="1365"/>
                  <a:pt x="5685" y="1371"/>
                  <a:pt x="5707" y="1371"/>
                </a:cubicBezTo>
                <a:cubicBezTo>
                  <a:pt x="5718" y="1371"/>
                  <a:pt x="5729" y="1369"/>
                  <a:pt x="5739" y="1365"/>
                </a:cubicBezTo>
                <a:cubicBezTo>
                  <a:pt x="5765" y="1339"/>
                  <a:pt x="5804" y="1297"/>
                  <a:pt x="5804" y="1271"/>
                </a:cubicBezTo>
                <a:cubicBezTo>
                  <a:pt x="5804" y="1258"/>
                  <a:pt x="5778" y="1203"/>
                  <a:pt x="5739" y="1190"/>
                </a:cubicBezTo>
                <a:cubicBezTo>
                  <a:pt x="5723" y="1177"/>
                  <a:pt x="5697" y="1148"/>
                  <a:pt x="5671" y="1135"/>
                </a:cubicBezTo>
                <a:cubicBezTo>
                  <a:pt x="5665" y="1132"/>
                  <a:pt x="5658" y="1131"/>
                  <a:pt x="5651" y="1131"/>
                </a:cubicBezTo>
                <a:cubicBezTo>
                  <a:pt x="5633" y="1131"/>
                  <a:pt x="5612" y="1139"/>
                  <a:pt x="5595" y="1139"/>
                </a:cubicBezTo>
                <a:cubicBezTo>
                  <a:pt x="5588" y="1139"/>
                  <a:pt x="5582" y="1138"/>
                  <a:pt x="5577" y="1135"/>
                </a:cubicBezTo>
                <a:cubicBezTo>
                  <a:pt x="5548" y="1135"/>
                  <a:pt x="5522" y="1122"/>
                  <a:pt x="5496" y="1122"/>
                </a:cubicBezTo>
                <a:cubicBezTo>
                  <a:pt x="5467" y="1109"/>
                  <a:pt x="5441" y="1096"/>
                  <a:pt x="5415" y="1080"/>
                </a:cubicBezTo>
                <a:cubicBezTo>
                  <a:pt x="5386" y="1080"/>
                  <a:pt x="5347" y="1096"/>
                  <a:pt x="5318" y="1096"/>
                </a:cubicBezTo>
                <a:cubicBezTo>
                  <a:pt x="5292" y="1096"/>
                  <a:pt x="5266" y="1041"/>
                  <a:pt x="5237" y="1041"/>
                </a:cubicBezTo>
                <a:cubicBezTo>
                  <a:pt x="5211" y="1041"/>
                  <a:pt x="5156" y="1041"/>
                  <a:pt x="5130" y="1028"/>
                </a:cubicBezTo>
                <a:cubicBezTo>
                  <a:pt x="5156" y="1015"/>
                  <a:pt x="5211" y="999"/>
                  <a:pt x="5237" y="986"/>
                </a:cubicBezTo>
                <a:cubicBezTo>
                  <a:pt x="5266" y="960"/>
                  <a:pt x="5305" y="947"/>
                  <a:pt x="5305" y="918"/>
                </a:cubicBezTo>
                <a:cubicBezTo>
                  <a:pt x="5305" y="892"/>
                  <a:pt x="5253" y="892"/>
                  <a:pt x="5224" y="866"/>
                </a:cubicBezTo>
                <a:cubicBezTo>
                  <a:pt x="5198" y="853"/>
                  <a:pt x="5198" y="824"/>
                  <a:pt x="5172" y="798"/>
                </a:cubicBezTo>
                <a:cubicBezTo>
                  <a:pt x="5143" y="785"/>
                  <a:pt x="5130" y="730"/>
                  <a:pt x="5104" y="717"/>
                </a:cubicBezTo>
                <a:cubicBezTo>
                  <a:pt x="5098" y="714"/>
                  <a:pt x="5091" y="713"/>
                  <a:pt x="5084" y="713"/>
                </a:cubicBezTo>
                <a:cubicBezTo>
                  <a:pt x="5065" y="713"/>
                  <a:pt x="5043" y="721"/>
                  <a:pt x="5020" y="721"/>
                </a:cubicBezTo>
                <a:cubicBezTo>
                  <a:pt x="5011" y="721"/>
                  <a:pt x="5003" y="720"/>
                  <a:pt x="4994" y="717"/>
                </a:cubicBezTo>
                <a:cubicBezTo>
                  <a:pt x="4968" y="717"/>
                  <a:pt x="4942" y="704"/>
                  <a:pt x="4913" y="704"/>
                </a:cubicBezTo>
                <a:cubicBezTo>
                  <a:pt x="4887" y="691"/>
                  <a:pt x="4861" y="649"/>
                  <a:pt x="4832" y="649"/>
                </a:cubicBezTo>
                <a:cubicBezTo>
                  <a:pt x="4827" y="646"/>
                  <a:pt x="4821" y="645"/>
                  <a:pt x="4815" y="645"/>
                </a:cubicBezTo>
                <a:cubicBezTo>
                  <a:pt x="4791" y="645"/>
                  <a:pt x="4761" y="662"/>
                  <a:pt x="4738" y="662"/>
                </a:cubicBezTo>
                <a:cubicBezTo>
                  <a:pt x="4699" y="662"/>
                  <a:pt x="4686" y="610"/>
                  <a:pt x="4657" y="594"/>
                </a:cubicBezTo>
                <a:cubicBezTo>
                  <a:pt x="4625" y="594"/>
                  <a:pt x="4600" y="613"/>
                  <a:pt x="4570" y="613"/>
                </a:cubicBezTo>
                <a:cubicBezTo>
                  <a:pt x="4564" y="613"/>
                  <a:pt x="4557" y="612"/>
                  <a:pt x="4550" y="610"/>
                </a:cubicBezTo>
                <a:cubicBezTo>
                  <a:pt x="4524" y="610"/>
                  <a:pt x="4495" y="581"/>
                  <a:pt x="4469" y="568"/>
                </a:cubicBezTo>
                <a:cubicBezTo>
                  <a:pt x="4445" y="568"/>
                  <a:pt x="4408" y="625"/>
                  <a:pt x="4382" y="625"/>
                </a:cubicBezTo>
                <a:cubicBezTo>
                  <a:pt x="4379" y="625"/>
                  <a:pt x="4377" y="624"/>
                  <a:pt x="4375" y="623"/>
                </a:cubicBezTo>
                <a:cubicBezTo>
                  <a:pt x="4333" y="623"/>
                  <a:pt x="4307" y="594"/>
                  <a:pt x="4281" y="594"/>
                </a:cubicBezTo>
                <a:cubicBezTo>
                  <a:pt x="4252" y="581"/>
                  <a:pt x="4226" y="568"/>
                  <a:pt x="4200" y="568"/>
                </a:cubicBezTo>
                <a:cubicBezTo>
                  <a:pt x="4158" y="555"/>
                  <a:pt x="4132" y="555"/>
                  <a:pt x="4103" y="555"/>
                </a:cubicBezTo>
                <a:cubicBezTo>
                  <a:pt x="4077" y="555"/>
                  <a:pt x="4038" y="594"/>
                  <a:pt x="4009" y="594"/>
                </a:cubicBezTo>
                <a:cubicBezTo>
                  <a:pt x="3983" y="594"/>
                  <a:pt x="3941" y="581"/>
                  <a:pt x="3915" y="581"/>
                </a:cubicBezTo>
                <a:cubicBezTo>
                  <a:pt x="3889" y="581"/>
                  <a:pt x="3860" y="555"/>
                  <a:pt x="3834" y="542"/>
                </a:cubicBezTo>
                <a:cubicBezTo>
                  <a:pt x="3851" y="542"/>
                  <a:pt x="3870" y="548"/>
                  <a:pt x="3888" y="548"/>
                </a:cubicBezTo>
                <a:cubicBezTo>
                  <a:pt x="3897" y="548"/>
                  <a:pt x="3906" y="546"/>
                  <a:pt x="3915" y="542"/>
                </a:cubicBezTo>
                <a:cubicBezTo>
                  <a:pt x="3941" y="529"/>
                  <a:pt x="3970" y="513"/>
                  <a:pt x="3996" y="500"/>
                </a:cubicBezTo>
                <a:cubicBezTo>
                  <a:pt x="4022" y="474"/>
                  <a:pt x="3996" y="432"/>
                  <a:pt x="3996" y="406"/>
                </a:cubicBezTo>
                <a:cubicBezTo>
                  <a:pt x="3996" y="380"/>
                  <a:pt x="3983" y="380"/>
                  <a:pt x="3957" y="351"/>
                </a:cubicBezTo>
                <a:cubicBezTo>
                  <a:pt x="3928" y="338"/>
                  <a:pt x="3928" y="299"/>
                  <a:pt x="3902" y="286"/>
                </a:cubicBezTo>
                <a:cubicBezTo>
                  <a:pt x="3889" y="278"/>
                  <a:pt x="3872" y="278"/>
                  <a:pt x="3855" y="278"/>
                </a:cubicBezTo>
                <a:cubicBezTo>
                  <a:pt x="3838" y="278"/>
                  <a:pt x="3821" y="278"/>
                  <a:pt x="3808" y="270"/>
                </a:cubicBezTo>
                <a:cubicBezTo>
                  <a:pt x="3779" y="270"/>
                  <a:pt x="3753" y="218"/>
                  <a:pt x="3727" y="205"/>
                </a:cubicBezTo>
                <a:lnTo>
                  <a:pt x="3633" y="205"/>
                </a:lnTo>
                <a:cubicBezTo>
                  <a:pt x="3618" y="197"/>
                  <a:pt x="3605" y="197"/>
                  <a:pt x="3589" y="197"/>
                </a:cubicBezTo>
                <a:cubicBezTo>
                  <a:pt x="3574" y="197"/>
                  <a:pt x="3557" y="197"/>
                  <a:pt x="3536" y="189"/>
                </a:cubicBezTo>
                <a:cubicBezTo>
                  <a:pt x="3510" y="189"/>
                  <a:pt x="3484" y="163"/>
                  <a:pt x="3455" y="150"/>
                </a:cubicBezTo>
                <a:cubicBezTo>
                  <a:pt x="3429" y="150"/>
                  <a:pt x="3403" y="137"/>
                  <a:pt x="3374" y="137"/>
                </a:cubicBezTo>
                <a:cubicBezTo>
                  <a:pt x="3335" y="124"/>
                  <a:pt x="3322" y="82"/>
                  <a:pt x="3280" y="69"/>
                </a:cubicBezTo>
                <a:cubicBezTo>
                  <a:pt x="3254" y="69"/>
                  <a:pt x="3228" y="82"/>
                  <a:pt x="3186" y="82"/>
                </a:cubicBezTo>
                <a:cubicBezTo>
                  <a:pt x="3160" y="69"/>
                  <a:pt x="3131" y="69"/>
                  <a:pt x="3105" y="56"/>
                </a:cubicBezTo>
                <a:cubicBezTo>
                  <a:pt x="3071" y="56"/>
                  <a:pt x="3045" y="85"/>
                  <a:pt x="3022" y="85"/>
                </a:cubicBezTo>
                <a:cubicBezTo>
                  <a:pt x="3018" y="85"/>
                  <a:pt x="3015" y="84"/>
                  <a:pt x="3011" y="82"/>
                </a:cubicBezTo>
                <a:cubicBezTo>
                  <a:pt x="2969" y="82"/>
                  <a:pt x="2943" y="43"/>
                  <a:pt x="2917" y="27"/>
                </a:cubicBezTo>
                <a:cubicBezTo>
                  <a:pt x="2888" y="27"/>
                  <a:pt x="2849" y="69"/>
                  <a:pt x="2823" y="69"/>
                </a:cubicBezTo>
                <a:lnTo>
                  <a:pt x="2726" y="69"/>
                </a:lnTo>
                <a:cubicBezTo>
                  <a:pt x="2700" y="69"/>
                  <a:pt x="2674" y="43"/>
                  <a:pt x="2645" y="43"/>
                </a:cubicBezTo>
                <a:cubicBezTo>
                  <a:pt x="2606" y="43"/>
                  <a:pt x="2580" y="69"/>
                  <a:pt x="2551" y="69"/>
                </a:cubicBezTo>
                <a:cubicBezTo>
                  <a:pt x="2512" y="69"/>
                  <a:pt x="2483" y="1"/>
                  <a:pt x="2457" y="1"/>
                </a:cubicBezTo>
                <a:cubicBezTo>
                  <a:pt x="2431" y="1"/>
                  <a:pt x="2389" y="56"/>
                  <a:pt x="2363" y="56"/>
                </a:cubicBezTo>
                <a:cubicBezTo>
                  <a:pt x="2337" y="56"/>
                  <a:pt x="2308" y="1"/>
                  <a:pt x="2269" y="1"/>
                </a:cubicBezTo>
                <a:cubicBezTo>
                  <a:pt x="2240" y="1"/>
                  <a:pt x="2214" y="56"/>
                  <a:pt x="2188" y="56"/>
                </a:cubicBezTo>
                <a:cubicBezTo>
                  <a:pt x="2146" y="56"/>
                  <a:pt x="2120" y="1"/>
                  <a:pt x="2094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5" name="Google Shape;625;p26"/>
          <p:cNvSpPr/>
          <p:nvPr/>
        </p:nvSpPr>
        <p:spPr>
          <a:xfrm>
            <a:off x="43484" y="5959131"/>
            <a:ext cx="1435659" cy="244740"/>
          </a:xfrm>
          <a:custGeom>
            <a:avLst/>
            <a:gdLst/>
            <a:ahLst/>
            <a:cxnLst/>
            <a:rect l="l" t="t" r="r" b="b"/>
            <a:pathLst>
              <a:path w="5804" h="1608" extrusionOk="0">
                <a:moveTo>
                  <a:pt x="1430" y="1"/>
                </a:moveTo>
                <a:cubicBezTo>
                  <a:pt x="1404" y="1"/>
                  <a:pt x="1365" y="56"/>
                  <a:pt x="1336" y="56"/>
                </a:cubicBezTo>
                <a:cubicBezTo>
                  <a:pt x="1310" y="56"/>
                  <a:pt x="1284" y="43"/>
                  <a:pt x="1255" y="43"/>
                </a:cubicBezTo>
                <a:lnTo>
                  <a:pt x="1161" y="43"/>
                </a:lnTo>
                <a:cubicBezTo>
                  <a:pt x="1135" y="43"/>
                  <a:pt x="1093" y="27"/>
                  <a:pt x="1067" y="27"/>
                </a:cubicBezTo>
                <a:cubicBezTo>
                  <a:pt x="1041" y="27"/>
                  <a:pt x="1012" y="43"/>
                  <a:pt x="986" y="43"/>
                </a:cubicBezTo>
                <a:lnTo>
                  <a:pt x="892" y="43"/>
                </a:lnTo>
                <a:cubicBezTo>
                  <a:pt x="863" y="43"/>
                  <a:pt x="837" y="82"/>
                  <a:pt x="811" y="95"/>
                </a:cubicBezTo>
                <a:cubicBezTo>
                  <a:pt x="783" y="95"/>
                  <a:pt x="762" y="89"/>
                  <a:pt x="743" y="89"/>
                </a:cubicBezTo>
                <a:cubicBezTo>
                  <a:pt x="734" y="89"/>
                  <a:pt x="726" y="91"/>
                  <a:pt x="717" y="95"/>
                </a:cubicBezTo>
                <a:cubicBezTo>
                  <a:pt x="688" y="95"/>
                  <a:pt x="649" y="69"/>
                  <a:pt x="620" y="69"/>
                </a:cubicBezTo>
                <a:cubicBezTo>
                  <a:pt x="594" y="82"/>
                  <a:pt x="568" y="124"/>
                  <a:pt x="539" y="124"/>
                </a:cubicBezTo>
                <a:cubicBezTo>
                  <a:pt x="521" y="124"/>
                  <a:pt x="498" y="117"/>
                  <a:pt x="476" y="117"/>
                </a:cubicBezTo>
                <a:cubicBezTo>
                  <a:pt x="465" y="117"/>
                  <a:pt x="454" y="119"/>
                  <a:pt x="445" y="124"/>
                </a:cubicBezTo>
                <a:cubicBezTo>
                  <a:pt x="419" y="124"/>
                  <a:pt x="393" y="137"/>
                  <a:pt x="364" y="150"/>
                </a:cubicBezTo>
                <a:cubicBezTo>
                  <a:pt x="338" y="163"/>
                  <a:pt x="325" y="205"/>
                  <a:pt x="296" y="218"/>
                </a:cubicBezTo>
                <a:cubicBezTo>
                  <a:pt x="290" y="220"/>
                  <a:pt x="285" y="221"/>
                  <a:pt x="280" y="221"/>
                </a:cubicBezTo>
                <a:cubicBezTo>
                  <a:pt x="252" y="221"/>
                  <a:pt x="224" y="201"/>
                  <a:pt x="203" y="201"/>
                </a:cubicBezTo>
                <a:cubicBezTo>
                  <a:pt x="198" y="201"/>
                  <a:pt x="193" y="202"/>
                  <a:pt x="189" y="205"/>
                </a:cubicBezTo>
                <a:cubicBezTo>
                  <a:pt x="163" y="218"/>
                  <a:pt x="134" y="231"/>
                  <a:pt x="108" y="244"/>
                </a:cubicBezTo>
                <a:cubicBezTo>
                  <a:pt x="82" y="270"/>
                  <a:pt x="40" y="299"/>
                  <a:pt x="40" y="325"/>
                </a:cubicBezTo>
                <a:cubicBezTo>
                  <a:pt x="40" y="351"/>
                  <a:pt x="108" y="351"/>
                  <a:pt x="150" y="367"/>
                </a:cubicBezTo>
                <a:cubicBezTo>
                  <a:pt x="163" y="380"/>
                  <a:pt x="189" y="419"/>
                  <a:pt x="215" y="419"/>
                </a:cubicBezTo>
                <a:cubicBezTo>
                  <a:pt x="224" y="423"/>
                  <a:pt x="235" y="425"/>
                  <a:pt x="246" y="425"/>
                </a:cubicBezTo>
                <a:cubicBezTo>
                  <a:pt x="269" y="425"/>
                  <a:pt x="292" y="419"/>
                  <a:pt x="312" y="419"/>
                </a:cubicBezTo>
                <a:cubicBezTo>
                  <a:pt x="338" y="432"/>
                  <a:pt x="364" y="500"/>
                  <a:pt x="393" y="500"/>
                </a:cubicBezTo>
                <a:cubicBezTo>
                  <a:pt x="397" y="502"/>
                  <a:pt x="401" y="503"/>
                  <a:pt x="405" y="503"/>
                </a:cubicBezTo>
                <a:cubicBezTo>
                  <a:pt x="426" y="503"/>
                  <a:pt x="451" y="484"/>
                  <a:pt x="474" y="484"/>
                </a:cubicBezTo>
                <a:cubicBezTo>
                  <a:pt x="478" y="484"/>
                  <a:pt x="483" y="485"/>
                  <a:pt x="487" y="487"/>
                </a:cubicBezTo>
                <a:cubicBezTo>
                  <a:pt x="526" y="487"/>
                  <a:pt x="555" y="500"/>
                  <a:pt x="581" y="500"/>
                </a:cubicBezTo>
                <a:cubicBezTo>
                  <a:pt x="589" y="504"/>
                  <a:pt x="600" y="506"/>
                  <a:pt x="611" y="506"/>
                </a:cubicBezTo>
                <a:cubicBezTo>
                  <a:pt x="633" y="506"/>
                  <a:pt x="658" y="500"/>
                  <a:pt x="675" y="500"/>
                </a:cubicBezTo>
                <a:cubicBezTo>
                  <a:pt x="717" y="500"/>
                  <a:pt x="743" y="474"/>
                  <a:pt x="769" y="474"/>
                </a:cubicBezTo>
                <a:cubicBezTo>
                  <a:pt x="811" y="474"/>
                  <a:pt x="837" y="529"/>
                  <a:pt x="863" y="529"/>
                </a:cubicBezTo>
                <a:cubicBezTo>
                  <a:pt x="892" y="529"/>
                  <a:pt x="931" y="487"/>
                  <a:pt x="960" y="487"/>
                </a:cubicBezTo>
                <a:cubicBezTo>
                  <a:pt x="986" y="487"/>
                  <a:pt x="986" y="513"/>
                  <a:pt x="1025" y="513"/>
                </a:cubicBezTo>
                <a:cubicBezTo>
                  <a:pt x="999" y="542"/>
                  <a:pt x="999" y="555"/>
                  <a:pt x="999" y="568"/>
                </a:cubicBezTo>
                <a:cubicBezTo>
                  <a:pt x="999" y="594"/>
                  <a:pt x="1054" y="610"/>
                  <a:pt x="1080" y="636"/>
                </a:cubicBezTo>
                <a:cubicBezTo>
                  <a:pt x="1054" y="636"/>
                  <a:pt x="999" y="636"/>
                  <a:pt x="973" y="649"/>
                </a:cubicBezTo>
                <a:cubicBezTo>
                  <a:pt x="931" y="649"/>
                  <a:pt x="905" y="623"/>
                  <a:pt x="863" y="623"/>
                </a:cubicBezTo>
                <a:cubicBezTo>
                  <a:pt x="837" y="623"/>
                  <a:pt x="811" y="636"/>
                  <a:pt x="782" y="649"/>
                </a:cubicBezTo>
                <a:cubicBezTo>
                  <a:pt x="743" y="649"/>
                  <a:pt x="717" y="691"/>
                  <a:pt x="688" y="704"/>
                </a:cubicBezTo>
                <a:cubicBezTo>
                  <a:pt x="662" y="704"/>
                  <a:pt x="620" y="691"/>
                  <a:pt x="594" y="691"/>
                </a:cubicBezTo>
                <a:cubicBezTo>
                  <a:pt x="568" y="691"/>
                  <a:pt x="539" y="730"/>
                  <a:pt x="513" y="730"/>
                </a:cubicBezTo>
                <a:cubicBezTo>
                  <a:pt x="505" y="733"/>
                  <a:pt x="497" y="734"/>
                  <a:pt x="489" y="734"/>
                </a:cubicBezTo>
                <a:cubicBezTo>
                  <a:pt x="458" y="734"/>
                  <a:pt x="427" y="717"/>
                  <a:pt x="406" y="717"/>
                </a:cubicBezTo>
                <a:cubicBezTo>
                  <a:pt x="377" y="730"/>
                  <a:pt x="364" y="785"/>
                  <a:pt x="325" y="785"/>
                </a:cubicBezTo>
                <a:cubicBezTo>
                  <a:pt x="296" y="798"/>
                  <a:pt x="270" y="811"/>
                  <a:pt x="244" y="824"/>
                </a:cubicBezTo>
                <a:cubicBezTo>
                  <a:pt x="229" y="830"/>
                  <a:pt x="212" y="830"/>
                  <a:pt x="196" y="830"/>
                </a:cubicBezTo>
                <a:cubicBezTo>
                  <a:pt x="179" y="830"/>
                  <a:pt x="163" y="830"/>
                  <a:pt x="150" y="837"/>
                </a:cubicBezTo>
                <a:cubicBezTo>
                  <a:pt x="108" y="853"/>
                  <a:pt x="69" y="853"/>
                  <a:pt x="53" y="866"/>
                </a:cubicBezTo>
                <a:cubicBezTo>
                  <a:pt x="27" y="892"/>
                  <a:pt x="1" y="947"/>
                  <a:pt x="1" y="973"/>
                </a:cubicBezTo>
                <a:cubicBezTo>
                  <a:pt x="1" y="999"/>
                  <a:pt x="40" y="1028"/>
                  <a:pt x="69" y="1054"/>
                </a:cubicBezTo>
                <a:cubicBezTo>
                  <a:pt x="75" y="1060"/>
                  <a:pt x="92" y="1060"/>
                  <a:pt x="110" y="1060"/>
                </a:cubicBezTo>
                <a:cubicBezTo>
                  <a:pt x="128" y="1060"/>
                  <a:pt x="148" y="1060"/>
                  <a:pt x="163" y="1067"/>
                </a:cubicBezTo>
                <a:cubicBezTo>
                  <a:pt x="189" y="1067"/>
                  <a:pt x="215" y="1096"/>
                  <a:pt x="244" y="1096"/>
                </a:cubicBezTo>
                <a:cubicBezTo>
                  <a:pt x="270" y="1109"/>
                  <a:pt x="296" y="1148"/>
                  <a:pt x="325" y="1161"/>
                </a:cubicBezTo>
                <a:cubicBezTo>
                  <a:pt x="342" y="1161"/>
                  <a:pt x="367" y="1155"/>
                  <a:pt x="389" y="1155"/>
                </a:cubicBezTo>
                <a:cubicBezTo>
                  <a:pt x="400" y="1155"/>
                  <a:pt x="410" y="1157"/>
                  <a:pt x="419" y="1161"/>
                </a:cubicBezTo>
                <a:cubicBezTo>
                  <a:pt x="445" y="1161"/>
                  <a:pt x="474" y="1190"/>
                  <a:pt x="500" y="1190"/>
                </a:cubicBezTo>
                <a:cubicBezTo>
                  <a:pt x="508" y="1193"/>
                  <a:pt x="515" y="1194"/>
                  <a:pt x="522" y="1194"/>
                </a:cubicBezTo>
                <a:cubicBezTo>
                  <a:pt x="550" y="1194"/>
                  <a:pt x="573" y="1177"/>
                  <a:pt x="594" y="1177"/>
                </a:cubicBezTo>
                <a:cubicBezTo>
                  <a:pt x="636" y="1190"/>
                  <a:pt x="662" y="1216"/>
                  <a:pt x="688" y="1216"/>
                </a:cubicBezTo>
                <a:lnTo>
                  <a:pt x="782" y="1216"/>
                </a:lnTo>
                <a:cubicBezTo>
                  <a:pt x="785" y="1217"/>
                  <a:pt x="788" y="1218"/>
                  <a:pt x="791" y="1218"/>
                </a:cubicBezTo>
                <a:cubicBezTo>
                  <a:pt x="817" y="1218"/>
                  <a:pt x="841" y="1177"/>
                  <a:pt x="879" y="1177"/>
                </a:cubicBezTo>
                <a:cubicBezTo>
                  <a:pt x="905" y="1177"/>
                  <a:pt x="931" y="1229"/>
                  <a:pt x="960" y="1229"/>
                </a:cubicBezTo>
                <a:cubicBezTo>
                  <a:pt x="986" y="1229"/>
                  <a:pt x="1025" y="1203"/>
                  <a:pt x="1054" y="1203"/>
                </a:cubicBezTo>
                <a:cubicBezTo>
                  <a:pt x="1080" y="1203"/>
                  <a:pt x="1122" y="1216"/>
                  <a:pt x="1161" y="1216"/>
                </a:cubicBezTo>
                <a:cubicBezTo>
                  <a:pt x="1135" y="1229"/>
                  <a:pt x="1093" y="1242"/>
                  <a:pt x="1080" y="1258"/>
                </a:cubicBezTo>
                <a:cubicBezTo>
                  <a:pt x="1054" y="1284"/>
                  <a:pt x="1041" y="1310"/>
                  <a:pt x="1041" y="1323"/>
                </a:cubicBezTo>
                <a:cubicBezTo>
                  <a:pt x="1041" y="1352"/>
                  <a:pt x="1041" y="1404"/>
                  <a:pt x="1080" y="1433"/>
                </a:cubicBezTo>
                <a:cubicBezTo>
                  <a:pt x="1082" y="1435"/>
                  <a:pt x="1084" y="1436"/>
                  <a:pt x="1088" y="1436"/>
                </a:cubicBezTo>
                <a:cubicBezTo>
                  <a:pt x="1106" y="1436"/>
                  <a:pt x="1145" y="1416"/>
                  <a:pt x="1171" y="1416"/>
                </a:cubicBezTo>
                <a:cubicBezTo>
                  <a:pt x="1177" y="1416"/>
                  <a:pt x="1182" y="1417"/>
                  <a:pt x="1187" y="1420"/>
                </a:cubicBezTo>
                <a:cubicBezTo>
                  <a:pt x="1216" y="1420"/>
                  <a:pt x="1229" y="1485"/>
                  <a:pt x="1255" y="1501"/>
                </a:cubicBezTo>
                <a:cubicBezTo>
                  <a:pt x="1284" y="1501"/>
                  <a:pt x="1323" y="1514"/>
                  <a:pt x="1349" y="1514"/>
                </a:cubicBezTo>
                <a:cubicBezTo>
                  <a:pt x="1353" y="1516"/>
                  <a:pt x="1357" y="1516"/>
                  <a:pt x="1361" y="1516"/>
                </a:cubicBezTo>
                <a:cubicBezTo>
                  <a:pt x="1388" y="1516"/>
                  <a:pt x="1421" y="1485"/>
                  <a:pt x="1446" y="1485"/>
                </a:cubicBezTo>
                <a:cubicBezTo>
                  <a:pt x="1485" y="1501"/>
                  <a:pt x="1511" y="1501"/>
                  <a:pt x="1540" y="1514"/>
                </a:cubicBezTo>
                <a:cubicBezTo>
                  <a:pt x="1566" y="1514"/>
                  <a:pt x="1592" y="1582"/>
                  <a:pt x="1621" y="1582"/>
                </a:cubicBezTo>
                <a:cubicBezTo>
                  <a:pt x="1642" y="1582"/>
                  <a:pt x="1674" y="1563"/>
                  <a:pt x="1699" y="1563"/>
                </a:cubicBezTo>
                <a:cubicBezTo>
                  <a:pt x="1705" y="1563"/>
                  <a:pt x="1710" y="1563"/>
                  <a:pt x="1715" y="1566"/>
                </a:cubicBezTo>
                <a:lnTo>
                  <a:pt x="1809" y="1566"/>
                </a:lnTo>
                <a:cubicBezTo>
                  <a:pt x="1835" y="1566"/>
                  <a:pt x="1877" y="1553"/>
                  <a:pt x="1903" y="1553"/>
                </a:cubicBezTo>
                <a:cubicBezTo>
                  <a:pt x="1932" y="1553"/>
                  <a:pt x="1958" y="1566"/>
                  <a:pt x="1997" y="1566"/>
                </a:cubicBezTo>
                <a:cubicBezTo>
                  <a:pt x="2026" y="1566"/>
                  <a:pt x="2052" y="1608"/>
                  <a:pt x="2078" y="1608"/>
                </a:cubicBezTo>
                <a:cubicBezTo>
                  <a:pt x="2120" y="1608"/>
                  <a:pt x="2146" y="1553"/>
                  <a:pt x="2175" y="1553"/>
                </a:cubicBezTo>
                <a:cubicBezTo>
                  <a:pt x="2214" y="1553"/>
                  <a:pt x="2240" y="1608"/>
                  <a:pt x="2269" y="1608"/>
                </a:cubicBezTo>
                <a:cubicBezTo>
                  <a:pt x="2295" y="1608"/>
                  <a:pt x="2337" y="1553"/>
                  <a:pt x="2363" y="1553"/>
                </a:cubicBezTo>
                <a:cubicBezTo>
                  <a:pt x="2389" y="1553"/>
                  <a:pt x="2418" y="1608"/>
                  <a:pt x="2457" y="1608"/>
                </a:cubicBezTo>
                <a:cubicBezTo>
                  <a:pt x="2483" y="1608"/>
                  <a:pt x="2512" y="1540"/>
                  <a:pt x="2538" y="1540"/>
                </a:cubicBezTo>
                <a:cubicBezTo>
                  <a:pt x="2580" y="1540"/>
                  <a:pt x="2606" y="1566"/>
                  <a:pt x="2632" y="1566"/>
                </a:cubicBezTo>
                <a:cubicBezTo>
                  <a:pt x="2674" y="1566"/>
                  <a:pt x="2700" y="1540"/>
                  <a:pt x="2726" y="1540"/>
                </a:cubicBezTo>
                <a:lnTo>
                  <a:pt x="2823" y="1540"/>
                </a:lnTo>
                <a:cubicBezTo>
                  <a:pt x="2849" y="1540"/>
                  <a:pt x="2888" y="1582"/>
                  <a:pt x="2917" y="1582"/>
                </a:cubicBezTo>
                <a:cubicBezTo>
                  <a:pt x="2943" y="1566"/>
                  <a:pt x="2969" y="1527"/>
                  <a:pt x="2998" y="1527"/>
                </a:cubicBezTo>
                <a:cubicBezTo>
                  <a:pt x="3003" y="1525"/>
                  <a:pt x="3009" y="1524"/>
                  <a:pt x="3014" y="1524"/>
                </a:cubicBezTo>
                <a:cubicBezTo>
                  <a:pt x="3045" y="1524"/>
                  <a:pt x="3070" y="1553"/>
                  <a:pt x="3092" y="1553"/>
                </a:cubicBezTo>
                <a:cubicBezTo>
                  <a:pt x="3131" y="1540"/>
                  <a:pt x="3160" y="1540"/>
                  <a:pt x="3186" y="1527"/>
                </a:cubicBezTo>
                <a:cubicBezTo>
                  <a:pt x="3212" y="1527"/>
                  <a:pt x="3254" y="1540"/>
                  <a:pt x="3280" y="1540"/>
                </a:cubicBezTo>
                <a:cubicBezTo>
                  <a:pt x="3309" y="1527"/>
                  <a:pt x="3335" y="1472"/>
                  <a:pt x="3361" y="1472"/>
                </a:cubicBezTo>
                <a:cubicBezTo>
                  <a:pt x="3403" y="1472"/>
                  <a:pt x="3429" y="1459"/>
                  <a:pt x="3455" y="1459"/>
                </a:cubicBezTo>
                <a:cubicBezTo>
                  <a:pt x="3484" y="1446"/>
                  <a:pt x="3510" y="1420"/>
                  <a:pt x="3536" y="1420"/>
                </a:cubicBezTo>
                <a:cubicBezTo>
                  <a:pt x="3557" y="1412"/>
                  <a:pt x="3574" y="1412"/>
                  <a:pt x="3589" y="1412"/>
                </a:cubicBezTo>
                <a:cubicBezTo>
                  <a:pt x="3605" y="1412"/>
                  <a:pt x="3618" y="1412"/>
                  <a:pt x="3633" y="1404"/>
                </a:cubicBezTo>
                <a:lnTo>
                  <a:pt x="3727" y="1404"/>
                </a:lnTo>
                <a:cubicBezTo>
                  <a:pt x="3753" y="1391"/>
                  <a:pt x="3766" y="1339"/>
                  <a:pt x="3795" y="1339"/>
                </a:cubicBezTo>
                <a:cubicBezTo>
                  <a:pt x="3814" y="1331"/>
                  <a:pt x="3831" y="1331"/>
                  <a:pt x="3846" y="1331"/>
                </a:cubicBezTo>
                <a:cubicBezTo>
                  <a:pt x="3861" y="1331"/>
                  <a:pt x="3874" y="1331"/>
                  <a:pt x="3889" y="1323"/>
                </a:cubicBezTo>
                <a:cubicBezTo>
                  <a:pt x="3928" y="1310"/>
                  <a:pt x="3928" y="1271"/>
                  <a:pt x="3957" y="1258"/>
                </a:cubicBezTo>
                <a:cubicBezTo>
                  <a:pt x="3983" y="1229"/>
                  <a:pt x="3996" y="1229"/>
                  <a:pt x="3996" y="1203"/>
                </a:cubicBezTo>
                <a:cubicBezTo>
                  <a:pt x="3996" y="1177"/>
                  <a:pt x="4009" y="1135"/>
                  <a:pt x="3983" y="1109"/>
                </a:cubicBezTo>
                <a:cubicBezTo>
                  <a:pt x="3970" y="1096"/>
                  <a:pt x="3941" y="1080"/>
                  <a:pt x="3915" y="1067"/>
                </a:cubicBezTo>
                <a:cubicBezTo>
                  <a:pt x="3902" y="1060"/>
                  <a:pt x="3888" y="1060"/>
                  <a:pt x="3874" y="1060"/>
                </a:cubicBezTo>
                <a:cubicBezTo>
                  <a:pt x="3861" y="1060"/>
                  <a:pt x="3847" y="1060"/>
                  <a:pt x="3834" y="1054"/>
                </a:cubicBezTo>
                <a:cubicBezTo>
                  <a:pt x="3860" y="1054"/>
                  <a:pt x="3889" y="1028"/>
                  <a:pt x="3915" y="1028"/>
                </a:cubicBezTo>
                <a:cubicBezTo>
                  <a:pt x="3941" y="1028"/>
                  <a:pt x="3970" y="1015"/>
                  <a:pt x="3996" y="1015"/>
                </a:cubicBezTo>
                <a:cubicBezTo>
                  <a:pt x="4038" y="1015"/>
                  <a:pt x="4064" y="1054"/>
                  <a:pt x="4090" y="1054"/>
                </a:cubicBezTo>
                <a:cubicBezTo>
                  <a:pt x="4132" y="1054"/>
                  <a:pt x="4158" y="1041"/>
                  <a:pt x="4184" y="1041"/>
                </a:cubicBezTo>
                <a:cubicBezTo>
                  <a:pt x="4226" y="1041"/>
                  <a:pt x="4252" y="1028"/>
                  <a:pt x="4281" y="1015"/>
                </a:cubicBezTo>
                <a:cubicBezTo>
                  <a:pt x="4307" y="1015"/>
                  <a:pt x="4333" y="986"/>
                  <a:pt x="4362" y="986"/>
                </a:cubicBezTo>
                <a:cubicBezTo>
                  <a:pt x="4365" y="985"/>
                  <a:pt x="4369" y="984"/>
                  <a:pt x="4372" y="984"/>
                </a:cubicBezTo>
                <a:cubicBezTo>
                  <a:pt x="4408" y="984"/>
                  <a:pt x="4445" y="1041"/>
                  <a:pt x="4469" y="1041"/>
                </a:cubicBezTo>
                <a:cubicBezTo>
                  <a:pt x="4495" y="1028"/>
                  <a:pt x="4524" y="999"/>
                  <a:pt x="4550" y="986"/>
                </a:cubicBezTo>
                <a:cubicBezTo>
                  <a:pt x="4570" y="986"/>
                  <a:pt x="4600" y="1004"/>
                  <a:pt x="4625" y="1004"/>
                </a:cubicBezTo>
                <a:cubicBezTo>
                  <a:pt x="4632" y="1004"/>
                  <a:pt x="4638" y="1002"/>
                  <a:pt x="4644" y="999"/>
                </a:cubicBezTo>
                <a:cubicBezTo>
                  <a:pt x="4686" y="999"/>
                  <a:pt x="4699" y="947"/>
                  <a:pt x="4725" y="947"/>
                </a:cubicBezTo>
                <a:cubicBezTo>
                  <a:pt x="4731" y="945"/>
                  <a:pt x="4737" y="944"/>
                  <a:pt x="4742" y="944"/>
                </a:cubicBezTo>
                <a:cubicBezTo>
                  <a:pt x="4769" y="944"/>
                  <a:pt x="4790" y="963"/>
                  <a:pt x="4815" y="963"/>
                </a:cubicBezTo>
                <a:cubicBezTo>
                  <a:pt x="4821" y="963"/>
                  <a:pt x="4826" y="962"/>
                  <a:pt x="4832" y="960"/>
                </a:cubicBezTo>
                <a:cubicBezTo>
                  <a:pt x="4861" y="960"/>
                  <a:pt x="4874" y="918"/>
                  <a:pt x="4913" y="905"/>
                </a:cubicBezTo>
                <a:cubicBezTo>
                  <a:pt x="4942" y="905"/>
                  <a:pt x="4968" y="892"/>
                  <a:pt x="4994" y="892"/>
                </a:cubicBezTo>
                <a:cubicBezTo>
                  <a:pt x="5003" y="888"/>
                  <a:pt x="5014" y="886"/>
                  <a:pt x="5025" y="886"/>
                </a:cubicBezTo>
                <a:cubicBezTo>
                  <a:pt x="5048" y="886"/>
                  <a:pt x="5071" y="892"/>
                  <a:pt x="5091" y="892"/>
                </a:cubicBezTo>
                <a:cubicBezTo>
                  <a:pt x="5130" y="879"/>
                  <a:pt x="5130" y="824"/>
                  <a:pt x="5156" y="811"/>
                </a:cubicBezTo>
                <a:cubicBezTo>
                  <a:pt x="5198" y="785"/>
                  <a:pt x="5198" y="756"/>
                  <a:pt x="5224" y="743"/>
                </a:cubicBezTo>
                <a:cubicBezTo>
                  <a:pt x="5253" y="717"/>
                  <a:pt x="5305" y="717"/>
                  <a:pt x="5305" y="691"/>
                </a:cubicBezTo>
                <a:cubicBezTo>
                  <a:pt x="5305" y="662"/>
                  <a:pt x="5266" y="649"/>
                  <a:pt x="5224" y="623"/>
                </a:cubicBezTo>
                <a:cubicBezTo>
                  <a:pt x="5211" y="610"/>
                  <a:pt x="5156" y="594"/>
                  <a:pt x="5130" y="581"/>
                </a:cubicBezTo>
                <a:cubicBezTo>
                  <a:pt x="5156" y="568"/>
                  <a:pt x="5211" y="568"/>
                  <a:pt x="5237" y="568"/>
                </a:cubicBezTo>
                <a:cubicBezTo>
                  <a:pt x="5266" y="568"/>
                  <a:pt x="5292" y="513"/>
                  <a:pt x="5318" y="513"/>
                </a:cubicBezTo>
                <a:cubicBezTo>
                  <a:pt x="5347" y="513"/>
                  <a:pt x="5373" y="529"/>
                  <a:pt x="5399" y="529"/>
                </a:cubicBezTo>
                <a:cubicBezTo>
                  <a:pt x="5441" y="513"/>
                  <a:pt x="5454" y="500"/>
                  <a:pt x="5480" y="487"/>
                </a:cubicBezTo>
                <a:cubicBezTo>
                  <a:pt x="5509" y="487"/>
                  <a:pt x="5535" y="474"/>
                  <a:pt x="5561" y="474"/>
                </a:cubicBezTo>
                <a:cubicBezTo>
                  <a:pt x="5575" y="470"/>
                  <a:pt x="5588" y="468"/>
                  <a:pt x="5601" y="468"/>
                </a:cubicBezTo>
                <a:cubicBezTo>
                  <a:pt x="5626" y="468"/>
                  <a:pt x="5647" y="474"/>
                  <a:pt x="5658" y="474"/>
                </a:cubicBezTo>
                <a:cubicBezTo>
                  <a:pt x="5697" y="461"/>
                  <a:pt x="5723" y="432"/>
                  <a:pt x="5739" y="419"/>
                </a:cubicBezTo>
                <a:cubicBezTo>
                  <a:pt x="5765" y="406"/>
                  <a:pt x="5804" y="351"/>
                  <a:pt x="5804" y="338"/>
                </a:cubicBezTo>
                <a:cubicBezTo>
                  <a:pt x="5804" y="312"/>
                  <a:pt x="5765" y="270"/>
                  <a:pt x="5723" y="244"/>
                </a:cubicBezTo>
                <a:cubicBezTo>
                  <a:pt x="5716" y="237"/>
                  <a:pt x="5703" y="237"/>
                  <a:pt x="5687" y="237"/>
                </a:cubicBezTo>
                <a:cubicBezTo>
                  <a:pt x="5670" y="237"/>
                  <a:pt x="5650" y="237"/>
                  <a:pt x="5629" y="231"/>
                </a:cubicBezTo>
                <a:cubicBezTo>
                  <a:pt x="5603" y="231"/>
                  <a:pt x="5577" y="244"/>
                  <a:pt x="5548" y="244"/>
                </a:cubicBezTo>
                <a:cubicBezTo>
                  <a:pt x="5522" y="231"/>
                  <a:pt x="5496" y="205"/>
                  <a:pt x="5467" y="205"/>
                </a:cubicBezTo>
                <a:cubicBezTo>
                  <a:pt x="5428" y="189"/>
                  <a:pt x="5415" y="150"/>
                  <a:pt x="5373" y="150"/>
                </a:cubicBezTo>
                <a:cubicBezTo>
                  <a:pt x="5347" y="150"/>
                  <a:pt x="5318" y="176"/>
                  <a:pt x="5292" y="176"/>
                </a:cubicBezTo>
                <a:cubicBezTo>
                  <a:pt x="5266" y="176"/>
                  <a:pt x="5244" y="182"/>
                  <a:pt x="5225" y="182"/>
                </a:cubicBezTo>
                <a:cubicBezTo>
                  <a:pt x="5215" y="182"/>
                  <a:pt x="5206" y="180"/>
                  <a:pt x="5198" y="176"/>
                </a:cubicBezTo>
                <a:lnTo>
                  <a:pt x="5104" y="176"/>
                </a:lnTo>
                <a:cubicBezTo>
                  <a:pt x="5075" y="176"/>
                  <a:pt x="5049" y="137"/>
                  <a:pt x="5023" y="137"/>
                </a:cubicBezTo>
                <a:cubicBezTo>
                  <a:pt x="4994" y="137"/>
                  <a:pt x="4955" y="163"/>
                  <a:pt x="4929" y="163"/>
                </a:cubicBezTo>
                <a:cubicBezTo>
                  <a:pt x="4900" y="163"/>
                  <a:pt x="4874" y="176"/>
                  <a:pt x="4848" y="176"/>
                </a:cubicBezTo>
                <a:cubicBezTo>
                  <a:pt x="4806" y="176"/>
                  <a:pt x="4780" y="124"/>
                  <a:pt x="4751" y="124"/>
                </a:cubicBezTo>
                <a:cubicBezTo>
                  <a:pt x="4725" y="124"/>
                  <a:pt x="4686" y="137"/>
                  <a:pt x="4657" y="137"/>
                </a:cubicBezTo>
                <a:cubicBezTo>
                  <a:pt x="4631" y="150"/>
                  <a:pt x="4605" y="163"/>
                  <a:pt x="4576" y="163"/>
                </a:cubicBezTo>
                <a:cubicBezTo>
                  <a:pt x="4568" y="166"/>
                  <a:pt x="4561" y="167"/>
                  <a:pt x="4554" y="167"/>
                </a:cubicBezTo>
                <a:cubicBezTo>
                  <a:pt x="4525" y="167"/>
                  <a:pt x="4503" y="150"/>
                  <a:pt x="4482" y="150"/>
                </a:cubicBezTo>
                <a:cubicBezTo>
                  <a:pt x="4456" y="150"/>
                  <a:pt x="4427" y="163"/>
                  <a:pt x="4388" y="163"/>
                </a:cubicBezTo>
                <a:cubicBezTo>
                  <a:pt x="4362" y="176"/>
                  <a:pt x="4333" y="205"/>
                  <a:pt x="4307" y="218"/>
                </a:cubicBezTo>
                <a:cubicBezTo>
                  <a:pt x="4281" y="218"/>
                  <a:pt x="4239" y="163"/>
                  <a:pt x="4213" y="163"/>
                </a:cubicBezTo>
                <a:cubicBezTo>
                  <a:pt x="4184" y="163"/>
                  <a:pt x="4158" y="189"/>
                  <a:pt x="4132" y="205"/>
                </a:cubicBezTo>
                <a:cubicBezTo>
                  <a:pt x="4090" y="205"/>
                  <a:pt x="4077" y="244"/>
                  <a:pt x="4051" y="244"/>
                </a:cubicBezTo>
                <a:cubicBezTo>
                  <a:pt x="4042" y="247"/>
                  <a:pt x="4035" y="248"/>
                  <a:pt x="4027" y="248"/>
                </a:cubicBezTo>
                <a:cubicBezTo>
                  <a:pt x="3998" y="248"/>
                  <a:pt x="3978" y="231"/>
                  <a:pt x="3957" y="231"/>
                </a:cubicBezTo>
                <a:cubicBezTo>
                  <a:pt x="3915" y="231"/>
                  <a:pt x="3902" y="286"/>
                  <a:pt x="3876" y="299"/>
                </a:cubicBezTo>
                <a:cubicBezTo>
                  <a:pt x="3847" y="299"/>
                  <a:pt x="3795" y="257"/>
                  <a:pt x="3779" y="257"/>
                </a:cubicBezTo>
                <a:cubicBezTo>
                  <a:pt x="3740" y="270"/>
                  <a:pt x="3714" y="299"/>
                  <a:pt x="3698" y="312"/>
                </a:cubicBezTo>
                <a:cubicBezTo>
                  <a:pt x="3659" y="325"/>
                  <a:pt x="3646" y="351"/>
                  <a:pt x="3617" y="367"/>
                </a:cubicBezTo>
                <a:cubicBezTo>
                  <a:pt x="3591" y="380"/>
                  <a:pt x="3604" y="406"/>
                  <a:pt x="3604" y="432"/>
                </a:cubicBezTo>
                <a:cubicBezTo>
                  <a:pt x="3604" y="448"/>
                  <a:pt x="3591" y="474"/>
                  <a:pt x="3591" y="487"/>
                </a:cubicBezTo>
                <a:cubicBezTo>
                  <a:pt x="3565" y="487"/>
                  <a:pt x="3510" y="432"/>
                  <a:pt x="3484" y="432"/>
                </a:cubicBezTo>
                <a:cubicBezTo>
                  <a:pt x="3455" y="432"/>
                  <a:pt x="3429" y="500"/>
                  <a:pt x="3403" y="513"/>
                </a:cubicBezTo>
                <a:cubicBezTo>
                  <a:pt x="3361" y="513"/>
                  <a:pt x="3335" y="474"/>
                  <a:pt x="3293" y="474"/>
                </a:cubicBezTo>
                <a:lnTo>
                  <a:pt x="3212" y="474"/>
                </a:lnTo>
                <a:cubicBezTo>
                  <a:pt x="3212" y="448"/>
                  <a:pt x="3173" y="461"/>
                  <a:pt x="3131" y="432"/>
                </a:cubicBezTo>
                <a:cubicBezTo>
                  <a:pt x="3118" y="419"/>
                  <a:pt x="3092" y="406"/>
                  <a:pt x="3066" y="393"/>
                </a:cubicBezTo>
                <a:cubicBezTo>
                  <a:pt x="3037" y="393"/>
                  <a:pt x="3011" y="338"/>
                  <a:pt x="2985" y="338"/>
                </a:cubicBezTo>
                <a:cubicBezTo>
                  <a:pt x="2956" y="325"/>
                  <a:pt x="2917" y="325"/>
                  <a:pt x="2888" y="325"/>
                </a:cubicBezTo>
                <a:lnTo>
                  <a:pt x="2794" y="325"/>
                </a:lnTo>
                <a:cubicBezTo>
                  <a:pt x="2768" y="325"/>
                  <a:pt x="2742" y="270"/>
                  <a:pt x="2700" y="270"/>
                </a:cubicBezTo>
                <a:cubicBezTo>
                  <a:pt x="2674" y="270"/>
                  <a:pt x="2645" y="286"/>
                  <a:pt x="2606" y="286"/>
                </a:cubicBezTo>
                <a:cubicBezTo>
                  <a:pt x="2580" y="286"/>
                  <a:pt x="2538" y="325"/>
                  <a:pt x="2512" y="325"/>
                </a:cubicBezTo>
                <a:cubicBezTo>
                  <a:pt x="2483" y="312"/>
                  <a:pt x="2457" y="286"/>
                  <a:pt x="2418" y="286"/>
                </a:cubicBezTo>
                <a:cubicBezTo>
                  <a:pt x="2389" y="286"/>
                  <a:pt x="2363" y="299"/>
                  <a:pt x="2321" y="299"/>
                </a:cubicBezTo>
                <a:cubicBezTo>
                  <a:pt x="2295" y="299"/>
                  <a:pt x="2282" y="286"/>
                  <a:pt x="2256" y="286"/>
                </a:cubicBezTo>
                <a:cubicBezTo>
                  <a:pt x="2282" y="257"/>
                  <a:pt x="2282" y="244"/>
                  <a:pt x="2282" y="231"/>
                </a:cubicBezTo>
                <a:cubicBezTo>
                  <a:pt x="2282" y="205"/>
                  <a:pt x="2240" y="205"/>
                  <a:pt x="2201" y="176"/>
                </a:cubicBezTo>
                <a:cubicBezTo>
                  <a:pt x="2188" y="163"/>
                  <a:pt x="2159" y="163"/>
                  <a:pt x="2120" y="150"/>
                </a:cubicBezTo>
                <a:cubicBezTo>
                  <a:pt x="2107" y="150"/>
                  <a:pt x="2094" y="69"/>
                  <a:pt x="2052" y="69"/>
                </a:cubicBezTo>
                <a:cubicBezTo>
                  <a:pt x="2048" y="67"/>
                  <a:pt x="2044" y="66"/>
                  <a:pt x="2040" y="66"/>
                </a:cubicBezTo>
                <a:cubicBezTo>
                  <a:pt x="2014" y="66"/>
                  <a:pt x="1980" y="95"/>
                  <a:pt x="1958" y="95"/>
                </a:cubicBezTo>
                <a:cubicBezTo>
                  <a:pt x="1952" y="92"/>
                  <a:pt x="1947" y="91"/>
                  <a:pt x="1941" y="91"/>
                </a:cubicBezTo>
                <a:cubicBezTo>
                  <a:pt x="1925" y="91"/>
                  <a:pt x="1908" y="99"/>
                  <a:pt x="1887" y="99"/>
                </a:cubicBezTo>
                <a:cubicBezTo>
                  <a:pt x="1880" y="99"/>
                  <a:pt x="1872" y="98"/>
                  <a:pt x="1864" y="95"/>
                </a:cubicBezTo>
                <a:cubicBezTo>
                  <a:pt x="1835" y="95"/>
                  <a:pt x="1822" y="43"/>
                  <a:pt x="1783" y="27"/>
                </a:cubicBezTo>
                <a:cubicBezTo>
                  <a:pt x="1754" y="27"/>
                  <a:pt x="1728" y="82"/>
                  <a:pt x="1689" y="82"/>
                </a:cubicBezTo>
                <a:cubicBezTo>
                  <a:pt x="1660" y="82"/>
                  <a:pt x="1634" y="43"/>
                  <a:pt x="1608" y="43"/>
                </a:cubicBezTo>
                <a:cubicBezTo>
                  <a:pt x="1579" y="43"/>
                  <a:pt x="1553" y="69"/>
                  <a:pt x="1511" y="69"/>
                </a:cubicBezTo>
                <a:cubicBezTo>
                  <a:pt x="1485" y="69"/>
                  <a:pt x="1459" y="1"/>
                  <a:pt x="143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6" name="Google Shape;626;p26"/>
          <p:cNvSpPr/>
          <p:nvPr/>
        </p:nvSpPr>
        <p:spPr>
          <a:xfrm>
            <a:off x="1529953" y="5941565"/>
            <a:ext cx="564468" cy="79905"/>
          </a:xfrm>
          <a:custGeom>
            <a:avLst/>
            <a:gdLst/>
            <a:ahLst/>
            <a:cxnLst/>
            <a:rect l="l" t="t" r="r" b="b"/>
            <a:pathLst>
              <a:path w="2282" h="525" extrusionOk="0">
                <a:moveTo>
                  <a:pt x="973" y="0"/>
                </a:moveTo>
                <a:cubicBezTo>
                  <a:pt x="944" y="0"/>
                  <a:pt x="918" y="13"/>
                  <a:pt x="876" y="13"/>
                </a:cubicBezTo>
                <a:lnTo>
                  <a:pt x="795" y="13"/>
                </a:lnTo>
                <a:cubicBezTo>
                  <a:pt x="756" y="13"/>
                  <a:pt x="730" y="39"/>
                  <a:pt x="701" y="39"/>
                </a:cubicBezTo>
                <a:cubicBezTo>
                  <a:pt x="675" y="39"/>
                  <a:pt x="649" y="26"/>
                  <a:pt x="607" y="26"/>
                </a:cubicBezTo>
                <a:cubicBezTo>
                  <a:pt x="581" y="26"/>
                  <a:pt x="552" y="68"/>
                  <a:pt x="526" y="68"/>
                </a:cubicBezTo>
                <a:cubicBezTo>
                  <a:pt x="524" y="69"/>
                  <a:pt x="521" y="70"/>
                  <a:pt x="519" y="70"/>
                </a:cubicBezTo>
                <a:cubicBezTo>
                  <a:pt x="495" y="70"/>
                  <a:pt x="463" y="24"/>
                  <a:pt x="439" y="24"/>
                </a:cubicBezTo>
                <a:cubicBezTo>
                  <a:pt x="437" y="24"/>
                  <a:pt x="434" y="25"/>
                  <a:pt x="432" y="26"/>
                </a:cubicBezTo>
                <a:cubicBezTo>
                  <a:pt x="406" y="26"/>
                  <a:pt x="364" y="26"/>
                  <a:pt x="338" y="39"/>
                </a:cubicBezTo>
                <a:cubicBezTo>
                  <a:pt x="309" y="39"/>
                  <a:pt x="296" y="107"/>
                  <a:pt x="270" y="120"/>
                </a:cubicBezTo>
                <a:cubicBezTo>
                  <a:pt x="242" y="120"/>
                  <a:pt x="221" y="114"/>
                  <a:pt x="202" y="114"/>
                </a:cubicBezTo>
                <a:cubicBezTo>
                  <a:pt x="193" y="114"/>
                  <a:pt x="185" y="116"/>
                  <a:pt x="176" y="120"/>
                </a:cubicBezTo>
                <a:cubicBezTo>
                  <a:pt x="148" y="120"/>
                  <a:pt x="121" y="114"/>
                  <a:pt x="103" y="114"/>
                </a:cubicBezTo>
                <a:cubicBezTo>
                  <a:pt x="93" y="114"/>
                  <a:pt x="86" y="116"/>
                  <a:pt x="82" y="120"/>
                </a:cubicBezTo>
                <a:cubicBezTo>
                  <a:pt x="40" y="149"/>
                  <a:pt x="1" y="188"/>
                  <a:pt x="1" y="214"/>
                </a:cubicBezTo>
                <a:cubicBezTo>
                  <a:pt x="1" y="243"/>
                  <a:pt x="53" y="256"/>
                  <a:pt x="95" y="282"/>
                </a:cubicBezTo>
                <a:cubicBezTo>
                  <a:pt x="108" y="295"/>
                  <a:pt x="121" y="337"/>
                  <a:pt x="147" y="350"/>
                </a:cubicBezTo>
                <a:cubicBezTo>
                  <a:pt x="176" y="363"/>
                  <a:pt x="202" y="376"/>
                  <a:pt x="244" y="392"/>
                </a:cubicBezTo>
                <a:cubicBezTo>
                  <a:pt x="265" y="392"/>
                  <a:pt x="295" y="373"/>
                  <a:pt x="321" y="373"/>
                </a:cubicBezTo>
                <a:cubicBezTo>
                  <a:pt x="327" y="373"/>
                  <a:pt x="333" y="373"/>
                  <a:pt x="338" y="376"/>
                </a:cubicBezTo>
                <a:cubicBezTo>
                  <a:pt x="364" y="376"/>
                  <a:pt x="390" y="392"/>
                  <a:pt x="419" y="392"/>
                </a:cubicBezTo>
                <a:cubicBezTo>
                  <a:pt x="424" y="395"/>
                  <a:pt x="429" y="395"/>
                  <a:pt x="435" y="395"/>
                </a:cubicBezTo>
                <a:cubicBezTo>
                  <a:pt x="453" y="395"/>
                  <a:pt x="475" y="387"/>
                  <a:pt x="493" y="387"/>
                </a:cubicBezTo>
                <a:cubicBezTo>
                  <a:pt x="500" y="387"/>
                  <a:pt x="507" y="388"/>
                  <a:pt x="513" y="392"/>
                </a:cubicBezTo>
                <a:cubicBezTo>
                  <a:pt x="539" y="392"/>
                  <a:pt x="568" y="405"/>
                  <a:pt x="607" y="418"/>
                </a:cubicBezTo>
                <a:cubicBezTo>
                  <a:pt x="633" y="418"/>
                  <a:pt x="662" y="431"/>
                  <a:pt x="688" y="431"/>
                </a:cubicBezTo>
                <a:cubicBezTo>
                  <a:pt x="705" y="431"/>
                  <a:pt x="724" y="425"/>
                  <a:pt x="746" y="425"/>
                </a:cubicBezTo>
                <a:cubicBezTo>
                  <a:pt x="757" y="425"/>
                  <a:pt x="769" y="427"/>
                  <a:pt x="782" y="431"/>
                </a:cubicBezTo>
                <a:cubicBezTo>
                  <a:pt x="811" y="431"/>
                  <a:pt x="837" y="499"/>
                  <a:pt x="863" y="512"/>
                </a:cubicBezTo>
                <a:lnTo>
                  <a:pt x="944" y="512"/>
                </a:lnTo>
                <a:cubicBezTo>
                  <a:pt x="986" y="512"/>
                  <a:pt x="1012" y="486"/>
                  <a:pt x="1038" y="486"/>
                </a:cubicBezTo>
                <a:lnTo>
                  <a:pt x="1135" y="486"/>
                </a:lnTo>
                <a:cubicBezTo>
                  <a:pt x="1161" y="486"/>
                  <a:pt x="1187" y="457"/>
                  <a:pt x="1229" y="457"/>
                </a:cubicBezTo>
                <a:cubicBezTo>
                  <a:pt x="1255" y="457"/>
                  <a:pt x="1281" y="525"/>
                  <a:pt x="1310" y="525"/>
                </a:cubicBezTo>
                <a:cubicBezTo>
                  <a:pt x="1349" y="525"/>
                  <a:pt x="1378" y="512"/>
                  <a:pt x="1404" y="512"/>
                </a:cubicBezTo>
                <a:lnTo>
                  <a:pt x="1498" y="512"/>
                </a:lnTo>
                <a:cubicBezTo>
                  <a:pt x="1524" y="499"/>
                  <a:pt x="1553" y="486"/>
                  <a:pt x="1579" y="486"/>
                </a:cubicBezTo>
                <a:cubicBezTo>
                  <a:pt x="1605" y="486"/>
                  <a:pt x="1647" y="473"/>
                  <a:pt x="1673" y="473"/>
                </a:cubicBezTo>
                <a:cubicBezTo>
                  <a:pt x="1702" y="473"/>
                  <a:pt x="1728" y="457"/>
                  <a:pt x="1754" y="457"/>
                </a:cubicBezTo>
                <a:cubicBezTo>
                  <a:pt x="1796" y="457"/>
                  <a:pt x="1822" y="444"/>
                  <a:pt x="1848" y="444"/>
                </a:cubicBezTo>
                <a:cubicBezTo>
                  <a:pt x="1877" y="431"/>
                  <a:pt x="1903" y="418"/>
                  <a:pt x="1929" y="418"/>
                </a:cubicBezTo>
                <a:cubicBezTo>
                  <a:pt x="1932" y="417"/>
                  <a:pt x="1935" y="416"/>
                  <a:pt x="1939" y="416"/>
                </a:cubicBezTo>
                <a:cubicBezTo>
                  <a:pt x="1963" y="416"/>
                  <a:pt x="1992" y="446"/>
                  <a:pt x="2016" y="446"/>
                </a:cubicBezTo>
                <a:cubicBezTo>
                  <a:pt x="2019" y="446"/>
                  <a:pt x="2023" y="445"/>
                  <a:pt x="2026" y="444"/>
                </a:cubicBezTo>
                <a:lnTo>
                  <a:pt x="2120" y="444"/>
                </a:lnTo>
                <a:cubicBezTo>
                  <a:pt x="2159" y="431"/>
                  <a:pt x="2172" y="376"/>
                  <a:pt x="2188" y="363"/>
                </a:cubicBezTo>
                <a:cubicBezTo>
                  <a:pt x="2227" y="350"/>
                  <a:pt x="2282" y="337"/>
                  <a:pt x="2282" y="311"/>
                </a:cubicBezTo>
                <a:cubicBezTo>
                  <a:pt x="2282" y="282"/>
                  <a:pt x="2227" y="256"/>
                  <a:pt x="2201" y="243"/>
                </a:cubicBezTo>
                <a:cubicBezTo>
                  <a:pt x="2188" y="230"/>
                  <a:pt x="2146" y="214"/>
                  <a:pt x="2120" y="201"/>
                </a:cubicBezTo>
                <a:cubicBezTo>
                  <a:pt x="2091" y="188"/>
                  <a:pt x="2065" y="188"/>
                  <a:pt x="2039" y="175"/>
                </a:cubicBezTo>
                <a:cubicBezTo>
                  <a:pt x="2029" y="171"/>
                  <a:pt x="2018" y="169"/>
                  <a:pt x="2007" y="169"/>
                </a:cubicBezTo>
                <a:cubicBezTo>
                  <a:pt x="1985" y="169"/>
                  <a:pt x="1962" y="175"/>
                  <a:pt x="1945" y="175"/>
                </a:cubicBezTo>
                <a:cubicBezTo>
                  <a:pt x="1916" y="162"/>
                  <a:pt x="1903" y="120"/>
                  <a:pt x="1864" y="107"/>
                </a:cubicBezTo>
                <a:cubicBezTo>
                  <a:pt x="1835" y="107"/>
                  <a:pt x="1809" y="107"/>
                  <a:pt x="1783" y="94"/>
                </a:cubicBezTo>
                <a:cubicBezTo>
                  <a:pt x="1754" y="94"/>
                  <a:pt x="1728" y="52"/>
                  <a:pt x="1686" y="52"/>
                </a:cubicBezTo>
                <a:lnTo>
                  <a:pt x="1605" y="52"/>
                </a:lnTo>
                <a:cubicBezTo>
                  <a:pt x="1579" y="52"/>
                  <a:pt x="1540" y="94"/>
                  <a:pt x="1511" y="94"/>
                </a:cubicBezTo>
                <a:cubicBezTo>
                  <a:pt x="1472" y="94"/>
                  <a:pt x="1459" y="52"/>
                  <a:pt x="1417" y="52"/>
                </a:cubicBezTo>
                <a:cubicBezTo>
                  <a:pt x="1391" y="52"/>
                  <a:pt x="1362" y="52"/>
                  <a:pt x="1336" y="39"/>
                </a:cubicBezTo>
                <a:cubicBezTo>
                  <a:pt x="1297" y="39"/>
                  <a:pt x="1268" y="68"/>
                  <a:pt x="1242" y="68"/>
                </a:cubicBezTo>
                <a:cubicBezTo>
                  <a:pt x="1216" y="68"/>
                  <a:pt x="1187" y="26"/>
                  <a:pt x="1148" y="13"/>
                </a:cubicBezTo>
                <a:cubicBezTo>
                  <a:pt x="1119" y="13"/>
                  <a:pt x="1093" y="0"/>
                  <a:pt x="1067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7" name="Google Shape;627;p26"/>
          <p:cNvSpPr/>
          <p:nvPr/>
        </p:nvSpPr>
        <p:spPr>
          <a:xfrm>
            <a:off x="1465273" y="6086372"/>
            <a:ext cx="1129431" cy="170771"/>
          </a:xfrm>
          <a:custGeom>
            <a:avLst/>
            <a:gdLst/>
            <a:ahLst/>
            <a:cxnLst/>
            <a:rect l="l" t="t" r="r" b="b"/>
            <a:pathLst>
              <a:path w="4566" h="1122" extrusionOk="0">
                <a:moveTo>
                  <a:pt x="2201" y="1"/>
                </a:moveTo>
                <a:cubicBezTo>
                  <a:pt x="2162" y="1"/>
                  <a:pt x="2120" y="17"/>
                  <a:pt x="2081" y="17"/>
                </a:cubicBezTo>
                <a:cubicBezTo>
                  <a:pt x="2039" y="17"/>
                  <a:pt x="2013" y="111"/>
                  <a:pt x="1974" y="111"/>
                </a:cubicBezTo>
                <a:cubicBezTo>
                  <a:pt x="1965" y="114"/>
                  <a:pt x="1956" y="115"/>
                  <a:pt x="1948" y="115"/>
                </a:cubicBezTo>
                <a:cubicBezTo>
                  <a:pt x="1924" y="115"/>
                  <a:pt x="1903" y="107"/>
                  <a:pt x="1883" y="107"/>
                </a:cubicBezTo>
                <a:cubicBezTo>
                  <a:pt x="1877" y="107"/>
                  <a:pt x="1870" y="108"/>
                  <a:pt x="1864" y="111"/>
                </a:cubicBezTo>
                <a:cubicBezTo>
                  <a:pt x="1853" y="114"/>
                  <a:pt x="1842" y="115"/>
                  <a:pt x="1831" y="115"/>
                </a:cubicBezTo>
                <a:cubicBezTo>
                  <a:pt x="1801" y="115"/>
                  <a:pt x="1772" y="107"/>
                  <a:pt x="1751" y="107"/>
                </a:cubicBezTo>
                <a:cubicBezTo>
                  <a:pt x="1743" y="107"/>
                  <a:pt x="1736" y="108"/>
                  <a:pt x="1731" y="111"/>
                </a:cubicBezTo>
                <a:cubicBezTo>
                  <a:pt x="1689" y="137"/>
                  <a:pt x="1634" y="192"/>
                  <a:pt x="1634" y="218"/>
                </a:cubicBezTo>
                <a:cubicBezTo>
                  <a:pt x="1621" y="260"/>
                  <a:pt x="1702" y="286"/>
                  <a:pt x="1744" y="312"/>
                </a:cubicBezTo>
                <a:cubicBezTo>
                  <a:pt x="1744" y="325"/>
                  <a:pt x="1757" y="341"/>
                  <a:pt x="1770" y="354"/>
                </a:cubicBezTo>
                <a:lnTo>
                  <a:pt x="1744" y="354"/>
                </a:lnTo>
                <a:cubicBezTo>
                  <a:pt x="1702" y="354"/>
                  <a:pt x="1650" y="325"/>
                  <a:pt x="1595" y="325"/>
                </a:cubicBezTo>
                <a:lnTo>
                  <a:pt x="1446" y="325"/>
                </a:lnTo>
                <a:cubicBezTo>
                  <a:pt x="1407" y="325"/>
                  <a:pt x="1352" y="393"/>
                  <a:pt x="1310" y="393"/>
                </a:cubicBezTo>
                <a:cubicBezTo>
                  <a:pt x="1261" y="393"/>
                  <a:pt x="1210" y="311"/>
                  <a:pt x="1158" y="311"/>
                </a:cubicBezTo>
                <a:cubicBezTo>
                  <a:pt x="1155" y="311"/>
                  <a:pt x="1151" y="311"/>
                  <a:pt x="1148" y="312"/>
                </a:cubicBezTo>
                <a:cubicBezTo>
                  <a:pt x="1113" y="312"/>
                  <a:pt x="1077" y="306"/>
                  <a:pt x="1045" y="306"/>
                </a:cubicBezTo>
                <a:cubicBezTo>
                  <a:pt x="1030" y="306"/>
                  <a:pt x="1015" y="308"/>
                  <a:pt x="1002" y="312"/>
                </a:cubicBezTo>
                <a:cubicBezTo>
                  <a:pt x="947" y="312"/>
                  <a:pt x="905" y="367"/>
                  <a:pt x="853" y="380"/>
                </a:cubicBezTo>
                <a:cubicBezTo>
                  <a:pt x="798" y="380"/>
                  <a:pt x="759" y="380"/>
                  <a:pt x="704" y="393"/>
                </a:cubicBezTo>
                <a:cubicBezTo>
                  <a:pt x="649" y="393"/>
                  <a:pt x="623" y="461"/>
                  <a:pt x="568" y="474"/>
                </a:cubicBezTo>
                <a:cubicBezTo>
                  <a:pt x="557" y="477"/>
                  <a:pt x="546" y="478"/>
                  <a:pt x="535" y="478"/>
                </a:cubicBezTo>
                <a:cubicBezTo>
                  <a:pt x="504" y="478"/>
                  <a:pt x="474" y="470"/>
                  <a:pt x="447" y="470"/>
                </a:cubicBezTo>
                <a:cubicBezTo>
                  <a:pt x="437" y="470"/>
                  <a:pt x="428" y="471"/>
                  <a:pt x="419" y="474"/>
                </a:cubicBezTo>
                <a:cubicBezTo>
                  <a:pt x="367" y="487"/>
                  <a:pt x="325" y="503"/>
                  <a:pt x="273" y="516"/>
                </a:cubicBezTo>
                <a:cubicBezTo>
                  <a:pt x="218" y="542"/>
                  <a:pt x="176" y="555"/>
                  <a:pt x="137" y="568"/>
                </a:cubicBezTo>
                <a:cubicBezTo>
                  <a:pt x="82" y="610"/>
                  <a:pt x="1" y="649"/>
                  <a:pt x="1" y="691"/>
                </a:cubicBezTo>
                <a:cubicBezTo>
                  <a:pt x="1" y="730"/>
                  <a:pt x="95" y="746"/>
                  <a:pt x="150" y="785"/>
                </a:cubicBezTo>
                <a:cubicBezTo>
                  <a:pt x="176" y="811"/>
                  <a:pt x="205" y="892"/>
                  <a:pt x="257" y="921"/>
                </a:cubicBezTo>
                <a:cubicBezTo>
                  <a:pt x="278" y="927"/>
                  <a:pt x="302" y="927"/>
                  <a:pt x="328" y="927"/>
                </a:cubicBezTo>
                <a:cubicBezTo>
                  <a:pt x="353" y="927"/>
                  <a:pt x="380" y="927"/>
                  <a:pt x="406" y="934"/>
                </a:cubicBezTo>
                <a:cubicBezTo>
                  <a:pt x="409" y="935"/>
                  <a:pt x="413" y="936"/>
                  <a:pt x="417" y="936"/>
                </a:cubicBezTo>
                <a:cubicBezTo>
                  <a:pt x="456" y="936"/>
                  <a:pt x="509" y="890"/>
                  <a:pt x="554" y="890"/>
                </a:cubicBezTo>
                <a:cubicBezTo>
                  <a:pt x="559" y="890"/>
                  <a:pt x="563" y="891"/>
                  <a:pt x="568" y="892"/>
                </a:cubicBezTo>
                <a:cubicBezTo>
                  <a:pt x="623" y="892"/>
                  <a:pt x="662" y="921"/>
                  <a:pt x="717" y="934"/>
                </a:cubicBezTo>
                <a:cubicBezTo>
                  <a:pt x="759" y="947"/>
                  <a:pt x="811" y="960"/>
                  <a:pt x="853" y="973"/>
                </a:cubicBezTo>
                <a:cubicBezTo>
                  <a:pt x="905" y="973"/>
                  <a:pt x="947" y="989"/>
                  <a:pt x="1002" y="1002"/>
                </a:cubicBezTo>
                <a:cubicBezTo>
                  <a:pt x="1054" y="1002"/>
                  <a:pt x="1096" y="1028"/>
                  <a:pt x="1148" y="1028"/>
                </a:cubicBezTo>
                <a:cubicBezTo>
                  <a:pt x="1203" y="1041"/>
                  <a:pt x="1245" y="1070"/>
                  <a:pt x="1297" y="1070"/>
                </a:cubicBezTo>
                <a:cubicBezTo>
                  <a:pt x="1339" y="1083"/>
                  <a:pt x="1391" y="1083"/>
                  <a:pt x="1446" y="1083"/>
                </a:cubicBezTo>
                <a:cubicBezTo>
                  <a:pt x="1488" y="1096"/>
                  <a:pt x="1540" y="1122"/>
                  <a:pt x="1595" y="1122"/>
                </a:cubicBezTo>
                <a:cubicBezTo>
                  <a:pt x="1634" y="1122"/>
                  <a:pt x="1689" y="1015"/>
                  <a:pt x="1744" y="1015"/>
                </a:cubicBezTo>
                <a:cubicBezTo>
                  <a:pt x="1796" y="1015"/>
                  <a:pt x="1838" y="1070"/>
                  <a:pt x="1893" y="1070"/>
                </a:cubicBezTo>
                <a:cubicBezTo>
                  <a:pt x="1945" y="1070"/>
                  <a:pt x="2000" y="1083"/>
                  <a:pt x="2039" y="1083"/>
                </a:cubicBezTo>
                <a:cubicBezTo>
                  <a:pt x="2094" y="1083"/>
                  <a:pt x="2149" y="1122"/>
                  <a:pt x="2188" y="1122"/>
                </a:cubicBezTo>
                <a:lnTo>
                  <a:pt x="2337" y="1122"/>
                </a:lnTo>
                <a:cubicBezTo>
                  <a:pt x="2392" y="1122"/>
                  <a:pt x="2431" y="1002"/>
                  <a:pt x="2486" y="1002"/>
                </a:cubicBezTo>
                <a:cubicBezTo>
                  <a:pt x="2541" y="1002"/>
                  <a:pt x="2593" y="1015"/>
                  <a:pt x="2635" y="1015"/>
                </a:cubicBezTo>
                <a:cubicBezTo>
                  <a:pt x="2687" y="1015"/>
                  <a:pt x="2729" y="1002"/>
                  <a:pt x="2784" y="989"/>
                </a:cubicBezTo>
                <a:cubicBezTo>
                  <a:pt x="2836" y="989"/>
                  <a:pt x="2878" y="960"/>
                  <a:pt x="2930" y="960"/>
                </a:cubicBezTo>
                <a:cubicBezTo>
                  <a:pt x="2941" y="957"/>
                  <a:pt x="2951" y="956"/>
                  <a:pt x="2961" y="956"/>
                </a:cubicBezTo>
                <a:cubicBezTo>
                  <a:pt x="3002" y="956"/>
                  <a:pt x="3037" y="973"/>
                  <a:pt x="3079" y="973"/>
                </a:cubicBezTo>
                <a:cubicBezTo>
                  <a:pt x="3134" y="960"/>
                  <a:pt x="3173" y="947"/>
                  <a:pt x="3228" y="947"/>
                </a:cubicBezTo>
                <a:cubicBezTo>
                  <a:pt x="3234" y="946"/>
                  <a:pt x="3240" y="945"/>
                  <a:pt x="3245" y="945"/>
                </a:cubicBezTo>
                <a:cubicBezTo>
                  <a:pt x="3287" y="945"/>
                  <a:pt x="3327" y="976"/>
                  <a:pt x="3368" y="976"/>
                </a:cubicBezTo>
                <a:cubicBezTo>
                  <a:pt x="3376" y="976"/>
                  <a:pt x="3383" y="975"/>
                  <a:pt x="3390" y="973"/>
                </a:cubicBezTo>
                <a:cubicBezTo>
                  <a:pt x="3445" y="960"/>
                  <a:pt x="3484" y="934"/>
                  <a:pt x="3526" y="921"/>
                </a:cubicBezTo>
                <a:cubicBezTo>
                  <a:pt x="3578" y="908"/>
                  <a:pt x="3607" y="840"/>
                  <a:pt x="3646" y="811"/>
                </a:cubicBezTo>
                <a:cubicBezTo>
                  <a:pt x="3701" y="772"/>
                  <a:pt x="3795" y="746"/>
                  <a:pt x="3795" y="704"/>
                </a:cubicBezTo>
                <a:cubicBezTo>
                  <a:pt x="3795" y="691"/>
                  <a:pt x="3782" y="678"/>
                  <a:pt x="3769" y="649"/>
                </a:cubicBezTo>
                <a:lnTo>
                  <a:pt x="3876" y="649"/>
                </a:lnTo>
                <a:cubicBezTo>
                  <a:pt x="3918" y="636"/>
                  <a:pt x="3957" y="636"/>
                  <a:pt x="3999" y="623"/>
                </a:cubicBezTo>
                <a:cubicBezTo>
                  <a:pt x="4038" y="623"/>
                  <a:pt x="4064" y="610"/>
                  <a:pt x="4106" y="610"/>
                </a:cubicBezTo>
                <a:cubicBezTo>
                  <a:pt x="4109" y="609"/>
                  <a:pt x="4113" y="608"/>
                  <a:pt x="4116" y="608"/>
                </a:cubicBezTo>
                <a:cubicBezTo>
                  <a:pt x="4148" y="608"/>
                  <a:pt x="4181" y="651"/>
                  <a:pt x="4213" y="651"/>
                </a:cubicBezTo>
                <a:cubicBezTo>
                  <a:pt x="4217" y="651"/>
                  <a:pt x="4222" y="651"/>
                  <a:pt x="4226" y="649"/>
                </a:cubicBezTo>
                <a:cubicBezTo>
                  <a:pt x="4254" y="649"/>
                  <a:pt x="4288" y="656"/>
                  <a:pt x="4315" y="656"/>
                </a:cubicBezTo>
                <a:cubicBezTo>
                  <a:pt x="4328" y="656"/>
                  <a:pt x="4340" y="654"/>
                  <a:pt x="4349" y="649"/>
                </a:cubicBezTo>
                <a:cubicBezTo>
                  <a:pt x="4388" y="636"/>
                  <a:pt x="4417" y="568"/>
                  <a:pt x="4443" y="555"/>
                </a:cubicBezTo>
                <a:cubicBezTo>
                  <a:pt x="4485" y="529"/>
                  <a:pt x="4566" y="516"/>
                  <a:pt x="4566" y="487"/>
                </a:cubicBezTo>
                <a:cubicBezTo>
                  <a:pt x="4566" y="461"/>
                  <a:pt x="4498" y="422"/>
                  <a:pt x="4456" y="393"/>
                </a:cubicBezTo>
                <a:cubicBezTo>
                  <a:pt x="4430" y="367"/>
                  <a:pt x="4404" y="354"/>
                  <a:pt x="4362" y="341"/>
                </a:cubicBezTo>
                <a:cubicBezTo>
                  <a:pt x="4336" y="325"/>
                  <a:pt x="4294" y="312"/>
                  <a:pt x="4255" y="299"/>
                </a:cubicBezTo>
                <a:cubicBezTo>
                  <a:pt x="4234" y="292"/>
                  <a:pt x="4214" y="292"/>
                  <a:pt x="4193" y="292"/>
                </a:cubicBezTo>
                <a:cubicBezTo>
                  <a:pt x="4173" y="292"/>
                  <a:pt x="4153" y="292"/>
                  <a:pt x="4132" y="286"/>
                </a:cubicBezTo>
                <a:cubicBezTo>
                  <a:pt x="4106" y="273"/>
                  <a:pt x="4080" y="218"/>
                  <a:pt x="4038" y="205"/>
                </a:cubicBezTo>
                <a:cubicBezTo>
                  <a:pt x="3999" y="192"/>
                  <a:pt x="3970" y="192"/>
                  <a:pt x="3931" y="192"/>
                </a:cubicBezTo>
                <a:cubicBezTo>
                  <a:pt x="3889" y="179"/>
                  <a:pt x="3863" y="137"/>
                  <a:pt x="3821" y="124"/>
                </a:cubicBezTo>
                <a:cubicBezTo>
                  <a:pt x="3801" y="117"/>
                  <a:pt x="3781" y="117"/>
                  <a:pt x="3761" y="117"/>
                </a:cubicBezTo>
                <a:cubicBezTo>
                  <a:pt x="3741" y="117"/>
                  <a:pt x="3720" y="117"/>
                  <a:pt x="3701" y="111"/>
                </a:cubicBezTo>
                <a:cubicBezTo>
                  <a:pt x="3663" y="111"/>
                  <a:pt x="3628" y="165"/>
                  <a:pt x="3591" y="165"/>
                </a:cubicBezTo>
                <a:cubicBezTo>
                  <a:pt x="3587" y="165"/>
                  <a:pt x="3582" y="165"/>
                  <a:pt x="3578" y="163"/>
                </a:cubicBezTo>
                <a:cubicBezTo>
                  <a:pt x="3539" y="163"/>
                  <a:pt x="3513" y="111"/>
                  <a:pt x="3471" y="98"/>
                </a:cubicBezTo>
                <a:cubicBezTo>
                  <a:pt x="3432" y="98"/>
                  <a:pt x="3390" y="98"/>
                  <a:pt x="3351" y="82"/>
                </a:cubicBezTo>
                <a:cubicBezTo>
                  <a:pt x="3322" y="82"/>
                  <a:pt x="3270" y="111"/>
                  <a:pt x="3241" y="111"/>
                </a:cubicBezTo>
                <a:cubicBezTo>
                  <a:pt x="3202" y="98"/>
                  <a:pt x="3160" y="43"/>
                  <a:pt x="3121" y="43"/>
                </a:cubicBezTo>
                <a:cubicBezTo>
                  <a:pt x="3092" y="43"/>
                  <a:pt x="3053" y="17"/>
                  <a:pt x="3011" y="17"/>
                </a:cubicBezTo>
                <a:lnTo>
                  <a:pt x="2891" y="17"/>
                </a:lnTo>
                <a:cubicBezTo>
                  <a:pt x="2849" y="17"/>
                  <a:pt x="2810" y="30"/>
                  <a:pt x="2784" y="30"/>
                </a:cubicBezTo>
                <a:cubicBezTo>
                  <a:pt x="2742" y="30"/>
                  <a:pt x="2703" y="17"/>
                  <a:pt x="2661" y="17"/>
                </a:cubicBezTo>
                <a:cubicBezTo>
                  <a:pt x="2622" y="17"/>
                  <a:pt x="2580" y="43"/>
                  <a:pt x="2541" y="43"/>
                </a:cubicBezTo>
                <a:cubicBezTo>
                  <a:pt x="2512" y="43"/>
                  <a:pt x="2473" y="30"/>
                  <a:pt x="2431" y="30"/>
                </a:cubicBezTo>
                <a:cubicBezTo>
                  <a:pt x="2392" y="30"/>
                  <a:pt x="2350" y="69"/>
                  <a:pt x="2311" y="69"/>
                </a:cubicBezTo>
                <a:cubicBezTo>
                  <a:pt x="2269" y="69"/>
                  <a:pt x="2230" y="1"/>
                  <a:pt x="2201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8" name="Google Shape;628;p26"/>
          <p:cNvSpPr/>
          <p:nvPr/>
        </p:nvSpPr>
        <p:spPr>
          <a:xfrm>
            <a:off x="2457410" y="5965676"/>
            <a:ext cx="874653" cy="131197"/>
          </a:xfrm>
          <a:custGeom>
            <a:avLst/>
            <a:gdLst/>
            <a:ahLst/>
            <a:cxnLst/>
            <a:rect l="l" t="t" r="r" b="b"/>
            <a:pathLst>
              <a:path w="3536" h="862" extrusionOk="0">
                <a:moveTo>
                  <a:pt x="1203" y="0"/>
                </a:moveTo>
                <a:cubicBezTo>
                  <a:pt x="1174" y="13"/>
                  <a:pt x="1148" y="26"/>
                  <a:pt x="1106" y="26"/>
                </a:cubicBezTo>
                <a:cubicBezTo>
                  <a:pt x="1080" y="26"/>
                  <a:pt x="1054" y="81"/>
                  <a:pt x="1025" y="81"/>
                </a:cubicBezTo>
                <a:cubicBezTo>
                  <a:pt x="1004" y="81"/>
                  <a:pt x="974" y="62"/>
                  <a:pt x="947" y="62"/>
                </a:cubicBezTo>
                <a:cubicBezTo>
                  <a:pt x="942" y="62"/>
                  <a:pt x="936" y="62"/>
                  <a:pt x="931" y="65"/>
                </a:cubicBezTo>
                <a:cubicBezTo>
                  <a:pt x="905" y="65"/>
                  <a:pt x="879" y="65"/>
                  <a:pt x="850" y="81"/>
                </a:cubicBezTo>
                <a:cubicBezTo>
                  <a:pt x="811" y="81"/>
                  <a:pt x="798" y="120"/>
                  <a:pt x="756" y="120"/>
                </a:cubicBezTo>
                <a:cubicBezTo>
                  <a:pt x="753" y="121"/>
                  <a:pt x="750" y="122"/>
                  <a:pt x="747" y="122"/>
                </a:cubicBezTo>
                <a:cubicBezTo>
                  <a:pt x="721" y="122"/>
                  <a:pt x="685" y="81"/>
                  <a:pt x="662" y="81"/>
                </a:cubicBezTo>
                <a:cubicBezTo>
                  <a:pt x="649" y="88"/>
                  <a:pt x="635" y="88"/>
                  <a:pt x="620" y="88"/>
                </a:cubicBezTo>
                <a:cubicBezTo>
                  <a:pt x="604" y="88"/>
                  <a:pt x="587" y="88"/>
                  <a:pt x="568" y="94"/>
                </a:cubicBezTo>
                <a:cubicBezTo>
                  <a:pt x="539" y="94"/>
                  <a:pt x="513" y="133"/>
                  <a:pt x="487" y="133"/>
                </a:cubicBezTo>
                <a:cubicBezTo>
                  <a:pt x="458" y="146"/>
                  <a:pt x="432" y="146"/>
                  <a:pt x="406" y="162"/>
                </a:cubicBezTo>
                <a:cubicBezTo>
                  <a:pt x="377" y="162"/>
                  <a:pt x="351" y="201"/>
                  <a:pt x="325" y="214"/>
                </a:cubicBezTo>
                <a:cubicBezTo>
                  <a:pt x="310" y="220"/>
                  <a:pt x="297" y="220"/>
                  <a:pt x="283" y="220"/>
                </a:cubicBezTo>
                <a:cubicBezTo>
                  <a:pt x="270" y="220"/>
                  <a:pt x="257" y="220"/>
                  <a:pt x="244" y="227"/>
                </a:cubicBezTo>
                <a:cubicBezTo>
                  <a:pt x="202" y="243"/>
                  <a:pt x="176" y="243"/>
                  <a:pt x="150" y="256"/>
                </a:cubicBezTo>
                <a:cubicBezTo>
                  <a:pt x="121" y="269"/>
                  <a:pt x="95" y="282"/>
                  <a:pt x="82" y="295"/>
                </a:cubicBezTo>
                <a:cubicBezTo>
                  <a:pt x="40" y="324"/>
                  <a:pt x="1" y="350"/>
                  <a:pt x="1" y="376"/>
                </a:cubicBezTo>
                <a:cubicBezTo>
                  <a:pt x="1" y="405"/>
                  <a:pt x="53" y="405"/>
                  <a:pt x="95" y="431"/>
                </a:cubicBezTo>
                <a:cubicBezTo>
                  <a:pt x="108" y="444"/>
                  <a:pt x="134" y="486"/>
                  <a:pt x="163" y="499"/>
                </a:cubicBezTo>
                <a:lnTo>
                  <a:pt x="257" y="499"/>
                </a:lnTo>
                <a:cubicBezTo>
                  <a:pt x="283" y="499"/>
                  <a:pt x="325" y="457"/>
                  <a:pt x="351" y="457"/>
                </a:cubicBezTo>
                <a:cubicBezTo>
                  <a:pt x="377" y="470"/>
                  <a:pt x="406" y="486"/>
                  <a:pt x="432" y="486"/>
                </a:cubicBezTo>
                <a:cubicBezTo>
                  <a:pt x="474" y="486"/>
                  <a:pt x="500" y="499"/>
                  <a:pt x="526" y="499"/>
                </a:cubicBezTo>
                <a:lnTo>
                  <a:pt x="607" y="499"/>
                </a:lnTo>
                <a:cubicBezTo>
                  <a:pt x="594" y="512"/>
                  <a:pt x="594" y="525"/>
                  <a:pt x="594" y="538"/>
                </a:cubicBezTo>
                <a:cubicBezTo>
                  <a:pt x="594" y="580"/>
                  <a:pt x="662" y="593"/>
                  <a:pt x="717" y="619"/>
                </a:cubicBezTo>
                <a:cubicBezTo>
                  <a:pt x="743" y="648"/>
                  <a:pt x="756" y="687"/>
                  <a:pt x="798" y="713"/>
                </a:cubicBezTo>
                <a:cubicBezTo>
                  <a:pt x="824" y="729"/>
                  <a:pt x="863" y="742"/>
                  <a:pt x="905" y="755"/>
                </a:cubicBezTo>
                <a:cubicBezTo>
                  <a:pt x="937" y="755"/>
                  <a:pt x="981" y="725"/>
                  <a:pt x="1020" y="725"/>
                </a:cubicBezTo>
                <a:cubicBezTo>
                  <a:pt x="1027" y="725"/>
                  <a:pt x="1034" y="726"/>
                  <a:pt x="1041" y="729"/>
                </a:cubicBezTo>
                <a:cubicBezTo>
                  <a:pt x="1067" y="729"/>
                  <a:pt x="1106" y="742"/>
                  <a:pt x="1148" y="742"/>
                </a:cubicBezTo>
                <a:cubicBezTo>
                  <a:pt x="1156" y="745"/>
                  <a:pt x="1164" y="746"/>
                  <a:pt x="1171" y="746"/>
                </a:cubicBezTo>
                <a:cubicBezTo>
                  <a:pt x="1203" y="746"/>
                  <a:pt x="1237" y="729"/>
                  <a:pt x="1268" y="729"/>
                </a:cubicBezTo>
                <a:cubicBezTo>
                  <a:pt x="1297" y="742"/>
                  <a:pt x="1336" y="755"/>
                  <a:pt x="1378" y="768"/>
                </a:cubicBezTo>
                <a:cubicBezTo>
                  <a:pt x="1417" y="768"/>
                  <a:pt x="1459" y="781"/>
                  <a:pt x="1485" y="781"/>
                </a:cubicBezTo>
                <a:cubicBezTo>
                  <a:pt x="1527" y="781"/>
                  <a:pt x="1566" y="768"/>
                  <a:pt x="1608" y="768"/>
                </a:cubicBezTo>
                <a:cubicBezTo>
                  <a:pt x="1647" y="768"/>
                  <a:pt x="1673" y="862"/>
                  <a:pt x="1715" y="862"/>
                </a:cubicBezTo>
                <a:lnTo>
                  <a:pt x="1835" y="862"/>
                </a:lnTo>
                <a:cubicBezTo>
                  <a:pt x="1877" y="862"/>
                  <a:pt x="1916" y="836"/>
                  <a:pt x="1958" y="836"/>
                </a:cubicBezTo>
                <a:cubicBezTo>
                  <a:pt x="1984" y="836"/>
                  <a:pt x="2026" y="823"/>
                  <a:pt x="2065" y="823"/>
                </a:cubicBezTo>
                <a:cubicBezTo>
                  <a:pt x="2107" y="823"/>
                  <a:pt x="2146" y="781"/>
                  <a:pt x="2188" y="781"/>
                </a:cubicBezTo>
                <a:cubicBezTo>
                  <a:pt x="2227" y="781"/>
                  <a:pt x="2269" y="862"/>
                  <a:pt x="2295" y="862"/>
                </a:cubicBezTo>
                <a:cubicBezTo>
                  <a:pt x="2337" y="862"/>
                  <a:pt x="2376" y="836"/>
                  <a:pt x="2418" y="836"/>
                </a:cubicBezTo>
                <a:cubicBezTo>
                  <a:pt x="2457" y="836"/>
                  <a:pt x="2499" y="823"/>
                  <a:pt x="2538" y="823"/>
                </a:cubicBezTo>
                <a:cubicBezTo>
                  <a:pt x="2564" y="823"/>
                  <a:pt x="2606" y="794"/>
                  <a:pt x="2645" y="794"/>
                </a:cubicBezTo>
                <a:cubicBezTo>
                  <a:pt x="2687" y="794"/>
                  <a:pt x="2726" y="768"/>
                  <a:pt x="2755" y="768"/>
                </a:cubicBezTo>
                <a:cubicBezTo>
                  <a:pt x="2794" y="755"/>
                  <a:pt x="2836" y="755"/>
                  <a:pt x="2875" y="742"/>
                </a:cubicBezTo>
                <a:cubicBezTo>
                  <a:pt x="2917" y="742"/>
                  <a:pt x="2943" y="729"/>
                  <a:pt x="2985" y="713"/>
                </a:cubicBezTo>
                <a:cubicBezTo>
                  <a:pt x="3024" y="713"/>
                  <a:pt x="3050" y="687"/>
                  <a:pt x="3092" y="687"/>
                </a:cubicBezTo>
                <a:cubicBezTo>
                  <a:pt x="3096" y="686"/>
                  <a:pt x="3100" y="685"/>
                  <a:pt x="3105" y="685"/>
                </a:cubicBezTo>
                <a:cubicBezTo>
                  <a:pt x="3137" y="685"/>
                  <a:pt x="3177" y="716"/>
                  <a:pt x="3211" y="716"/>
                </a:cubicBezTo>
                <a:cubicBezTo>
                  <a:pt x="3217" y="716"/>
                  <a:pt x="3222" y="715"/>
                  <a:pt x="3228" y="713"/>
                </a:cubicBezTo>
                <a:cubicBezTo>
                  <a:pt x="3267" y="713"/>
                  <a:pt x="3309" y="713"/>
                  <a:pt x="3335" y="700"/>
                </a:cubicBezTo>
                <a:cubicBezTo>
                  <a:pt x="3374" y="687"/>
                  <a:pt x="3390" y="619"/>
                  <a:pt x="3416" y="606"/>
                </a:cubicBezTo>
                <a:cubicBezTo>
                  <a:pt x="3471" y="580"/>
                  <a:pt x="3536" y="551"/>
                  <a:pt x="3536" y="525"/>
                </a:cubicBezTo>
                <a:cubicBezTo>
                  <a:pt x="3536" y="499"/>
                  <a:pt x="3471" y="470"/>
                  <a:pt x="3429" y="444"/>
                </a:cubicBezTo>
                <a:cubicBezTo>
                  <a:pt x="3403" y="418"/>
                  <a:pt x="3361" y="405"/>
                  <a:pt x="3322" y="389"/>
                </a:cubicBezTo>
                <a:cubicBezTo>
                  <a:pt x="3293" y="376"/>
                  <a:pt x="3254" y="376"/>
                  <a:pt x="3212" y="363"/>
                </a:cubicBezTo>
                <a:cubicBezTo>
                  <a:pt x="3203" y="360"/>
                  <a:pt x="3195" y="359"/>
                  <a:pt x="3187" y="359"/>
                </a:cubicBezTo>
                <a:cubicBezTo>
                  <a:pt x="3164" y="359"/>
                  <a:pt x="3140" y="367"/>
                  <a:pt x="3117" y="367"/>
                </a:cubicBezTo>
                <a:cubicBezTo>
                  <a:pt x="3108" y="367"/>
                  <a:pt x="3100" y="366"/>
                  <a:pt x="3092" y="363"/>
                </a:cubicBezTo>
                <a:cubicBezTo>
                  <a:pt x="3050" y="350"/>
                  <a:pt x="3024" y="295"/>
                  <a:pt x="2985" y="295"/>
                </a:cubicBezTo>
                <a:cubicBezTo>
                  <a:pt x="2956" y="295"/>
                  <a:pt x="2917" y="295"/>
                  <a:pt x="2875" y="282"/>
                </a:cubicBezTo>
                <a:cubicBezTo>
                  <a:pt x="2836" y="282"/>
                  <a:pt x="2807" y="243"/>
                  <a:pt x="2768" y="227"/>
                </a:cubicBezTo>
                <a:cubicBezTo>
                  <a:pt x="2740" y="227"/>
                  <a:pt x="2713" y="234"/>
                  <a:pt x="2686" y="234"/>
                </a:cubicBezTo>
                <a:cubicBezTo>
                  <a:pt x="2672" y="234"/>
                  <a:pt x="2659" y="232"/>
                  <a:pt x="2645" y="227"/>
                </a:cubicBezTo>
                <a:cubicBezTo>
                  <a:pt x="2606" y="227"/>
                  <a:pt x="2564" y="295"/>
                  <a:pt x="2525" y="295"/>
                </a:cubicBezTo>
                <a:cubicBezTo>
                  <a:pt x="2483" y="295"/>
                  <a:pt x="2457" y="243"/>
                  <a:pt x="2418" y="243"/>
                </a:cubicBezTo>
                <a:lnTo>
                  <a:pt x="2295" y="243"/>
                </a:lnTo>
                <a:cubicBezTo>
                  <a:pt x="2256" y="243"/>
                  <a:pt x="2214" y="269"/>
                  <a:pt x="2175" y="269"/>
                </a:cubicBezTo>
                <a:lnTo>
                  <a:pt x="2159" y="269"/>
                </a:lnTo>
                <a:cubicBezTo>
                  <a:pt x="2175" y="256"/>
                  <a:pt x="2175" y="243"/>
                  <a:pt x="2188" y="243"/>
                </a:cubicBezTo>
                <a:cubicBezTo>
                  <a:pt x="2214" y="214"/>
                  <a:pt x="2269" y="188"/>
                  <a:pt x="2269" y="162"/>
                </a:cubicBezTo>
                <a:cubicBezTo>
                  <a:pt x="2269" y="146"/>
                  <a:pt x="2227" y="94"/>
                  <a:pt x="2188" y="81"/>
                </a:cubicBezTo>
                <a:cubicBezTo>
                  <a:pt x="2185" y="77"/>
                  <a:pt x="2180" y="76"/>
                  <a:pt x="2175" y="76"/>
                </a:cubicBezTo>
                <a:cubicBezTo>
                  <a:pt x="2160" y="76"/>
                  <a:pt x="2139" y="84"/>
                  <a:pt x="2116" y="84"/>
                </a:cubicBezTo>
                <a:cubicBezTo>
                  <a:pt x="2109" y="84"/>
                  <a:pt x="2101" y="84"/>
                  <a:pt x="2094" y="81"/>
                </a:cubicBezTo>
                <a:cubicBezTo>
                  <a:pt x="2087" y="77"/>
                  <a:pt x="2081" y="76"/>
                  <a:pt x="2074" y="76"/>
                </a:cubicBezTo>
                <a:cubicBezTo>
                  <a:pt x="2058" y="76"/>
                  <a:pt x="2041" y="84"/>
                  <a:pt x="2019" y="84"/>
                </a:cubicBezTo>
                <a:cubicBezTo>
                  <a:pt x="2012" y="84"/>
                  <a:pt x="2005" y="84"/>
                  <a:pt x="1997" y="81"/>
                </a:cubicBezTo>
                <a:cubicBezTo>
                  <a:pt x="1971" y="81"/>
                  <a:pt x="1958" y="13"/>
                  <a:pt x="1932" y="0"/>
                </a:cubicBezTo>
                <a:lnTo>
                  <a:pt x="1835" y="0"/>
                </a:lnTo>
                <a:cubicBezTo>
                  <a:pt x="1809" y="0"/>
                  <a:pt x="1770" y="52"/>
                  <a:pt x="1741" y="52"/>
                </a:cubicBezTo>
                <a:cubicBezTo>
                  <a:pt x="1715" y="52"/>
                  <a:pt x="1689" y="13"/>
                  <a:pt x="1647" y="13"/>
                </a:cubicBezTo>
                <a:cubicBezTo>
                  <a:pt x="1621" y="13"/>
                  <a:pt x="1592" y="26"/>
                  <a:pt x="1566" y="26"/>
                </a:cubicBezTo>
                <a:cubicBezTo>
                  <a:pt x="1527" y="26"/>
                  <a:pt x="1498" y="0"/>
                  <a:pt x="1472" y="0"/>
                </a:cubicBezTo>
                <a:cubicBezTo>
                  <a:pt x="1446" y="0"/>
                  <a:pt x="1417" y="13"/>
                  <a:pt x="1378" y="13"/>
                </a:cubicBezTo>
                <a:cubicBezTo>
                  <a:pt x="1349" y="13"/>
                  <a:pt x="1323" y="0"/>
                  <a:pt x="1297" y="0"/>
                </a:cubicBezTo>
                <a:cubicBezTo>
                  <a:pt x="1283" y="4"/>
                  <a:pt x="1271" y="6"/>
                  <a:pt x="1260" y="6"/>
                </a:cubicBezTo>
                <a:cubicBezTo>
                  <a:pt x="1237" y="6"/>
                  <a:pt x="1220" y="0"/>
                  <a:pt x="1203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9" name="Google Shape;629;p26"/>
          <p:cNvSpPr/>
          <p:nvPr/>
        </p:nvSpPr>
        <p:spPr>
          <a:xfrm>
            <a:off x="3335765" y="6086372"/>
            <a:ext cx="737617" cy="183099"/>
          </a:xfrm>
          <a:custGeom>
            <a:avLst/>
            <a:gdLst/>
            <a:ahLst/>
            <a:cxnLst/>
            <a:rect l="l" t="t" r="r" b="b"/>
            <a:pathLst>
              <a:path w="2982" h="1203" extrusionOk="0">
                <a:moveTo>
                  <a:pt x="1404" y="1"/>
                </a:moveTo>
                <a:cubicBezTo>
                  <a:pt x="1378" y="1"/>
                  <a:pt x="1349" y="56"/>
                  <a:pt x="1323" y="56"/>
                </a:cubicBezTo>
                <a:cubicBezTo>
                  <a:pt x="1297" y="56"/>
                  <a:pt x="1268" y="43"/>
                  <a:pt x="1242" y="43"/>
                </a:cubicBezTo>
                <a:cubicBezTo>
                  <a:pt x="1216" y="43"/>
                  <a:pt x="1187" y="17"/>
                  <a:pt x="1161" y="17"/>
                </a:cubicBezTo>
                <a:lnTo>
                  <a:pt x="1093" y="17"/>
                </a:lnTo>
                <a:cubicBezTo>
                  <a:pt x="1067" y="17"/>
                  <a:pt x="1038" y="69"/>
                  <a:pt x="1012" y="69"/>
                </a:cubicBezTo>
                <a:cubicBezTo>
                  <a:pt x="986" y="69"/>
                  <a:pt x="957" y="56"/>
                  <a:pt x="931" y="56"/>
                </a:cubicBezTo>
                <a:lnTo>
                  <a:pt x="850" y="56"/>
                </a:lnTo>
                <a:cubicBezTo>
                  <a:pt x="824" y="56"/>
                  <a:pt x="811" y="82"/>
                  <a:pt x="782" y="82"/>
                </a:cubicBezTo>
                <a:cubicBezTo>
                  <a:pt x="764" y="82"/>
                  <a:pt x="747" y="76"/>
                  <a:pt x="729" y="76"/>
                </a:cubicBezTo>
                <a:cubicBezTo>
                  <a:pt x="720" y="76"/>
                  <a:pt x="710" y="78"/>
                  <a:pt x="701" y="82"/>
                </a:cubicBezTo>
                <a:cubicBezTo>
                  <a:pt x="675" y="82"/>
                  <a:pt x="649" y="98"/>
                  <a:pt x="620" y="98"/>
                </a:cubicBezTo>
                <a:cubicBezTo>
                  <a:pt x="594" y="98"/>
                  <a:pt x="568" y="56"/>
                  <a:pt x="539" y="56"/>
                </a:cubicBezTo>
                <a:cubicBezTo>
                  <a:pt x="513" y="69"/>
                  <a:pt x="487" y="69"/>
                  <a:pt x="471" y="82"/>
                </a:cubicBezTo>
                <a:cubicBezTo>
                  <a:pt x="445" y="82"/>
                  <a:pt x="419" y="111"/>
                  <a:pt x="390" y="111"/>
                </a:cubicBezTo>
                <a:cubicBezTo>
                  <a:pt x="369" y="111"/>
                  <a:pt x="349" y="93"/>
                  <a:pt x="327" y="93"/>
                </a:cubicBezTo>
                <a:cubicBezTo>
                  <a:pt x="321" y="93"/>
                  <a:pt x="315" y="95"/>
                  <a:pt x="309" y="98"/>
                </a:cubicBezTo>
                <a:cubicBezTo>
                  <a:pt x="283" y="98"/>
                  <a:pt x="270" y="150"/>
                  <a:pt x="244" y="150"/>
                </a:cubicBezTo>
                <a:cubicBezTo>
                  <a:pt x="234" y="154"/>
                  <a:pt x="225" y="156"/>
                  <a:pt x="216" y="156"/>
                </a:cubicBezTo>
                <a:cubicBezTo>
                  <a:pt x="197" y="156"/>
                  <a:pt x="180" y="150"/>
                  <a:pt x="163" y="150"/>
                </a:cubicBezTo>
                <a:cubicBezTo>
                  <a:pt x="134" y="163"/>
                  <a:pt x="108" y="163"/>
                  <a:pt x="95" y="179"/>
                </a:cubicBezTo>
                <a:cubicBezTo>
                  <a:pt x="66" y="192"/>
                  <a:pt x="40" y="218"/>
                  <a:pt x="27" y="231"/>
                </a:cubicBezTo>
                <a:cubicBezTo>
                  <a:pt x="1" y="244"/>
                  <a:pt x="14" y="273"/>
                  <a:pt x="14" y="299"/>
                </a:cubicBezTo>
                <a:cubicBezTo>
                  <a:pt x="14" y="325"/>
                  <a:pt x="14" y="341"/>
                  <a:pt x="40" y="354"/>
                </a:cubicBezTo>
                <a:cubicBezTo>
                  <a:pt x="46" y="360"/>
                  <a:pt x="60" y="360"/>
                  <a:pt x="75" y="360"/>
                </a:cubicBezTo>
                <a:cubicBezTo>
                  <a:pt x="91" y="360"/>
                  <a:pt x="108" y="360"/>
                  <a:pt x="121" y="367"/>
                </a:cubicBezTo>
                <a:cubicBezTo>
                  <a:pt x="134" y="380"/>
                  <a:pt x="163" y="406"/>
                  <a:pt x="189" y="406"/>
                </a:cubicBezTo>
                <a:cubicBezTo>
                  <a:pt x="197" y="411"/>
                  <a:pt x="206" y="413"/>
                  <a:pt x="216" y="413"/>
                </a:cubicBezTo>
                <a:cubicBezTo>
                  <a:pt x="234" y="413"/>
                  <a:pt x="253" y="406"/>
                  <a:pt x="270" y="406"/>
                </a:cubicBezTo>
                <a:cubicBezTo>
                  <a:pt x="296" y="422"/>
                  <a:pt x="309" y="461"/>
                  <a:pt x="338" y="461"/>
                </a:cubicBezTo>
                <a:cubicBezTo>
                  <a:pt x="364" y="461"/>
                  <a:pt x="390" y="487"/>
                  <a:pt x="419" y="487"/>
                </a:cubicBezTo>
                <a:lnTo>
                  <a:pt x="500" y="487"/>
                </a:lnTo>
                <a:cubicBezTo>
                  <a:pt x="526" y="487"/>
                  <a:pt x="552" y="516"/>
                  <a:pt x="581" y="516"/>
                </a:cubicBezTo>
                <a:lnTo>
                  <a:pt x="662" y="516"/>
                </a:lnTo>
                <a:cubicBezTo>
                  <a:pt x="688" y="516"/>
                  <a:pt x="714" y="503"/>
                  <a:pt x="743" y="503"/>
                </a:cubicBezTo>
                <a:cubicBezTo>
                  <a:pt x="769" y="503"/>
                  <a:pt x="782" y="474"/>
                  <a:pt x="811" y="474"/>
                </a:cubicBezTo>
                <a:cubicBezTo>
                  <a:pt x="756" y="503"/>
                  <a:pt x="769" y="542"/>
                  <a:pt x="769" y="568"/>
                </a:cubicBezTo>
                <a:cubicBezTo>
                  <a:pt x="769" y="597"/>
                  <a:pt x="769" y="610"/>
                  <a:pt x="795" y="636"/>
                </a:cubicBezTo>
                <a:cubicBezTo>
                  <a:pt x="798" y="639"/>
                  <a:pt x="803" y="640"/>
                  <a:pt x="808" y="640"/>
                </a:cubicBezTo>
                <a:cubicBezTo>
                  <a:pt x="822" y="640"/>
                  <a:pt x="841" y="632"/>
                  <a:pt x="858" y="632"/>
                </a:cubicBezTo>
                <a:cubicBezTo>
                  <a:pt x="864" y="632"/>
                  <a:pt x="870" y="633"/>
                  <a:pt x="876" y="636"/>
                </a:cubicBezTo>
                <a:cubicBezTo>
                  <a:pt x="892" y="649"/>
                  <a:pt x="892" y="691"/>
                  <a:pt x="918" y="691"/>
                </a:cubicBezTo>
                <a:cubicBezTo>
                  <a:pt x="892" y="691"/>
                  <a:pt x="876" y="678"/>
                  <a:pt x="850" y="678"/>
                </a:cubicBezTo>
                <a:cubicBezTo>
                  <a:pt x="824" y="691"/>
                  <a:pt x="795" y="717"/>
                  <a:pt x="782" y="717"/>
                </a:cubicBezTo>
                <a:cubicBezTo>
                  <a:pt x="743" y="730"/>
                  <a:pt x="730" y="746"/>
                  <a:pt x="701" y="759"/>
                </a:cubicBezTo>
                <a:cubicBezTo>
                  <a:pt x="695" y="762"/>
                  <a:pt x="689" y="763"/>
                  <a:pt x="682" y="763"/>
                </a:cubicBezTo>
                <a:cubicBezTo>
                  <a:pt x="664" y="763"/>
                  <a:pt x="643" y="755"/>
                  <a:pt x="625" y="755"/>
                </a:cubicBezTo>
                <a:cubicBezTo>
                  <a:pt x="618" y="755"/>
                  <a:pt x="612" y="756"/>
                  <a:pt x="607" y="759"/>
                </a:cubicBezTo>
                <a:cubicBezTo>
                  <a:pt x="581" y="785"/>
                  <a:pt x="594" y="827"/>
                  <a:pt x="594" y="840"/>
                </a:cubicBezTo>
                <a:cubicBezTo>
                  <a:pt x="607" y="866"/>
                  <a:pt x="594" y="892"/>
                  <a:pt x="620" y="921"/>
                </a:cubicBezTo>
                <a:cubicBezTo>
                  <a:pt x="649" y="921"/>
                  <a:pt x="675" y="934"/>
                  <a:pt x="701" y="947"/>
                </a:cubicBezTo>
                <a:lnTo>
                  <a:pt x="782" y="947"/>
                </a:lnTo>
                <a:cubicBezTo>
                  <a:pt x="795" y="947"/>
                  <a:pt x="824" y="960"/>
                  <a:pt x="850" y="960"/>
                </a:cubicBezTo>
                <a:cubicBezTo>
                  <a:pt x="876" y="960"/>
                  <a:pt x="905" y="960"/>
                  <a:pt x="931" y="973"/>
                </a:cubicBezTo>
                <a:cubicBezTo>
                  <a:pt x="957" y="973"/>
                  <a:pt x="986" y="960"/>
                  <a:pt x="1012" y="960"/>
                </a:cubicBezTo>
                <a:cubicBezTo>
                  <a:pt x="1038" y="960"/>
                  <a:pt x="1054" y="989"/>
                  <a:pt x="1080" y="989"/>
                </a:cubicBezTo>
                <a:cubicBezTo>
                  <a:pt x="1083" y="991"/>
                  <a:pt x="1087" y="992"/>
                  <a:pt x="1090" y="992"/>
                </a:cubicBezTo>
                <a:cubicBezTo>
                  <a:pt x="1113" y="992"/>
                  <a:pt x="1138" y="960"/>
                  <a:pt x="1161" y="960"/>
                </a:cubicBezTo>
                <a:cubicBezTo>
                  <a:pt x="1187" y="960"/>
                  <a:pt x="1216" y="973"/>
                  <a:pt x="1242" y="973"/>
                </a:cubicBezTo>
                <a:cubicBezTo>
                  <a:pt x="1268" y="973"/>
                  <a:pt x="1281" y="989"/>
                  <a:pt x="1310" y="989"/>
                </a:cubicBezTo>
                <a:cubicBezTo>
                  <a:pt x="1297" y="1002"/>
                  <a:pt x="1297" y="1015"/>
                  <a:pt x="1297" y="1028"/>
                </a:cubicBezTo>
                <a:cubicBezTo>
                  <a:pt x="1297" y="1054"/>
                  <a:pt x="1297" y="1096"/>
                  <a:pt x="1323" y="1109"/>
                </a:cubicBezTo>
                <a:cubicBezTo>
                  <a:pt x="1328" y="1112"/>
                  <a:pt x="1334" y="1113"/>
                  <a:pt x="1340" y="1113"/>
                </a:cubicBezTo>
                <a:cubicBezTo>
                  <a:pt x="1365" y="1113"/>
                  <a:pt x="1396" y="1096"/>
                  <a:pt x="1417" y="1096"/>
                </a:cubicBezTo>
                <a:cubicBezTo>
                  <a:pt x="1443" y="1109"/>
                  <a:pt x="1459" y="1122"/>
                  <a:pt x="1485" y="1135"/>
                </a:cubicBezTo>
                <a:cubicBezTo>
                  <a:pt x="1511" y="1135"/>
                  <a:pt x="1540" y="1151"/>
                  <a:pt x="1566" y="1151"/>
                </a:cubicBezTo>
                <a:cubicBezTo>
                  <a:pt x="1592" y="1151"/>
                  <a:pt x="1621" y="1177"/>
                  <a:pt x="1647" y="1177"/>
                </a:cubicBezTo>
                <a:cubicBezTo>
                  <a:pt x="1660" y="1177"/>
                  <a:pt x="1686" y="1190"/>
                  <a:pt x="1715" y="1190"/>
                </a:cubicBezTo>
                <a:cubicBezTo>
                  <a:pt x="1741" y="1190"/>
                  <a:pt x="1767" y="1151"/>
                  <a:pt x="1796" y="1151"/>
                </a:cubicBezTo>
                <a:cubicBezTo>
                  <a:pt x="1822" y="1151"/>
                  <a:pt x="1848" y="1203"/>
                  <a:pt x="1877" y="1203"/>
                </a:cubicBezTo>
                <a:cubicBezTo>
                  <a:pt x="1903" y="1203"/>
                  <a:pt x="1929" y="1151"/>
                  <a:pt x="1958" y="1151"/>
                </a:cubicBezTo>
                <a:lnTo>
                  <a:pt x="2039" y="1151"/>
                </a:lnTo>
                <a:cubicBezTo>
                  <a:pt x="2065" y="1151"/>
                  <a:pt x="2091" y="1177"/>
                  <a:pt x="2120" y="1177"/>
                </a:cubicBezTo>
                <a:cubicBezTo>
                  <a:pt x="2146" y="1177"/>
                  <a:pt x="2172" y="1164"/>
                  <a:pt x="2188" y="1164"/>
                </a:cubicBezTo>
                <a:cubicBezTo>
                  <a:pt x="2214" y="1164"/>
                  <a:pt x="2253" y="1190"/>
                  <a:pt x="2269" y="1190"/>
                </a:cubicBezTo>
                <a:cubicBezTo>
                  <a:pt x="2295" y="1190"/>
                  <a:pt x="2321" y="1164"/>
                  <a:pt x="2350" y="1164"/>
                </a:cubicBezTo>
                <a:cubicBezTo>
                  <a:pt x="2359" y="1160"/>
                  <a:pt x="2367" y="1158"/>
                  <a:pt x="2376" y="1158"/>
                </a:cubicBezTo>
                <a:cubicBezTo>
                  <a:pt x="2393" y="1158"/>
                  <a:pt x="2411" y="1164"/>
                  <a:pt x="2431" y="1164"/>
                </a:cubicBezTo>
                <a:lnTo>
                  <a:pt x="2512" y="1164"/>
                </a:lnTo>
                <a:cubicBezTo>
                  <a:pt x="2538" y="1151"/>
                  <a:pt x="2551" y="1109"/>
                  <a:pt x="2577" y="1109"/>
                </a:cubicBezTo>
                <a:cubicBezTo>
                  <a:pt x="2601" y="1109"/>
                  <a:pt x="2632" y="1139"/>
                  <a:pt x="2659" y="1139"/>
                </a:cubicBezTo>
                <a:cubicBezTo>
                  <a:pt x="2664" y="1139"/>
                  <a:pt x="2669" y="1137"/>
                  <a:pt x="2674" y="1135"/>
                </a:cubicBezTo>
                <a:cubicBezTo>
                  <a:pt x="2700" y="1135"/>
                  <a:pt x="2713" y="1109"/>
                  <a:pt x="2739" y="1096"/>
                </a:cubicBezTo>
                <a:cubicBezTo>
                  <a:pt x="2768" y="1083"/>
                  <a:pt x="2794" y="1070"/>
                  <a:pt x="2807" y="1070"/>
                </a:cubicBezTo>
                <a:cubicBezTo>
                  <a:pt x="2836" y="1054"/>
                  <a:pt x="2875" y="1054"/>
                  <a:pt x="2888" y="1041"/>
                </a:cubicBezTo>
                <a:cubicBezTo>
                  <a:pt x="2917" y="1015"/>
                  <a:pt x="2901" y="1002"/>
                  <a:pt x="2901" y="973"/>
                </a:cubicBezTo>
                <a:cubicBezTo>
                  <a:pt x="2901" y="960"/>
                  <a:pt x="2930" y="908"/>
                  <a:pt x="2901" y="892"/>
                </a:cubicBezTo>
                <a:cubicBezTo>
                  <a:pt x="2896" y="889"/>
                  <a:pt x="2891" y="889"/>
                  <a:pt x="2885" y="889"/>
                </a:cubicBezTo>
                <a:cubicBezTo>
                  <a:pt x="2861" y="889"/>
                  <a:pt x="2831" y="908"/>
                  <a:pt x="2807" y="908"/>
                </a:cubicBezTo>
                <a:cubicBezTo>
                  <a:pt x="2781" y="892"/>
                  <a:pt x="2768" y="866"/>
                  <a:pt x="2739" y="866"/>
                </a:cubicBezTo>
                <a:cubicBezTo>
                  <a:pt x="2730" y="862"/>
                  <a:pt x="2721" y="860"/>
                  <a:pt x="2713" y="860"/>
                </a:cubicBezTo>
                <a:cubicBezTo>
                  <a:pt x="2695" y="860"/>
                  <a:pt x="2677" y="866"/>
                  <a:pt x="2658" y="866"/>
                </a:cubicBezTo>
                <a:cubicBezTo>
                  <a:pt x="2632" y="866"/>
                  <a:pt x="2606" y="853"/>
                  <a:pt x="2577" y="840"/>
                </a:cubicBezTo>
                <a:cubicBezTo>
                  <a:pt x="2551" y="840"/>
                  <a:pt x="2525" y="866"/>
                  <a:pt x="2496" y="866"/>
                </a:cubicBezTo>
                <a:cubicBezTo>
                  <a:pt x="2483" y="866"/>
                  <a:pt x="2457" y="853"/>
                  <a:pt x="2431" y="853"/>
                </a:cubicBezTo>
                <a:cubicBezTo>
                  <a:pt x="2402" y="840"/>
                  <a:pt x="2376" y="798"/>
                  <a:pt x="2350" y="798"/>
                </a:cubicBezTo>
                <a:lnTo>
                  <a:pt x="2269" y="798"/>
                </a:lnTo>
                <a:cubicBezTo>
                  <a:pt x="2253" y="798"/>
                  <a:pt x="2240" y="827"/>
                  <a:pt x="2214" y="827"/>
                </a:cubicBezTo>
                <a:cubicBezTo>
                  <a:pt x="2240" y="811"/>
                  <a:pt x="2253" y="798"/>
                  <a:pt x="2253" y="785"/>
                </a:cubicBezTo>
                <a:cubicBezTo>
                  <a:pt x="2253" y="772"/>
                  <a:pt x="2227" y="759"/>
                  <a:pt x="2214" y="746"/>
                </a:cubicBezTo>
                <a:cubicBezTo>
                  <a:pt x="2240" y="746"/>
                  <a:pt x="2240" y="704"/>
                  <a:pt x="2269" y="704"/>
                </a:cubicBezTo>
                <a:cubicBezTo>
                  <a:pt x="2295" y="704"/>
                  <a:pt x="2321" y="730"/>
                  <a:pt x="2350" y="730"/>
                </a:cubicBezTo>
                <a:cubicBezTo>
                  <a:pt x="2376" y="717"/>
                  <a:pt x="2389" y="717"/>
                  <a:pt x="2415" y="704"/>
                </a:cubicBezTo>
                <a:lnTo>
                  <a:pt x="2496" y="704"/>
                </a:lnTo>
                <a:cubicBezTo>
                  <a:pt x="2525" y="704"/>
                  <a:pt x="2551" y="691"/>
                  <a:pt x="2564" y="678"/>
                </a:cubicBezTo>
                <a:cubicBezTo>
                  <a:pt x="2593" y="678"/>
                  <a:pt x="2619" y="665"/>
                  <a:pt x="2645" y="665"/>
                </a:cubicBezTo>
                <a:cubicBezTo>
                  <a:pt x="2650" y="662"/>
                  <a:pt x="2654" y="661"/>
                  <a:pt x="2659" y="661"/>
                </a:cubicBezTo>
                <a:cubicBezTo>
                  <a:pt x="2679" y="661"/>
                  <a:pt x="2697" y="681"/>
                  <a:pt x="2715" y="681"/>
                </a:cubicBezTo>
                <a:cubicBezTo>
                  <a:pt x="2719" y="681"/>
                  <a:pt x="2722" y="680"/>
                  <a:pt x="2726" y="678"/>
                </a:cubicBezTo>
                <a:cubicBezTo>
                  <a:pt x="2755" y="678"/>
                  <a:pt x="2768" y="610"/>
                  <a:pt x="2781" y="597"/>
                </a:cubicBezTo>
                <a:lnTo>
                  <a:pt x="2862" y="597"/>
                </a:lnTo>
                <a:cubicBezTo>
                  <a:pt x="2888" y="584"/>
                  <a:pt x="2901" y="555"/>
                  <a:pt x="2917" y="542"/>
                </a:cubicBezTo>
                <a:cubicBezTo>
                  <a:pt x="2943" y="529"/>
                  <a:pt x="2982" y="516"/>
                  <a:pt x="2982" y="487"/>
                </a:cubicBezTo>
                <a:cubicBezTo>
                  <a:pt x="2982" y="474"/>
                  <a:pt x="2930" y="474"/>
                  <a:pt x="2901" y="448"/>
                </a:cubicBezTo>
                <a:cubicBezTo>
                  <a:pt x="2888" y="448"/>
                  <a:pt x="2875" y="393"/>
                  <a:pt x="2849" y="380"/>
                </a:cubicBezTo>
                <a:cubicBezTo>
                  <a:pt x="2836" y="380"/>
                  <a:pt x="2807" y="367"/>
                  <a:pt x="2768" y="367"/>
                </a:cubicBezTo>
                <a:cubicBezTo>
                  <a:pt x="2765" y="364"/>
                  <a:pt x="2762" y="363"/>
                  <a:pt x="2757" y="363"/>
                </a:cubicBezTo>
                <a:cubicBezTo>
                  <a:pt x="2739" y="363"/>
                  <a:pt x="2708" y="380"/>
                  <a:pt x="2687" y="380"/>
                </a:cubicBezTo>
                <a:cubicBezTo>
                  <a:pt x="2658" y="367"/>
                  <a:pt x="2645" y="341"/>
                  <a:pt x="2619" y="325"/>
                </a:cubicBezTo>
                <a:cubicBezTo>
                  <a:pt x="2593" y="325"/>
                  <a:pt x="2564" y="341"/>
                  <a:pt x="2538" y="341"/>
                </a:cubicBezTo>
                <a:cubicBezTo>
                  <a:pt x="2529" y="336"/>
                  <a:pt x="2520" y="334"/>
                  <a:pt x="2511" y="334"/>
                </a:cubicBezTo>
                <a:cubicBezTo>
                  <a:pt x="2493" y="334"/>
                  <a:pt x="2474" y="341"/>
                  <a:pt x="2457" y="341"/>
                </a:cubicBezTo>
                <a:cubicBezTo>
                  <a:pt x="2448" y="336"/>
                  <a:pt x="2439" y="334"/>
                  <a:pt x="2430" y="334"/>
                </a:cubicBezTo>
                <a:cubicBezTo>
                  <a:pt x="2412" y="334"/>
                  <a:pt x="2393" y="341"/>
                  <a:pt x="2376" y="341"/>
                </a:cubicBezTo>
                <a:cubicBezTo>
                  <a:pt x="2350" y="325"/>
                  <a:pt x="2321" y="286"/>
                  <a:pt x="2295" y="286"/>
                </a:cubicBezTo>
                <a:cubicBezTo>
                  <a:pt x="2269" y="286"/>
                  <a:pt x="2240" y="312"/>
                  <a:pt x="2214" y="312"/>
                </a:cubicBezTo>
                <a:cubicBezTo>
                  <a:pt x="2188" y="312"/>
                  <a:pt x="2133" y="286"/>
                  <a:pt x="2107" y="286"/>
                </a:cubicBezTo>
                <a:cubicBezTo>
                  <a:pt x="2159" y="260"/>
                  <a:pt x="2201" y="244"/>
                  <a:pt x="2201" y="218"/>
                </a:cubicBezTo>
                <a:cubicBezTo>
                  <a:pt x="2201" y="192"/>
                  <a:pt x="2188" y="179"/>
                  <a:pt x="2159" y="163"/>
                </a:cubicBezTo>
                <a:cubicBezTo>
                  <a:pt x="2146" y="156"/>
                  <a:pt x="2133" y="156"/>
                  <a:pt x="2119" y="156"/>
                </a:cubicBezTo>
                <a:cubicBezTo>
                  <a:pt x="2106" y="156"/>
                  <a:pt x="2092" y="156"/>
                  <a:pt x="2078" y="150"/>
                </a:cubicBezTo>
                <a:cubicBezTo>
                  <a:pt x="2065" y="137"/>
                  <a:pt x="2039" y="111"/>
                  <a:pt x="2010" y="98"/>
                </a:cubicBezTo>
                <a:cubicBezTo>
                  <a:pt x="1997" y="98"/>
                  <a:pt x="1971" y="69"/>
                  <a:pt x="1945" y="69"/>
                </a:cubicBezTo>
                <a:cubicBezTo>
                  <a:pt x="1939" y="66"/>
                  <a:pt x="1933" y="65"/>
                  <a:pt x="1928" y="65"/>
                </a:cubicBezTo>
                <a:cubicBezTo>
                  <a:pt x="1905" y="65"/>
                  <a:pt x="1885" y="82"/>
                  <a:pt x="1864" y="82"/>
                </a:cubicBezTo>
                <a:cubicBezTo>
                  <a:pt x="1835" y="82"/>
                  <a:pt x="1809" y="69"/>
                  <a:pt x="1783" y="69"/>
                </a:cubicBezTo>
                <a:cubicBezTo>
                  <a:pt x="1754" y="69"/>
                  <a:pt x="1741" y="30"/>
                  <a:pt x="1715" y="17"/>
                </a:cubicBezTo>
                <a:lnTo>
                  <a:pt x="1634" y="17"/>
                </a:lnTo>
                <a:cubicBezTo>
                  <a:pt x="1609" y="17"/>
                  <a:pt x="1586" y="46"/>
                  <a:pt x="1564" y="46"/>
                </a:cubicBezTo>
                <a:cubicBezTo>
                  <a:pt x="1560" y="46"/>
                  <a:pt x="1557" y="45"/>
                  <a:pt x="1553" y="43"/>
                </a:cubicBezTo>
                <a:cubicBezTo>
                  <a:pt x="1524" y="43"/>
                  <a:pt x="1498" y="17"/>
                  <a:pt x="1485" y="17"/>
                </a:cubicBezTo>
                <a:cubicBezTo>
                  <a:pt x="1459" y="17"/>
                  <a:pt x="1430" y="1"/>
                  <a:pt x="1404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0" name="Google Shape;630;p26"/>
          <p:cNvSpPr/>
          <p:nvPr/>
        </p:nvSpPr>
        <p:spPr>
          <a:xfrm>
            <a:off x="4283872" y="6035081"/>
            <a:ext cx="20283" cy="6545"/>
          </a:xfrm>
          <a:custGeom>
            <a:avLst/>
            <a:gdLst/>
            <a:ahLst/>
            <a:cxnLst/>
            <a:rect l="l" t="t" r="r" b="b"/>
            <a:pathLst>
              <a:path w="82" h="43" extrusionOk="0">
                <a:moveTo>
                  <a:pt x="40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14" y="43"/>
                  <a:pt x="40" y="43"/>
                </a:cubicBezTo>
                <a:cubicBezTo>
                  <a:pt x="69" y="43"/>
                  <a:pt x="82" y="30"/>
                  <a:pt x="82" y="30"/>
                </a:cubicBezTo>
                <a:cubicBezTo>
                  <a:pt x="82" y="14"/>
                  <a:pt x="69" y="1"/>
                  <a:pt x="4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1" name="Google Shape;631;p26"/>
          <p:cNvSpPr/>
          <p:nvPr/>
        </p:nvSpPr>
        <p:spPr>
          <a:xfrm>
            <a:off x="4200515" y="6027318"/>
            <a:ext cx="23499" cy="3957"/>
          </a:xfrm>
          <a:custGeom>
            <a:avLst/>
            <a:gdLst/>
            <a:ahLst/>
            <a:cxnLst/>
            <a:rect l="l" t="t" r="r" b="b"/>
            <a:pathLst>
              <a:path w="95" h="26" extrusionOk="0">
                <a:moveTo>
                  <a:pt x="53" y="0"/>
                </a:moveTo>
                <a:cubicBezTo>
                  <a:pt x="27" y="0"/>
                  <a:pt x="1" y="0"/>
                  <a:pt x="1" y="13"/>
                </a:cubicBezTo>
                <a:cubicBezTo>
                  <a:pt x="1" y="26"/>
                  <a:pt x="27" y="26"/>
                  <a:pt x="40" y="26"/>
                </a:cubicBezTo>
                <a:cubicBezTo>
                  <a:pt x="69" y="26"/>
                  <a:pt x="95" y="26"/>
                  <a:pt x="95" y="13"/>
                </a:cubicBezTo>
                <a:cubicBezTo>
                  <a:pt x="95" y="13"/>
                  <a:pt x="69" y="0"/>
                  <a:pt x="53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2" name="Google Shape;632;p26"/>
          <p:cNvSpPr/>
          <p:nvPr/>
        </p:nvSpPr>
        <p:spPr>
          <a:xfrm>
            <a:off x="4247016" y="6020774"/>
            <a:ext cx="23499" cy="669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43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14" y="43"/>
                  <a:pt x="43" y="43"/>
                </a:cubicBezTo>
                <a:cubicBezTo>
                  <a:pt x="69" y="43"/>
                  <a:pt x="95" y="43"/>
                  <a:pt x="95" y="27"/>
                </a:cubicBezTo>
                <a:cubicBezTo>
                  <a:pt x="95" y="14"/>
                  <a:pt x="69" y="14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3" name="Google Shape;633;p26"/>
          <p:cNvSpPr/>
          <p:nvPr/>
        </p:nvSpPr>
        <p:spPr>
          <a:xfrm>
            <a:off x="4153269" y="6037059"/>
            <a:ext cx="20283" cy="4567"/>
          </a:xfrm>
          <a:custGeom>
            <a:avLst/>
            <a:gdLst/>
            <a:ahLst/>
            <a:cxnLst/>
            <a:rect l="l" t="t" r="r" b="b"/>
            <a:pathLst>
              <a:path w="82" h="30" extrusionOk="0">
                <a:moveTo>
                  <a:pt x="43" y="1"/>
                </a:moveTo>
                <a:cubicBezTo>
                  <a:pt x="17" y="1"/>
                  <a:pt x="1" y="1"/>
                  <a:pt x="1" y="17"/>
                </a:cubicBezTo>
                <a:cubicBezTo>
                  <a:pt x="1" y="17"/>
                  <a:pt x="17" y="30"/>
                  <a:pt x="43" y="30"/>
                </a:cubicBezTo>
                <a:cubicBezTo>
                  <a:pt x="69" y="30"/>
                  <a:pt x="82" y="30"/>
                  <a:pt x="82" y="17"/>
                </a:cubicBezTo>
                <a:cubicBezTo>
                  <a:pt x="82" y="17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4" name="Google Shape;634;p26"/>
          <p:cNvSpPr/>
          <p:nvPr/>
        </p:nvSpPr>
        <p:spPr>
          <a:xfrm>
            <a:off x="4327160" y="6024730"/>
            <a:ext cx="23499" cy="4567"/>
          </a:xfrm>
          <a:custGeom>
            <a:avLst/>
            <a:gdLst/>
            <a:ahLst/>
            <a:cxnLst/>
            <a:rect l="l" t="t" r="r" b="b"/>
            <a:pathLst>
              <a:path w="95" h="30" extrusionOk="0">
                <a:moveTo>
                  <a:pt x="43" y="1"/>
                </a:moveTo>
                <a:cubicBezTo>
                  <a:pt x="27" y="1"/>
                  <a:pt x="1" y="1"/>
                  <a:pt x="1" y="17"/>
                </a:cubicBezTo>
                <a:cubicBezTo>
                  <a:pt x="1" y="17"/>
                  <a:pt x="14" y="30"/>
                  <a:pt x="43" y="30"/>
                </a:cubicBezTo>
                <a:cubicBezTo>
                  <a:pt x="69" y="30"/>
                  <a:pt x="95" y="30"/>
                  <a:pt x="95" y="17"/>
                </a:cubicBezTo>
                <a:cubicBezTo>
                  <a:pt x="95" y="1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5" name="Google Shape;635;p26"/>
          <p:cNvSpPr/>
          <p:nvPr/>
        </p:nvSpPr>
        <p:spPr>
          <a:xfrm>
            <a:off x="4310340" y="6050757"/>
            <a:ext cx="23499" cy="5175"/>
          </a:xfrm>
          <a:custGeom>
            <a:avLst/>
            <a:gdLst/>
            <a:ahLst/>
            <a:cxnLst/>
            <a:rect l="l" t="t" r="r" b="b"/>
            <a:pathLst>
              <a:path w="95" h="34" extrusionOk="0">
                <a:moveTo>
                  <a:pt x="19" y="1"/>
                </a:moveTo>
                <a:cubicBezTo>
                  <a:pt x="6" y="1"/>
                  <a:pt x="1" y="8"/>
                  <a:pt x="1" y="8"/>
                </a:cubicBezTo>
                <a:cubicBezTo>
                  <a:pt x="1" y="21"/>
                  <a:pt x="14" y="34"/>
                  <a:pt x="43" y="34"/>
                </a:cubicBezTo>
                <a:cubicBezTo>
                  <a:pt x="69" y="34"/>
                  <a:pt x="82" y="34"/>
                  <a:pt x="82" y="21"/>
                </a:cubicBezTo>
                <a:cubicBezTo>
                  <a:pt x="95" y="8"/>
                  <a:pt x="69" y="8"/>
                  <a:pt x="43" y="8"/>
                </a:cubicBezTo>
                <a:cubicBezTo>
                  <a:pt x="33" y="3"/>
                  <a:pt x="25" y="1"/>
                  <a:pt x="19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6" name="Google Shape;636;p26"/>
          <p:cNvSpPr/>
          <p:nvPr/>
        </p:nvSpPr>
        <p:spPr>
          <a:xfrm>
            <a:off x="4163659" y="6013925"/>
            <a:ext cx="23499" cy="5023"/>
          </a:xfrm>
          <a:custGeom>
            <a:avLst/>
            <a:gdLst/>
            <a:ahLst/>
            <a:cxnLst/>
            <a:rect l="l" t="t" r="r" b="b"/>
            <a:pathLst>
              <a:path w="95" h="33" extrusionOk="0">
                <a:moveTo>
                  <a:pt x="26" y="0"/>
                </a:moveTo>
                <a:cubicBezTo>
                  <a:pt x="14" y="0"/>
                  <a:pt x="1" y="11"/>
                  <a:pt x="1" y="20"/>
                </a:cubicBezTo>
                <a:cubicBezTo>
                  <a:pt x="1" y="20"/>
                  <a:pt x="14" y="33"/>
                  <a:pt x="40" y="33"/>
                </a:cubicBezTo>
                <a:cubicBezTo>
                  <a:pt x="69" y="33"/>
                  <a:pt x="82" y="33"/>
                  <a:pt x="95" y="20"/>
                </a:cubicBezTo>
                <a:cubicBezTo>
                  <a:pt x="95" y="7"/>
                  <a:pt x="69" y="7"/>
                  <a:pt x="40" y="7"/>
                </a:cubicBezTo>
                <a:cubicBezTo>
                  <a:pt x="36" y="2"/>
                  <a:pt x="31" y="0"/>
                  <a:pt x="2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7" name="Google Shape;637;p26"/>
          <p:cNvSpPr/>
          <p:nvPr/>
        </p:nvSpPr>
        <p:spPr>
          <a:xfrm>
            <a:off x="4277441" y="6006465"/>
            <a:ext cx="23499" cy="6088"/>
          </a:xfrm>
          <a:custGeom>
            <a:avLst/>
            <a:gdLst/>
            <a:ahLst/>
            <a:cxnLst/>
            <a:rect l="l" t="t" r="r" b="b"/>
            <a:pathLst>
              <a:path w="95" h="40" extrusionOk="0">
                <a:moveTo>
                  <a:pt x="40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14" y="27"/>
                  <a:pt x="40" y="40"/>
                </a:cubicBezTo>
                <a:cubicBezTo>
                  <a:pt x="66" y="40"/>
                  <a:pt x="95" y="27"/>
                  <a:pt x="95" y="27"/>
                </a:cubicBezTo>
                <a:cubicBezTo>
                  <a:pt x="95" y="14"/>
                  <a:pt x="66" y="1"/>
                  <a:pt x="4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8" name="Google Shape;638;p26"/>
          <p:cNvSpPr/>
          <p:nvPr/>
        </p:nvSpPr>
        <p:spPr>
          <a:xfrm>
            <a:off x="4373664" y="6037060"/>
            <a:ext cx="24241" cy="6545"/>
          </a:xfrm>
          <a:custGeom>
            <a:avLst/>
            <a:gdLst/>
            <a:ahLst/>
            <a:cxnLst/>
            <a:rect l="l" t="t" r="r" b="b"/>
            <a:pathLst>
              <a:path w="98" h="43" extrusionOk="0">
                <a:moveTo>
                  <a:pt x="43" y="1"/>
                </a:moveTo>
                <a:cubicBezTo>
                  <a:pt x="30" y="1"/>
                  <a:pt x="1" y="1"/>
                  <a:pt x="1" y="17"/>
                </a:cubicBezTo>
                <a:cubicBezTo>
                  <a:pt x="1" y="30"/>
                  <a:pt x="17" y="30"/>
                  <a:pt x="43" y="43"/>
                </a:cubicBezTo>
                <a:cubicBezTo>
                  <a:pt x="69" y="43"/>
                  <a:pt x="98" y="30"/>
                  <a:pt x="98" y="30"/>
                </a:cubicBezTo>
                <a:cubicBezTo>
                  <a:pt x="98" y="17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9" name="Google Shape;639;p26"/>
          <p:cNvSpPr/>
          <p:nvPr/>
        </p:nvSpPr>
        <p:spPr>
          <a:xfrm>
            <a:off x="4093164" y="6027318"/>
            <a:ext cx="24241" cy="3957"/>
          </a:xfrm>
          <a:custGeom>
            <a:avLst/>
            <a:gdLst/>
            <a:ahLst/>
            <a:cxnLst/>
            <a:rect l="l" t="t" r="r" b="b"/>
            <a:pathLst>
              <a:path w="98" h="26" extrusionOk="0">
                <a:moveTo>
                  <a:pt x="56" y="0"/>
                </a:moveTo>
                <a:cubicBezTo>
                  <a:pt x="30" y="0"/>
                  <a:pt x="17" y="0"/>
                  <a:pt x="17" y="13"/>
                </a:cubicBezTo>
                <a:cubicBezTo>
                  <a:pt x="1" y="26"/>
                  <a:pt x="30" y="26"/>
                  <a:pt x="56" y="26"/>
                </a:cubicBezTo>
                <a:cubicBezTo>
                  <a:pt x="82" y="26"/>
                  <a:pt x="98" y="26"/>
                  <a:pt x="98" y="13"/>
                </a:cubicBezTo>
                <a:cubicBezTo>
                  <a:pt x="98" y="13"/>
                  <a:pt x="82" y="0"/>
                  <a:pt x="5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0" name="Google Shape;640;p26"/>
          <p:cNvSpPr/>
          <p:nvPr/>
        </p:nvSpPr>
        <p:spPr>
          <a:xfrm>
            <a:off x="4206945" y="6057758"/>
            <a:ext cx="23499" cy="669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56" y="1"/>
                </a:moveTo>
                <a:cubicBezTo>
                  <a:pt x="27" y="1"/>
                  <a:pt x="1" y="14"/>
                  <a:pt x="1" y="14"/>
                </a:cubicBezTo>
                <a:cubicBezTo>
                  <a:pt x="1" y="27"/>
                  <a:pt x="27" y="27"/>
                  <a:pt x="56" y="43"/>
                </a:cubicBezTo>
                <a:cubicBezTo>
                  <a:pt x="69" y="43"/>
                  <a:pt x="95" y="27"/>
                  <a:pt x="95" y="27"/>
                </a:cubicBezTo>
                <a:cubicBezTo>
                  <a:pt x="95" y="14"/>
                  <a:pt x="82" y="1"/>
                  <a:pt x="56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1" name="Google Shape;641;p26"/>
          <p:cNvSpPr/>
          <p:nvPr/>
        </p:nvSpPr>
        <p:spPr>
          <a:xfrm>
            <a:off x="4243801" y="6045430"/>
            <a:ext cx="23499" cy="4109"/>
          </a:xfrm>
          <a:custGeom>
            <a:avLst/>
            <a:gdLst/>
            <a:ahLst/>
            <a:cxnLst/>
            <a:rect l="l" t="t" r="r" b="b"/>
            <a:pathLst>
              <a:path w="95" h="27" extrusionOk="0">
                <a:moveTo>
                  <a:pt x="56" y="1"/>
                </a:moveTo>
                <a:cubicBezTo>
                  <a:pt x="27" y="1"/>
                  <a:pt x="1" y="1"/>
                  <a:pt x="1" y="14"/>
                </a:cubicBezTo>
                <a:cubicBezTo>
                  <a:pt x="1" y="14"/>
                  <a:pt x="27" y="27"/>
                  <a:pt x="40" y="27"/>
                </a:cubicBezTo>
                <a:cubicBezTo>
                  <a:pt x="69" y="27"/>
                  <a:pt x="95" y="27"/>
                  <a:pt x="95" y="14"/>
                </a:cubicBezTo>
                <a:cubicBezTo>
                  <a:pt x="95" y="14"/>
                  <a:pt x="69" y="1"/>
                  <a:pt x="56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2" name="Google Shape;642;p26"/>
          <p:cNvSpPr/>
          <p:nvPr/>
        </p:nvSpPr>
        <p:spPr>
          <a:xfrm>
            <a:off x="2366877" y="6007685"/>
            <a:ext cx="23499" cy="4871"/>
          </a:xfrm>
          <a:custGeom>
            <a:avLst/>
            <a:gdLst/>
            <a:ahLst/>
            <a:cxnLst/>
            <a:rect l="l" t="t" r="r" b="b"/>
            <a:pathLst>
              <a:path w="95" h="32" extrusionOk="0">
                <a:moveTo>
                  <a:pt x="68" y="0"/>
                </a:moveTo>
                <a:cubicBezTo>
                  <a:pt x="60" y="0"/>
                  <a:pt x="52" y="2"/>
                  <a:pt x="43" y="6"/>
                </a:cubicBezTo>
                <a:cubicBezTo>
                  <a:pt x="30" y="6"/>
                  <a:pt x="1" y="6"/>
                  <a:pt x="1" y="19"/>
                </a:cubicBezTo>
                <a:cubicBezTo>
                  <a:pt x="1" y="32"/>
                  <a:pt x="30" y="32"/>
                  <a:pt x="56" y="32"/>
                </a:cubicBezTo>
                <a:cubicBezTo>
                  <a:pt x="69" y="32"/>
                  <a:pt x="95" y="19"/>
                  <a:pt x="95" y="6"/>
                </a:cubicBezTo>
                <a:cubicBezTo>
                  <a:pt x="95" y="6"/>
                  <a:pt x="83" y="0"/>
                  <a:pt x="6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3" name="Google Shape;643;p26"/>
          <p:cNvSpPr/>
          <p:nvPr/>
        </p:nvSpPr>
        <p:spPr>
          <a:xfrm>
            <a:off x="2450236" y="5998096"/>
            <a:ext cx="20283" cy="6545"/>
          </a:xfrm>
          <a:custGeom>
            <a:avLst/>
            <a:gdLst/>
            <a:ahLst/>
            <a:cxnLst/>
            <a:rect l="l" t="t" r="r" b="b"/>
            <a:pathLst>
              <a:path w="82" h="43" extrusionOk="0">
                <a:moveTo>
                  <a:pt x="43" y="1"/>
                </a:moveTo>
                <a:cubicBezTo>
                  <a:pt x="17" y="1"/>
                  <a:pt x="1" y="14"/>
                  <a:pt x="1" y="30"/>
                </a:cubicBezTo>
                <a:cubicBezTo>
                  <a:pt x="1" y="30"/>
                  <a:pt x="17" y="43"/>
                  <a:pt x="43" y="43"/>
                </a:cubicBezTo>
                <a:cubicBezTo>
                  <a:pt x="69" y="30"/>
                  <a:pt x="82" y="30"/>
                  <a:pt x="82" y="14"/>
                </a:cubicBezTo>
                <a:cubicBezTo>
                  <a:pt x="82" y="14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4" name="Google Shape;644;p26"/>
          <p:cNvSpPr/>
          <p:nvPr/>
        </p:nvSpPr>
        <p:spPr>
          <a:xfrm>
            <a:off x="2403733" y="5994138"/>
            <a:ext cx="23499" cy="4109"/>
          </a:xfrm>
          <a:custGeom>
            <a:avLst/>
            <a:gdLst/>
            <a:ahLst/>
            <a:cxnLst/>
            <a:rect l="l" t="t" r="r" b="b"/>
            <a:pathLst>
              <a:path w="95" h="27" extrusionOk="0">
                <a:moveTo>
                  <a:pt x="43" y="1"/>
                </a:moveTo>
                <a:cubicBezTo>
                  <a:pt x="14" y="1"/>
                  <a:pt x="1" y="1"/>
                  <a:pt x="1" y="14"/>
                </a:cubicBezTo>
                <a:cubicBezTo>
                  <a:pt x="1" y="27"/>
                  <a:pt x="14" y="27"/>
                  <a:pt x="43" y="27"/>
                </a:cubicBezTo>
                <a:cubicBezTo>
                  <a:pt x="69" y="27"/>
                  <a:pt x="95" y="14"/>
                  <a:pt x="82" y="14"/>
                </a:cubicBezTo>
                <a:cubicBezTo>
                  <a:pt x="82" y="1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5" name="Google Shape;645;p26"/>
          <p:cNvSpPr/>
          <p:nvPr/>
        </p:nvSpPr>
        <p:spPr>
          <a:xfrm>
            <a:off x="2497480" y="6008445"/>
            <a:ext cx="23499" cy="6697"/>
          </a:xfrm>
          <a:custGeom>
            <a:avLst/>
            <a:gdLst/>
            <a:ahLst/>
            <a:cxnLst/>
            <a:rect l="l" t="t" r="r" b="b"/>
            <a:pathLst>
              <a:path w="95" h="44" extrusionOk="0">
                <a:moveTo>
                  <a:pt x="40" y="1"/>
                </a:moveTo>
                <a:cubicBezTo>
                  <a:pt x="27" y="1"/>
                  <a:pt x="1" y="14"/>
                  <a:pt x="1" y="27"/>
                </a:cubicBezTo>
                <a:cubicBezTo>
                  <a:pt x="1" y="27"/>
                  <a:pt x="27" y="43"/>
                  <a:pt x="53" y="43"/>
                </a:cubicBezTo>
                <a:cubicBezTo>
                  <a:pt x="69" y="27"/>
                  <a:pt x="95" y="27"/>
                  <a:pt x="95" y="14"/>
                </a:cubicBezTo>
                <a:cubicBezTo>
                  <a:pt x="95" y="1"/>
                  <a:pt x="69" y="1"/>
                  <a:pt x="4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6" name="Google Shape;646;p26"/>
          <p:cNvSpPr/>
          <p:nvPr/>
        </p:nvSpPr>
        <p:spPr>
          <a:xfrm>
            <a:off x="2323591" y="5996116"/>
            <a:ext cx="20283" cy="4109"/>
          </a:xfrm>
          <a:custGeom>
            <a:avLst/>
            <a:gdLst/>
            <a:ahLst/>
            <a:cxnLst/>
            <a:rect l="l" t="t" r="r" b="b"/>
            <a:pathLst>
              <a:path w="82" h="27" extrusionOk="0">
                <a:moveTo>
                  <a:pt x="43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27"/>
                  <a:pt x="14" y="27"/>
                  <a:pt x="43" y="27"/>
                </a:cubicBezTo>
                <a:cubicBezTo>
                  <a:pt x="69" y="27"/>
                  <a:pt x="82" y="27"/>
                  <a:pt x="82" y="14"/>
                </a:cubicBezTo>
                <a:cubicBezTo>
                  <a:pt x="82" y="1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7" name="Google Shape;647;p26"/>
          <p:cNvSpPr/>
          <p:nvPr/>
        </p:nvSpPr>
        <p:spPr>
          <a:xfrm>
            <a:off x="2340411" y="6022753"/>
            <a:ext cx="23499" cy="4719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40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27" y="30"/>
                  <a:pt x="40" y="30"/>
                </a:cubicBezTo>
                <a:cubicBezTo>
                  <a:pt x="69" y="30"/>
                  <a:pt x="95" y="14"/>
                  <a:pt x="95" y="14"/>
                </a:cubicBezTo>
                <a:cubicBezTo>
                  <a:pt x="95" y="1"/>
                  <a:pt x="69" y="1"/>
                  <a:pt x="4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8" name="Google Shape;648;p26"/>
          <p:cNvSpPr/>
          <p:nvPr/>
        </p:nvSpPr>
        <p:spPr>
          <a:xfrm>
            <a:off x="2487092" y="5985767"/>
            <a:ext cx="23499" cy="4719"/>
          </a:xfrm>
          <a:custGeom>
            <a:avLst/>
            <a:gdLst/>
            <a:ahLst/>
            <a:cxnLst/>
            <a:rect l="l" t="t" r="r" b="b"/>
            <a:pathLst>
              <a:path w="95" h="31" extrusionOk="0">
                <a:moveTo>
                  <a:pt x="43" y="1"/>
                </a:moveTo>
                <a:cubicBezTo>
                  <a:pt x="14" y="1"/>
                  <a:pt x="1" y="14"/>
                  <a:pt x="1" y="14"/>
                </a:cubicBezTo>
                <a:cubicBezTo>
                  <a:pt x="1" y="30"/>
                  <a:pt x="30" y="30"/>
                  <a:pt x="43" y="30"/>
                </a:cubicBezTo>
                <a:cubicBezTo>
                  <a:pt x="69" y="30"/>
                  <a:pt x="95" y="30"/>
                  <a:pt x="95" y="14"/>
                </a:cubicBezTo>
                <a:cubicBezTo>
                  <a:pt x="95" y="1"/>
                  <a:pt x="69" y="1"/>
                  <a:pt x="4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9" name="Google Shape;649;p26"/>
          <p:cNvSpPr/>
          <p:nvPr/>
        </p:nvSpPr>
        <p:spPr>
          <a:xfrm>
            <a:off x="2374051" y="5979070"/>
            <a:ext cx="23499" cy="4871"/>
          </a:xfrm>
          <a:custGeom>
            <a:avLst/>
            <a:gdLst/>
            <a:ahLst/>
            <a:cxnLst/>
            <a:rect l="l" t="t" r="r" b="b"/>
            <a:pathLst>
              <a:path w="95" h="32" extrusionOk="0">
                <a:moveTo>
                  <a:pt x="62" y="0"/>
                </a:moveTo>
                <a:cubicBezTo>
                  <a:pt x="56" y="0"/>
                  <a:pt x="48" y="2"/>
                  <a:pt x="40" y="6"/>
                </a:cubicBezTo>
                <a:cubicBezTo>
                  <a:pt x="14" y="6"/>
                  <a:pt x="1" y="6"/>
                  <a:pt x="1" y="19"/>
                </a:cubicBezTo>
                <a:cubicBezTo>
                  <a:pt x="1" y="32"/>
                  <a:pt x="14" y="32"/>
                  <a:pt x="40" y="32"/>
                </a:cubicBezTo>
                <a:cubicBezTo>
                  <a:pt x="66" y="32"/>
                  <a:pt x="95" y="19"/>
                  <a:pt x="82" y="6"/>
                </a:cubicBezTo>
                <a:cubicBezTo>
                  <a:pt x="82" y="6"/>
                  <a:pt x="75" y="0"/>
                  <a:pt x="62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0" name="Google Shape;650;p26"/>
          <p:cNvSpPr/>
          <p:nvPr/>
        </p:nvSpPr>
        <p:spPr>
          <a:xfrm>
            <a:off x="2277088" y="6008445"/>
            <a:ext cx="20283" cy="6697"/>
          </a:xfrm>
          <a:custGeom>
            <a:avLst/>
            <a:gdLst/>
            <a:ahLst/>
            <a:cxnLst/>
            <a:rect l="l" t="t" r="r" b="b"/>
            <a:pathLst>
              <a:path w="82" h="44" extrusionOk="0">
                <a:moveTo>
                  <a:pt x="40" y="1"/>
                </a:moveTo>
                <a:cubicBezTo>
                  <a:pt x="14" y="14"/>
                  <a:pt x="1" y="14"/>
                  <a:pt x="1" y="27"/>
                </a:cubicBezTo>
                <a:cubicBezTo>
                  <a:pt x="1" y="43"/>
                  <a:pt x="14" y="43"/>
                  <a:pt x="40" y="43"/>
                </a:cubicBezTo>
                <a:cubicBezTo>
                  <a:pt x="69" y="43"/>
                  <a:pt x="82" y="27"/>
                  <a:pt x="82" y="14"/>
                </a:cubicBezTo>
                <a:cubicBezTo>
                  <a:pt x="82" y="14"/>
                  <a:pt x="69" y="1"/>
                  <a:pt x="40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1" name="Google Shape;651;p26"/>
          <p:cNvSpPr/>
          <p:nvPr/>
        </p:nvSpPr>
        <p:spPr>
          <a:xfrm>
            <a:off x="2554372" y="5998096"/>
            <a:ext cx="23499" cy="6545"/>
          </a:xfrm>
          <a:custGeom>
            <a:avLst/>
            <a:gdLst/>
            <a:ahLst/>
            <a:cxnLst/>
            <a:rect l="l" t="t" r="r" b="b"/>
            <a:pathLst>
              <a:path w="95" h="43" extrusionOk="0">
                <a:moveTo>
                  <a:pt x="53" y="1"/>
                </a:moveTo>
                <a:cubicBezTo>
                  <a:pt x="27" y="1"/>
                  <a:pt x="1" y="14"/>
                  <a:pt x="1" y="30"/>
                </a:cubicBezTo>
                <a:cubicBezTo>
                  <a:pt x="1" y="30"/>
                  <a:pt x="27" y="43"/>
                  <a:pt x="53" y="43"/>
                </a:cubicBezTo>
                <a:cubicBezTo>
                  <a:pt x="82" y="30"/>
                  <a:pt x="95" y="30"/>
                  <a:pt x="95" y="14"/>
                </a:cubicBezTo>
                <a:cubicBezTo>
                  <a:pt x="95" y="1"/>
                  <a:pt x="66" y="1"/>
                  <a:pt x="53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2" name="Google Shape;652;p26"/>
          <p:cNvSpPr/>
          <p:nvPr/>
        </p:nvSpPr>
        <p:spPr>
          <a:xfrm>
            <a:off x="2440589" y="6029296"/>
            <a:ext cx="23499" cy="5936"/>
          </a:xfrm>
          <a:custGeom>
            <a:avLst/>
            <a:gdLst/>
            <a:ahLst/>
            <a:cxnLst/>
            <a:rect l="l" t="t" r="r" b="b"/>
            <a:pathLst>
              <a:path w="95" h="39" extrusionOk="0">
                <a:moveTo>
                  <a:pt x="56" y="0"/>
                </a:moveTo>
                <a:cubicBezTo>
                  <a:pt x="27" y="13"/>
                  <a:pt x="1" y="13"/>
                  <a:pt x="14" y="26"/>
                </a:cubicBezTo>
                <a:cubicBezTo>
                  <a:pt x="14" y="39"/>
                  <a:pt x="27" y="39"/>
                  <a:pt x="56" y="39"/>
                </a:cubicBezTo>
                <a:cubicBezTo>
                  <a:pt x="82" y="39"/>
                  <a:pt x="95" y="26"/>
                  <a:pt x="95" y="13"/>
                </a:cubicBezTo>
                <a:cubicBezTo>
                  <a:pt x="95" y="13"/>
                  <a:pt x="82" y="0"/>
                  <a:pt x="5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3" name="Google Shape;653;p26"/>
          <p:cNvSpPr/>
          <p:nvPr/>
        </p:nvSpPr>
        <p:spPr>
          <a:xfrm>
            <a:off x="2406949" y="6016969"/>
            <a:ext cx="20283" cy="4871"/>
          </a:xfrm>
          <a:custGeom>
            <a:avLst/>
            <a:gdLst/>
            <a:ahLst/>
            <a:cxnLst/>
            <a:rect l="l" t="t" r="r" b="b"/>
            <a:pathLst>
              <a:path w="82" h="32" extrusionOk="0">
                <a:moveTo>
                  <a:pt x="43" y="0"/>
                </a:moveTo>
                <a:cubicBezTo>
                  <a:pt x="14" y="0"/>
                  <a:pt x="1" y="13"/>
                  <a:pt x="1" y="26"/>
                </a:cubicBezTo>
                <a:cubicBezTo>
                  <a:pt x="1" y="26"/>
                  <a:pt x="7" y="32"/>
                  <a:pt x="19" y="32"/>
                </a:cubicBezTo>
                <a:cubicBezTo>
                  <a:pt x="25" y="32"/>
                  <a:pt x="33" y="30"/>
                  <a:pt x="43" y="26"/>
                </a:cubicBezTo>
                <a:cubicBezTo>
                  <a:pt x="69" y="26"/>
                  <a:pt x="82" y="26"/>
                  <a:pt x="82" y="13"/>
                </a:cubicBezTo>
                <a:cubicBezTo>
                  <a:pt x="82" y="0"/>
                  <a:pt x="69" y="0"/>
                  <a:pt x="43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4" name="Google Shape;654;p26"/>
          <p:cNvSpPr/>
          <p:nvPr/>
        </p:nvSpPr>
        <p:spPr>
          <a:xfrm>
            <a:off x="9094425" y="5974121"/>
            <a:ext cx="815288" cy="513376"/>
          </a:xfrm>
          <a:custGeom>
            <a:avLst/>
            <a:gdLst/>
            <a:ahLst/>
            <a:cxnLst/>
            <a:rect l="l" t="t" r="r" b="b"/>
            <a:pathLst>
              <a:path w="3296" h="3373" extrusionOk="0">
                <a:moveTo>
                  <a:pt x="1932" y="0"/>
                </a:moveTo>
                <a:lnTo>
                  <a:pt x="1757" y="457"/>
                </a:lnTo>
                <a:lnTo>
                  <a:pt x="1689" y="392"/>
                </a:lnTo>
                <a:lnTo>
                  <a:pt x="1595" y="214"/>
                </a:lnTo>
                <a:lnTo>
                  <a:pt x="1498" y="94"/>
                </a:lnTo>
                <a:lnTo>
                  <a:pt x="1404" y="243"/>
                </a:lnTo>
                <a:lnTo>
                  <a:pt x="1297" y="149"/>
                </a:lnTo>
                <a:lnTo>
                  <a:pt x="1203" y="188"/>
                </a:lnTo>
                <a:lnTo>
                  <a:pt x="1174" y="418"/>
                </a:lnTo>
                <a:lnTo>
                  <a:pt x="1067" y="405"/>
                </a:lnTo>
                <a:lnTo>
                  <a:pt x="837" y="120"/>
                </a:lnTo>
                <a:lnTo>
                  <a:pt x="973" y="606"/>
                </a:lnTo>
                <a:lnTo>
                  <a:pt x="973" y="606"/>
                </a:lnTo>
                <a:lnTo>
                  <a:pt x="717" y="350"/>
                </a:lnTo>
                <a:lnTo>
                  <a:pt x="607" y="376"/>
                </a:lnTo>
                <a:lnTo>
                  <a:pt x="649" y="593"/>
                </a:lnTo>
                <a:lnTo>
                  <a:pt x="649" y="593"/>
                </a:lnTo>
                <a:lnTo>
                  <a:pt x="445" y="525"/>
                </a:lnTo>
                <a:lnTo>
                  <a:pt x="338" y="567"/>
                </a:lnTo>
                <a:lnTo>
                  <a:pt x="487" y="823"/>
                </a:lnTo>
                <a:lnTo>
                  <a:pt x="594" y="998"/>
                </a:lnTo>
                <a:lnTo>
                  <a:pt x="150" y="836"/>
                </a:lnTo>
                <a:lnTo>
                  <a:pt x="150" y="836"/>
                </a:lnTo>
                <a:lnTo>
                  <a:pt x="202" y="985"/>
                </a:lnTo>
                <a:lnTo>
                  <a:pt x="406" y="1186"/>
                </a:lnTo>
                <a:lnTo>
                  <a:pt x="14" y="1134"/>
                </a:lnTo>
                <a:lnTo>
                  <a:pt x="218" y="1309"/>
                </a:lnTo>
                <a:lnTo>
                  <a:pt x="244" y="1403"/>
                </a:lnTo>
                <a:lnTo>
                  <a:pt x="14" y="1471"/>
                </a:lnTo>
                <a:lnTo>
                  <a:pt x="364" y="1591"/>
                </a:lnTo>
                <a:lnTo>
                  <a:pt x="202" y="1672"/>
                </a:lnTo>
                <a:lnTo>
                  <a:pt x="1" y="1782"/>
                </a:lnTo>
                <a:lnTo>
                  <a:pt x="95" y="1876"/>
                </a:lnTo>
                <a:lnTo>
                  <a:pt x="150" y="1957"/>
                </a:lnTo>
                <a:lnTo>
                  <a:pt x="393" y="1996"/>
                </a:lnTo>
                <a:lnTo>
                  <a:pt x="189" y="2145"/>
                </a:lnTo>
                <a:lnTo>
                  <a:pt x="312" y="2213"/>
                </a:lnTo>
                <a:lnTo>
                  <a:pt x="121" y="2401"/>
                </a:lnTo>
                <a:lnTo>
                  <a:pt x="121" y="2401"/>
                </a:lnTo>
                <a:lnTo>
                  <a:pt x="461" y="2336"/>
                </a:lnTo>
                <a:lnTo>
                  <a:pt x="380" y="2482"/>
                </a:lnTo>
                <a:lnTo>
                  <a:pt x="312" y="2660"/>
                </a:lnTo>
                <a:lnTo>
                  <a:pt x="312" y="2660"/>
                </a:lnTo>
                <a:lnTo>
                  <a:pt x="636" y="2524"/>
                </a:lnTo>
                <a:lnTo>
                  <a:pt x="688" y="2579"/>
                </a:lnTo>
                <a:lnTo>
                  <a:pt x="769" y="2618"/>
                </a:lnTo>
                <a:lnTo>
                  <a:pt x="850" y="2644"/>
                </a:lnTo>
                <a:lnTo>
                  <a:pt x="743" y="2942"/>
                </a:lnTo>
                <a:lnTo>
                  <a:pt x="931" y="2822"/>
                </a:lnTo>
                <a:lnTo>
                  <a:pt x="879" y="3146"/>
                </a:lnTo>
                <a:lnTo>
                  <a:pt x="1122" y="2835"/>
                </a:lnTo>
                <a:lnTo>
                  <a:pt x="1109" y="3130"/>
                </a:lnTo>
                <a:lnTo>
                  <a:pt x="1203" y="3146"/>
                </a:lnTo>
                <a:lnTo>
                  <a:pt x="1297" y="3211"/>
                </a:lnTo>
                <a:lnTo>
                  <a:pt x="1391" y="3240"/>
                </a:lnTo>
                <a:lnTo>
                  <a:pt x="1514" y="3049"/>
                </a:lnTo>
                <a:lnTo>
                  <a:pt x="1595" y="3373"/>
                </a:lnTo>
                <a:lnTo>
                  <a:pt x="1702" y="3159"/>
                </a:lnTo>
                <a:lnTo>
                  <a:pt x="1809" y="3292"/>
                </a:lnTo>
                <a:lnTo>
                  <a:pt x="1838" y="2874"/>
                </a:lnTo>
                <a:lnTo>
                  <a:pt x="1945" y="2955"/>
                </a:lnTo>
                <a:lnTo>
                  <a:pt x="2052" y="3023"/>
                </a:lnTo>
                <a:lnTo>
                  <a:pt x="2094" y="2874"/>
                </a:lnTo>
                <a:lnTo>
                  <a:pt x="2256" y="3023"/>
                </a:lnTo>
                <a:lnTo>
                  <a:pt x="2324" y="2929"/>
                </a:lnTo>
                <a:lnTo>
                  <a:pt x="2499" y="3010"/>
                </a:lnTo>
                <a:lnTo>
                  <a:pt x="2499" y="3010"/>
                </a:lnTo>
                <a:lnTo>
                  <a:pt x="2457" y="2793"/>
                </a:lnTo>
                <a:lnTo>
                  <a:pt x="2606" y="2822"/>
                </a:lnTo>
                <a:lnTo>
                  <a:pt x="2632" y="2712"/>
                </a:lnTo>
                <a:lnTo>
                  <a:pt x="2674" y="2618"/>
                </a:lnTo>
                <a:lnTo>
                  <a:pt x="2781" y="2592"/>
                </a:lnTo>
                <a:lnTo>
                  <a:pt x="2972" y="2592"/>
                </a:lnTo>
                <a:lnTo>
                  <a:pt x="2768" y="2349"/>
                </a:lnTo>
                <a:lnTo>
                  <a:pt x="2956" y="2349"/>
                </a:lnTo>
                <a:lnTo>
                  <a:pt x="2781" y="2158"/>
                </a:lnTo>
                <a:lnTo>
                  <a:pt x="2917" y="2119"/>
                </a:lnTo>
                <a:lnTo>
                  <a:pt x="2810" y="1996"/>
                </a:lnTo>
                <a:lnTo>
                  <a:pt x="3024" y="1957"/>
                </a:lnTo>
                <a:lnTo>
                  <a:pt x="2930" y="1850"/>
                </a:lnTo>
                <a:lnTo>
                  <a:pt x="2810" y="1753"/>
                </a:lnTo>
                <a:lnTo>
                  <a:pt x="3118" y="1672"/>
                </a:lnTo>
                <a:lnTo>
                  <a:pt x="2956" y="1578"/>
                </a:lnTo>
                <a:lnTo>
                  <a:pt x="3296" y="1458"/>
                </a:lnTo>
                <a:lnTo>
                  <a:pt x="2917" y="1416"/>
                </a:lnTo>
                <a:lnTo>
                  <a:pt x="3118" y="1267"/>
                </a:lnTo>
                <a:lnTo>
                  <a:pt x="2875" y="1241"/>
                </a:lnTo>
                <a:lnTo>
                  <a:pt x="2998" y="1092"/>
                </a:lnTo>
                <a:lnTo>
                  <a:pt x="2943" y="1011"/>
                </a:lnTo>
                <a:lnTo>
                  <a:pt x="2943" y="904"/>
                </a:lnTo>
                <a:lnTo>
                  <a:pt x="3011" y="729"/>
                </a:lnTo>
                <a:lnTo>
                  <a:pt x="2687" y="836"/>
                </a:lnTo>
                <a:lnTo>
                  <a:pt x="2619" y="768"/>
                </a:lnTo>
                <a:lnTo>
                  <a:pt x="2755" y="525"/>
                </a:lnTo>
                <a:lnTo>
                  <a:pt x="2431" y="729"/>
                </a:lnTo>
                <a:lnTo>
                  <a:pt x="2470" y="538"/>
                </a:lnTo>
                <a:lnTo>
                  <a:pt x="2499" y="337"/>
                </a:lnTo>
                <a:lnTo>
                  <a:pt x="2444" y="201"/>
                </a:lnTo>
                <a:lnTo>
                  <a:pt x="2243" y="363"/>
                </a:lnTo>
                <a:lnTo>
                  <a:pt x="2175" y="295"/>
                </a:lnTo>
                <a:lnTo>
                  <a:pt x="2052" y="350"/>
                </a:lnTo>
                <a:lnTo>
                  <a:pt x="1958" y="337"/>
                </a:lnTo>
                <a:lnTo>
                  <a:pt x="1932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5" name="Google Shape;655;p26"/>
          <p:cNvSpPr/>
          <p:nvPr/>
        </p:nvSpPr>
        <p:spPr>
          <a:xfrm>
            <a:off x="8667245" y="6142151"/>
            <a:ext cx="584504" cy="368024"/>
          </a:xfrm>
          <a:custGeom>
            <a:avLst/>
            <a:gdLst/>
            <a:ahLst/>
            <a:cxnLst/>
            <a:rect l="l" t="t" r="r" b="b"/>
            <a:pathLst>
              <a:path w="2363" h="2418" extrusionOk="0">
                <a:moveTo>
                  <a:pt x="973" y="1"/>
                </a:moveTo>
                <a:lnTo>
                  <a:pt x="957" y="244"/>
                </a:lnTo>
                <a:lnTo>
                  <a:pt x="892" y="244"/>
                </a:lnTo>
                <a:lnTo>
                  <a:pt x="811" y="218"/>
                </a:lnTo>
                <a:lnTo>
                  <a:pt x="756" y="273"/>
                </a:lnTo>
                <a:lnTo>
                  <a:pt x="607" y="150"/>
                </a:lnTo>
                <a:lnTo>
                  <a:pt x="581" y="244"/>
                </a:lnTo>
                <a:lnTo>
                  <a:pt x="594" y="393"/>
                </a:lnTo>
                <a:lnTo>
                  <a:pt x="620" y="516"/>
                </a:lnTo>
                <a:lnTo>
                  <a:pt x="620" y="516"/>
                </a:lnTo>
                <a:lnTo>
                  <a:pt x="390" y="380"/>
                </a:lnTo>
                <a:lnTo>
                  <a:pt x="487" y="555"/>
                </a:lnTo>
                <a:lnTo>
                  <a:pt x="432" y="597"/>
                </a:lnTo>
                <a:lnTo>
                  <a:pt x="202" y="529"/>
                </a:lnTo>
                <a:lnTo>
                  <a:pt x="202" y="529"/>
                </a:lnTo>
                <a:lnTo>
                  <a:pt x="257" y="649"/>
                </a:lnTo>
                <a:lnTo>
                  <a:pt x="244" y="730"/>
                </a:lnTo>
                <a:lnTo>
                  <a:pt x="215" y="785"/>
                </a:lnTo>
                <a:lnTo>
                  <a:pt x="296" y="892"/>
                </a:lnTo>
                <a:lnTo>
                  <a:pt x="121" y="908"/>
                </a:lnTo>
                <a:lnTo>
                  <a:pt x="270" y="1015"/>
                </a:lnTo>
                <a:lnTo>
                  <a:pt x="1" y="1041"/>
                </a:lnTo>
                <a:lnTo>
                  <a:pt x="244" y="1135"/>
                </a:lnTo>
                <a:lnTo>
                  <a:pt x="121" y="1203"/>
                </a:lnTo>
                <a:lnTo>
                  <a:pt x="351" y="1258"/>
                </a:lnTo>
                <a:lnTo>
                  <a:pt x="270" y="1326"/>
                </a:lnTo>
                <a:lnTo>
                  <a:pt x="189" y="1407"/>
                </a:lnTo>
                <a:lnTo>
                  <a:pt x="351" y="1433"/>
                </a:lnTo>
                <a:lnTo>
                  <a:pt x="270" y="1527"/>
                </a:lnTo>
                <a:lnTo>
                  <a:pt x="364" y="1556"/>
                </a:lnTo>
                <a:lnTo>
                  <a:pt x="244" y="1689"/>
                </a:lnTo>
                <a:lnTo>
                  <a:pt x="377" y="1689"/>
                </a:lnTo>
                <a:lnTo>
                  <a:pt x="228" y="1864"/>
                </a:lnTo>
                <a:lnTo>
                  <a:pt x="364" y="1851"/>
                </a:lnTo>
                <a:lnTo>
                  <a:pt x="445" y="1880"/>
                </a:lnTo>
                <a:lnTo>
                  <a:pt x="471" y="1945"/>
                </a:lnTo>
                <a:lnTo>
                  <a:pt x="500" y="2026"/>
                </a:lnTo>
                <a:lnTo>
                  <a:pt x="607" y="2000"/>
                </a:lnTo>
                <a:lnTo>
                  <a:pt x="581" y="2162"/>
                </a:lnTo>
                <a:lnTo>
                  <a:pt x="581" y="2162"/>
                </a:lnTo>
                <a:lnTo>
                  <a:pt x="701" y="2094"/>
                </a:lnTo>
                <a:lnTo>
                  <a:pt x="743" y="2162"/>
                </a:lnTo>
                <a:lnTo>
                  <a:pt x="863" y="2068"/>
                </a:lnTo>
                <a:lnTo>
                  <a:pt x="892" y="2175"/>
                </a:lnTo>
                <a:lnTo>
                  <a:pt x="973" y="2123"/>
                </a:lnTo>
                <a:lnTo>
                  <a:pt x="1038" y="2068"/>
                </a:lnTo>
                <a:lnTo>
                  <a:pt x="1067" y="2366"/>
                </a:lnTo>
                <a:lnTo>
                  <a:pt x="1148" y="2269"/>
                </a:lnTo>
                <a:lnTo>
                  <a:pt x="1216" y="2418"/>
                </a:lnTo>
                <a:lnTo>
                  <a:pt x="1281" y="2188"/>
                </a:lnTo>
                <a:lnTo>
                  <a:pt x="1362" y="2324"/>
                </a:lnTo>
                <a:lnTo>
                  <a:pt x="1430" y="2298"/>
                </a:lnTo>
                <a:lnTo>
                  <a:pt x="1498" y="2256"/>
                </a:lnTo>
                <a:lnTo>
                  <a:pt x="1566" y="2243"/>
                </a:lnTo>
                <a:lnTo>
                  <a:pt x="1566" y="2042"/>
                </a:lnTo>
                <a:lnTo>
                  <a:pt x="1741" y="2256"/>
                </a:lnTo>
                <a:lnTo>
                  <a:pt x="1686" y="2026"/>
                </a:lnTo>
                <a:lnTo>
                  <a:pt x="1822" y="2123"/>
                </a:lnTo>
                <a:lnTo>
                  <a:pt x="1822" y="2123"/>
                </a:lnTo>
                <a:lnTo>
                  <a:pt x="1754" y="1906"/>
                </a:lnTo>
                <a:lnTo>
                  <a:pt x="1809" y="1880"/>
                </a:lnTo>
                <a:lnTo>
                  <a:pt x="1864" y="1851"/>
                </a:lnTo>
                <a:lnTo>
                  <a:pt x="1916" y="1812"/>
                </a:lnTo>
                <a:lnTo>
                  <a:pt x="2146" y="1919"/>
                </a:lnTo>
                <a:lnTo>
                  <a:pt x="2091" y="1783"/>
                </a:lnTo>
                <a:lnTo>
                  <a:pt x="2026" y="1676"/>
                </a:lnTo>
                <a:lnTo>
                  <a:pt x="2026" y="1676"/>
                </a:lnTo>
                <a:lnTo>
                  <a:pt x="2282" y="1731"/>
                </a:lnTo>
                <a:lnTo>
                  <a:pt x="2146" y="1582"/>
                </a:lnTo>
                <a:lnTo>
                  <a:pt x="2227" y="1540"/>
                </a:lnTo>
                <a:lnTo>
                  <a:pt x="2078" y="1433"/>
                </a:lnTo>
                <a:lnTo>
                  <a:pt x="2253" y="1407"/>
                </a:lnTo>
                <a:lnTo>
                  <a:pt x="2295" y="1339"/>
                </a:lnTo>
                <a:lnTo>
                  <a:pt x="2363" y="1284"/>
                </a:lnTo>
                <a:lnTo>
                  <a:pt x="2227" y="1203"/>
                </a:lnTo>
                <a:lnTo>
                  <a:pt x="2107" y="1151"/>
                </a:lnTo>
                <a:lnTo>
                  <a:pt x="2350" y="1054"/>
                </a:lnTo>
                <a:lnTo>
                  <a:pt x="2188" y="1015"/>
                </a:lnTo>
                <a:lnTo>
                  <a:pt x="2214" y="934"/>
                </a:lnTo>
                <a:lnTo>
                  <a:pt x="2350" y="811"/>
                </a:lnTo>
                <a:lnTo>
                  <a:pt x="2065" y="853"/>
                </a:lnTo>
                <a:lnTo>
                  <a:pt x="2214" y="704"/>
                </a:lnTo>
                <a:lnTo>
                  <a:pt x="2253" y="597"/>
                </a:lnTo>
                <a:lnTo>
                  <a:pt x="2253" y="597"/>
                </a:lnTo>
                <a:lnTo>
                  <a:pt x="1929" y="717"/>
                </a:lnTo>
                <a:lnTo>
                  <a:pt x="1929" y="717"/>
                </a:lnTo>
                <a:lnTo>
                  <a:pt x="2010" y="597"/>
                </a:lnTo>
                <a:lnTo>
                  <a:pt x="2120" y="406"/>
                </a:lnTo>
                <a:lnTo>
                  <a:pt x="2039" y="380"/>
                </a:lnTo>
                <a:lnTo>
                  <a:pt x="1890" y="435"/>
                </a:lnTo>
                <a:lnTo>
                  <a:pt x="1929" y="273"/>
                </a:lnTo>
                <a:lnTo>
                  <a:pt x="1848" y="260"/>
                </a:lnTo>
                <a:lnTo>
                  <a:pt x="1660" y="435"/>
                </a:lnTo>
                <a:lnTo>
                  <a:pt x="1767" y="98"/>
                </a:lnTo>
                <a:lnTo>
                  <a:pt x="1592" y="299"/>
                </a:lnTo>
                <a:lnTo>
                  <a:pt x="1524" y="299"/>
                </a:lnTo>
                <a:lnTo>
                  <a:pt x="1498" y="137"/>
                </a:lnTo>
                <a:lnTo>
                  <a:pt x="1430" y="111"/>
                </a:lnTo>
                <a:lnTo>
                  <a:pt x="1349" y="179"/>
                </a:lnTo>
                <a:lnTo>
                  <a:pt x="1297" y="69"/>
                </a:lnTo>
                <a:lnTo>
                  <a:pt x="1216" y="150"/>
                </a:lnTo>
                <a:lnTo>
                  <a:pt x="1161" y="286"/>
                </a:lnTo>
                <a:lnTo>
                  <a:pt x="1106" y="341"/>
                </a:lnTo>
                <a:lnTo>
                  <a:pt x="973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6" name="Google Shape;656;p26"/>
          <p:cNvSpPr/>
          <p:nvPr/>
        </p:nvSpPr>
        <p:spPr>
          <a:xfrm>
            <a:off x="1751207" y="6150798"/>
            <a:ext cx="10542341" cy="976545"/>
          </a:xfrm>
          <a:custGeom>
            <a:avLst/>
            <a:gdLst/>
            <a:ahLst/>
            <a:cxnLst/>
            <a:rect l="l" t="t" r="r" b="b"/>
            <a:pathLst>
              <a:path w="42620" h="10715" extrusionOk="0">
                <a:moveTo>
                  <a:pt x="42620" y="0"/>
                </a:moveTo>
                <a:cubicBezTo>
                  <a:pt x="40783" y="94"/>
                  <a:pt x="38907" y="214"/>
                  <a:pt x="37005" y="350"/>
                </a:cubicBezTo>
                <a:cubicBezTo>
                  <a:pt x="16415" y="1847"/>
                  <a:pt x="1" y="5236"/>
                  <a:pt x="325" y="7896"/>
                </a:cubicBezTo>
                <a:cubicBezTo>
                  <a:pt x="553" y="9699"/>
                  <a:pt x="8423" y="10715"/>
                  <a:pt x="19883" y="10715"/>
                </a:cubicBezTo>
                <a:cubicBezTo>
                  <a:pt x="25329" y="10715"/>
                  <a:pt x="31587" y="10485"/>
                  <a:pt x="38220" y="10002"/>
                </a:cubicBezTo>
                <a:cubicBezTo>
                  <a:pt x="39717" y="9895"/>
                  <a:pt x="41175" y="9772"/>
                  <a:pt x="42620" y="9652"/>
                </a:cubicBezTo>
                <a:lnTo>
                  <a:pt x="4262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7" name="Google Shape;657;p26"/>
          <p:cNvSpPr/>
          <p:nvPr/>
        </p:nvSpPr>
        <p:spPr>
          <a:xfrm>
            <a:off x="-47779" y="5946650"/>
            <a:ext cx="772000" cy="538949"/>
          </a:xfrm>
          <a:custGeom>
            <a:avLst/>
            <a:gdLst/>
            <a:ahLst/>
            <a:cxnLst/>
            <a:rect l="l" t="t" r="r" b="b"/>
            <a:pathLst>
              <a:path w="3121" h="3216" extrusionOk="0">
                <a:moveTo>
                  <a:pt x="1825" y="1"/>
                </a:moveTo>
                <a:lnTo>
                  <a:pt x="1663" y="445"/>
                </a:lnTo>
                <a:lnTo>
                  <a:pt x="1595" y="380"/>
                </a:lnTo>
                <a:lnTo>
                  <a:pt x="1514" y="218"/>
                </a:lnTo>
                <a:lnTo>
                  <a:pt x="1420" y="95"/>
                </a:lnTo>
                <a:lnTo>
                  <a:pt x="1339" y="244"/>
                </a:lnTo>
                <a:lnTo>
                  <a:pt x="1229" y="150"/>
                </a:lnTo>
                <a:lnTo>
                  <a:pt x="1135" y="189"/>
                </a:lnTo>
                <a:lnTo>
                  <a:pt x="1109" y="406"/>
                </a:lnTo>
                <a:lnTo>
                  <a:pt x="1015" y="393"/>
                </a:lnTo>
                <a:lnTo>
                  <a:pt x="785" y="137"/>
                </a:lnTo>
                <a:lnTo>
                  <a:pt x="921" y="581"/>
                </a:lnTo>
                <a:lnTo>
                  <a:pt x="921" y="581"/>
                </a:lnTo>
                <a:lnTo>
                  <a:pt x="678" y="338"/>
                </a:lnTo>
                <a:lnTo>
                  <a:pt x="568" y="380"/>
                </a:lnTo>
                <a:lnTo>
                  <a:pt x="623" y="581"/>
                </a:lnTo>
                <a:lnTo>
                  <a:pt x="435" y="513"/>
                </a:lnTo>
                <a:lnTo>
                  <a:pt x="325" y="555"/>
                </a:lnTo>
                <a:lnTo>
                  <a:pt x="461" y="785"/>
                </a:lnTo>
                <a:lnTo>
                  <a:pt x="568" y="960"/>
                </a:lnTo>
                <a:lnTo>
                  <a:pt x="568" y="960"/>
                </a:lnTo>
                <a:lnTo>
                  <a:pt x="137" y="798"/>
                </a:lnTo>
                <a:lnTo>
                  <a:pt x="137" y="798"/>
                </a:lnTo>
                <a:lnTo>
                  <a:pt x="192" y="947"/>
                </a:lnTo>
                <a:lnTo>
                  <a:pt x="380" y="1135"/>
                </a:lnTo>
                <a:lnTo>
                  <a:pt x="14" y="1080"/>
                </a:lnTo>
                <a:lnTo>
                  <a:pt x="205" y="1242"/>
                </a:lnTo>
                <a:lnTo>
                  <a:pt x="231" y="1336"/>
                </a:lnTo>
                <a:lnTo>
                  <a:pt x="14" y="1404"/>
                </a:lnTo>
                <a:lnTo>
                  <a:pt x="338" y="1527"/>
                </a:lnTo>
                <a:lnTo>
                  <a:pt x="192" y="1595"/>
                </a:lnTo>
                <a:lnTo>
                  <a:pt x="1" y="1702"/>
                </a:lnTo>
                <a:lnTo>
                  <a:pt x="95" y="1783"/>
                </a:lnTo>
                <a:lnTo>
                  <a:pt x="150" y="1864"/>
                </a:lnTo>
                <a:lnTo>
                  <a:pt x="367" y="1903"/>
                </a:lnTo>
                <a:lnTo>
                  <a:pt x="192" y="2052"/>
                </a:lnTo>
                <a:lnTo>
                  <a:pt x="299" y="2107"/>
                </a:lnTo>
                <a:lnTo>
                  <a:pt x="111" y="2282"/>
                </a:lnTo>
                <a:lnTo>
                  <a:pt x="435" y="2214"/>
                </a:lnTo>
                <a:lnTo>
                  <a:pt x="367" y="2363"/>
                </a:lnTo>
                <a:lnTo>
                  <a:pt x="299" y="2538"/>
                </a:lnTo>
                <a:lnTo>
                  <a:pt x="299" y="2538"/>
                </a:lnTo>
                <a:lnTo>
                  <a:pt x="597" y="2405"/>
                </a:lnTo>
                <a:lnTo>
                  <a:pt x="649" y="2457"/>
                </a:lnTo>
                <a:lnTo>
                  <a:pt x="730" y="2486"/>
                </a:lnTo>
                <a:lnTo>
                  <a:pt x="811" y="2512"/>
                </a:lnTo>
                <a:lnTo>
                  <a:pt x="704" y="2810"/>
                </a:lnTo>
                <a:lnTo>
                  <a:pt x="879" y="2687"/>
                </a:lnTo>
                <a:lnTo>
                  <a:pt x="824" y="2985"/>
                </a:lnTo>
                <a:lnTo>
                  <a:pt x="1054" y="2700"/>
                </a:lnTo>
                <a:lnTo>
                  <a:pt x="1041" y="2972"/>
                </a:lnTo>
                <a:lnTo>
                  <a:pt x="1135" y="2985"/>
                </a:lnTo>
                <a:lnTo>
                  <a:pt x="1216" y="3053"/>
                </a:lnTo>
                <a:lnTo>
                  <a:pt x="1310" y="3079"/>
                </a:lnTo>
                <a:lnTo>
                  <a:pt x="1433" y="2891"/>
                </a:lnTo>
                <a:lnTo>
                  <a:pt x="1514" y="3215"/>
                </a:lnTo>
                <a:lnTo>
                  <a:pt x="1608" y="2998"/>
                </a:lnTo>
                <a:lnTo>
                  <a:pt x="1715" y="3134"/>
                </a:lnTo>
                <a:lnTo>
                  <a:pt x="1744" y="2742"/>
                </a:lnTo>
                <a:lnTo>
                  <a:pt x="1838" y="2810"/>
                </a:lnTo>
                <a:lnTo>
                  <a:pt x="1945" y="2875"/>
                </a:lnTo>
                <a:lnTo>
                  <a:pt x="1987" y="2742"/>
                </a:lnTo>
                <a:lnTo>
                  <a:pt x="2136" y="2862"/>
                </a:lnTo>
                <a:lnTo>
                  <a:pt x="2188" y="2781"/>
                </a:lnTo>
                <a:lnTo>
                  <a:pt x="2363" y="2862"/>
                </a:lnTo>
                <a:lnTo>
                  <a:pt x="2324" y="2661"/>
                </a:lnTo>
                <a:lnTo>
                  <a:pt x="2473" y="2687"/>
                </a:lnTo>
                <a:lnTo>
                  <a:pt x="2499" y="2580"/>
                </a:lnTo>
                <a:lnTo>
                  <a:pt x="2525" y="2486"/>
                </a:lnTo>
                <a:lnTo>
                  <a:pt x="2635" y="2457"/>
                </a:lnTo>
                <a:lnTo>
                  <a:pt x="2810" y="2470"/>
                </a:lnTo>
                <a:lnTo>
                  <a:pt x="2622" y="2227"/>
                </a:lnTo>
                <a:lnTo>
                  <a:pt x="2797" y="2227"/>
                </a:lnTo>
                <a:lnTo>
                  <a:pt x="2635" y="2065"/>
                </a:lnTo>
                <a:lnTo>
                  <a:pt x="2755" y="2026"/>
                </a:lnTo>
                <a:lnTo>
                  <a:pt x="2661" y="1903"/>
                </a:lnTo>
                <a:lnTo>
                  <a:pt x="2865" y="1864"/>
                </a:lnTo>
                <a:lnTo>
                  <a:pt x="2768" y="1770"/>
                </a:lnTo>
                <a:lnTo>
                  <a:pt x="2661" y="1676"/>
                </a:lnTo>
                <a:lnTo>
                  <a:pt x="2959" y="1595"/>
                </a:lnTo>
                <a:lnTo>
                  <a:pt x="2797" y="1514"/>
                </a:lnTo>
                <a:lnTo>
                  <a:pt x="3121" y="1391"/>
                </a:lnTo>
                <a:lnTo>
                  <a:pt x="2755" y="1352"/>
                </a:lnTo>
                <a:lnTo>
                  <a:pt x="2946" y="1216"/>
                </a:lnTo>
                <a:lnTo>
                  <a:pt x="2729" y="1190"/>
                </a:lnTo>
                <a:lnTo>
                  <a:pt x="2836" y="1054"/>
                </a:lnTo>
                <a:lnTo>
                  <a:pt x="2797" y="973"/>
                </a:lnTo>
                <a:lnTo>
                  <a:pt x="2784" y="866"/>
                </a:lnTo>
                <a:lnTo>
                  <a:pt x="2849" y="704"/>
                </a:lnTo>
                <a:lnTo>
                  <a:pt x="2554" y="798"/>
                </a:lnTo>
                <a:lnTo>
                  <a:pt x="2486" y="743"/>
                </a:lnTo>
                <a:lnTo>
                  <a:pt x="2606" y="500"/>
                </a:lnTo>
                <a:lnTo>
                  <a:pt x="2298" y="704"/>
                </a:lnTo>
                <a:lnTo>
                  <a:pt x="2337" y="526"/>
                </a:lnTo>
                <a:lnTo>
                  <a:pt x="2363" y="325"/>
                </a:lnTo>
                <a:lnTo>
                  <a:pt x="2311" y="202"/>
                </a:lnTo>
                <a:lnTo>
                  <a:pt x="2120" y="364"/>
                </a:lnTo>
                <a:lnTo>
                  <a:pt x="2055" y="299"/>
                </a:lnTo>
                <a:lnTo>
                  <a:pt x="1932" y="338"/>
                </a:lnTo>
                <a:lnTo>
                  <a:pt x="1851" y="338"/>
                </a:lnTo>
                <a:lnTo>
                  <a:pt x="1825" y="1"/>
                </a:ln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8" name="Google Shape;658;p26"/>
          <p:cNvSpPr/>
          <p:nvPr/>
        </p:nvSpPr>
        <p:spPr>
          <a:xfrm>
            <a:off x="-118545" y="6278567"/>
            <a:ext cx="6708033" cy="848776"/>
          </a:xfrm>
          <a:custGeom>
            <a:avLst/>
            <a:gdLst/>
            <a:ahLst/>
            <a:cxnLst/>
            <a:rect l="l" t="t" r="r" b="b"/>
            <a:pathLst>
              <a:path w="27026" h="10756" extrusionOk="0">
                <a:moveTo>
                  <a:pt x="1" y="1"/>
                </a:moveTo>
                <a:lnTo>
                  <a:pt x="1" y="9261"/>
                </a:lnTo>
                <a:cubicBezTo>
                  <a:pt x="1660" y="9572"/>
                  <a:pt x="3390" y="9828"/>
                  <a:pt x="5185" y="10058"/>
                </a:cubicBezTo>
                <a:cubicBezTo>
                  <a:pt x="8967" y="10531"/>
                  <a:pt x="12535" y="10756"/>
                  <a:pt x="15642" y="10756"/>
                </a:cubicBezTo>
                <a:cubicBezTo>
                  <a:pt x="22197" y="10756"/>
                  <a:pt x="26701" y="9756"/>
                  <a:pt x="26838" y="7978"/>
                </a:cubicBezTo>
                <a:cubicBezTo>
                  <a:pt x="27026" y="5360"/>
                  <a:pt x="17646" y="2039"/>
                  <a:pt x="5872" y="555"/>
                </a:cubicBezTo>
                <a:cubicBezTo>
                  <a:pt x="3847" y="299"/>
                  <a:pt x="1877" y="121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9" name="Google Shape;659;p26"/>
          <p:cNvSpPr/>
          <p:nvPr/>
        </p:nvSpPr>
        <p:spPr>
          <a:xfrm>
            <a:off x="4524909" y="6745537"/>
            <a:ext cx="4267892" cy="538947"/>
          </a:xfrm>
          <a:custGeom>
            <a:avLst/>
            <a:gdLst/>
            <a:ahLst/>
            <a:cxnLst/>
            <a:rect l="l" t="t" r="r" b="b"/>
            <a:pathLst>
              <a:path w="17254" h="3541" extrusionOk="0">
                <a:moveTo>
                  <a:pt x="7184" y="1"/>
                </a:moveTo>
                <a:cubicBezTo>
                  <a:pt x="7103" y="1"/>
                  <a:pt x="7009" y="124"/>
                  <a:pt x="6915" y="124"/>
                </a:cubicBezTo>
                <a:cubicBezTo>
                  <a:pt x="6834" y="124"/>
                  <a:pt x="6740" y="30"/>
                  <a:pt x="6643" y="30"/>
                </a:cubicBezTo>
                <a:cubicBezTo>
                  <a:pt x="6549" y="43"/>
                  <a:pt x="6468" y="150"/>
                  <a:pt x="6374" y="150"/>
                </a:cubicBezTo>
                <a:cubicBezTo>
                  <a:pt x="6297" y="150"/>
                  <a:pt x="6197" y="42"/>
                  <a:pt x="6106" y="42"/>
                </a:cubicBezTo>
                <a:cubicBezTo>
                  <a:pt x="6102" y="42"/>
                  <a:pt x="6097" y="42"/>
                  <a:pt x="6092" y="43"/>
                </a:cubicBezTo>
                <a:cubicBezTo>
                  <a:pt x="6011" y="43"/>
                  <a:pt x="5914" y="124"/>
                  <a:pt x="5833" y="124"/>
                </a:cubicBezTo>
                <a:cubicBezTo>
                  <a:pt x="5739" y="137"/>
                  <a:pt x="5658" y="179"/>
                  <a:pt x="5564" y="179"/>
                </a:cubicBezTo>
                <a:cubicBezTo>
                  <a:pt x="5554" y="180"/>
                  <a:pt x="5544" y="181"/>
                  <a:pt x="5534" y="181"/>
                </a:cubicBezTo>
                <a:cubicBezTo>
                  <a:pt x="5460" y="181"/>
                  <a:pt x="5387" y="148"/>
                  <a:pt x="5321" y="148"/>
                </a:cubicBezTo>
                <a:cubicBezTo>
                  <a:pt x="5312" y="148"/>
                  <a:pt x="5303" y="148"/>
                  <a:pt x="5295" y="150"/>
                </a:cubicBezTo>
                <a:cubicBezTo>
                  <a:pt x="5201" y="163"/>
                  <a:pt x="5104" y="163"/>
                  <a:pt x="5023" y="179"/>
                </a:cubicBezTo>
                <a:cubicBezTo>
                  <a:pt x="4941" y="179"/>
                  <a:pt x="4850" y="147"/>
                  <a:pt x="4774" y="147"/>
                </a:cubicBezTo>
                <a:cubicBezTo>
                  <a:pt x="4763" y="147"/>
                  <a:pt x="4752" y="148"/>
                  <a:pt x="4741" y="150"/>
                </a:cubicBezTo>
                <a:cubicBezTo>
                  <a:pt x="4647" y="150"/>
                  <a:pt x="4592" y="299"/>
                  <a:pt x="4498" y="312"/>
                </a:cubicBezTo>
                <a:cubicBezTo>
                  <a:pt x="4404" y="325"/>
                  <a:pt x="4323" y="341"/>
                  <a:pt x="4242" y="354"/>
                </a:cubicBezTo>
                <a:cubicBezTo>
                  <a:pt x="4235" y="355"/>
                  <a:pt x="4228" y="355"/>
                  <a:pt x="4220" y="355"/>
                </a:cubicBezTo>
                <a:cubicBezTo>
                  <a:pt x="4137" y="355"/>
                  <a:pt x="4036" y="298"/>
                  <a:pt x="3963" y="298"/>
                </a:cubicBezTo>
                <a:cubicBezTo>
                  <a:pt x="3956" y="298"/>
                  <a:pt x="3950" y="298"/>
                  <a:pt x="3944" y="299"/>
                </a:cubicBezTo>
                <a:cubicBezTo>
                  <a:pt x="3850" y="312"/>
                  <a:pt x="3756" y="341"/>
                  <a:pt x="3675" y="354"/>
                </a:cubicBezTo>
                <a:cubicBezTo>
                  <a:pt x="3581" y="380"/>
                  <a:pt x="3565" y="516"/>
                  <a:pt x="3484" y="542"/>
                </a:cubicBezTo>
                <a:cubicBezTo>
                  <a:pt x="3472" y="545"/>
                  <a:pt x="3459" y="547"/>
                  <a:pt x="3445" y="547"/>
                </a:cubicBezTo>
                <a:cubicBezTo>
                  <a:pt x="3366" y="547"/>
                  <a:pt x="3257" y="505"/>
                  <a:pt x="3190" y="505"/>
                </a:cubicBezTo>
                <a:cubicBezTo>
                  <a:pt x="3172" y="505"/>
                  <a:pt x="3157" y="508"/>
                  <a:pt x="3147" y="516"/>
                </a:cubicBezTo>
                <a:cubicBezTo>
                  <a:pt x="3053" y="568"/>
                  <a:pt x="3053" y="678"/>
                  <a:pt x="3053" y="730"/>
                </a:cubicBezTo>
                <a:cubicBezTo>
                  <a:pt x="3053" y="785"/>
                  <a:pt x="3108" y="840"/>
                  <a:pt x="3176" y="879"/>
                </a:cubicBezTo>
                <a:cubicBezTo>
                  <a:pt x="3228" y="921"/>
                  <a:pt x="3322" y="947"/>
                  <a:pt x="3403" y="973"/>
                </a:cubicBezTo>
                <a:cubicBezTo>
                  <a:pt x="3309" y="989"/>
                  <a:pt x="3189" y="1002"/>
                  <a:pt x="3108" y="1002"/>
                </a:cubicBezTo>
                <a:cubicBezTo>
                  <a:pt x="3100" y="1003"/>
                  <a:pt x="3091" y="1004"/>
                  <a:pt x="3083" y="1004"/>
                </a:cubicBezTo>
                <a:cubicBezTo>
                  <a:pt x="3005" y="1004"/>
                  <a:pt x="2925" y="958"/>
                  <a:pt x="2848" y="958"/>
                </a:cubicBezTo>
                <a:cubicBezTo>
                  <a:pt x="2839" y="958"/>
                  <a:pt x="2831" y="959"/>
                  <a:pt x="2823" y="960"/>
                </a:cubicBezTo>
                <a:cubicBezTo>
                  <a:pt x="2729" y="960"/>
                  <a:pt x="2661" y="1070"/>
                  <a:pt x="2567" y="1083"/>
                </a:cubicBezTo>
                <a:cubicBezTo>
                  <a:pt x="2486" y="1083"/>
                  <a:pt x="2379" y="989"/>
                  <a:pt x="2285" y="989"/>
                </a:cubicBezTo>
                <a:cubicBezTo>
                  <a:pt x="2204" y="1002"/>
                  <a:pt x="2107" y="1002"/>
                  <a:pt x="2013" y="1015"/>
                </a:cubicBezTo>
                <a:cubicBezTo>
                  <a:pt x="1932" y="1028"/>
                  <a:pt x="1851" y="1096"/>
                  <a:pt x="1770" y="1096"/>
                </a:cubicBezTo>
                <a:cubicBezTo>
                  <a:pt x="1756" y="1098"/>
                  <a:pt x="1742" y="1099"/>
                  <a:pt x="1728" y="1099"/>
                </a:cubicBezTo>
                <a:cubicBezTo>
                  <a:pt x="1659" y="1099"/>
                  <a:pt x="1587" y="1080"/>
                  <a:pt x="1525" y="1080"/>
                </a:cubicBezTo>
                <a:cubicBezTo>
                  <a:pt x="1512" y="1080"/>
                  <a:pt x="1500" y="1081"/>
                  <a:pt x="1488" y="1083"/>
                </a:cubicBezTo>
                <a:cubicBezTo>
                  <a:pt x="1394" y="1096"/>
                  <a:pt x="1313" y="1151"/>
                  <a:pt x="1232" y="1164"/>
                </a:cubicBezTo>
                <a:cubicBezTo>
                  <a:pt x="1183" y="1170"/>
                  <a:pt x="1135" y="1170"/>
                  <a:pt x="1090" y="1170"/>
                </a:cubicBezTo>
                <a:cubicBezTo>
                  <a:pt x="1044" y="1170"/>
                  <a:pt x="1000" y="1170"/>
                  <a:pt x="960" y="1177"/>
                </a:cubicBezTo>
                <a:cubicBezTo>
                  <a:pt x="866" y="1190"/>
                  <a:pt x="811" y="1284"/>
                  <a:pt x="730" y="1313"/>
                </a:cubicBezTo>
                <a:cubicBezTo>
                  <a:pt x="636" y="1326"/>
                  <a:pt x="568" y="1365"/>
                  <a:pt x="503" y="1394"/>
                </a:cubicBezTo>
                <a:cubicBezTo>
                  <a:pt x="474" y="1406"/>
                  <a:pt x="441" y="1409"/>
                  <a:pt x="407" y="1409"/>
                </a:cubicBezTo>
                <a:cubicBezTo>
                  <a:pt x="363" y="1409"/>
                  <a:pt x="317" y="1403"/>
                  <a:pt x="279" y="1403"/>
                </a:cubicBezTo>
                <a:cubicBezTo>
                  <a:pt x="248" y="1403"/>
                  <a:pt x="222" y="1407"/>
                  <a:pt x="205" y="1420"/>
                </a:cubicBezTo>
                <a:cubicBezTo>
                  <a:pt x="124" y="1475"/>
                  <a:pt x="1" y="1556"/>
                  <a:pt x="1" y="1608"/>
                </a:cubicBezTo>
                <a:cubicBezTo>
                  <a:pt x="1" y="1663"/>
                  <a:pt x="98" y="1770"/>
                  <a:pt x="192" y="1825"/>
                </a:cubicBezTo>
                <a:cubicBezTo>
                  <a:pt x="260" y="1851"/>
                  <a:pt x="380" y="1851"/>
                  <a:pt x="474" y="1893"/>
                </a:cubicBezTo>
                <a:cubicBezTo>
                  <a:pt x="490" y="1898"/>
                  <a:pt x="508" y="1900"/>
                  <a:pt x="527" y="1900"/>
                </a:cubicBezTo>
                <a:cubicBezTo>
                  <a:pt x="582" y="1900"/>
                  <a:pt x="646" y="1884"/>
                  <a:pt x="706" y="1884"/>
                </a:cubicBezTo>
                <a:cubicBezTo>
                  <a:pt x="729" y="1884"/>
                  <a:pt x="751" y="1887"/>
                  <a:pt x="772" y="1893"/>
                </a:cubicBezTo>
                <a:cubicBezTo>
                  <a:pt x="853" y="1919"/>
                  <a:pt x="921" y="1945"/>
                  <a:pt x="1015" y="1974"/>
                </a:cubicBezTo>
                <a:cubicBezTo>
                  <a:pt x="1109" y="1987"/>
                  <a:pt x="1164" y="2094"/>
                  <a:pt x="1258" y="2107"/>
                </a:cubicBezTo>
                <a:cubicBezTo>
                  <a:pt x="1270" y="2109"/>
                  <a:pt x="1282" y="2110"/>
                  <a:pt x="1295" y="2110"/>
                </a:cubicBezTo>
                <a:cubicBezTo>
                  <a:pt x="1369" y="2110"/>
                  <a:pt x="1449" y="2079"/>
                  <a:pt x="1524" y="2079"/>
                </a:cubicBezTo>
                <a:cubicBezTo>
                  <a:pt x="1535" y="2079"/>
                  <a:pt x="1545" y="2080"/>
                  <a:pt x="1556" y="2081"/>
                </a:cubicBezTo>
                <a:cubicBezTo>
                  <a:pt x="1637" y="2081"/>
                  <a:pt x="1718" y="2149"/>
                  <a:pt x="1812" y="2149"/>
                </a:cubicBezTo>
                <a:cubicBezTo>
                  <a:pt x="1825" y="2151"/>
                  <a:pt x="1839" y="2152"/>
                  <a:pt x="1852" y="2152"/>
                </a:cubicBezTo>
                <a:cubicBezTo>
                  <a:pt x="1933" y="2152"/>
                  <a:pt x="2013" y="2123"/>
                  <a:pt x="2094" y="2123"/>
                </a:cubicBezTo>
                <a:cubicBezTo>
                  <a:pt x="2188" y="2136"/>
                  <a:pt x="2269" y="2230"/>
                  <a:pt x="2366" y="2230"/>
                </a:cubicBezTo>
                <a:cubicBezTo>
                  <a:pt x="2447" y="2243"/>
                  <a:pt x="2541" y="2269"/>
                  <a:pt x="2635" y="2269"/>
                </a:cubicBezTo>
                <a:cubicBezTo>
                  <a:pt x="2645" y="2271"/>
                  <a:pt x="2655" y="2271"/>
                  <a:pt x="2665" y="2271"/>
                </a:cubicBezTo>
                <a:cubicBezTo>
                  <a:pt x="2749" y="2271"/>
                  <a:pt x="2833" y="2217"/>
                  <a:pt x="2917" y="2217"/>
                </a:cubicBezTo>
                <a:cubicBezTo>
                  <a:pt x="3014" y="2217"/>
                  <a:pt x="3160" y="2230"/>
                  <a:pt x="3257" y="2230"/>
                </a:cubicBezTo>
                <a:cubicBezTo>
                  <a:pt x="3176" y="2269"/>
                  <a:pt x="3027" y="2324"/>
                  <a:pt x="3027" y="2379"/>
                </a:cubicBezTo>
                <a:cubicBezTo>
                  <a:pt x="3027" y="2418"/>
                  <a:pt x="3014" y="2447"/>
                  <a:pt x="3095" y="2486"/>
                </a:cubicBezTo>
                <a:cubicBezTo>
                  <a:pt x="2998" y="2486"/>
                  <a:pt x="3014" y="2554"/>
                  <a:pt x="2917" y="2554"/>
                </a:cubicBezTo>
                <a:cubicBezTo>
                  <a:pt x="2829" y="2554"/>
                  <a:pt x="2741" y="2472"/>
                  <a:pt x="2653" y="2472"/>
                </a:cubicBezTo>
                <a:cubicBezTo>
                  <a:pt x="2647" y="2472"/>
                  <a:pt x="2641" y="2472"/>
                  <a:pt x="2635" y="2473"/>
                </a:cubicBezTo>
                <a:cubicBezTo>
                  <a:pt x="2541" y="2473"/>
                  <a:pt x="2460" y="2609"/>
                  <a:pt x="2379" y="2609"/>
                </a:cubicBezTo>
                <a:cubicBezTo>
                  <a:pt x="2285" y="2609"/>
                  <a:pt x="2175" y="2554"/>
                  <a:pt x="2081" y="2554"/>
                </a:cubicBezTo>
                <a:cubicBezTo>
                  <a:pt x="2061" y="2557"/>
                  <a:pt x="2041" y="2558"/>
                  <a:pt x="2021" y="2558"/>
                </a:cubicBezTo>
                <a:cubicBezTo>
                  <a:pt x="1967" y="2558"/>
                  <a:pt x="1914" y="2550"/>
                  <a:pt x="1865" y="2550"/>
                </a:cubicBezTo>
                <a:cubicBezTo>
                  <a:pt x="1847" y="2550"/>
                  <a:pt x="1829" y="2551"/>
                  <a:pt x="1812" y="2554"/>
                </a:cubicBezTo>
                <a:cubicBezTo>
                  <a:pt x="1718" y="2554"/>
                  <a:pt x="1621" y="2609"/>
                  <a:pt x="1540" y="2609"/>
                </a:cubicBezTo>
                <a:cubicBezTo>
                  <a:pt x="1531" y="2610"/>
                  <a:pt x="1523" y="2611"/>
                  <a:pt x="1514" y="2611"/>
                </a:cubicBezTo>
                <a:cubicBezTo>
                  <a:pt x="1434" y="2611"/>
                  <a:pt x="1339" y="2565"/>
                  <a:pt x="1267" y="2565"/>
                </a:cubicBezTo>
                <a:cubicBezTo>
                  <a:pt x="1259" y="2565"/>
                  <a:pt x="1252" y="2566"/>
                  <a:pt x="1245" y="2567"/>
                </a:cubicBezTo>
                <a:cubicBezTo>
                  <a:pt x="1151" y="2580"/>
                  <a:pt x="1096" y="2729"/>
                  <a:pt x="1015" y="2742"/>
                </a:cubicBezTo>
                <a:cubicBezTo>
                  <a:pt x="981" y="2752"/>
                  <a:pt x="944" y="2755"/>
                  <a:pt x="908" y="2755"/>
                </a:cubicBezTo>
                <a:cubicBezTo>
                  <a:pt x="865" y="2755"/>
                  <a:pt x="822" y="2751"/>
                  <a:pt x="782" y="2751"/>
                </a:cubicBezTo>
                <a:cubicBezTo>
                  <a:pt x="764" y="2751"/>
                  <a:pt x="746" y="2752"/>
                  <a:pt x="730" y="2755"/>
                </a:cubicBezTo>
                <a:cubicBezTo>
                  <a:pt x="636" y="2784"/>
                  <a:pt x="597" y="2865"/>
                  <a:pt x="529" y="2891"/>
                </a:cubicBezTo>
                <a:cubicBezTo>
                  <a:pt x="422" y="2946"/>
                  <a:pt x="231" y="2933"/>
                  <a:pt x="231" y="2985"/>
                </a:cubicBezTo>
                <a:cubicBezTo>
                  <a:pt x="231" y="3040"/>
                  <a:pt x="354" y="3108"/>
                  <a:pt x="448" y="3147"/>
                </a:cubicBezTo>
                <a:cubicBezTo>
                  <a:pt x="516" y="3189"/>
                  <a:pt x="597" y="3215"/>
                  <a:pt x="691" y="3241"/>
                </a:cubicBezTo>
                <a:cubicBezTo>
                  <a:pt x="700" y="3243"/>
                  <a:pt x="709" y="3243"/>
                  <a:pt x="718" y="3243"/>
                </a:cubicBezTo>
                <a:cubicBezTo>
                  <a:pt x="790" y="3243"/>
                  <a:pt x="882" y="3200"/>
                  <a:pt x="963" y="3200"/>
                </a:cubicBezTo>
                <a:cubicBezTo>
                  <a:pt x="972" y="3200"/>
                  <a:pt x="980" y="3201"/>
                  <a:pt x="989" y="3202"/>
                </a:cubicBezTo>
                <a:cubicBezTo>
                  <a:pt x="1054" y="3215"/>
                  <a:pt x="1109" y="3322"/>
                  <a:pt x="1203" y="3338"/>
                </a:cubicBezTo>
                <a:cubicBezTo>
                  <a:pt x="1284" y="3351"/>
                  <a:pt x="1365" y="3377"/>
                  <a:pt x="1459" y="3390"/>
                </a:cubicBezTo>
                <a:cubicBezTo>
                  <a:pt x="1475" y="3392"/>
                  <a:pt x="1492" y="3393"/>
                  <a:pt x="1509" y="3393"/>
                </a:cubicBezTo>
                <a:cubicBezTo>
                  <a:pt x="1578" y="3393"/>
                  <a:pt x="1656" y="3377"/>
                  <a:pt x="1731" y="3377"/>
                </a:cubicBezTo>
                <a:cubicBezTo>
                  <a:pt x="1812" y="3390"/>
                  <a:pt x="1893" y="3471"/>
                  <a:pt x="1987" y="3484"/>
                </a:cubicBezTo>
                <a:cubicBezTo>
                  <a:pt x="2068" y="3484"/>
                  <a:pt x="2162" y="3432"/>
                  <a:pt x="2256" y="3432"/>
                </a:cubicBezTo>
                <a:cubicBezTo>
                  <a:pt x="2337" y="3432"/>
                  <a:pt x="2431" y="3419"/>
                  <a:pt x="2512" y="3419"/>
                </a:cubicBezTo>
                <a:cubicBezTo>
                  <a:pt x="2609" y="3432"/>
                  <a:pt x="2690" y="3526"/>
                  <a:pt x="2771" y="3526"/>
                </a:cubicBezTo>
                <a:cubicBezTo>
                  <a:pt x="2865" y="3526"/>
                  <a:pt x="2946" y="3513"/>
                  <a:pt x="3040" y="3513"/>
                </a:cubicBezTo>
                <a:cubicBezTo>
                  <a:pt x="3121" y="3513"/>
                  <a:pt x="3215" y="3539"/>
                  <a:pt x="3309" y="3539"/>
                </a:cubicBezTo>
                <a:cubicBezTo>
                  <a:pt x="3390" y="3539"/>
                  <a:pt x="3484" y="3500"/>
                  <a:pt x="3565" y="3500"/>
                </a:cubicBezTo>
                <a:lnTo>
                  <a:pt x="3837" y="3500"/>
                </a:lnTo>
                <a:cubicBezTo>
                  <a:pt x="3931" y="3500"/>
                  <a:pt x="4012" y="3458"/>
                  <a:pt x="4093" y="3458"/>
                </a:cubicBezTo>
                <a:cubicBezTo>
                  <a:pt x="4181" y="3458"/>
                  <a:pt x="4269" y="3540"/>
                  <a:pt x="4346" y="3540"/>
                </a:cubicBezTo>
                <a:cubicBezTo>
                  <a:pt x="4351" y="3540"/>
                  <a:pt x="4356" y="3540"/>
                  <a:pt x="4362" y="3539"/>
                </a:cubicBezTo>
                <a:cubicBezTo>
                  <a:pt x="4456" y="3539"/>
                  <a:pt x="4537" y="3403"/>
                  <a:pt x="4618" y="3403"/>
                </a:cubicBezTo>
                <a:cubicBezTo>
                  <a:pt x="4626" y="3402"/>
                  <a:pt x="4635" y="3401"/>
                  <a:pt x="4643" y="3401"/>
                </a:cubicBezTo>
                <a:cubicBezTo>
                  <a:pt x="4731" y="3401"/>
                  <a:pt x="4816" y="3458"/>
                  <a:pt x="4890" y="3458"/>
                </a:cubicBezTo>
                <a:cubicBezTo>
                  <a:pt x="4984" y="3445"/>
                  <a:pt x="5052" y="3364"/>
                  <a:pt x="5146" y="3364"/>
                </a:cubicBezTo>
                <a:cubicBezTo>
                  <a:pt x="5150" y="3363"/>
                  <a:pt x="5155" y="3363"/>
                  <a:pt x="5160" y="3363"/>
                </a:cubicBezTo>
                <a:cubicBezTo>
                  <a:pt x="5239" y="3363"/>
                  <a:pt x="5339" y="3458"/>
                  <a:pt x="5428" y="3458"/>
                </a:cubicBezTo>
                <a:cubicBezTo>
                  <a:pt x="5509" y="3445"/>
                  <a:pt x="5577" y="3309"/>
                  <a:pt x="5658" y="3296"/>
                </a:cubicBezTo>
                <a:cubicBezTo>
                  <a:pt x="5733" y="3296"/>
                  <a:pt x="5810" y="3312"/>
                  <a:pt x="5879" y="3312"/>
                </a:cubicBezTo>
                <a:cubicBezTo>
                  <a:pt x="5897" y="3312"/>
                  <a:pt x="5914" y="3311"/>
                  <a:pt x="5930" y="3309"/>
                </a:cubicBezTo>
                <a:cubicBezTo>
                  <a:pt x="5938" y="3308"/>
                  <a:pt x="5946" y="3307"/>
                  <a:pt x="5955" y="3307"/>
                </a:cubicBezTo>
                <a:cubicBezTo>
                  <a:pt x="6034" y="3307"/>
                  <a:pt x="6120" y="3353"/>
                  <a:pt x="6190" y="3353"/>
                </a:cubicBezTo>
                <a:cubicBezTo>
                  <a:pt x="6197" y="3353"/>
                  <a:pt x="6205" y="3352"/>
                  <a:pt x="6212" y="3351"/>
                </a:cubicBezTo>
                <a:cubicBezTo>
                  <a:pt x="6306" y="3338"/>
                  <a:pt x="6335" y="3189"/>
                  <a:pt x="6400" y="3160"/>
                </a:cubicBezTo>
                <a:cubicBezTo>
                  <a:pt x="6510" y="3134"/>
                  <a:pt x="6578" y="3121"/>
                  <a:pt x="6643" y="3095"/>
                </a:cubicBezTo>
                <a:cubicBezTo>
                  <a:pt x="6740" y="3053"/>
                  <a:pt x="6847" y="3040"/>
                  <a:pt x="6847" y="2985"/>
                </a:cubicBezTo>
                <a:cubicBezTo>
                  <a:pt x="6847" y="2946"/>
                  <a:pt x="6847" y="2917"/>
                  <a:pt x="6766" y="2865"/>
                </a:cubicBezTo>
                <a:cubicBezTo>
                  <a:pt x="6860" y="2865"/>
                  <a:pt x="6886" y="2836"/>
                  <a:pt x="6983" y="2836"/>
                </a:cubicBezTo>
                <a:cubicBezTo>
                  <a:pt x="7077" y="2836"/>
                  <a:pt x="7171" y="2852"/>
                  <a:pt x="7265" y="2852"/>
                </a:cubicBezTo>
                <a:cubicBezTo>
                  <a:pt x="7359" y="2836"/>
                  <a:pt x="7440" y="2771"/>
                  <a:pt x="7534" y="2771"/>
                </a:cubicBezTo>
                <a:cubicBezTo>
                  <a:pt x="7631" y="2771"/>
                  <a:pt x="7725" y="2836"/>
                  <a:pt x="7819" y="2836"/>
                </a:cubicBezTo>
                <a:cubicBezTo>
                  <a:pt x="7836" y="2833"/>
                  <a:pt x="7853" y="2833"/>
                  <a:pt x="7870" y="2833"/>
                </a:cubicBezTo>
                <a:cubicBezTo>
                  <a:pt x="7947" y="2833"/>
                  <a:pt x="8024" y="2852"/>
                  <a:pt x="8101" y="2852"/>
                </a:cubicBezTo>
                <a:cubicBezTo>
                  <a:pt x="8198" y="2836"/>
                  <a:pt x="8263" y="2742"/>
                  <a:pt x="8360" y="2729"/>
                </a:cubicBezTo>
                <a:cubicBezTo>
                  <a:pt x="8380" y="2726"/>
                  <a:pt x="8400" y="2725"/>
                  <a:pt x="8419" y="2725"/>
                </a:cubicBezTo>
                <a:cubicBezTo>
                  <a:pt x="8474" y="2725"/>
                  <a:pt x="8528" y="2733"/>
                  <a:pt x="8582" y="2733"/>
                </a:cubicBezTo>
                <a:cubicBezTo>
                  <a:pt x="8602" y="2733"/>
                  <a:pt x="8622" y="2732"/>
                  <a:pt x="8642" y="2729"/>
                </a:cubicBezTo>
                <a:cubicBezTo>
                  <a:pt x="8736" y="2716"/>
                  <a:pt x="8830" y="2703"/>
                  <a:pt x="8911" y="2690"/>
                </a:cubicBezTo>
                <a:cubicBezTo>
                  <a:pt x="9008" y="2674"/>
                  <a:pt x="9060" y="2567"/>
                  <a:pt x="9141" y="2554"/>
                </a:cubicBezTo>
                <a:cubicBezTo>
                  <a:pt x="9235" y="2528"/>
                  <a:pt x="9303" y="2486"/>
                  <a:pt x="9358" y="2460"/>
                </a:cubicBezTo>
                <a:cubicBezTo>
                  <a:pt x="9465" y="2405"/>
                  <a:pt x="9559" y="2431"/>
                  <a:pt x="9559" y="2379"/>
                </a:cubicBezTo>
                <a:cubicBezTo>
                  <a:pt x="9559" y="2371"/>
                  <a:pt x="9562" y="2368"/>
                  <a:pt x="9566" y="2368"/>
                </a:cubicBezTo>
                <a:cubicBezTo>
                  <a:pt x="9575" y="2368"/>
                  <a:pt x="9590" y="2382"/>
                  <a:pt x="9590" y="2382"/>
                </a:cubicBezTo>
                <a:cubicBezTo>
                  <a:pt x="9590" y="2382"/>
                  <a:pt x="9590" y="2381"/>
                  <a:pt x="9588" y="2379"/>
                </a:cubicBezTo>
                <a:cubicBezTo>
                  <a:pt x="9669" y="2379"/>
                  <a:pt x="9750" y="2366"/>
                  <a:pt x="9844" y="2366"/>
                </a:cubicBezTo>
                <a:cubicBezTo>
                  <a:pt x="9848" y="2367"/>
                  <a:pt x="9853" y="2367"/>
                  <a:pt x="9858" y="2367"/>
                </a:cubicBezTo>
                <a:cubicBezTo>
                  <a:pt x="9931" y="2367"/>
                  <a:pt x="10022" y="2283"/>
                  <a:pt x="10106" y="2283"/>
                </a:cubicBezTo>
                <a:cubicBezTo>
                  <a:pt x="10113" y="2283"/>
                  <a:pt x="10119" y="2284"/>
                  <a:pt x="10126" y="2285"/>
                </a:cubicBezTo>
                <a:cubicBezTo>
                  <a:pt x="10207" y="2285"/>
                  <a:pt x="10288" y="2431"/>
                  <a:pt x="10385" y="2431"/>
                </a:cubicBezTo>
                <a:cubicBezTo>
                  <a:pt x="10479" y="2431"/>
                  <a:pt x="10612" y="2311"/>
                  <a:pt x="10693" y="2311"/>
                </a:cubicBezTo>
                <a:cubicBezTo>
                  <a:pt x="10680" y="2324"/>
                  <a:pt x="10748" y="2405"/>
                  <a:pt x="10748" y="2418"/>
                </a:cubicBezTo>
                <a:cubicBezTo>
                  <a:pt x="10748" y="2473"/>
                  <a:pt x="10693" y="2528"/>
                  <a:pt x="10790" y="2580"/>
                </a:cubicBezTo>
                <a:cubicBezTo>
                  <a:pt x="10855" y="2609"/>
                  <a:pt x="10923" y="2661"/>
                  <a:pt x="11017" y="2690"/>
                </a:cubicBezTo>
                <a:cubicBezTo>
                  <a:pt x="11098" y="2703"/>
                  <a:pt x="11166" y="2755"/>
                  <a:pt x="11260" y="2771"/>
                </a:cubicBezTo>
                <a:cubicBezTo>
                  <a:pt x="11264" y="2772"/>
                  <a:pt x="11269" y="2772"/>
                  <a:pt x="11274" y="2772"/>
                </a:cubicBezTo>
                <a:cubicBezTo>
                  <a:pt x="11348" y="2772"/>
                  <a:pt x="11453" y="2688"/>
                  <a:pt x="11538" y="2688"/>
                </a:cubicBezTo>
                <a:cubicBezTo>
                  <a:pt x="11545" y="2688"/>
                  <a:pt x="11551" y="2689"/>
                  <a:pt x="11558" y="2690"/>
                </a:cubicBezTo>
                <a:cubicBezTo>
                  <a:pt x="11639" y="2703"/>
                  <a:pt x="11707" y="2810"/>
                  <a:pt x="11788" y="2823"/>
                </a:cubicBezTo>
                <a:cubicBezTo>
                  <a:pt x="11795" y="2824"/>
                  <a:pt x="11802" y="2824"/>
                  <a:pt x="11809" y="2824"/>
                </a:cubicBezTo>
                <a:cubicBezTo>
                  <a:pt x="11887" y="2824"/>
                  <a:pt x="11966" y="2769"/>
                  <a:pt x="12044" y="2769"/>
                </a:cubicBezTo>
                <a:cubicBezTo>
                  <a:pt x="12052" y="2769"/>
                  <a:pt x="12061" y="2770"/>
                  <a:pt x="12070" y="2771"/>
                </a:cubicBezTo>
                <a:cubicBezTo>
                  <a:pt x="12151" y="2784"/>
                  <a:pt x="12232" y="2865"/>
                  <a:pt x="12313" y="2878"/>
                </a:cubicBezTo>
                <a:cubicBezTo>
                  <a:pt x="12410" y="2878"/>
                  <a:pt x="12491" y="2946"/>
                  <a:pt x="12572" y="2946"/>
                </a:cubicBezTo>
                <a:cubicBezTo>
                  <a:pt x="12576" y="2947"/>
                  <a:pt x="12580" y="2947"/>
                  <a:pt x="12585" y="2947"/>
                </a:cubicBezTo>
                <a:cubicBezTo>
                  <a:pt x="12674" y="2947"/>
                  <a:pt x="12764" y="2823"/>
                  <a:pt x="12854" y="2823"/>
                </a:cubicBezTo>
                <a:cubicBezTo>
                  <a:pt x="12935" y="2836"/>
                  <a:pt x="13016" y="2904"/>
                  <a:pt x="13110" y="2917"/>
                </a:cubicBezTo>
                <a:cubicBezTo>
                  <a:pt x="13191" y="2917"/>
                  <a:pt x="13285" y="2959"/>
                  <a:pt x="13366" y="2959"/>
                </a:cubicBezTo>
                <a:cubicBezTo>
                  <a:pt x="13454" y="2959"/>
                  <a:pt x="13530" y="2902"/>
                  <a:pt x="13614" y="2902"/>
                </a:cubicBezTo>
                <a:cubicBezTo>
                  <a:pt x="13622" y="2902"/>
                  <a:pt x="13630" y="2903"/>
                  <a:pt x="13638" y="2904"/>
                </a:cubicBezTo>
                <a:cubicBezTo>
                  <a:pt x="13719" y="2904"/>
                  <a:pt x="13813" y="2946"/>
                  <a:pt x="13907" y="2946"/>
                </a:cubicBezTo>
                <a:cubicBezTo>
                  <a:pt x="13988" y="2946"/>
                  <a:pt x="14082" y="2985"/>
                  <a:pt x="14163" y="2985"/>
                </a:cubicBezTo>
                <a:cubicBezTo>
                  <a:pt x="14257" y="2985"/>
                  <a:pt x="14338" y="2852"/>
                  <a:pt x="14419" y="2836"/>
                </a:cubicBezTo>
                <a:cubicBezTo>
                  <a:pt x="14506" y="2836"/>
                  <a:pt x="14590" y="2880"/>
                  <a:pt x="14665" y="2880"/>
                </a:cubicBezTo>
                <a:cubicBezTo>
                  <a:pt x="14674" y="2880"/>
                  <a:pt x="14682" y="2879"/>
                  <a:pt x="14691" y="2878"/>
                </a:cubicBezTo>
                <a:cubicBezTo>
                  <a:pt x="14785" y="2878"/>
                  <a:pt x="14879" y="2917"/>
                  <a:pt x="14960" y="2917"/>
                </a:cubicBezTo>
                <a:cubicBezTo>
                  <a:pt x="15054" y="2904"/>
                  <a:pt x="15122" y="2823"/>
                  <a:pt x="15216" y="2823"/>
                </a:cubicBezTo>
                <a:cubicBezTo>
                  <a:pt x="15297" y="2810"/>
                  <a:pt x="15391" y="2810"/>
                  <a:pt x="15472" y="2810"/>
                </a:cubicBezTo>
                <a:cubicBezTo>
                  <a:pt x="15491" y="2807"/>
                  <a:pt x="15510" y="2806"/>
                  <a:pt x="15530" y="2806"/>
                </a:cubicBezTo>
                <a:cubicBezTo>
                  <a:pt x="15606" y="2806"/>
                  <a:pt x="15679" y="2823"/>
                  <a:pt x="15744" y="2823"/>
                </a:cubicBezTo>
                <a:cubicBezTo>
                  <a:pt x="15754" y="2822"/>
                  <a:pt x="15764" y="2821"/>
                  <a:pt x="15773" y="2821"/>
                </a:cubicBezTo>
                <a:cubicBezTo>
                  <a:pt x="15857" y="2821"/>
                  <a:pt x="15940" y="2865"/>
                  <a:pt x="16013" y="2865"/>
                </a:cubicBezTo>
                <a:cubicBezTo>
                  <a:pt x="16107" y="2852"/>
                  <a:pt x="16175" y="2755"/>
                  <a:pt x="16256" y="2742"/>
                </a:cubicBezTo>
                <a:cubicBezTo>
                  <a:pt x="16350" y="2729"/>
                  <a:pt x="16418" y="2674"/>
                  <a:pt x="16499" y="2661"/>
                </a:cubicBezTo>
                <a:cubicBezTo>
                  <a:pt x="16525" y="2654"/>
                  <a:pt x="16551" y="2651"/>
                  <a:pt x="16576" y="2651"/>
                </a:cubicBezTo>
                <a:cubicBezTo>
                  <a:pt x="16618" y="2651"/>
                  <a:pt x="16659" y="2657"/>
                  <a:pt x="16698" y="2657"/>
                </a:cubicBezTo>
                <a:cubicBezTo>
                  <a:pt x="16722" y="2657"/>
                  <a:pt x="16745" y="2655"/>
                  <a:pt x="16768" y="2648"/>
                </a:cubicBezTo>
                <a:cubicBezTo>
                  <a:pt x="16816" y="2635"/>
                  <a:pt x="16871" y="2635"/>
                  <a:pt x="16920" y="2635"/>
                </a:cubicBezTo>
                <a:cubicBezTo>
                  <a:pt x="16969" y="2635"/>
                  <a:pt x="17012" y="2635"/>
                  <a:pt x="17040" y="2622"/>
                </a:cubicBezTo>
                <a:cubicBezTo>
                  <a:pt x="17147" y="2567"/>
                  <a:pt x="17254" y="2473"/>
                  <a:pt x="17254" y="2418"/>
                </a:cubicBezTo>
                <a:cubicBezTo>
                  <a:pt x="17254" y="2379"/>
                  <a:pt x="17147" y="2285"/>
                  <a:pt x="17053" y="2243"/>
                </a:cubicBezTo>
                <a:cubicBezTo>
                  <a:pt x="16985" y="2217"/>
                  <a:pt x="16904" y="2175"/>
                  <a:pt x="16810" y="2149"/>
                </a:cubicBezTo>
                <a:cubicBezTo>
                  <a:pt x="16796" y="2144"/>
                  <a:pt x="16780" y="2142"/>
                  <a:pt x="16762" y="2142"/>
                </a:cubicBezTo>
                <a:cubicBezTo>
                  <a:pt x="16704" y="2142"/>
                  <a:pt x="16630" y="2164"/>
                  <a:pt x="16570" y="2164"/>
                </a:cubicBezTo>
                <a:cubicBezTo>
                  <a:pt x="16560" y="2164"/>
                  <a:pt x="16550" y="2163"/>
                  <a:pt x="16541" y="2162"/>
                </a:cubicBezTo>
                <a:cubicBezTo>
                  <a:pt x="16460" y="2149"/>
                  <a:pt x="16379" y="2136"/>
                  <a:pt x="16298" y="2123"/>
                </a:cubicBezTo>
                <a:cubicBezTo>
                  <a:pt x="16217" y="2107"/>
                  <a:pt x="16136" y="2068"/>
                  <a:pt x="16055" y="2055"/>
                </a:cubicBezTo>
                <a:cubicBezTo>
                  <a:pt x="16046" y="2054"/>
                  <a:pt x="16036" y="2053"/>
                  <a:pt x="16027" y="2053"/>
                </a:cubicBezTo>
                <a:cubicBezTo>
                  <a:pt x="15962" y="2053"/>
                  <a:pt x="15888" y="2083"/>
                  <a:pt x="15815" y="2083"/>
                </a:cubicBezTo>
                <a:cubicBezTo>
                  <a:pt x="15804" y="2083"/>
                  <a:pt x="15793" y="2082"/>
                  <a:pt x="15783" y="2081"/>
                </a:cubicBezTo>
                <a:cubicBezTo>
                  <a:pt x="15702" y="2081"/>
                  <a:pt x="15634" y="1987"/>
                  <a:pt x="15553" y="1974"/>
                </a:cubicBezTo>
                <a:lnTo>
                  <a:pt x="15216" y="1974"/>
                </a:lnTo>
                <a:cubicBezTo>
                  <a:pt x="15310" y="1932"/>
                  <a:pt x="15459" y="1906"/>
                  <a:pt x="15514" y="1864"/>
                </a:cubicBezTo>
                <a:cubicBezTo>
                  <a:pt x="15608" y="1812"/>
                  <a:pt x="15731" y="1770"/>
                  <a:pt x="15731" y="1718"/>
                </a:cubicBezTo>
                <a:cubicBezTo>
                  <a:pt x="15731" y="1663"/>
                  <a:pt x="15553" y="1663"/>
                  <a:pt x="15472" y="1608"/>
                </a:cubicBezTo>
                <a:cubicBezTo>
                  <a:pt x="15407" y="1569"/>
                  <a:pt x="15378" y="1501"/>
                  <a:pt x="15284" y="1475"/>
                </a:cubicBezTo>
                <a:cubicBezTo>
                  <a:pt x="15216" y="1446"/>
                  <a:pt x="15177" y="1326"/>
                  <a:pt x="15083" y="1297"/>
                </a:cubicBezTo>
                <a:cubicBezTo>
                  <a:pt x="15074" y="1295"/>
                  <a:pt x="15063" y="1294"/>
                  <a:pt x="15052" y="1294"/>
                </a:cubicBezTo>
                <a:cubicBezTo>
                  <a:pt x="14993" y="1294"/>
                  <a:pt x="14911" y="1316"/>
                  <a:pt x="14838" y="1316"/>
                </a:cubicBezTo>
                <a:cubicBezTo>
                  <a:pt x="14824" y="1316"/>
                  <a:pt x="14811" y="1315"/>
                  <a:pt x="14798" y="1313"/>
                </a:cubicBezTo>
                <a:cubicBezTo>
                  <a:pt x="14717" y="1297"/>
                  <a:pt x="14623" y="1284"/>
                  <a:pt x="14529" y="1271"/>
                </a:cubicBezTo>
                <a:cubicBezTo>
                  <a:pt x="14448" y="1258"/>
                  <a:pt x="14380" y="1177"/>
                  <a:pt x="14286" y="1164"/>
                </a:cubicBezTo>
                <a:cubicBezTo>
                  <a:pt x="14280" y="1163"/>
                  <a:pt x="14274" y="1163"/>
                  <a:pt x="14267" y="1163"/>
                </a:cubicBezTo>
                <a:cubicBezTo>
                  <a:pt x="14195" y="1163"/>
                  <a:pt x="14097" y="1218"/>
                  <a:pt x="14024" y="1218"/>
                </a:cubicBezTo>
                <a:cubicBezTo>
                  <a:pt x="14016" y="1218"/>
                  <a:pt x="14008" y="1217"/>
                  <a:pt x="14001" y="1216"/>
                </a:cubicBezTo>
                <a:cubicBezTo>
                  <a:pt x="13907" y="1203"/>
                  <a:pt x="13839" y="1096"/>
                  <a:pt x="13745" y="1096"/>
                </a:cubicBezTo>
                <a:cubicBezTo>
                  <a:pt x="13736" y="1094"/>
                  <a:pt x="13726" y="1094"/>
                  <a:pt x="13716" y="1094"/>
                </a:cubicBezTo>
                <a:cubicBezTo>
                  <a:pt x="13650" y="1094"/>
                  <a:pt x="13570" y="1124"/>
                  <a:pt x="13495" y="1124"/>
                </a:cubicBezTo>
                <a:cubicBezTo>
                  <a:pt x="13484" y="1124"/>
                  <a:pt x="13473" y="1123"/>
                  <a:pt x="13463" y="1122"/>
                </a:cubicBezTo>
                <a:cubicBezTo>
                  <a:pt x="13382" y="1122"/>
                  <a:pt x="13301" y="1054"/>
                  <a:pt x="13204" y="1041"/>
                </a:cubicBezTo>
                <a:cubicBezTo>
                  <a:pt x="13114" y="1041"/>
                  <a:pt x="13024" y="1165"/>
                  <a:pt x="12935" y="1165"/>
                </a:cubicBezTo>
                <a:cubicBezTo>
                  <a:pt x="12930" y="1165"/>
                  <a:pt x="12926" y="1165"/>
                  <a:pt x="12922" y="1164"/>
                </a:cubicBezTo>
                <a:cubicBezTo>
                  <a:pt x="12828" y="1164"/>
                  <a:pt x="12747" y="1096"/>
                  <a:pt x="12653" y="1096"/>
                </a:cubicBezTo>
                <a:cubicBezTo>
                  <a:pt x="12572" y="1096"/>
                  <a:pt x="12475" y="1054"/>
                  <a:pt x="12381" y="1054"/>
                </a:cubicBezTo>
                <a:cubicBezTo>
                  <a:pt x="12300" y="1054"/>
                  <a:pt x="12206" y="1041"/>
                  <a:pt x="12112" y="1041"/>
                </a:cubicBezTo>
                <a:cubicBezTo>
                  <a:pt x="12031" y="1041"/>
                  <a:pt x="11937" y="1135"/>
                  <a:pt x="11843" y="1135"/>
                </a:cubicBezTo>
                <a:cubicBezTo>
                  <a:pt x="11746" y="1122"/>
                  <a:pt x="11665" y="1122"/>
                  <a:pt x="11571" y="1122"/>
                </a:cubicBezTo>
                <a:cubicBezTo>
                  <a:pt x="11477" y="1122"/>
                  <a:pt x="11409" y="1054"/>
                  <a:pt x="11328" y="1054"/>
                </a:cubicBezTo>
                <a:cubicBezTo>
                  <a:pt x="11358" y="1044"/>
                  <a:pt x="11389" y="1042"/>
                  <a:pt x="11420" y="1042"/>
                </a:cubicBezTo>
                <a:cubicBezTo>
                  <a:pt x="11454" y="1042"/>
                  <a:pt x="11487" y="1045"/>
                  <a:pt x="11515" y="1045"/>
                </a:cubicBezTo>
                <a:cubicBezTo>
                  <a:pt x="11531" y="1045"/>
                  <a:pt x="11545" y="1044"/>
                  <a:pt x="11558" y="1041"/>
                </a:cubicBezTo>
                <a:cubicBezTo>
                  <a:pt x="11652" y="1002"/>
                  <a:pt x="11733" y="960"/>
                  <a:pt x="11788" y="934"/>
                </a:cubicBezTo>
                <a:cubicBezTo>
                  <a:pt x="11869" y="879"/>
                  <a:pt x="11788" y="785"/>
                  <a:pt x="11788" y="730"/>
                </a:cubicBezTo>
                <a:cubicBezTo>
                  <a:pt x="11788" y="678"/>
                  <a:pt x="11746" y="678"/>
                  <a:pt x="11652" y="623"/>
                </a:cubicBezTo>
                <a:cubicBezTo>
                  <a:pt x="11600" y="597"/>
                  <a:pt x="11571" y="516"/>
                  <a:pt x="11477" y="474"/>
                </a:cubicBezTo>
                <a:cubicBezTo>
                  <a:pt x="11456" y="467"/>
                  <a:pt x="11433" y="465"/>
                  <a:pt x="11409" y="465"/>
                </a:cubicBezTo>
                <a:cubicBezTo>
                  <a:pt x="11355" y="465"/>
                  <a:pt x="11295" y="477"/>
                  <a:pt x="11238" y="477"/>
                </a:cubicBezTo>
                <a:cubicBezTo>
                  <a:pt x="11223" y="477"/>
                  <a:pt x="11209" y="476"/>
                  <a:pt x="11195" y="474"/>
                </a:cubicBezTo>
                <a:cubicBezTo>
                  <a:pt x="11114" y="448"/>
                  <a:pt x="11059" y="354"/>
                  <a:pt x="10978" y="341"/>
                </a:cubicBezTo>
                <a:cubicBezTo>
                  <a:pt x="10943" y="330"/>
                  <a:pt x="10907" y="327"/>
                  <a:pt x="10872" y="327"/>
                </a:cubicBezTo>
                <a:cubicBezTo>
                  <a:pt x="10837" y="327"/>
                  <a:pt x="10801" y="330"/>
                  <a:pt x="10765" y="330"/>
                </a:cubicBezTo>
                <a:cubicBezTo>
                  <a:pt x="10741" y="330"/>
                  <a:pt x="10717" y="329"/>
                  <a:pt x="10693" y="325"/>
                </a:cubicBezTo>
                <a:cubicBezTo>
                  <a:pt x="10652" y="318"/>
                  <a:pt x="10608" y="318"/>
                  <a:pt x="10563" y="318"/>
                </a:cubicBezTo>
                <a:cubicBezTo>
                  <a:pt x="10518" y="318"/>
                  <a:pt x="10471" y="318"/>
                  <a:pt x="10424" y="312"/>
                </a:cubicBezTo>
                <a:cubicBezTo>
                  <a:pt x="10343" y="299"/>
                  <a:pt x="10262" y="260"/>
                  <a:pt x="10168" y="244"/>
                </a:cubicBezTo>
                <a:cubicBezTo>
                  <a:pt x="10074" y="231"/>
                  <a:pt x="9993" y="218"/>
                  <a:pt x="9899" y="205"/>
                </a:cubicBezTo>
                <a:cubicBezTo>
                  <a:pt x="9818" y="192"/>
                  <a:pt x="9737" y="98"/>
                  <a:pt x="9640" y="82"/>
                </a:cubicBezTo>
                <a:cubicBezTo>
                  <a:pt x="9573" y="82"/>
                  <a:pt x="9498" y="101"/>
                  <a:pt x="9422" y="101"/>
                </a:cubicBezTo>
                <a:cubicBezTo>
                  <a:pt x="9405" y="101"/>
                  <a:pt x="9388" y="100"/>
                  <a:pt x="9371" y="98"/>
                </a:cubicBezTo>
                <a:cubicBezTo>
                  <a:pt x="9277" y="98"/>
                  <a:pt x="9196" y="82"/>
                  <a:pt x="9102" y="69"/>
                </a:cubicBezTo>
                <a:cubicBezTo>
                  <a:pt x="9008" y="69"/>
                  <a:pt x="8911" y="137"/>
                  <a:pt x="8817" y="137"/>
                </a:cubicBezTo>
                <a:cubicBezTo>
                  <a:pt x="8723" y="137"/>
                  <a:pt x="8642" y="30"/>
                  <a:pt x="8561" y="30"/>
                </a:cubicBezTo>
                <a:cubicBezTo>
                  <a:pt x="8467" y="30"/>
                  <a:pt x="8373" y="124"/>
                  <a:pt x="8279" y="124"/>
                </a:cubicBezTo>
                <a:lnTo>
                  <a:pt x="8007" y="124"/>
                </a:lnTo>
                <a:cubicBezTo>
                  <a:pt x="7913" y="111"/>
                  <a:pt x="7832" y="69"/>
                  <a:pt x="7738" y="69"/>
                </a:cubicBezTo>
                <a:cubicBezTo>
                  <a:pt x="7644" y="69"/>
                  <a:pt x="7550" y="150"/>
                  <a:pt x="7469" y="150"/>
                </a:cubicBezTo>
                <a:cubicBezTo>
                  <a:pt x="7372" y="150"/>
                  <a:pt x="7278" y="1"/>
                  <a:pt x="7184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60" name="Google Shape;660;p26"/>
          <p:cNvSpPr/>
          <p:nvPr/>
        </p:nvSpPr>
        <p:spPr>
          <a:xfrm>
            <a:off x="7932357" y="6195656"/>
            <a:ext cx="2634596" cy="333017"/>
          </a:xfrm>
          <a:custGeom>
            <a:avLst/>
            <a:gdLst/>
            <a:ahLst/>
            <a:cxnLst/>
            <a:rect l="l" t="t" r="r" b="b"/>
            <a:pathLst>
              <a:path w="10651" h="2188" extrusionOk="0">
                <a:moveTo>
                  <a:pt x="7615" y="0"/>
                </a:moveTo>
                <a:cubicBezTo>
                  <a:pt x="7560" y="0"/>
                  <a:pt x="7492" y="39"/>
                  <a:pt x="7440" y="39"/>
                </a:cubicBezTo>
                <a:lnTo>
                  <a:pt x="7265" y="39"/>
                </a:lnTo>
                <a:cubicBezTo>
                  <a:pt x="7210" y="39"/>
                  <a:pt x="7155" y="65"/>
                  <a:pt x="7103" y="81"/>
                </a:cubicBezTo>
                <a:cubicBezTo>
                  <a:pt x="7048" y="81"/>
                  <a:pt x="6980" y="65"/>
                  <a:pt x="6925" y="65"/>
                </a:cubicBezTo>
                <a:cubicBezTo>
                  <a:pt x="6880" y="65"/>
                  <a:pt x="6833" y="36"/>
                  <a:pt x="6778" y="36"/>
                </a:cubicBezTo>
                <a:cubicBezTo>
                  <a:pt x="6769" y="36"/>
                  <a:pt x="6759" y="37"/>
                  <a:pt x="6750" y="39"/>
                </a:cubicBezTo>
                <a:cubicBezTo>
                  <a:pt x="6698" y="39"/>
                  <a:pt x="6643" y="107"/>
                  <a:pt x="6588" y="107"/>
                </a:cubicBezTo>
                <a:cubicBezTo>
                  <a:pt x="6582" y="108"/>
                  <a:pt x="6577" y="109"/>
                  <a:pt x="6571" y="109"/>
                </a:cubicBezTo>
                <a:cubicBezTo>
                  <a:pt x="6524" y="109"/>
                  <a:pt x="6474" y="65"/>
                  <a:pt x="6413" y="65"/>
                </a:cubicBezTo>
                <a:cubicBezTo>
                  <a:pt x="6358" y="65"/>
                  <a:pt x="6306" y="133"/>
                  <a:pt x="6251" y="133"/>
                </a:cubicBezTo>
                <a:cubicBezTo>
                  <a:pt x="6202" y="133"/>
                  <a:pt x="6145" y="92"/>
                  <a:pt x="6094" y="92"/>
                </a:cubicBezTo>
                <a:cubicBezTo>
                  <a:pt x="6088" y="92"/>
                  <a:pt x="6082" y="93"/>
                  <a:pt x="6076" y="94"/>
                </a:cubicBezTo>
                <a:cubicBezTo>
                  <a:pt x="6021" y="94"/>
                  <a:pt x="5969" y="175"/>
                  <a:pt x="5914" y="188"/>
                </a:cubicBezTo>
                <a:cubicBezTo>
                  <a:pt x="5868" y="188"/>
                  <a:pt x="5812" y="158"/>
                  <a:pt x="5765" y="158"/>
                </a:cubicBezTo>
                <a:cubicBezTo>
                  <a:pt x="5756" y="158"/>
                  <a:pt x="5747" y="159"/>
                  <a:pt x="5739" y="162"/>
                </a:cubicBezTo>
                <a:cubicBezTo>
                  <a:pt x="5684" y="162"/>
                  <a:pt x="5629" y="188"/>
                  <a:pt x="5577" y="201"/>
                </a:cubicBezTo>
                <a:cubicBezTo>
                  <a:pt x="5522" y="201"/>
                  <a:pt x="5467" y="214"/>
                  <a:pt x="5415" y="214"/>
                </a:cubicBezTo>
                <a:cubicBezTo>
                  <a:pt x="5405" y="216"/>
                  <a:pt x="5395" y="217"/>
                  <a:pt x="5386" y="217"/>
                </a:cubicBezTo>
                <a:cubicBezTo>
                  <a:pt x="5328" y="217"/>
                  <a:pt x="5271" y="188"/>
                  <a:pt x="5224" y="188"/>
                </a:cubicBezTo>
                <a:cubicBezTo>
                  <a:pt x="5172" y="201"/>
                  <a:pt x="5130" y="256"/>
                  <a:pt x="5078" y="269"/>
                </a:cubicBezTo>
                <a:cubicBezTo>
                  <a:pt x="5023" y="269"/>
                  <a:pt x="4955" y="243"/>
                  <a:pt x="4900" y="243"/>
                </a:cubicBezTo>
                <a:cubicBezTo>
                  <a:pt x="4835" y="256"/>
                  <a:pt x="4780" y="269"/>
                  <a:pt x="4725" y="282"/>
                </a:cubicBezTo>
                <a:lnTo>
                  <a:pt x="4563" y="282"/>
                </a:lnTo>
                <a:cubicBezTo>
                  <a:pt x="4495" y="295"/>
                  <a:pt x="4469" y="363"/>
                  <a:pt x="4414" y="376"/>
                </a:cubicBezTo>
                <a:cubicBezTo>
                  <a:pt x="4349" y="376"/>
                  <a:pt x="4294" y="389"/>
                  <a:pt x="4239" y="405"/>
                </a:cubicBezTo>
                <a:cubicBezTo>
                  <a:pt x="4187" y="418"/>
                  <a:pt x="4145" y="444"/>
                  <a:pt x="4090" y="457"/>
                </a:cubicBezTo>
                <a:cubicBezTo>
                  <a:pt x="4038" y="470"/>
                  <a:pt x="3970" y="470"/>
                  <a:pt x="3928" y="486"/>
                </a:cubicBezTo>
                <a:cubicBezTo>
                  <a:pt x="3863" y="499"/>
                  <a:pt x="3808" y="499"/>
                  <a:pt x="3753" y="512"/>
                </a:cubicBezTo>
                <a:cubicBezTo>
                  <a:pt x="3701" y="525"/>
                  <a:pt x="3672" y="580"/>
                  <a:pt x="3633" y="593"/>
                </a:cubicBezTo>
                <a:cubicBezTo>
                  <a:pt x="3599" y="606"/>
                  <a:pt x="3565" y="606"/>
                  <a:pt x="3534" y="606"/>
                </a:cubicBezTo>
                <a:cubicBezTo>
                  <a:pt x="3504" y="606"/>
                  <a:pt x="3477" y="606"/>
                  <a:pt x="3458" y="619"/>
                </a:cubicBezTo>
                <a:cubicBezTo>
                  <a:pt x="3390" y="648"/>
                  <a:pt x="3390" y="687"/>
                  <a:pt x="3348" y="713"/>
                </a:cubicBezTo>
                <a:cubicBezTo>
                  <a:pt x="3296" y="742"/>
                  <a:pt x="3267" y="742"/>
                  <a:pt x="3280" y="781"/>
                </a:cubicBezTo>
                <a:cubicBezTo>
                  <a:pt x="3280" y="810"/>
                  <a:pt x="3241" y="862"/>
                  <a:pt x="3296" y="875"/>
                </a:cubicBezTo>
                <a:cubicBezTo>
                  <a:pt x="3322" y="891"/>
                  <a:pt x="3390" y="917"/>
                  <a:pt x="3442" y="917"/>
                </a:cubicBezTo>
                <a:cubicBezTo>
                  <a:pt x="3451" y="920"/>
                  <a:pt x="3460" y="921"/>
                  <a:pt x="3470" y="921"/>
                </a:cubicBezTo>
                <a:cubicBezTo>
                  <a:pt x="3497" y="921"/>
                  <a:pt x="3527" y="913"/>
                  <a:pt x="3558" y="913"/>
                </a:cubicBezTo>
                <a:cubicBezTo>
                  <a:pt x="3569" y="913"/>
                  <a:pt x="3580" y="914"/>
                  <a:pt x="3591" y="917"/>
                </a:cubicBezTo>
                <a:cubicBezTo>
                  <a:pt x="3539" y="917"/>
                  <a:pt x="3497" y="956"/>
                  <a:pt x="3442" y="972"/>
                </a:cubicBezTo>
                <a:cubicBezTo>
                  <a:pt x="3377" y="972"/>
                  <a:pt x="3322" y="985"/>
                  <a:pt x="3267" y="985"/>
                </a:cubicBezTo>
                <a:cubicBezTo>
                  <a:pt x="3260" y="987"/>
                  <a:pt x="3253" y="987"/>
                  <a:pt x="3245" y="987"/>
                </a:cubicBezTo>
                <a:cubicBezTo>
                  <a:pt x="3197" y="987"/>
                  <a:pt x="3139" y="956"/>
                  <a:pt x="3092" y="956"/>
                </a:cubicBezTo>
                <a:cubicBezTo>
                  <a:pt x="3037" y="972"/>
                  <a:pt x="2985" y="972"/>
                  <a:pt x="2930" y="985"/>
                </a:cubicBezTo>
                <a:cubicBezTo>
                  <a:pt x="2875" y="998"/>
                  <a:pt x="2823" y="1011"/>
                  <a:pt x="2768" y="1024"/>
                </a:cubicBezTo>
                <a:cubicBezTo>
                  <a:pt x="2713" y="1037"/>
                  <a:pt x="2661" y="1079"/>
                  <a:pt x="2606" y="1079"/>
                </a:cubicBezTo>
                <a:cubicBezTo>
                  <a:pt x="2601" y="1080"/>
                  <a:pt x="2596" y="1081"/>
                  <a:pt x="2591" y="1081"/>
                </a:cubicBezTo>
                <a:cubicBezTo>
                  <a:pt x="2542" y="1081"/>
                  <a:pt x="2479" y="1035"/>
                  <a:pt x="2432" y="1035"/>
                </a:cubicBezTo>
                <a:cubicBezTo>
                  <a:pt x="2427" y="1035"/>
                  <a:pt x="2422" y="1036"/>
                  <a:pt x="2418" y="1037"/>
                </a:cubicBezTo>
                <a:cubicBezTo>
                  <a:pt x="2363" y="1037"/>
                  <a:pt x="2324" y="1079"/>
                  <a:pt x="2269" y="1092"/>
                </a:cubicBezTo>
                <a:cubicBezTo>
                  <a:pt x="2254" y="1095"/>
                  <a:pt x="2240" y="1096"/>
                  <a:pt x="2226" y="1096"/>
                </a:cubicBezTo>
                <a:cubicBezTo>
                  <a:pt x="2187" y="1096"/>
                  <a:pt x="2149" y="1088"/>
                  <a:pt x="2116" y="1088"/>
                </a:cubicBezTo>
                <a:cubicBezTo>
                  <a:pt x="2103" y="1088"/>
                  <a:pt x="2092" y="1089"/>
                  <a:pt x="2081" y="1092"/>
                </a:cubicBezTo>
                <a:cubicBezTo>
                  <a:pt x="2026" y="1105"/>
                  <a:pt x="2000" y="1160"/>
                  <a:pt x="1945" y="1173"/>
                </a:cubicBezTo>
                <a:cubicBezTo>
                  <a:pt x="1933" y="1176"/>
                  <a:pt x="1920" y="1177"/>
                  <a:pt x="1907" y="1177"/>
                </a:cubicBezTo>
                <a:cubicBezTo>
                  <a:pt x="1870" y="1177"/>
                  <a:pt x="1829" y="1169"/>
                  <a:pt x="1793" y="1169"/>
                </a:cubicBezTo>
                <a:cubicBezTo>
                  <a:pt x="1780" y="1169"/>
                  <a:pt x="1768" y="1170"/>
                  <a:pt x="1757" y="1173"/>
                </a:cubicBezTo>
                <a:cubicBezTo>
                  <a:pt x="1702" y="1186"/>
                  <a:pt x="1660" y="1228"/>
                  <a:pt x="1608" y="1241"/>
                </a:cubicBezTo>
                <a:cubicBezTo>
                  <a:pt x="1553" y="1254"/>
                  <a:pt x="1498" y="1267"/>
                  <a:pt x="1446" y="1280"/>
                </a:cubicBezTo>
                <a:cubicBezTo>
                  <a:pt x="1418" y="1288"/>
                  <a:pt x="1388" y="1288"/>
                  <a:pt x="1357" y="1288"/>
                </a:cubicBezTo>
                <a:cubicBezTo>
                  <a:pt x="1327" y="1288"/>
                  <a:pt x="1297" y="1288"/>
                  <a:pt x="1271" y="1296"/>
                </a:cubicBezTo>
                <a:cubicBezTo>
                  <a:pt x="1216" y="1309"/>
                  <a:pt x="1203" y="1377"/>
                  <a:pt x="1161" y="1403"/>
                </a:cubicBezTo>
                <a:cubicBezTo>
                  <a:pt x="1109" y="1416"/>
                  <a:pt x="1093" y="1458"/>
                  <a:pt x="1054" y="1484"/>
                </a:cubicBezTo>
                <a:cubicBezTo>
                  <a:pt x="999" y="1510"/>
                  <a:pt x="892" y="1523"/>
                  <a:pt x="905" y="1552"/>
                </a:cubicBezTo>
                <a:cubicBezTo>
                  <a:pt x="905" y="1591"/>
                  <a:pt x="986" y="1604"/>
                  <a:pt x="1054" y="1620"/>
                </a:cubicBezTo>
                <a:cubicBezTo>
                  <a:pt x="1093" y="1633"/>
                  <a:pt x="1174" y="1646"/>
                  <a:pt x="1242" y="1659"/>
                </a:cubicBezTo>
                <a:cubicBezTo>
                  <a:pt x="1190" y="1672"/>
                  <a:pt x="1080" y="1672"/>
                  <a:pt x="1041" y="1685"/>
                </a:cubicBezTo>
                <a:cubicBezTo>
                  <a:pt x="986" y="1701"/>
                  <a:pt x="947" y="1753"/>
                  <a:pt x="892" y="1753"/>
                </a:cubicBezTo>
                <a:cubicBezTo>
                  <a:pt x="873" y="1757"/>
                  <a:pt x="855" y="1759"/>
                  <a:pt x="838" y="1759"/>
                </a:cubicBezTo>
                <a:cubicBezTo>
                  <a:pt x="802" y="1759"/>
                  <a:pt x="767" y="1753"/>
                  <a:pt x="730" y="1753"/>
                </a:cubicBezTo>
                <a:cubicBezTo>
                  <a:pt x="675" y="1766"/>
                  <a:pt x="636" y="1795"/>
                  <a:pt x="581" y="1808"/>
                </a:cubicBezTo>
                <a:cubicBezTo>
                  <a:pt x="526" y="1821"/>
                  <a:pt x="487" y="1834"/>
                  <a:pt x="432" y="1847"/>
                </a:cubicBezTo>
                <a:cubicBezTo>
                  <a:pt x="406" y="1855"/>
                  <a:pt x="376" y="1855"/>
                  <a:pt x="345" y="1855"/>
                </a:cubicBezTo>
                <a:cubicBezTo>
                  <a:pt x="315" y="1855"/>
                  <a:pt x="284" y="1855"/>
                  <a:pt x="257" y="1863"/>
                </a:cubicBezTo>
                <a:cubicBezTo>
                  <a:pt x="202" y="1876"/>
                  <a:pt x="163" y="1902"/>
                  <a:pt x="121" y="1928"/>
                </a:cubicBezTo>
                <a:cubicBezTo>
                  <a:pt x="69" y="1957"/>
                  <a:pt x="1" y="2009"/>
                  <a:pt x="14" y="2038"/>
                </a:cubicBezTo>
                <a:cubicBezTo>
                  <a:pt x="14" y="2064"/>
                  <a:pt x="95" y="2106"/>
                  <a:pt x="150" y="2119"/>
                </a:cubicBezTo>
                <a:cubicBezTo>
                  <a:pt x="163" y="2123"/>
                  <a:pt x="180" y="2125"/>
                  <a:pt x="200" y="2125"/>
                </a:cubicBezTo>
                <a:cubicBezTo>
                  <a:pt x="240" y="2125"/>
                  <a:pt x="288" y="2119"/>
                  <a:pt x="325" y="2119"/>
                </a:cubicBezTo>
                <a:cubicBezTo>
                  <a:pt x="336" y="2122"/>
                  <a:pt x="347" y="2123"/>
                  <a:pt x="358" y="2123"/>
                </a:cubicBezTo>
                <a:cubicBezTo>
                  <a:pt x="401" y="2123"/>
                  <a:pt x="445" y="2106"/>
                  <a:pt x="500" y="2106"/>
                </a:cubicBezTo>
                <a:cubicBezTo>
                  <a:pt x="542" y="2119"/>
                  <a:pt x="594" y="2145"/>
                  <a:pt x="649" y="2145"/>
                </a:cubicBezTo>
                <a:cubicBezTo>
                  <a:pt x="704" y="2145"/>
                  <a:pt x="756" y="2187"/>
                  <a:pt x="811" y="2187"/>
                </a:cubicBezTo>
                <a:cubicBezTo>
                  <a:pt x="866" y="2187"/>
                  <a:pt x="918" y="2145"/>
                  <a:pt x="973" y="2145"/>
                </a:cubicBezTo>
                <a:cubicBezTo>
                  <a:pt x="1028" y="2145"/>
                  <a:pt x="1080" y="2132"/>
                  <a:pt x="1148" y="2132"/>
                </a:cubicBezTo>
                <a:cubicBezTo>
                  <a:pt x="1203" y="2119"/>
                  <a:pt x="1255" y="2119"/>
                  <a:pt x="1310" y="2119"/>
                </a:cubicBezTo>
                <a:cubicBezTo>
                  <a:pt x="1318" y="2117"/>
                  <a:pt x="1325" y="2116"/>
                  <a:pt x="1333" y="2116"/>
                </a:cubicBezTo>
                <a:cubicBezTo>
                  <a:pt x="1380" y="2116"/>
                  <a:pt x="1425" y="2145"/>
                  <a:pt x="1472" y="2145"/>
                </a:cubicBezTo>
                <a:cubicBezTo>
                  <a:pt x="1527" y="2145"/>
                  <a:pt x="1579" y="2119"/>
                  <a:pt x="1634" y="2119"/>
                </a:cubicBezTo>
                <a:cubicBezTo>
                  <a:pt x="1689" y="2106"/>
                  <a:pt x="1741" y="2077"/>
                  <a:pt x="1796" y="2077"/>
                </a:cubicBezTo>
                <a:cubicBezTo>
                  <a:pt x="1846" y="2077"/>
                  <a:pt x="1907" y="2134"/>
                  <a:pt x="1957" y="2134"/>
                </a:cubicBezTo>
                <a:cubicBezTo>
                  <a:pt x="1962" y="2134"/>
                  <a:pt x="1966" y="2133"/>
                  <a:pt x="1971" y="2132"/>
                </a:cubicBezTo>
                <a:cubicBezTo>
                  <a:pt x="2026" y="2132"/>
                  <a:pt x="2081" y="2106"/>
                  <a:pt x="2133" y="2090"/>
                </a:cubicBezTo>
                <a:cubicBezTo>
                  <a:pt x="2188" y="2090"/>
                  <a:pt x="2243" y="2064"/>
                  <a:pt x="2295" y="2051"/>
                </a:cubicBezTo>
                <a:cubicBezTo>
                  <a:pt x="2339" y="2051"/>
                  <a:pt x="2383" y="2068"/>
                  <a:pt x="2425" y="2068"/>
                </a:cubicBezTo>
                <a:cubicBezTo>
                  <a:pt x="2436" y="2068"/>
                  <a:pt x="2446" y="2067"/>
                  <a:pt x="2457" y="2064"/>
                </a:cubicBezTo>
                <a:cubicBezTo>
                  <a:pt x="2512" y="2064"/>
                  <a:pt x="2567" y="2038"/>
                  <a:pt x="2619" y="2025"/>
                </a:cubicBezTo>
                <a:cubicBezTo>
                  <a:pt x="2674" y="2025"/>
                  <a:pt x="2713" y="1970"/>
                  <a:pt x="2768" y="1970"/>
                </a:cubicBezTo>
                <a:cubicBezTo>
                  <a:pt x="2773" y="1969"/>
                  <a:pt x="2778" y="1968"/>
                  <a:pt x="2783" y="1968"/>
                </a:cubicBezTo>
                <a:cubicBezTo>
                  <a:pt x="2830" y="1968"/>
                  <a:pt x="2892" y="2011"/>
                  <a:pt x="2938" y="2011"/>
                </a:cubicBezTo>
                <a:cubicBezTo>
                  <a:pt x="2944" y="2011"/>
                  <a:pt x="2950" y="2011"/>
                  <a:pt x="2956" y="2009"/>
                </a:cubicBezTo>
                <a:cubicBezTo>
                  <a:pt x="3011" y="1996"/>
                  <a:pt x="3053" y="1970"/>
                  <a:pt x="3105" y="1957"/>
                </a:cubicBezTo>
                <a:cubicBezTo>
                  <a:pt x="3160" y="1944"/>
                  <a:pt x="3199" y="1889"/>
                  <a:pt x="3254" y="1889"/>
                </a:cubicBezTo>
                <a:cubicBezTo>
                  <a:pt x="3265" y="1886"/>
                  <a:pt x="3278" y="1885"/>
                  <a:pt x="3290" y="1885"/>
                </a:cubicBezTo>
                <a:cubicBezTo>
                  <a:pt x="3324" y="1885"/>
                  <a:pt x="3361" y="1893"/>
                  <a:pt x="3394" y="1893"/>
                </a:cubicBezTo>
                <a:cubicBezTo>
                  <a:pt x="3406" y="1893"/>
                  <a:pt x="3418" y="1892"/>
                  <a:pt x="3429" y="1889"/>
                </a:cubicBezTo>
                <a:cubicBezTo>
                  <a:pt x="3484" y="1889"/>
                  <a:pt x="3510" y="1821"/>
                  <a:pt x="3565" y="1808"/>
                </a:cubicBezTo>
                <a:cubicBezTo>
                  <a:pt x="3571" y="1806"/>
                  <a:pt x="3578" y="1806"/>
                  <a:pt x="3584" y="1806"/>
                </a:cubicBezTo>
                <a:cubicBezTo>
                  <a:pt x="3631" y="1806"/>
                  <a:pt x="3689" y="1836"/>
                  <a:pt x="3734" y="1836"/>
                </a:cubicBezTo>
                <a:cubicBezTo>
                  <a:pt x="3741" y="1836"/>
                  <a:pt x="3747" y="1835"/>
                  <a:pt x="3753" y="1834"/>
                </a:cubicBezTo>
                <a:cubicBezTo>
                  <a:pt x="3808" y="1821"/>
                  <a:pt x="3847" y="1782"/>
                  <a:pt x="3902" y="1766"/>
                </a:cubicBezTo>
                <a:cubicBezTo>
                  <a:pt x="3957" y="1753"/>
                  <a:pt x="3996" y="1714"/>
                  <a:pt x="4025" y="1701"/>
                </a:cubicBezTo>
                <a:cubicBezTo>
                  <a:pt x="4090" y="1672"/>
                  <a:pt x="4051" y="1646"/>
                  <a:pt x="4051" y="1620"/>
                </a:cubicBezTo>
                <a:cubicBezTo>
                  <a:pt x="4051" y="1604"/>
                  <a:pt x="4077" y="1552"/>
                  <a:pt x="4064" y="1552"/>
                </a:cubicBezTo>
                <a:cubicBezTo>
                  <a:pt x="4070" y="1551"/>
                  <a:pt x="4076" y="1550"/>
                  <a:pt x="4083" y="1550"/>
                </a:cubicBezTo>
                <a:cubicBezTo>
                  <a:pt x="4140" y="1550"/>
                  <a:pt x="4203" y="1593"/>
                  <a:pt x="4252" y="1593"/>
                </a:cubicBezTo>
                <a:cubicBezTo>
                  <a:pt x="4258" y="1593"/>
                  <a:pt x="4263" y="1592"/>
                  <a:pt x="4268" y="1591"/>
                </a:cubicBezTo>
                <a:cubicBezTo>
                  <a:pt x="4333" y="1591"/>
                  <a:pt x="4375" y="1497"/>
                  <a:pt x="4430" y="1497"/>
                </a:cubicBezTo>
                <a:cubicBezTo>
                  <a:pt x="4435" y="1496"/>
                  <a:pt x="4441" y="1495"/>
                  <a:pt x="4447" y="1495"/>
                </a:cubicBezTo>
                <a:cubicBezTo>
                  <a:pt x="4489" y="1495"/>
                  <a:pt x="4538" y="1526"/>
                  <a:pt x="4583" y="1526"/>
                </a:cubicBezTo>
                <a:cubicBezTo>
                  <a:pt x="4590" y="1526"/>
                  <a:pt x="4598" y="1525"/>
                  <a:pt x="4605" y="1523"/>
                </a:cubicBezTo>
                <a:cubicBezTo>
                  <a:pt x="4639" y="1516"/>
                  <a:pt x="4666" y="1516"/>
                  <a:pt x="4691" y="1516"/>
                </a:cubicBezTo>
                <a:cubicBezTo>
                  <a:pt x="4716" y="1516"/>
                  <a:pt x="4739" y="1516"/>
                  <a:pt x="4767" y="1510"/>
                </a:cubicBezTo>
                <a:cubicBezTo>
                  <a:pt x="4767" y="1513"/>
                  <a:pt x="4767" y="1514"/>
                  <a:pt x="4768" y="1514"/>
                </a:cubicBezTo>
                <a:cubicBezTo>
                  <a:pt x="4771" y="1514"/>
                  <a:pt x="4776" y="1506"/>
                  <a:pt x="4778" y="1506"/>
                </a:cubicBezTo>
                <a:cubicBezTo>
                  <a:pt x="4779" y="1506"/>
                  <a:pt x="4780" y="1507"/>
                  <a:pt x="4780" y="1510"/>
                </a:cubicBezTo>
                <a:cubicBezTo>
                  <a:pt x="4780" y="1539"/>
                  <a:pt x="4848" y="1523"/>
                  <a:pt x="4916" y="1539"/>
                </a:cubicBezTo>
                <a:cubicBezTo>
                  <a:pt x="4955" y="1552"/>
                  <a:pt x="4997" y="1565"/>
                  <a:pt x="5049" y="1578"/>
                </a:cubicBezTo>
                <a:cubicBezTo>
                  <a:pt x="5104" y="1578"/>
                  <a:pt x="5143" y="1633"/>
                  <a:pt x="5211" y="1633"/>
                </a:cubicBezTo>
                <a:cubicBezTo>
                  <a:pt x="5229" y="1637"/>
                  <a:pt x="5247" y="1639"/>
                  <a:pt x="5266" y="1639"/>
                </a:cubicBezTo>
                <a:cubicBezTo>
                  <a:pt x="5302" y="1639"/>
                  <a:pt x="5338" y="1633"/>
                  <a:pt x="5373" y="1633"/>
                </a:cubicBezTo>
                <a:cubicBezTo>
                  <a:pt x="5384" y="1636"/>
                  <a:pt x="5395" y="1637"/>
                  <a:pt x="5407" y="1637"/>
                </a:cubicBezTo>
                <a:cubicBezTo>
                  <a:pt x="5454" y="1637"/>
                  <a:pt x="5506" y="1620"/>
                  <a:pt x="5548" y="1620"/>
                </a:cubicBezTo>
                <a:cubicBezTo>
                  <a:pt x="5603" y="1620"/>
                  <a:pt x="5658" y="1672"/>
                  <a:pt x="5726" y="1672"/>
                </a:cubicBezTo>
                <a:cubicBezTo>
                  <a:pt x="5778" y="1672"/>
                  <a:pt x="5833" y="1646"/>
                  <a:pt x="5901" y="1646"/>
                </a:cubicBezTo>
                <a:cubicBezTo>
                  <a:pt x="5953" y="1646"/>
                  <a:pt x="6008" y="1591"/>
                  <a:pt x="6076" y="1591"/>
                </a:cubicBezTo>
                <a:cubicBezTo>
                  <a:pt x="6131" y="1591"/>
                  <a:pt x="6183" y="1620"/>
                  <a:pt x="6251" y="1620"/>
                </a:cubicBezTo>
                <a:cubicBezTo>
                  <a:pt x="6306" y="1604"/>
                  <a:pt x="6358" y="1591"/>
                  <a:pt x="6413" y="1591"/>
                </a:cubicBezTo>
                <a:cubicBezTo>
                  <a:pt x="6449" y="1591"/>
                  <a:pt x="6473" y="1597"/>
                  <a:pt x="6501" y="1597"/>
                </a:cubicBezTo>
                <a:cubicBezTo>
                  <a:pt x="6515" y="1597"/>
                  <a:pt x="6530" y="1595"/>
                  <a:pt x="6549" y="1591"/>
                </a:cubicBezTo>
                <a:lnTo>
                  <a:pt x="6549" y="1591"/>
                </a:lnTo>
                <a:cubicBezTo>
                  <a:pt x="6507" y="1620"/>
                  <a:pt x="6507" y="1646"/>
                  <a:pt x="6507" y="1659"/>
                </a:cubicBezTo>
                <a:cubicBezTo>
                  <a:pt x="6520" y="1685"/>
                  <a:pt x="6588" y="1685"/>
                  <a:pt x="6643" y="1714"/>
                </a:cubicBezTo>
                <a:cubicBezTo>
                  <a:pt x="6682" y="1727"/>
                  <a:pt x="6737" y="1727"/>
                  <a:pt x="6792" y="1727"/>
                </a:cubicBezTo>
                <a:cubicBezTo>
                  <a:pt x="6844" y="1740"/>
                  <a:pt x="6873" y="1808"/>
                  <a:pt x="6925" y="1821"/>
                </a:cubicBezTo>
                <a:cubicBezTo>
                  <a:pt x="6980" y="1821"/>
                  <a:pt x="7048" y="1782"/>
                  <a:pt x="7103" y="1782"/>
                </a:cubicBezTo>
                <a:cubicBezTo>
                  <a:pt x="7155" y="1782"/>
                  <a:pt x="7210" y="1753"/>
                  <a:pt x="7278" y="1753"/>
                </a:cubicBezTo>
                <a:cubicBezTo>
                  <a:pt x="7330" y="1753"/>
                  <a:pt x="7372" y="1821"/>
                  <a:pt x="7427" y="1821"/>
                </a:cubicBezTo>
                <a:cubicBezTo>
                  <a:pt x="7479" y="1821"/>
                  <a:pt x="7547" y="1753"/>
                  <a:pt x="7602" y="1753"/>
                </a:cubicBezTo>
                <a:cubicBezTo>
                  <a:pt x="7654" y="1753"/>
                  <a:pt x="7709" y="1782"/>
                  <a:pt x="7764" y="1782"/>
                </a:cubicBezTo>
                <a:cubicBezTo>
                  <a:pt x="7816" y="1782"/>
                  <a:pt x="7871" y="1740"/>
                  <a:pt x="7926" y="1740"/>
                </a:cubicBezTo>
                <a:cubicBezTo>
                  <a:pt x="7973" y="1740"/>
                  <a:pt x="8023" y="1797"/>
                  <a:pt x="8073" y="1797"/>
                </a:cubicBezTo>
                <a:cubicBezTo>
                  <a:pt x="8078" y="1797"/>
                  <a:pt x="8083" y="1796"/>
                  <a:pt x="8088" y="1795"/>
                </a:cubicBezTo>
                <a:cubicBezTo>
                  <a:pt x="8140" y="1795"/>
                  <a:pt x="8195" y="1740"/>
                  <a:pt x="8250" y="1740"/>
                </a:cubicBezTo>
                <a:lnTo>
                  <a:pt x="8425" y="1740"/>
                </a:lnTo>
                <a:cubicBezTo>
                  <a:pt x="8480" y="1740"/>
                  <a:pt x="8532" y="1727"/>
                  <a:pt x="8587" y="1727"/>
                </a:cubicBezTo>
                <a:cubicBezTo>
                  <a:pt x="8605" y="1723"/>
                  <a:pt x="8623" y="1721"/>
                  <a:pt x="8641" y="1721"/>
                </a:cubicBezTo>
                <a:cubicBezTo>
                  <a:pt x="8677" y="1721"/>
                  <a:pt x="8712" y="1727"/>
                  <a:pt x="8749" y="1727"/>
                </a:cubicBezTo>
                <a:cubicBezTo>
                  <a:pt x="8804" y="1727"/>
                  <a:pt x="8856" y="1701"/>
                  <a:pt x="8911" y="1701"/>
                </a:cubicBezTo>
                <a:cubicBezTo>
                  <a:pt x="8938" y="1693"/>
                  <a:pt x="8968" y="1693"/>
                  <a:pt x="8997" y="1693"/>
                </a:cubicBezTo>
                <a:cubicBezTo>
                  <a:pt x="9025" y="1693"/>
                  <a:pt x="9052" y="1693"/>
                  <a:pt x="9073" y="1685"/>
                </a:cubicBezTo>
                <a:cubicBezTo>
                  <a:pt x="9141" y="1672"/>
                  <a:pt x="9180" y="1620"/>
                  <a:pt x="9235" y="1620"/>
                </a:cubicBezTo>
                <a:cubicBezTo>
                  <a:pt x="9290" y="1604"/>
                  <a:pt x="9342" y="1604"/>
                  <a:pt x="9397" y="1604"/>
                </a:cubicBezTo>
                <a:cubicBezTo>
                  <a:pt x="9407" y="1601"/>
                  <a:pt x="9417" y="1601"/>
                  <a:pt x="9428" y="1601"/>
                </a:cubicBezTo>
                <a:cubicBezTo>
                  <a:pt x="9475" y="1601"/>
                  <a:pt x="9527" y="1620"/>
                  <a:pt x="9572" y="1620"/>
                </a:cubicBezTo>
                <a:cubicBezTo>
                  <a:pt x="9627" y="1604"/>
                  <a:pt x="9666" y="1552"/>
                  <a:pt x="9721" y="1539"/>
                </a:cubicBezTo>
                <a:cubicBezTo>
                  <a:pt x="9776" y="1539"/>
                  <a:pt x="9828" y="1539"/>
                  <a:pt x="9883" y="1523"/>
                </a:cubicBezTo>
                <a:cubicBezTo>
                  <a:pt x="9938" y="1523"/>
                  <a:pt x="9990" y="1497"/>
                  <a:pt x="10045" y="1484"/>
                </a:cubicBezTo>
                <a:cubicBezTo>
                  <a:pt x="10100" y="1471"/>
                  <a:pt x="10126" y="1416"/>
                  <a:pt x="10165" y="1403"/>
                </a:cubicBezTo>
                <a:cubicBezTo>
                  <a:pt x="10176" y="1400"/>
                  <a:pt x="10189" y="1399"/>
                  <a:pt x="10203" y="1399"/>
                </a:cubicBezTo>
                <a:cubicBezTo>
                  <a:pt x="10239" y="1399"/>
                  <a:pt x="10281" y="1407"/>
                  <a:pt x="10318" y="1407"/>
                </a:cubicBezTo>
                <a:cubicBezTo>
                  <a:pt x="10331" y="1407"/>
                  <a:pt x="10344" y="1406"/>
                  <a:pt x="10356" y="1403"/>
                </a:cubicBezTo>
                <a:cubicBezTo>
                  <a:pt x="10408" y="1377"/>
                  <a:pt x="10450" y="1361"/>
                  <a:pt x="10489" y="1335"/>
                </a:cubicBezTo>
                <a:cubicBezTo>
                  <a:pt x="10544" y="1309"/>
                  <a:pt x="10625" y="1267"/>
                  <a:pt x="10625" y="1241"/>
                </a:cubicBezTo>
                <a:cubicBezTo>
                  <a:pt x="10612" y="1215"/>
                  <a:pt x="10505" y="1228"/>
                  <a:pt x="10424" y="1199"/>
                </a:cubicBezTo>
                <a:cubicBezTo>
                  <a:pt x="10382" y="1186"/>
                  <a:pt x="10356" y="1160"/>
                  <a:pt x="10288" y="1147"/>
                </a:cubicBezTo>
                <a:cubicBezTo>
                  <a:pt x="10233" y="1147"/>
                  <a:pt x="10181" y="1160"/>
                  <a:pt x="10113" y="1160"/>
                </a:cubicBezTo>
                <a:cubicBezTo>
                  <a:pt x="10058" y="1160"/>
                  <a:pt x="10019" y="1079"/>
                  <a:pt x="9964" y="1079"/>
                </a:cubicBezTo>
                <a:cubicBezTo>
                  <a:pt x="9909" y="1079"/>
                  <a:pt x="9841" y="1118"/>
                  <a:pt x="9776" y="1118"/>
                </a:cubicBezTo>
                <a:cubicBezTo>
                  <a:pt x="9721" y="1118"/>
                  <a:pt x="9666" y="1105"/>
                  <a:pt x="9614" y="1105"/>
                </a:cubicBezTo>
                <a:cubicBezTo>
                  <a:pt x="9546" y="1105"/>
                  <a:pt x="9491" y="1118"/>
                  <a:pt x="9436" y="1118"/>
                </a:cubicBezTo>
                <a:cubicBezTo>
                  <a:pt x="9384" y="1118"/>
                  <a:pt x="9316" y="1173"/>
                  <a:pt x="9261" y="1173"/>
                </a:cubicBezTo>
                <a:cubicBezTo>
                  <a:pt x="9209" y="1173"/>
                  <a:pt x="9141" y="1105"/>
                  <a:pt x="9086" y="1105"/>
                </a:cubicBezTo>
                <a:cubicBezTo>
                  <a:pt x="9031" y="1118"/>
                  <a:pt x="8979" y="1173"/>
                  <a:pt x="8911" y="1173"/>
                </a:cubicBezTo>
                <a:cubicBezTo>
                  <a:pt x="8903" y="1175"/>
                  <a:pt x="8896" y="1176"/>
                  <a:pt x="8890" y="1176"/>
                </a:cubicBezTo>
                <a:cubicBezTo>
                  <a:pt x="8855" y="1176"/>
                  <a:pt x="8848" y="1147"/>
                  <a:pt x="8804" y="1147"/>
                </a:cubicBezTo>
                <a:cubicBezTo>
                  <a:pt x="8843" y="1118"/>
                  <a:pt x="8843" y="1105"/>
                  <a:pt x="8843" y="1092"/>
                </a:cubicBezTo>
                <a:cubicBezTo>
                  <a:pt x="8830" y="1066"/>
                  <a:pt x="8736" y="1037"/>
                  <a:pt x="8681" y="1024"/>
                </a:cubicBezTo>
                <a:cubicBezTo>
                  <a:pt x="8749" y="1011"/>
                  <a:pt x="8830" y="998"/>
                  <a:pt x="8898" y="998"/>
                </a:cubicBezTo>
                <a:cubicBezTo>
                  <a:pt x="8905" y="996"/>
                  <a:pt x="8913" y="995"/>
                  <a:pt x="8922" y="995"/>
                </a:cubicBezTo>
                <a:cubicBezTo>
                  <a:pt x="8961" y="995"/>
                  <a:pt x="9007" y="1014"/>
                  <a:pt x="9048" y="1014"/>
                </a:cubicBezTo>
                <a:cubicBezTo>
                  <a:pt x="9056" y="1014"/>
                  <a:pt x="9065" y="1013"/>
                  <a:pt x="9073" y="1011"/>
                </a:cubicBezTo>
                <a:cubicBezTo>
                  <a:pt x="9128" y="998"/>
                  <a:pt x="9180" y="985"/>
                  <a:pt x="9235" y="972"/>
                </a:cubicBezTo>
                <a:cubicBezTo>
                  <a:pt x="9303" y="956"/>
                  <a:pt x="9342" y="904"/>
                  <a:pt x="9397" y="891"/>
                </a:cubicBezTo>
                <a:cubicBezTo>
                  <a:pt x="9409" y="887"/>
                  <a:pt x="9423" y="886"/>
                  <a:pt x="9436" y="886"/>
                </a:cubicBezTo>
                <a:cubicBezTo>
                  <a:pt x="9470" y="886"/>
                  <a:pt x="9505" y="894"/>
                  <a:pt x="9539" y="894"/>
                </a:cubicBezTo>
                <a:cubicBezTo>
                  <a:pt x="9550" y="894"/>
                  <a:pt x="9561" y="894"/>
                  <a:pt x="9572" y="891"/>
                </a:cubicBezTo>
                <a:cubicBezTo>
                  <a:pt x="9627" y="875"/>
                  <a:pt x="9679" y="849"/>
                  <a:pt x="9734" y="836"/>
                </a:cubicBezTo>
                <a:cubicBezTo>
                  <a:pt x="9752" y="832"/>
                  <a:pt x="9772" y="830"/>
                  <a:pt x="9792" y="830"/>
                </a:cubicBezTo>
                <a:cubicBezTo>
                  <a:pt x="9832" y="830"/>
                  <a:pt x="9874" y="836"/>
                  <a:pt x="9909" y="836"/>
                </a:cubicBezTo>
                <a:cubicBezTo>
                  <a:pt x="9977" y="810"/>
                  <a:pt x="10003" y="755"/>
                  <a:pt x="10058" y="742"/>
                </a:cubicBezTo>
                <a:cubicBezTo>
                  <a:pt x="10113" y="729"/>
                  <a:pt x="10152" y="700"/>
                  <a:pt x="10207" y="687"/>
                </a:cubicBezTo>
                <a:cubicBezTo>
                  <a:pt x="10234" y="674"/>
                  <a:pt x="10268" y="674"/>
                  <a:pt x="10300" y="674"/>
                </a:cubicBezTo>
                <a:cubicBezTo>
                  <a:pt x="10332" y="674"/>
                  <a:pt x="10362" y="674"/>
                  <a:pt x="10382" y="661"/>
                </a:cubicBezTo>
                <a:cubicBezTo>
                  <a:pt x="10450" y="632"/>
                  <a:pt x="10518" y="632"/>
                  <a:pt x="10557" y="606"/>
                </a:cubicBezTo>
                <a:cubicBezTo>
                  <a:pt x="10612" y="580"/>
                  <a:pt x="10651" y="512"/>
                  <a:pt x="10651" y="486"/>
                </a:cubicBezTo>
                <a:cubicBezTo>
                  <a:pt x="10651" y="457"/>
                  <a:pt x="10570" y="418"/>
                  <a:pt x="10518" y="389"/>
                </a:cubicBezTo>
                <a:cubicBezTo>
                  <a:pt x="10510" y="386"/>
                  <a:pt x="10501" y="386"/>
                  <a:pt x="10491" y="386"/>
                </a:cubicBezTo>
                <a:cubicBezTo>
                  <a:pt x="10447" y="386"/>
                  <a:pt x="10382" y="405"/>
                  <a:pt x="10327" y="405"/>
                </a:cubicBezTo>
                <a:cubicBezTo>
                  <a:pt x="10288" y="389"/>
                  <a:pt x="10246" y="376"/>
                  <a:pt x="10181" y="363"/>
                </a:cubicBezTo>
                <a:cubicBezTo>
                  <a:pt x="10126" y="363"/>
                  <a:pt x="10084" y="308"/>
                  <a:pt x="10032" y="308"/>
                </a:cubicBezTo>
                <a:cubicBezTo>
                  <a:pt x="9977" y="308"/>
                  <a:pt x="9922" y="324"/>
                  <a:pt x="9857" y="324"/>
                </a:cubicBezTo>
                <a:cubicBezTo>
                  <a:pt x="9802" y="324"/>
                  <a:pt x="9760" y="295"/>
                  <a:pt x="9695" y="295"/>
                </a:cubicBezTo>
                <a:cubicBezTo>
                  <a:pt x="9640" y="295"/>
                  <a:pt x="9585" y="324"/>
                  <a:pt x="9533" y="324"/>
                </a:cubicBezTo>
                <a:cubicBezTo>
                  <a:pt x="9478" y="324"/>
                  <a:pt x="9423" y="295"/>
                  <a:pt x="9355" y="295"/>
                </a:cubicBezTo>
                <a:lnTo>
                  <a:pt x="9193" y="295"/>
                </a:lnTo>
                <a:cubicBezTo>
                  <a:pt x="9141" y="295"/>
                  <a:pt x="9073" y="363"/>
                  <a:pt x="9018" y="363"/>
                </a:cubicBezTo>
                <a:cubicBezTo>
                  <a:pt x="8966" y="363"/>
                  <a:pt x="8911" y="308"/>
                  <a:pt x="8856" y="308"/>
                </a:cubicBezTo>
                <a:cubicBezTo>
                  <a:pt x="8804" y="324"/>
                  <a:pt x="8749" y="350"/>
                  <a:pt x="8681" y="363"/>
                </a:cubicBezTo>
                <a:lnTo>
                  <a:pt x="8493" y="363"/>
                </a:lnTo>
                <a:cubicBezTo>
                  <a:pt x="8545" y="350"/>
                  <a:pt x="8600" y="324"/>
                  <a:pt x="8626" y="295"/>
                </a:cubicBezTo>
                <a:cubicBezTo>
                  <a:pt x="8668" y="269"/>
                  <a:pt x="8707" y="243"/>
                  <a:pt x="8707" y="214"/>
                </a:cubicBezTo>
                <a:cubicBezTo>
                  <a:pt x="8694" y="175"/>
                  <a:pt x="8681" y="120"/>
                  <a:pt x="8626" y="94"/>
                </a:cubicBezTo>
                <a:cubicBezTo>
                  <a:pt x="8622" y="93"/>
                  <a:pt x="8618" y="92"/>
                  <a:pt x="8613" y="92"/>
                </a:cubicBezTo>
                <a:cubicBezTo>
                  <a:pt x="8572" y="92"/>
                  <a:pt x="8492" y="135"/>
                  <a:pt x="8431" y="135"/>
                </a:cubicBezTo>
                <a:cubicBezTo>
                  <a:pt x="8425" y="135"/>
                  <a:pt x="8418" y="134"/>
                  <a:pt x="8412" y="133"/>
                </a:cubicBezTo>
                <a:cubicBezTo>
                  <a:pt x="8370" y="120"/>
                  <a:pt x="8344" y="52"/>
                  <a:pt x="8289" y="52"/>
                </a:cubicBezTo>
                <a:cubicBezTo>
                  <a:pt x="8237" y="39"/>
                  <a:pt x="8169" y="39"/>
                  <a:pt x="8114" y="39"/>
                </a:cubicBezTo>
                <a:cubicBezTo>
                  <a:pt x="8108" y="38"/>
                  <a:pt x="8102" y="37"/>
                  <a:pt x="8096" y="37"/>
                </a:cubicBezTo>
                <a:cubicBezTo>
                  <a:pt x="8045" y="37"/>
                  <a:pt x="7988" y="81"/>
                  <a:pt x="7939" y="81"/>
                </a:cubicBezTo>
                <a:lnTo>
                  <a:pt x="7764" y="81"/>
                </a:lnTo>
                <a:cubicBezTo>
                  <a:pt x="7709" y="81"/>
                  <a:pt x="7670" y="0"/>
                  <a:pt x="761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61" name="Google Shape;661;p26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62" name="Google Shape;662;p26"/>
          <p:cNvSpPr txBox="1">
            <a:spLocks noGrp="1"/>
          </p:cNvSpPr>
          <p:nvPr>
            <p:ph type="subTitle" idx="1"/>
          </p:nvPr>
        </p:nvSpPr>
        <p:spPr>
          <a:xfrm>
            <a:off x="4000967" y="2636100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63" name="Google Shape;663;p26"/>
          <p:cNvSpPr txBox="1">
            <a:spLocks noGrp="1"/>
          </p:cNvSpPr>
          <p:nvPr>
            <p:ph type="title" idx="2"/>
          </p:nvPr>
        </p:nvSpPr>
        <p:spPr>
          <a:xfrm>
            <a:off x="4000967" y="2020807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64" name="Google Shape;664;p26"/>
          <p:cNvSpPr txBox="1">
            <a:spLocks noGrp="1"/>
          </p:cNvSpPr>
          <p:nvPr>
            <p:ph type="subTitle" idx="3"/>
          </p:nvPr>
        </p:nvSpPr>
        <p:spPr>
          <a:xfrm>
            <a:off x="4000967" y="5109136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65" name="Google Shape;665;p26"/>
          <p:cNvSpPr txBox="1">
            <a:spLocks noGrp="1"/>
          </p:cNvSpPr>
          <p:nvPr>
            <p:ph type="title" idx="4"/>
          </p:nvPr>
        </p:nvSpPr>
        <p:spPr>
          <a:xfrm>
            <a:off x="4000967" y="4493847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666" name="Google Shape;666;p26"/>
          <p:cNvSpPr txBox="1">
            <a:spLocks noGrp="1"/>
          </p:cNvSpPr>
          <p:nvPr>
            <p:ph type="subTitle" idx="5"/>
          </p:nvPr>
        </p:nvSpPr>
        <p:spPr>
          <a:xfrm>
            <a:off x="4000967" y="3872617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1158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667" name="Google Shape;667;p26"/>
          <p:cNvSpPr txBox="1">
            <a:spLocks noGrp="1"/>
          </p:cNvSpPr>
          <p:nvPr>
            <p:ph type="title" idx="6"/>
          </p:nvPr>
        </p:nvSpPr>
        <p:spPr>
          <a:xfrm>
            <a:off x="4000967" y="3257327"/>
            <a:ext cx="6358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12271188"/>
      </p:ext>
    </p:extLst>
  </p:cSld>
  <p:clrMapOvr>
    <a:masterClrMapping/>
  </p:clrMapOvr>
  <p:transition spd="slow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Section header 1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Google Shape;669;p27"/>
          <p:cNvSpPr/>
          <p:nvPr/>
        </p:nvSpPr>
        <p:spPr>
          <a:xfrm>
            <a:off x="7982025" y="4005630"/>
            <a:ext cx="5996052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0" name="Google Shape;670;p27"/>
          <p:cNvSpPr/>
          <p:nvPr/>
        </p:nvSpPr>
        <p:spPr>
          <a:xfrm>
            <a:off x="-454909" y="4005630"/>
            <a:ext cx="5996052" cy="2921689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1" name="Google Shape;671;p27"/>
          <p:cNvSpPr/>
          <p:nvPr/>
        </p:nvSpPr>
        <p:spPr>
          <a:xfrm>
            <a:off x="4976902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2" name="Google Shape;672;p27"/>
          <p:cNvSpPr/>
          <p:nvPr/>
        </p:nvSpPr>
        <p:spPr>
          <a:xfrm>
            <a:off x="9604340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3" name="Google Shape;673;p27"/>
          <p:cNvSpPr/>
          <p:nvPr/>
        </p:nvSpPr>
        <p:spPr>
          <a:xfrm>
            <a:off x="33" y="5041234"/>
            <a:ext cx="12192016" cy="1106837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4" name="Google Shape;674;p27"/>
          <p:cNvSpPr/>
          <p:nvPr/>
        </p:nvSpPr>
        <p:spPr>
          <a:xfrm>
            <a:off x="-16" y="5669032"/>
            <a:ext cx="12192016" cy="826673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5" name="Google Shape;675;p27"/>
          <p:cNvSpPr/>
          <p:nvPr/>
        </p:nvSpPr>
        <p:spPr>
          <a:xfrm>
            <a:off x="4853785" y="5500935"/>
            <a:ext cx="7338209" cy="164847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6" name="Google Shape;676;p27"/>
          <p:cNvSpPr/>
          <p:nvPr/>
        </p:nvSpPr>
        <p:spPr>
          <a:xfrm>
            <a:off x="-15" y="6092424"/>
            <a:ext cx="11949201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7" name="Google Shape;677;p27"/>
          <p:cNvSpPr/>
          <p:nvPr/>
        </p:nvSpPr>
        <p:spPr>
          <a:xfrm>
            <a:off x="-16" y="6392956"/>
            <a:ext cx="12192016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678" name="Google Shape;678;p27"/>
          <p:cNvGrpSpPr/>
          <p:nvPr/>
        </p:nvGrpSpPr>
        <p:grpSpPr>
          <a:xfrm>
            <a:off x="7173214" y="5123540"/>
            <a:ext cx="3442029" cy="1169041"/>
            <a:chOff x="5379910" y="3842654"/>
            <a:chExt cx="2581522" cy="876781"/>
          </a:xfrm>
        </p:grpSpPr>
        <p:sp>
          <p:nvSpPr>
            <p:cNvPr id="679" name="Google Shape;679;p27"/>
            <p:cNvSpPr/>
            <p:nvPr/>
          </p:nvSpPr>
          <p:spPr>
            <a:xfrm>
              <a:off x="7639533" y="3968202"/>
              <a:ext cx="196495" cy="712964"/>
            </a:xfrm>
            <a:custGeom>
              <a:avLst/>
              <a:gdLst/>
              <a:ahLst/>
              <a:cxnLst/>
              <a:rect l="l" t="t" r="r" b="b"/>
              <a:pathLst>
                <a:path w="1335" h="4844" extrusionOk="0">
                  <a:moveTo>
                    <a:pt x="0" y="0"/>
                  </a:moveTo>
                  <a:lnTo>
                    <a:pt x="0" y="4698"/>
                  </a:lnTo>
                  <a:lnTo>
                    <a:pt x="1335" y="4844"/>
                  </a:lnTo>
                  <a:lnTo>
                    <a:pt x="1335" y="0"/>
                  </a:ln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0" name="Google Shape;680;p27"/>
            <p:cNvSpPr/>
            <p:nvPr/>
          </p:nvSpPr>
          <p:spPr>
            <a:xfrm>
              <a:off x="7631290" y="3842654"/>
              <a:ext cx="210920" cy="125696"/>
            </a:xfrm>
            <a:custGeom>
              <a:avLst/>
              <a:gdLst/>
              <a:ahLst/>
              <a:cxnLst/>
              <a:rect l="l" t="t" r="r" b="b"/>
              <a:pathLst>
                <a:path w="1433" h="854" extrusionOk="0">
                  <a:moveTo>
                    <a:pt x="717" y="1"/>
                  </a:moveTo>
                  <a:cubicBezTo>
                    <a:pt x="1" y="1"/>
                    <a:pt x="56" y="853"/>
                    <a:pt x="56" y="853"/>
                  </a:cubicBezTo>
                  <a:lnTo>
                    <a:pt x="1391" y="853"/>
                  </a:lnTo>
                  <a:cubicBezTo>
                    <a:pt x="1391" y="853"/>
                    <a:pt x="1433" y="1"/>
                    <a:pt x="717" y="1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1" name="Google Shape;681;p27"/>
            <p:cNvSpPr/>
            <p:nvPr/>
          </p:nvSpPr>
          <p:spPr>
            <a:xfrm>
              <a:off x="7748598" y="4331455"/>
              <a:ext cx="37827" cy="18398"/>
            </a:xfrm>
            <a:custGeom>
              <a:avLst/>
              <a:gdLst/>
              <a:ahLst/>
              <a:cxnLst/>
              <a:rect l="l" t="t" r="r" b="b"/>
              <a:pathLst>
                <a:path w="257" h="125" extrusionOk="0">
                  <a:moveTo>
                    <a:pt x="1" y="1"/>
                  </a:moveTo>
                  <a:lnTo>
                    <a:pt x="1" y="124"/>
                  </a:lnTo>
                  <a:lnTo>
                    <a:pt x="257" y="124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2" name="Google Shape;682;p27"/>
            <p:cNvSpPr/>
            <p:nvPr/>
          </p:nvSpPr>
          <p:spPr>
            <a:xfrm>
              <a:off x="7794521" y="4331455"/>
              <a:ext cx="37680" cy="18398"/>
            </a:xfrm>
            <a:custGeom>
              <a:avLst/>
              <a:gdLst/>
              <a:ahLst/>
              <a:cxnLst/>
              <a:rect l="l" t="t" r="r" b="b"/>
              <a:pathLst>
                <a:path w="256" h="125" extrusionOk="0">
                  <a:moveTo>
                    <a:pt x="0" y="1"/>
                  </a:moveTo>
                  <a:lnTo>
                    <a:pt x="0" y="124"/>
                  </a:lnTo>
                  <a:lnTo>
                    <a:pt x="256" y="124"/>
                  </a:lnTo>
                  <a:lnTo>
                    <a:pt x="256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3" name="Google Shape;683;p27"/>
            <p:cNvSpPr/>
            <p:nvPr/>
          </p:nvSpPr>
          <p:spPr>
            <a:xfrm>
              <a:off x="7770677" y="4357212"/>
              <a:ext cx="39593" cy="20164"/>
            </a:xfrm>
            <a:custGeom>
              <a:avLst/>
              <a:gdLst/>
              <a:ahLst/>
              <a:cxnLst/>
              <a:rect l="l" t="t" r="r" b="b"/>
              <a:pathLst>
                <a:path w="269" h="137" extrusionOk="0">
                  <a:moveTo>
                    <a:pt x="0" y="1"/>
                  </a:moveTo>
                  <a:lnTo>
                    <a:pt x="0" y="137"/>
                  </a:lnTo>
                  <a:lnTo>
                    <a:pt x="269" y="137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4" name="Google Shape;684;p27"/>
            <p:cNvSpPr/>
            <p:nvPr/>
          </p:nvSpPr>
          <p:spPr>
            <a:xfrm>
              <a:off x="7661463" y="4003968"/>
              <a:ext cx="37680" cy="17662"/>
            </a:xfrm>
            <a:custGeom>
              <a:avLst/>
              <a:gdLst/>
              <a:ahLst/>
              <a:cxnLst/>
              <a:rect l="l" t="t" r="r" b="b"/>
              <a:pathLst>
                <a:path w="256" h="120" extrusionOk="0">
                  <a:moveTo>
                    <a:pt x="0" y="0"/>
                  </a:moveTo>
                  <a:lnTo>
                    <a:pt x="0" y="120"/>
                  </a:lnTo>
                  <a:lnTo>
                    <a:pt x="256" y="12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5" name="Google Shape;685;p27"/>
            <p:cNvSpPr/>
            <p:nvPr/>
          </p:nvSpPr>
          <p:spPr>
            <a:xfrm>
              <a:off x="7706650" y="4003968"/>
              <a:ext cx="38416" cy="17662"/>
            </a:xfrm>
            <a:custGeom>
              <a:avLst/>
              <a:gdLst/>
              <a:ahLst/>
              <a:cxnLst/>
              <a:rect l="l" t="t" r="r" b="b"/>
              <a:pathLst>
                <a:path w="261" h="120" extrusionOk="0">
                  <a:moveTo>
                    <a:pt x="1" y="0"/>
                  </a:moveTo>
                  <a:lnTo>
                    <a:pt x="1" y="120"/>
                  </a:lnTo>
                  <a:lnTo>
                    <a:pt x="260" y="120"/>
                  </a:lnTo>
                  <a:lnTo>
                    <a:pt x="260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6" name="Google Shape;686;p27"/>
            <p:cNvSpPr/>
            <p:nvPr/>
          </p:nvSpPr>
          <p:spPr>
            <a:xfrm>
              <a:off x="7682806" y="4029726"/>
              <a:ext cx="38416" cy="19576"/>
            </a:xfrm>
            <a:custGeom>
              <a:avLst/>
              <a:gdLst/>
              <a:ahLst/>
              <a:cxnLst/>
              <a:rect l="l" t="t" r="r" b="b"/>
              <a:pathLst>
                <a:path w="261" h="133" extrusionOk="0">
                  <a:moveTo>
                    <a:pt x="1" y="0"/>
                  </a:moveTo>
                  <a:lnTo>
                    <a:pt x="1" y="133"/>
                  </a:lnTo>
                  <a:lnTo>
                    <a:pt x="260" y="133"/>
                  </a:lnTo>
                  <a:lnTo>
                    <a:pt x="260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7" name="Google Shape;687;p27"/>
            <p:cNvSpPr/>
            <p:nvPr/>
          </p:nvSpPr>
          <p:spPr>
            <a:xfrm>
              <a:off x="7774356" y="4130695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8" name="Google Shape;688;p27"/>
            <p:cNvSpPr/>
            <p:nvPr/>
          </p:nvSpPr>
          <p:spPr>
            <a:xfrm>
              <a:off x="7728581" y="4130695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9" name="Google Shape;689;p27"/>
            <p:cNvSpPr/>
            <p:nvPr/>
          </p:nvSpPr>
          <p:spPr>
            <a:xfrm>
              <a:off x="7750512" y="4104937"/>
              <a:ext cx="39741" cy="18398"/>
            </a:xfrm>
            <a:custGeom>
              <a:avLst/>
              <a:gdLst/>
              <a:ahLst/>
              <a:cxnLst/>
              <a:rect l="l" t="t" r="r" b="b"/>
              <a:pathLst>
                <a:path w="270" h="125" extrusionOk="0">
                  <a:moveTo>
                    <a:pt x="1" y="1"/>
                  </a:moveTo>
                  <a:lnTo>
                    <a:pt x="1" y="124"/>
                  </a:lnTo>
                  <a:lnTo>
                    <a:pt x="270" y="124"/>
                  </a:lnTo>
                  <a:lnTo>
                    <a:pt x="270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0" name="Google Shape;690;p27"/>
            <p:cNvSpPr/>
            <p:nvPr/>
          </p:nvSpPr>
          <p:spPr>
            <a:xfrm>
              <a:off x="7748598" y="4382970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1" name="Google Shape;691;p27"/>
            <p:cNvSpPr/>
            <p:nvPr/>
          </p:nvSpPr>
          <p:spPr>
            <a:xfrm>
              <a:off x="7702823" y="4382970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2" name="Google Shape;692;p27"/>
            <p:cNvSpPr/>
            <p:nvPr/>
          </p:nvSpPr>
          <p:spPr>
            <a:xfrm>
              <a:off x="7726668" y="4357212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3" name="Google Shape;693;p27"/>
            <p:cNvSpPr/>
            <p:nvPr/>
          </p:nvSpPr>
          <p:spPr>
            <a:xfrm>
              <a:off x="7665143" y="4239906"/>
              <a:ext cx="37827" cy="20164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4" name="Google Shape;694;p27"/>
            <p:cNvSpPr/>
            <p:nvPr/>
          </p:nvSpPr>
          <p:spPr>
            <a:xfrm>
              <a:off x="7711066" y="4239906"/>
              <a:ext cx="37680" cy="20164"/>
            </a:xfrm>
            <a:custGeom>
              <a:avLst/>
              <a:gdLst/>
              <a:ahLst/>
              <a:cxnLst/>
              <a:rect l="l" t="t" r="r" b="b"/>
              <a:pathLst>
                <a:path w="256" h="137" extrusionOk="0">
                  <a:moveTo>
                    <a:pt x="0" y="1"/>
                  </a:moveTo>
                  <a:lnTo>
                    <a:pt x="0" y="137"/>
                  </a:lnTo>
                  <a:lnTo>
                    <a:pt x="256" y="137"/>
                  </a:lnTo>
                  <a:lnTo>
                    <a:pt x="256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5" name="Google Shape;695;p27"/>
            <p:cNvSpPr/>
            <p:nvPr/>
          </p:nvSpPr>
          <p:spPr>
            <a:xfrm>
              <a:off x="7754339" y="4239906"/>
              <a:ext cx="38416" cy="20164"/>
            </a:xfrm>
            <a:custGeom>
              <a:avLst/>
              <a:gdLst/>
              <a:ahLst/>
              <a:cxnLst/>
              <a:rect l="l" t="t" r="r" b="b"/>
              <a:pathLst>
                <a:path w="261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60" y="137"/>
                  </a:lnTo>
                  <a:lnTo>
                    <a:pt x="260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6" name="Google Shape;696;p27"/>
            <p:cNvSpPr/>
            <p:nvPr/>
          </p:nvSpPr>
          <p:spPr>
            <a:xfrm>
              <a:off x="7687221" y="4266252"/>
              <a:ext cx="37680" cy="19576"/>
            </a:xfrm>
            <a:custGeom>
              <a:avLst/>
              <a:gdLst/>
              <a:ahLst/>
              <a:cxnLst/>
              <a:rect l="l" t="t" r="r" b="b"/>
              <a:pathLst>
                <a:path w="256" h="133" extrusionOk="0">
                  <a:moveTo>
                    <a:pt x="0" y="0"/>
                  </a:moveTo>
                  <a:lnTo>
                    <a:pt x="0" y="133"/>
                  </a:lnTo>
                  <a:lnTo>
                    <a:pt x="256" y="133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7" name="Google Shape;697;p27"/>
            <p:cNvSpPr/>
            <p:nvPr/>
          </p:nvSpPr>
          <p:spPr>
            <a:xfrm>
              <a:off x="7730494" y="4266252"/>
              <a:ext cx="40182" cy="19576"/>
            </a:xfrm>
            <a:custGeom>
              <a:avLst/>
              <a:gdLst/>
              <a:ahLst/>
              <a:cxnLst/>
              <a:rect l="l" t="t" r="r" b="b"/>
              <a:pathLst>
                <a:path w="273" h="133" extrusionOk="0">
                  <a:moveTo>
                    <a:pt x="1" y="0"/>
                  </a:moveTo>
                  <a:lnTo>
                    <a:pt x="1" y="133"/>
                  </a:lnTo>
                  <a:lnTo>
                    <a:pt x="273" y="13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8" name="Google Shape;698;p27"/>
            <p:cNvSpPr/>
            <p:nvPr/>
          </p:nvSpPr>
          <p:spPr>
            <a:xfrm>
              <a:off x="7196498" y="4061076"/>
              <a:ext cx="202824" cy="602428"/>
            </a:xfrm>
            <a:custGeom>
              <a:avLst/>
              <a:gdLst/>
              <a:ahLst/>
              <a:cxnLst/>
              <a:rect l="l" t="t" r="r" b="b"/>
              <a:pathLst>
                <a:path w="1378" h="4093" extrusionOk="0">
                  <a:moveTo>
                    <a:pt x="606" y="367"/>
                  </a:moveTo>
                  <a:lnTo>
                    <a:pt x="606" y="1002"/>
                  </a:lnTo>
                  <a:lnTo>
                    <a:pt x="512" y="1002"/>
                  </a:lnTo>
                  <a:lnTo>
                    <a:pt x="606" y="367"/>
                  </a:lnTo>
                  <a:close/>
                  <a:moveTo>
                    <a:pt x="661" y="312"/>
                  </a:moveTo>
                  <a:lnTo>
                    <a:pt x="794" y="1002"/>
                  </a:lnTo>
                  <a:lnTo>
                    <a:pt x="661" y="1002"/>
                  </a:lnTo>
                  <a:lnTo>
                    <a:pt x="661" y="312"/>
                  </a:lnTo>
                  <a:close/>
                  <a:moveTo>
                    <a:pt x="606" y="1054"/>
                  </a:moveTo>
                  <a:lnTo>
                    <a:pt x="606" y="1663"/>
                  </a:lnTo>
                  <a:lnTo>
                    <a:pt x="418" y="1663"/>
                  </a:lnTo>
                  <a:lnTo>
                    <a:pt x="512" y="1054"/>
                  </a:lnTo>
                  <a:close/>
                  <a:moveTo>
                    <a:pt x="794" y="1054"/>
                  </a:moveTo>
                  <a:lnTo>
                    <a:pt x="904" y="1663"/>
                  </a:lnTo>
                  <a:lnTo>
                    <a:pt x="661" y="1663"/>
                  </a:lnTo>
                  <a:lnTo>
                    <a:pt x="661" y="1054"/>
                  </a:lnTo>
                  <a:close/>
                  <a:moveTo>
                    <a:pt x="606" y="1718"/>
                  </a:moveTo>
                  <a:lnTo>
                    <a:pt x="606" y="2499"/>
                  </a:lnTo>
                  <a:lnTo>
                    <a:pt x="282" y="2499"/>
                  </a:lnTo>
                  <a:lnTo>
                    <a:pt x="405" y="1718"/>
                  </a:lnTo>
                  <a:close/>
                  <a:moveTo>
                    <a:pt x="917" y="1718"/>
                  </a:moveTo>
                  <a:lnTo>
                    <a:pt x="1066" y="2499"/>
                  </a:lnTo>
                  <a:lnTo>
                    <a:pt x="661" y="2499"/>
                  </a:lnTo>
                  <a:lnTo>
                    <a:pt x="661" y="1718"/>
                  </a:lnTo>
                  <a:close/>
                  <a:moveTo>
                    <a:pt x="606" y="2554"/>
                  </a:moveTo>
                  <a:lnTo>
                    <a:pt x="606" y="4038"/>
                  </a:lnTo>
                  <a:lnTo>
                    <a:pt x="52" y="4038"/>
                  </a:lnTo>
                  <a:lnTo>
                    <a:pt x="282" y="2554"/>
                  </a:lnTo>
                  <a:close/>
                  <a:moveTo>
                    <a:pt x="606" y="1"/>
                  </a:moveTo>
                  <a:lnTo>
                    <a:pt x="0" y="4093"/>
                  </a:lnTo>
                  <a:lnTo>
                    <a:pt x="661" y="4093"/>
                  </a:lnTo>
                  <a:lnTo>
                    <a:pt x="661" y="2554"/>
                  </a:lnTo>
                  <a:lnTo>
                    <a:pt x="1066" y="2554"/>
                  </a:lnTo>
                  <a:lnTo>
                    <a:pt x="1322" y="3931"/>
                  </a:lnTo>
                  <a:lnTo>
                    <a:pt x="1377" y="3918"/>
                  </a:lnTo>
                  <a:lnTo>
                    <a:pt x="661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9" name="Google Shape;699;p27"/>
            <p:cNvSpPr/>
            <p:nvPr/>
          </p:nvSpPr>
          <p:spPr>
            <a:xfrm>
              <a:off x="7224022" y="4071085"/>
              <a:ext cx="61672" cy="61671"/>
            </a:xfrm>
            <a:custGeom>
              <a:avLst/>
              <a:gdLst/>
              <a:ahLst/>
              <a:cxnLst/>
              <a:rect l="l" t="t" r="r" b="b"/>
              <a:pathLst>
                <a:path w="419" h="419" extrusionOk="0">
                  <a:moveTo>
                    <a:pt x="364" y="1"/>
                  </a:moveTo>
                  <a:lnTo>
                    <a:pt x="1" y="205"/>
                  </a:lnTo>
                  <a:lnTo>
                    <a:pt x="69" y="312"/>
                  </a:lnTo>
                  <a:lnTo>
                    <a:pt x="299" y="124"/>
                  </a:lnTo>
                  <a:lnTo>
                    <a:pt x="95" y="338"/>
                  </a:lnTo>
                  <a:lnTo>
                    <a:pt x="202" y="419"/>
                  </a:lnTo>
                  <a:lnTo>
                    <a:pt x="419" y="56"/>
                  </a:lnTo>
                  <a:cubicBezTo>
                    <a:pt x="393" y="43"/>
                    <a:pt x="380" y="30"/>
                    <a:pt x="364" y="1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0" name="Google Shape;700;p27"/>
            <p:cNvSpPr/>
            <p:nvPr/>
          </p:nvSpPr>
          <p:spPr>
            <a:xfrm>
              <a:off x="7214013" y="3989544"/>
              <a:ext cx="155136" cy="145713"/>
            </a:xfrm>
            <a:custGeom>
              <a:avLst/>
              <a:gdLst/>
              <a:ahLst/>
              <a:cxnLst/>
              <a:rect l="l" t="t" r="r" b="b"/>
              <a:pathLst>
                <a:path w="1054" h="990" extrusionOk="0">
                  <a:moveTo>
                    <a:pt x="529" y="419"/>
                  </a:moveTo>
                  <a:lnTo>
                    <a:pt x="529" y="422"/>
                  </a:lnTo>
                  <a:lnTo>
                    <a:pt x="529" y="419"/>
                  </a:lnTo>
                  <a:lnTo>
                    <a:pt x="529" y="419"/>
                  </a:lnTo>
                  <a:cubicBezTo>
                    <a:pt x="529" y="419"/>
                    <a:pt x="529" y="419"/>
                    <a:pt x="529" y="419"/>
                  </a:cubicBezTo>
                  <a:close/>
                  <a:moveTo>
                    <a:pt x="487" y="1"/>
                  </a:moveTo>
                  <a:lnTo>
                    <a:pt x="380" y="17"/>
                  </a:lnTo>
                  <a:lnTo>
                    <a:pt x="474" y="380"/>
                  </a:lnTo>
                  <a:lnTo>
                    <a:pt x="286" y="56"/>
                  </a:lnTo>
                  <a:lnTo>
                    <a:pt x="189" y="124"/>
                  </a:lnTo>
                  <a:lnTo>
                    <a:pt x="432" y="422"/>
                  </a:lnTo>
                  <a:lnTo>
                    <a:pt x="137" y="163"/>
                  </a:lnTo>
                  <a:lnTo>
                    <a:pt x="69" y="260"/>
                  </a:lnTo>
                  <a:lnTo>
                    <a:pt x="419" y="474"/>
                  </a:lnTo>
                  <a:lnTo>
                    <a:pt x="419" y="474"/>
                  </a:lnTo>
                  <a:lnTo>
                    <a:pt x="27" y="367"/>
                  </a:lnTo>
                  <a:lnTo>
                    <a:pt x="14" y="474"/>
                  </a:lnTo>
                  <a:lnTo>
                    <a:pt x="338" y="516"/>
                  </a:lnTo>
                  <a:lnTo>
                    <a:pt x="1" y="542"/>
                  </a:lnTo>
                  <a:lnTo>
                    <a:pt x="14" y="665"/>
                  </a:lnTo>
                  <a:lnTo>
                    <a:pt x="432" y="555"/>
                  </a:lnTo>
                  <a:cubicBezTo>
                    <a:pt x="432" y="542"/>
                    <a:pt x="419" y="542"/>
                    <a:pt x="419" y="529"/>
                  </a:cubicBezTo>
                  <a:cubicBezTo>
                    <a:pt x="419" y="474"/>
                    <a:pt x="448" y="422"/>
                    <a:pt x="500" y="422"/>
                  </a:cubicBezTo>
                  <a:cubicBezTo>
                    <a:pt x="508" y="420"/>
                    <a:pt x="516" y="419"/>
                    <a:pt x="524" y="419"/>
                  </a:cubicBezTo>
                  <a:cubicBezTo>
                    <a:pt x="526" y="419"/>
                    <a:pt x="527" y="419"/>
                    <a:pt x="529" y="419"/>
                  </a:cubicBezTo>
                  <a:lnTo>
                    <a:pt x="529" y="419"/>
                  </a:lnTo>
                  <a:lnTo>
                    <a:pt x="487" y="1"/>
                  </a:lnTo>
                  <a:close/>
                  <a:moveTo>
                    <a:pt x="568" y="1"/>
                  </a:moveTo>
                  <a:lnTo>
                    <a:pt x="529" y="419"/>
                  </a:lnTo>
                  <a:lnTo>
                    <a:pt x="529" y="419"/>
                  </a:lnTo>
                  <a:cubicBezTo>
                    <a:pt x="573" y="421"/>
                    <a:pt x="610" y="458"/>
                    <a:pt x="610" y="503"/>
                  </a:cubicBezTo>
                  <a:cubicBezTo>
                    <a:pt x="623" y="542"/>
                    <a:pt x="594" y="584"/>
                    <a:pt x="555" y="610"/>
                  </a:cubicBezTo>
                  <a:lnTo>
                    <a:pt x="772" y="989"/>
                  </a:lnTo>
                  <a:lnTo>
                    <a:pt x="866" y="921"/>
                  </a:lnTo>
                  <a:lnTo>
                    <a:pt x="649" y="649"/>
                  </a:lnTo>
                  <a:lnTo>
                    <a:pt x="905" y="866"/>
                  </a:lnTo>
                  <a:lnTo>
                    <a:pt x="973" y="772"/>
                  </a:lnTo>
                  <a:lnTo>
                    <a:pt x="636" y="568"/>
                  </a:lnTo>
                  <a:lnTo>
                    <a:pt x="1028" y="678"/>
                  </a:lnTo>
                  <a:lnTo>
                    <a:pt x="1054" y="555"/>
                  </a:lnTo>
                  <a:lnTo>
                    <a:pt x="649" y="516"/>
                  </a:lnTo>
                  <a:lnTo>
                    <a:pt x="1041" y="487"/>
                  </a:lnTo>
                  <a:lnTo>
                    <a:pt x="1015" y="367"/>
                  </a:lnTo>
                  <a:lnTo>
                    <a:pt x="662" y="461"/>
                  </a:lnTo>
                  <a:lnTo>
                    <a:pt x="662" y="461"/>
                  </a:lnTo>
                  <a:lnTo>
                    <a:pt x="986" y="286"/>
                  </a:lnTo>
                  <a:lnTo>
                    <a:pt x="918" y="179"/>
                  </a:lnTo>
                  <a:lnTo>
                    <a:pt x="594" y="448"/>
                  </a:lnTo>
                  <a:lnTo>
                    <a:pt x="866" y="137"/>
                  </a:lnTo>
                  <a:lnTo>
                    <a:pt x="772" y="56"/>
                  </a:lnTo>
                  <a:lnTo>
                    <a:pt x="581" y="367"/>
                  </a:lnTo>
                  <a:lnTo>
                    <a:pt x="691" y="30"/>
                  </a:lnTo>
                  <a:lnTo>
                    <a:pt x="568" y="1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1" name="Google Shape;701;p27"/>
            <p:cNvSpPr/>
            <p:nvPr/>
          </p:nvSpPr>
          <p:spPr>
            <a:xfrm>
              <a:off x="7269945" y="4079180"/>
              <a:ext cx="41507" cy="63584"/>
            </a:xfrm>
            <a:custGeom>
              <a:avLst/>
              <a:gdLst/>
              <a:ahLst/>
              <a:cxnLst/>
              <a:rect l="l" t="t" r="r" b="b"/>
              <a:pathLst>
                <a:path w="282" h="432" extrusionOk="0">
                  <a:moveTo>
                    <a:pt x="107" y="1"/>
                  </a:moveTo>
                  <a:lnTo>
                    <a:pt x="0" y="406"/>
                  </a:lnTo>
                  <a:lnTo>
                    <a:pt x="107" y="432"/>
                  </a:lnTo>
                  <a:lnTo>
                    <a:pt x="133" y="121"/>
                  </a:lnTo>
                  <a:lnTo>
                    <a:pt x="162" y="419"/>
                  </a:lnTo>
                  <a:lnTo>
                    <a:pt x="282" y="406"/>
                  </a:lnTo>
                  <a:lnTo>
                    <a:pt x="175" y="1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2" name="Google Shape;702;p27"/>
            <p:cNvSpPr/>
            <p:nvPr/>
          </p:nvSpPr>
          <p:spPr>
            <a:xfrm>
              <a:off x="7295555" y="4077414"/>
              <a:ext cx="147" cy="19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3"/>
                  </a:moveTo>
                  <a:lnTo>
                    <a:pt x="1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3" name="Google Shape;703;p27"/>
            <p:cNvSpPr/>
            <p:nvPr/>
          </p:nvSpPr>
          <p:spPr>
            <a:xfrm>
              <a:off x="7494553" y="4331455"/>
              <a:ext cx="1913" cy="8390"/>
            </a:xfrm>
            <a:custGeom>
              <a:avLst/>
              <a:gdLst/>
              <a:ahLst/>
              <a:cxnLst/>
              <a:rect l="l" t="t" r="r" b="b"/>
              <a:pathLst>
                <a:path w="13" h="57" extrusionOk="0">
                  <a:moveTo>
                    <a:pt x="0" y="56"/>
                  </a:moveTo>
                  <a:cubicBezTo>
                    <a:pt x="0" y="56"/>
                    <a:pt x="0" y="27"/>
                    <a:pt x="13" y="1"/>
                  </a:cubicBezTo>
                  <a:cubicBezTo>
                    <a:pt x="0" y="27"/>
                    <a:pt x="0" y="56"/>
                    <a:pt x="0" y="56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4" name="Google Shape;704;p27"/>
            <p:cNvSpPr/>
            <p:nvPr/>
          </p:nvSpPr>
          <p:spPr>
            <a:xfrm>
              <a:off x="7429202" y="4290096"/>
              <a:ext cx="136296" cy="103471"/>
            </a:xfrm>
            <a:custGeom>
              <a:avLst/>
              <a:gdLst/>
              <a:ahLst/>
              <a:cxnLst/>
              <a:rect l="l" t="t" r="r" b="b"/>
              <a:pathLst>
                <a:path w="926" h="703" extrusionOk="0">
                  <a:moveTo>
                    <a:pt x="347" y="175"/>
                  </a:moveTo>
                  <a:cubicBezTo>
                    <a:pt x="336" y="186"/>
                    <a:pt x="325" y="197"/>
                    <a:pt x="313" y="200"/>
                  </a:cubicBezTo>
                  <a:lnTo>
                    <a:pt x="313" y="200"/>
                  </a:lnTo>
                  <a:cubicBezTo>
                    <a:pt x="323" y="192"/>
                    <a:pt x="333" y="182"/>
                    <a:pt x="347" y="175"/>
                  </a:cubicBezTo>
                  <a:close/>
                  <a:moveTo>
                    <a:pt x="509" y="146"/>
                  </a:moveTo>
                  <a:cubicBezTo>
                    <a:pt x="537" y="186"/>
                    <a:pt x="586" y="251"/>
                    <a:pt x="615" y="279"/>
                  </a:cubicBezTo>
                  <a:lnTo>
                    <a:pt x="615" y="279"/>
                  </a:lnTo>
                  <a:cubicBezTo>
                    <a:pt x="573" y="240"/>
                    <a:pt x="508" y="188"/>
                    <a:pt x="483" y="175"/>
                  </a:cubicBezTo>
                  <a:lnTo>
                    <a:pt x="483" y="162"/>
                  </a:lnTo>
                  <a:cubicBezTo>
                    <a:pt x="496" y="175"/>
                    <a:pt x="525" y="175"/>
                    <a:pt x="525" y="188"/>
                  </a:cubicBezTo>
                  <a:cubicBezTo>
                    <a:pt x="527" y="190"/>
                    <a:pt x="529" y="191"/>
                    <a:pt x="530" y="191"/>
                  </a:cubicBezTo>
                  <a:cubicBezTo>
                    <a:pt x="533" y="191"/>
                    <a:pt x="522" y="170"/>
                    <a:pt x="509" y="146"/>
                  </a:cubicBezTo>
                  <a:close/>
                  <a:moveTo>
                    <a:pt x="428" y="162"/>
                  </a:moveTo>
                  <a:lnTo>
                    <a:pt x="428" y="162"/>
                  </a:lnTo>
                  <a:cubicBezTo>
                    <a:pt x="407" y="183"/>
                    <a:pt x="394" y="204"/>
                    <a:pt x="397" y="204"/>
                  </a:cubicBezTo>
                  <a:cubicBezTo>
                    <a:pt x="398" y="204"/>
                    <a:pt x="400" y="203"/>
                    <a:pt x="402" y="201"/>
                  </a:cubicBezTo>
                  <a:cubicBezTo>
                    <a:pt x="415" y="188"/>
                    <a:pt x="428" y="188"/>
                    <a:pt x="444" y="175"/>
                  </a:cubicBezTo>
                  <a:lnTo>
                    <a:pt x="444" y="188"/>
                  </a:lnTo>
                  <a:cubicBezTo>
                    <a:pt x="415" y="201"/>
                    <a:pt x="347" y="256"/>
                    <a:pt x="321" y="295"/>
                  </a:cubicBezTo>
                  <a:cubicBezTo>
                    <a:pt x="347" y="256"/>
                    <a:pt x="389" y="201"/>
                    <a:pt x="428" y="162"/>
                  </a:cubicBezTo>
                  <a:close/>
                  <a:moveTo>
                    <a:pt x="496" y="0"/>
                  </a:moveTo>
                  <a:cubicBezTo>
                    <a:pt x="496" y="0"/>
                    <a:pt x="201" y="146"/>
                    <a:pt x="240" y="146"/>
                  </a:cubicBezTo>
                  <a:cubicBezTo>
                    <a:pt x="244" y="146"/>
                    <a:pt x="247" y="146"/>
                    <a:pt x="249" y="145"/>
                  </a:cubicBezTo>
                  <a:lnTo>
                    <a:pt x="249" y="145"/>
                  </a:lnTo>
                  <a:cubicBezTo>
                    <a:pt x="194" y="185"/>
                    <a:pt x="107" y="227"/>
                    <a:pt x="133" y="227"/>
                  </a:cubicBezTo>
                  <a:cubicBezTo>
                    <a:pt x="185" y="214"/>
                    <a:pt x="214" y="201"/>
                    <a:pt x="214" y="201"/>
                  </a:cubicBezTo>
                  <a:lnTo>
                    <a:pt x="214" y="201"/>
                  </a:lnTo>
                  <a:cubicBezTo>
                    <a:pt x="214" y="201"/>
                    <a:pt x="52" y="308"/>
                    <a:pt x="78" y="308"/>
                  </a:cubicBezTo>
                  <a:cubicBezTo>
                    <a:pt x="104" y="295"/>
                    <a:pt x="308" y="146"/>
                    <a:pt x="308" y="146"/>
                  </a:cubicBezTo>
                  <a:lnTo>
                    <a:pt x="308" y="146"/>
                  </a:lnTo>
                  <a:cubicBezTo>
                    <a:pt x="308" y="146"/>
                    <a:pt x="257" y="219"/>
                    <a:pt x="271" y="219"/>
                  </a:cubicBezTo>
                  <a:cubicBezTo>
                    <a:pt x="273" y="219"/>
                    <a:pt x="277" y="218"/>
                    <a:pt x="282" y="214"/>
                  </a:cubicBezTo>
                  <a:cubicBezTo>
                    <a:pt x="287" y="214"/>
                    <a:pt x="291" y="213"/>
                    <a:pt x="294" y="212"/>
                  </a:cubicBezTo>
                  <a:lnTo>
                    <a:pt x="294" y="212"/>
                  </a:lnTo>
                  <a:cubicBezTo>
                    <a:pt x="228" y="265"/>
                    <a:pt x="148" y="324"/>
                    <a:pt x="172" y="324"/>
                  </a:cubicBezTo>
                  <a:cubicBezTo>
                    <a:pt x="198" y="314"/>
                    <a:pt x="223" y="300"/>
                    <a:pt x="241" y="288"/>
                  </a:cubicBezTo>
                  <a:lnTo>
                    <a:pt x="241" y="288"/>
                  </a:lnTo>
                  <a:cubicBezTo>
                    <a:pt x="173" y="346"/>
                    <a:pt x="1" y="512"/>
                    <a:pt x="20" y="512"/>
                  </a:cubicBezTo>
                  <a:cubicBezTo>
                    <a:pt x="21" y="512"/>
                    <a:pt x="22" y="512"/>
                    <a:pt x="23" y="512"/>
                  </a:cubicBezTo>
                  <a:cubicBezTo>
                    <a:pt x="52" y="499"/>
                    <a:pt x="253" y="308"/>
                    <a:pt x="253" y="308"/>
                  </a:cubicBezTo>
                  <a:lnTo>
                    <a:pt x="253" y="308"/>
                  </a:lnTo>
                  <a:cubicBezTo>
                    <a:pt x="253" y="308"/>
                    <a:pt x="167" y="445"/>
                    <a:pt x="182" y="445"/>
                  </a:cubicBezTo>
                  <a:cubicBezTo>
                    <a:pt x="183" y="445"/>
                    <a:pt x="184" y="444"/>
                    <a:pt x="185" y="444"/>
                  </a:cubicBezTo>
                  <a:cubicBezTo>
                    <a:pt x="201" y="418"/>
                    <a:pt x="266" y="337"/>
                    <a:pt x="295" y="295"/>
                  </a:cubicBezTo>
                  <a:lnTo>
                    <a:pt x="295" y="295"/>
                  </a:lnTo>
                  <a:cubicBezTo>
                    <a:pt x="295" y="308"/>
                    <a:pt x="282" y="324"/>
                    <a:pt x="282" y="324"/>
                  </a:cubicBezTo>
                  <a:lnTo>
                    <a:pt x="295" y="324"/>
                  </a:lnTo>
                  <a:cubicBezTo>
                    <a:pt x="308" y="324"/>
                    <a:pt x="363" y="269"/>
                    <a:pt x="363" y="269"/>
                  </a:cubicBezTo>
                  <a:lnTo>
                    <a:pt x="363" y="269"/>
                  </a:lnTo>
                  <a:cubicBezTo>
                    <a:pt x="363" y="269"/>
                    <a:pt x="208" y="538"/>
                    <a:pt x="238" y="538"/>
                  </a:cubicBezTo>
                  <a:cubicBezTo>
                    <a:pt x="238" y="538"/>
                    <a:pt x="239" y="538"/>
                    <a:pt x="240" y="538"/>
                  </a:cubicBezTo>
                  <a:cubicBezTo>
                    <a:pt x="253" y="512"/>
                    <a:pt x="295" y="457"/>
                    <a:pt x="321" y="418"/>
                  </a:cubicBezTo>
                  <a:lnTo>
                    <a:pt x="321" y="418"/>
                  </a:lnTo>
                  <a:cubicBezTo>
                    <a:pt x="269" y="506"/>
                    <a:pt x="161" y="703"/>
                    <a:pt x="169" y="703"/>
                  </a:cubicBezTo>
                  <a:cubicBezTo>
                    <a:pt x="169" y="703"/>
                    <a:pt x="170" y="702"/>
                    <a:pt x="172" y="700"/>
                  </a:cubicBezTo>
                  <a:cubicBezTo>
                    <a:pt x="214" y="661"/>
                    <a:pt x="402" y="308"/>
                    <a:pt x="402" y="308"/>
                  </a:cubicBezTo>
                  <a:lnTo>
                    <a:pt x="402" y="308"/>
                  </a:lnTo>
                  <a:cubicBezTo>
                    <a:pt x="402" y="308"/>
                    <a:pt x="367" y="406"/>
                    <a:pt x="374" y="406"/>
                  </a:cubicBezTo>
                  <a:cubicBezTo>
                    <a:pt x="375" y="406"/>
                    <a:pt x="375" y="406"/>
                    <a:pt x="376" y="405"/>
                  </a:cubicBezTo>
                  <a:cubicBezTo>
                    <a:pt x="389" y="389"/>
                    <a:pt x="428" y="308"/>
                    <a:pt x="457" y="269"/>
                  </a:cubicBezTo>
                  <a:lnTo>
                    <a:pt x="457" y="243"/>
                  </a:lnTo>
                  <a:lnTo>
                    <a:pt x="470" y="243"/>
                  </a:lnTo>
                  <a:lnTo>
                    <a:pt x="457" y="227"/>
                  </a:lnTo>
                  <a:cubicBezTo>
                    <a:pt x="470" y="227"/>
                    <a:pt x="470" y="227"/>
                    <a:pt x="470" y="214"/>
                  </a:cubicBezTo>
                  <a:lnTo>
                    <a:pt x="470" y="243"/>
                  </a:lnTo>
                  <a:cubicBezTo>
                    <a:pt x="470" y="256"/>
                    <a:pt x="457" y="256"/>
                    <a:pt x="457" y="269"/>
                  </a:cubicBezTo>
                  <a:lnTo>
                    <a:pt x="457" y="282"/>
                  </a:lnTo>
                  <a:cubicBezTo>
                    <a:pt x="457" y="269"/>
                    <a:pt x="457" y="256"/>
                    <a:pt x="470" y="256"/>
                  </a:cubicBezTo>
                  <a:cubicBezTo>
                    <a:pt x="496" y="295"/>
                    <a:pt x="538" y="376"/>
                    <a:pt x="551" y="389"/>
                  </a:cubicBezTo>
                  <a:cubicBezTo>
                    <a:pt x="552" y="390"/>
                    <a:pt x="552" y="390"/>
                    <a:pt x="553" y="390"/>
                  </a:cubicBezTo>
                  <a:cubicBezTo>
                    <a:pt x="559" y="390"/>
                    <a:pt x="525" y="295"/>
                    <a:pt x="525" y="295"/>
                  </a:cubicBezTo>
                  <a:lnTo>
                    <a:pt x="525" y="295"/>
                  </a:lnTo>
                  <a:cubicBezTo>
                    <a:pt x="525" y="295"/>
                    <a:pt x="713" y="648"/>
                    <a:pt x="752" y="687"/>
                  </a:cubicBezTo>
                  <a:cubicBezTo>
                    <a:pt x="753" y="688"/>
                    <a:pt x="755" y="689"/>
                    <a:pt x="755" y="689"/>
                  </a:cubicBezTo>
                  <a:cubicBezTo>
                    <a:pt x="767" y="689"/>
                    <a:pt x="655" y="494"/>
                    <a:pt x="606" y="405"/>
                  </a:cubicBezTo>
                  <a:lnTo>
                    <a:pt x="606" y="405"/>
                  </a:lnTo>
                  <a:cubicBezTo>
                    <a:pt x="632" y="444"/>
                    <a:pt x="671" y="512"/>
                    <a:pt x="700" y="525"/>
                  </a:cubicBezTo>
                  <a:cubicBezTo>
                    <a:pt x="701" y="526"/>
                    <a:pt x="702" y="527"/>
                    <a:pt x="702" y="527"/>
                  </a:cubicBezTo>
                  <a:cubicBezTo>
                    <a:pt x="713" y="527"/>
                    <a:pt x="564" y="256"/>
                    <a:pt x="564" y="256"/>
                  </a:cubicBezTo>
                  <a:lnTo>
                    <a:pt x="564" y="256"/>
                  </a:lnTo>
                  <a:cubicBezTo>
                    <a:pt x="564" y="256"/>
                    <a:pt x="619" y="308"/>
                    <a:pt x="645" y="324"/>
                  </a:cubicBezTo>
                  <a:lnTo>
                    <a:pt x="645" y="308"/>
                  </a:lnTo>
                  <a:cubicBezTo>
                    <a:pt x="645" y="308"/>
                    <a:pt x="645" y="304"/>
                    <a:pt x="643" y="299"/>
                  </a:cubicBezTo>
                  <a:lnTo>
                    <a:pt x="643" y="299"/>
                  </a:lnTo>
                  <a:cubicBezTo>
                    <a:pt x="674" y="346"/>
                    <a:pt x="729" y="420"/>
                    <a:pt x="752" y="431"/>
                  </a:cubicBezTo>
                  <a:cubicBezTo>
                    <a:pt x="753" y="432"/>
                    <a:pt x="753" y="432"/>
                    <a:pt x="753" y="432"/>
                  </a:cubicBezTo>
                  <a:cubicBezTo>
                    <a:pt x="759" y="432"/>
                    <a:pt x="671" y="308"/>
                    <a:pt x="671" y="308"/>
                  </a:cubicBezTo>
                  <a:lnTo>
                    <a:pt x="671" y="308"/>
                  </a:lnTo>
                  <a:cubicBezTo>
                    <a:pt x="671" y="308"/>
                    <a:pt x="875" y="486"/>
                    <a:pt x="901" y="499"/>
                  </a:cubicBezTo>
                  <a:cubicBezTo>
                    <a:pt x="902" y="499"/>
                    <a:pt x="903" y="500"/>
                    <a:pt x="904" y="500"/>
                  </a:cubicBezTo>
                  <a:cubicBezTo>
                    <a:pt x="926" y="500"/>
                    <a:pt x="751" y="339"/>
                    <a:pt x="690" y="278"/>
                  </a:cubicBezTo>
                  <a:lnTo>
                    <a:pt x="690" y="278"/>
                  </a:lnTo>
                  <a:cubicBezTo>
                    <a:pt x="706" y="289"/>
                    <a:pt x="729" y="300"/>
                    <a:pt x="752" y="308"/>
                  </a:cubicBezTo>
                  <a:cubicBezTo>
                    <a:pt x="756" y="309"/>
                    <a:pt x="758" y="310"/>
                    <a:pt x="760" y="310"/>
                  </a:cubicBezTo>
                  <a:cubicBezTo>
                    <a:pt x="775" y="310"/>
                    <a:pt x="681" y="239"/>
                    <a:pt x="619" y="201"/>
                  </a:cubicBezTo>
                  <a:lnTo>
                    <a:pt x="619" y="188"/>
                  </a:lnTo>
                  <a:cubicBezTo>
                    <a:pt x="619" y="201"/>
                    <a:pt x="632" y="201"/>
                    <a:pt x="645" y="201"/>
                  </a:cubicBezTo>
                  <a:cubicBezTo>
                    <a:pt x="652" y="204"/>
                    <a:pt x="656" y="205"/>
                    <a:pt x="659" y="205"/>
                  </a:cubicBezTo>
                  <a:cubicBezTo>
                    <a:pt x="682" y="205"/>
                    <a:pt x="619" y="133"/>
                    <a:pt x="619" y="133"/>
                  </a:cubicBezTo>
                  <a:lnTo>
                    <a:pt x="619" y="133"/>
                  </a:lnTo>
                  <a:cubicBezTo>
                    <a:pt x="619" y="133"/>
                    <a:pt x="820" y="282"/>
                    <a:pt x="849" y="295"/>
                  </a:cubicBezTo>
                  <a:cubicBezTo>
                    <a:pt x="875" y="295"/>
                    <a:pt x="713" y="188"/>
                    <a:pt x="713" y="188"/>
                  </a:cubicBezTo>
                  <a:lnTo>
                    <a:pt x="713" y="188"/>
                  </a:lnTo>
                  <a:lnTo>
                    <a:pt x="794" y="214"/>
                  </a:lnTo>
                  <a:cubicBezTo>
                    <a:pt x="820" y="214"/>
                    <a:pt x="713" y="162"/>
                    <a:pt x="658" y="133"/>
                  </a:cubicBezTo>
                  <a:lnTo>
                    <a:pt x="687" y="133"/>
                  </a:lnTo>
                  <a:cubicBezTo>
                    <a:pt x="726" y="133"/>
                    <a:pt x="496" y="0"/>
                    <a:pt x="49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5" name="Google Shape;705;p27"/>
            <p:cNvSpPr/>
            <p:nvPr/>
          </p:nvSpPr>
          <p:spPr>
            <a:xfrm>
              <a:off x="7498233" y="4331455"/>
              <a:ext cx="3974" cy="6476"/>
            </a:xfrm>
            <a:custGeom>
              <a:avLst/>
              <a:gdLst/>
              <a:ahLst/>
              <a:cxnLst/>
              <a:rect l="l" t="t" r="r" b="b"/>
              <a:pathLst>
                <a:path w="27" h="44" extrusionOk="0">
                  <a:moveTo>
                    <a:pt x="1" y="1"/>
                  </a:moveTo>
                  <a:lnTo>
                    <a:pt x="1" y="1"/>
                  </a:lnTo>
                  <a:cubicBezTo>
                    <a:pt x="14" y="27"/>
                    <a:pt x="14" y="43"/>
                    <a:pt x="14" y="43"/>
                  </a:cubicBezTo>
                  <a:cubicBezTo>
                    <a:pt x="27" y="43"/>
                    <a:pt x="14" y="14"/>
                    <a:pt x="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6" name="Google Shape;706;p27"/>
            <p:cNvSpPr/>
            <p:nvPr/>
          </p:nvSpPr>
          <p:spPr>
            <a:xfrm>
              <a:off x="7492051" y="4359126"/>
              <a:ext cx="4416" cy="8242"/>
            </a:xfrm>
            <a:custGeom>
              <a:avLst/>
              <a:gdLst/>
              <a:ahLst/>
              <a:cxnLst/>
              <a:rect l="l" t="t" r="r" b="b"/>
              <a:pathLst>
                <a:path w="30" h="56" extrusionOk="0">
                  <a:moveTo>
                    <a:pt x="30" y="1"/>
                  </a:moveTo>
                  <a:cubicBezTo>
                    <a:pt x="17" y="30"/>
                    <a:pt x="1" y="56"/>
                    <a:pt x="1" y="56"/>
                  </a:cubicBezTo>
                  <a:cubicBezTo>
                    <a:pt x="17" y="56"/>
                    <a:pt x="17" y="30"/>
                    <a:pt x="3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7" name="Google Shape;707;p27"/>
            <p:cNvSpPr/>
            <p:nvPr/>
          </p:nvSpPr>
          <p:spPr>
            <a:xfrm>
              <a:off x="7410803" y="4305698"/>
              <a:ext cx="172504" cy="129964"/>
            </a:xfrm>
            <a:custGeom>
              <a:avLst/>
              <a:gdLst/>
              <a:ahLst/>
              <a:cxnLst/>
              <a:rect l="l" t="t" r="r" b="b"/>
              <a:pathLst>
                <a:path w="1172" h="883" extrusionOk="0">
                  <a:moveTo>
                    <a:pt x="406" y="250"/>
                  </a:moveTo>
                  <a:cubicBezTo>
                    <a:pt x="403" y="252"/>
                    <a:pt x="401" y="254"/>
                    <a:pt x="398" y="255"/>
                  </a:cubicBezTo>
                  <a:lnTo>
                    <a:pt x="398" y="255"/>
                  </a:lnTo>
                  <a:cubicBezTo>
                    <a:pt x="401" y="254"/>
                    <a:pt x="403" y="252"/>
                    <a:pt x="406" y="250"/>
                  </a:cubicBezTo>
                  <a:close/>
                  <a:moveTo>
                    <a:pt x="595" y="312"/>
                  </a:moveTo>
                  <a:cubicBezTo>
                    <a:pt x="595" y="325"/>
                    <a:pt x="595" y="338"/>
                    <a:pt x="608" y="351"/>
                  </a:cubicBezTo>
                  <a:cubicBezTo>
                    <a:pt x="608" y="338"/>
                    <a:pt x="595" y="325"/>
                    <a:pt x="595" y="312"/>
                  </a:cubicBezTo>
                  <a:close/>
                  <a:moveTo>
                    <a:pt x="634" y="189"/>
                  </a:moveTo>
                  <a:lnTo>
                    <a:pt x="634" y="189"/>
                  </a:lnTo>
                  <a:cubicBezTo>
                    <a:pt x="689" y="244"/>
                    <a:pt x="744" y="312"/>
                    <a:pt x="783" y="351"/>
                  </a:cubicBezTo>
                  <a:cubicBezTo>
                    <a:pt x="731" y="312"/>
                    <a:pt x="650" y="231"/>
                    <a:pt x="621" y="218"/>
                  </a:cubicBezTo>
                  <a:lnTo>
                    <a:pt x="621" y="202"/>
                  </a:lnTo>
                  <a:cubicBezTo>
                    <a:pt x="634" y="218"/>
                    <a:pt x="663" y="231"/>
                    <a:pt x="676" y="244"/>
                  </a:cubicBezTo>
                  <a:cubicBezTo>
                    <a:pt x="676" y="244"/>
                    <a:pt x="663" y="218"/>
                    <a:pt x="634" y="189"/>
                  </a:cubicBezTo>
                  <a:close/>
                  <a:moveTo>
                    <a:pt x="540" y="202"/>
                  </a:moveTo>
                  <a:cubicBezTo>
                    <a:pt x="514" y="244"/>
                    <a:pt x="501" y="257"/>
                    <a:pt x="514" y="257"/>
                  </a:cubicBezTo>
                  <a:cubicBezTo>
                    <a:pt x="527" y="244"/>
                    <a:pt x="540" y="231"/>
                    <a:pt x="553" y="231"/>
                  </a:cubicBezTo>
                  <a:cubicBezTo>
                    <a:pt x="527" y="257"/>
                    <a:pt x="446" y="325"/>
                    <a:pt x="407" y="364"/>
                  </a:cubicBezTo>
                  <a:cubicBezTo>
                    <a:pt x="433" y="325"/>
                    <a:pt x="501" y="257"/>
                    <a:pt x="540" y="202"/>
                  </a:cubicBezTo>
                  <a:close/>
                  <a:moveTo>
                    <a:pt x="595" y="312"/>
                  </a:moveTo>
                  <a:lnTo>
                    <a:pt x="582" y="325"/>
                  </a:lnTo>
                  <a:lnTo>
                    <a:pt x="582" y="364"/>
                  </a:lnTo>
                  <a:cubicBezTo>
                    <a:pt x="582" y="338"/>
                    <a:pt x="582" y="325"/>
                    <a:pt x="595" y="312"/>
                  </a:cubicBezTo>
                  <a:close/>
                  <a:moveTo>
                    <a:pt x="621" y="1"/>
                  </a:moveTo>
                  <a:cubicBezTo>
                    <a:pt x="621" y="1"/>
                    <a:pt x="282" y="177"/>
                    <a:pt x="306" y="177"/>
                  </a:cubicBezTo>
                  <a:cubicBezTo>
                    <a:pt x="307" y="177"/>
                    <a:pt x="308" y="176"/>
                    <a:pt x="310" y="176"/>
                  </a:cubicBezTo>
                  <a:lnTo>
                    <a:pt x="339" y="176"/>
                  </a:lnTo>
                  <a:cubicBezTo>
                    <a:pt x="271" y="218"/>
                    <a:pt x="135" y="283"/>
                    <a:pt x="177" y="283"/>
                  </a:cubicBezTo>
                  <a:cubicBezTo>
                    <a:pt x="229" y="270"/>
                    <a:pt x="271" y="257"/>
                    <a:pt x="271" y="257"/>
                  </a:cubicBezTo>
                  <a:lnTo>
                    <a:pt x="271" y="257"/>
                  </a:lnTo>
                  <a:cubicBezTo>
                    <a:pt x="271" y="257"/>
                    <a:pt x="85" y="381"/>
                    <a:pt x="105" y="381"/>
                  </a:cubicBezTo>
                  <a:cubicBezTo>
                    <a:pt x="106" y="381"/>
                    <a:pt x="107" y="381"/>
                    <a:pt x="109" y="380"/>
                  </a:cubicBezTo>
                  <a:cubicBezTo>
                    <a:pt x="135" y="380"/>
                    <a:pt x="391" y="189"/>
                    <a:pt x="391" y="189"/>
                  </a:cubicBezTo>
                  <a:lnTo>
                    <a:pt x="391" y="189"/>
                  </a:lnTo>
                  <a:cubicBezTo>
                    <a:pt x="391" y="189"/>
                    <a:pt x="322" y="279"/>
                    <a:pt x="345" y="279"/>
                  </a:cubicBezTo>
                  <a:cubicBezTo>
                    <a:pt x="349" y="279"/>
                    <a:pt x="355" y="276"/>
                    <a:pt x="365" y="270"/>
                  </a:cubicBezTo>
                  <a:cubicBezTo>
                    <a:pt x="369" y="270"/>
                    <a:pt x="375" y="268"/>
                    <a:pt x="382" y="264"/>
                  </a:cubicBezTo>
                  <a:lnTo>
                    <a:pt x="382" y="264"/>
                  </a:lnTo>
                  <a:cubicBezTo>
                    <a:pt x="306" y="327"/>
                    <a:pt x="194" y="407"/>
                    <a:pt x="211" y="407"/>
                  </a:cubicBezTo>
                  <a:cubicBezTo>
                    <a:pt x="212" y="407"/>
                    <a:pt x="213" y="407"/>
                    <a:pt x="216" y="406"/>
                  </a:cubicBezTo>
                  <a:cubicBezTo>
                    <a:pt x="264" y="395"/>
                    <a:pt x="312" y="362"/>
                    <a:pt x="332" y="344"/>
                  </a:cubicBezTo>
                  <a:lnTo>
                    <a:pt x="332" y="344"/>
                  </a:lnTo>
                  <a:cubicBezTo>
                    <a:pt x="277" y="394"/>
                    <a:pt x="1" y="649"/>
                    <a:pt x="26" y="649"/>
                  </a:cubicBezTo>
                  <a:cubicBezTo>
                    <a:pt x="26" y="649"/>
                    <a:pt x="27" y="649"/>
                    <a:pt x="28" y="649"/>
                  </a:cubicBezTo>
                  <a:cubicBezTo>
                    <a:pt x="67" y="623"/>
                    <a:pt x="326" y="393"/>
                    <a:pt x="326" y="393"/>
                  </a:cubicBezTo>
                  <a:lnTo>
                    <a:pt x="326" y="393"/>
                  </a:lnTo>
                  <a:cubicBezTo>
                    <a:pt x="326" y="393"/>
                    <a:pt x="218" y="557"/>
                    <a:pt x="226" y="557"/>
                  </a:cubicBezTo>
                  <a:cubicBezTo>
                    <a:pt x="226" y="557"/>
                    <a:pt x="227" y="557"/>
                    <a:pt x="229" y="555"/>
                  </a:cubicBezTo>
                  <a:cubicBezTo>
                    <a:pt x="257" y="527"/>
                    <a:pt x="335" y="424"/>
                    <a:pt x="375" y="368"/>
                  </a:cubicBezTo>
                  <a:lnTo>
                    <a:pt x="375" y="368"/>
                  </a:lnTo>
                  <a:cubicBezTo>
                    <a:pt x="365" y="384"/>
                    <a:pt x="365" y="406"/>
                    <a:pt x="365" y="406"/>
                  </a:cubicBezTo>
                  <a:lnTo>
                    <a:pt x="365" y="419"/>
                  </a:lnTo>
                  <a:cubicBezTo>
                    <a:pt x="391" y="406"/>
                    <a:pt x="459" y="338"/>
                    <a:pt x="459" y="338"/>
                  </a:cubicBezTo>
                  <a:lnTo>
                    <a:pt x="459" y="338"/>
                  </a:lnTo>
                  <a:cubicBezTo>
                    <a:pt x="459" y="338"/>
                    <a:pt x="273" y="677"/>
                    <a:pt x="293" y="677"/>
                  </a:cubicBezTo>
                  <a:cubicBezTo>
                    <a:pt x="294" y="677"/>
                    <a:pt x="295" y="676"/>
                    <a:pt x="297" y="675"/>
                  </a:cubicBezTo>
                  <a:cubicBezTo>
                    <a:pt x="318" y="656"/>
                    <a:pt x="352" y="614"/>
                    <a:pt x="380" y="571"/>
                  </a:cubicBezTo>
                  <a:lnTo>
                    <a:pt x="380" y="571"/>
                  </a:lnTo>
                  <a:cubicBezTo>
                    <a:pt x="312" y="689"/>
                    <a:pt x="211" y="883"/>
                    <a:pt x="224" y="883"/>
                  </a:cubicBezTo>
                  <a:cubicBezTo>
                    <a:pt x="225" y="883"/>
                    <a:pt x="226" y="882"/>
                    <a:pt x="229" y="879"/>
                  </a:cubicBezTo>
                  <a:cubicBezTo>
                    <a:pt x="284" y="824"/>
                    <a:pt x="514" y="380"/>
                    <a:pt x="514" y="380"/>
                  </a:cubicBezTo>
                  <a:lnTo>
                    <a:pt x="514" y="380"/>
                  </a:lnTo>
                  <a:cubicBezTo>
                    <a:pt x="514" y="380"/>
                    <a:pt x="464" y="501"/>
                    <a:pt x="470" y="501"/>
                  </a:cubicBezTo>
                  <a:cubicBezTo>
                    <a:pt x="471" y="501"/>
                    <a:pt x="471" y="501"/>
                    <a:pt x="472" y="500"/>
                  </a:cubicBezTo>
                  <a:cubicBezTo>
                    <a:pt x="501" y="487"/>
                    <a:pt x="553" y="393"/>
                    <a:pt x="582" y="325"/>
                  </a:cubicBezTo>
                  <a:lnTo>
                    <a:pt x="582" y="299"/>
                  </a:lnTo>
                  <a:cubicBezTo>
                    <a:pt x="595" y="283"/>
                    <a:pt x="595" y="283"/>
                    <a:pt x="595" y="270"/>
                  </a:cubicBezTo>
                  <a:lnTo>
                    <a:pt x="595" y="299"/>
                  </a:lnTo>
                  <a:lnTo>
                    <a:pt x="595" y="312"/>
                  </a:lnTo>
                  <a:cubicBezTo>
                    <a:pt x="621" y="380"/>
                    <a:pt x="689" y="474"/>
                    <a:pt x="702" y="487"/>
                  </a:cubicBezTo>
                  <a:cubicBezTo>
                    <a:pt x="703" y="488"/>
                    <a:pt x="704" y="488"/>
                    <a:pt x="705" y="488"/>
                  </a:cubicBezTo>
                  <a:cubicBezTo>
                    <a:pt x="725" y="488"/>
                    <a:pt x="663" y="364"/>
                    <a:pt x="663" y="364"/>
                  </a:cubicBezTo>
                  <a:lnTo>
                    <a:pt x="663" y="364"/>
                  </a:lnTo>
                  <a:cubicBezTo>
                    <a:pt x="663" y="364"/>
                    <a:pt x="906" y="811"/>
                    <a:pt x="958" y="866"/>
                  </a:cubicBezTo>
                  <a:cubicBezTo>
                    <a:pt x="961" y="869"/>
                    <a:pt x="962" y="870"/>
                    <a:pt x="963" y="870"/>
                  </a:cubicBezTo>
                  <a:cubicBezTo>
                    <a:pt x="977" y="870"/>
                    <a:pt x="882" y="701"/>
                    <a:pt x="812" y="583"/>
                  </a:cubicBezTo>
                  <a:lnTo>
                    <a:pt x="812" y="583"/>
                  </a:lnTo>
                  <a:cubicBezTo>
                    <a:pt x="836" y="616"/>
                    <a:pt x="861" y="647"/>
                    <a:pt x="877" y="662"/>
                  </a:cubicBezTo>
                  <a:cubicBezTo>
                    <a:pt x="878" y="663"/>
                    <a:pt x="879" y="663"/>
                    <a:pt x="880" y="663"/>
                  </a:cubicBezTo>
                  <a:cubicBezTo>
                    <a:pt x="905" y="663"/>
                    <a:pt x="715" y="325"/>
                    <a:pt x="715" y="325"/>
                  </a:cubicBezTo>
                  <a:lnTo>
                    <a:pt x="715" y="325"/>
                  </a:lnTo>
                  <a:cubicBezTo>
                    <a:pt x="715" y="325"/>
                    <a:pt x="783" y="393"/>
                    <a:pt x="812" y="406"/>
                  </a:cubicBezTo>
                  <a:lnTo>
                    <a:pt x="812" y="393"/>
                  </a:lnTo>
                  <a:cubicBezTo>
                    <a:pt x="825" y="393"/>
                    <a:pt x="812" y="364"/>
                    <a:pt x="812" y="351"/>
                  </a:cubicBezTo>
                  <a:lnTo>
                    <a:pt x="812" y="351"/>
                  </a:lnTo>
                  <a:cubicBezTo>
                    <a:pt x="838" y="406"/>
                    <a:pt x="932" y="513"/>
                    <a:pt x="945" y="542"/>
                  </a:cubicBezTo>
                  <a:cubicBezTo>
                    <a:pt x="947" y="544"/>
                    <a:pt x="948" y="545"/>
                    <a:pt x="949" y="545"/>
                  </a:cubicBezTo>
                  <a:cubicBezTo>
                    <a:pt x="959" y="545"/>
                    <a:pt x="851" y="380"/>
                    <a:pt x="851" y="380"/>
                  </a:cubicBezTo>
                  <a:lnTo>
                    <a:pt x="851" y="380"/>
                  </a:lnTo>
                  <a:cubicBezTo>
                    <a:pt x="851" y="380"/>
                    <a:pt x="1107" y="607"/>
                    <a:pt x="1149" y="636"/>
                  </a:cubicBezTo>
                  <a:cubicBezTo>
                    <a:pt x="1150" y="636"/>
                    <a:pt x="1150" y="636"/>
                    <a:pt x="1151" y="636"/>
                  </a:cubicBezTo>
                  <a:cubicBezTo>
                    <a:pt x="1172" y="636"/>
                    <a:pt x="944" y="416"/>
                    <a:pt x="862" y="345"/>
                  </a:cubicBezTo>
                  <a:lnTo>
                    <a:pt x="862" y="345"/>
                  </a:lnTo>
                  <a:cubicBezTo>
                    <a:pt x="886" y="362"/>
                    <a:pt x="923" y="384"/>
                    <a:pt x="958" y="393"/>
                  </a:cubicBezTo>
                  <a:cubicBezTo>
                    <a:pt x="960" y="394"/>
                    <a:pt x="962" y="394"/>
                    <a:pt x="964" y="394"/>
                  </a:cubicBezTo>
                  <a:cubicBezTo>
                    <a:pt x="985" y="394"/>
                    <a:pt x="871" y="308"/>
                    <a:pt x="783" y="244"/>
                  </a:cubicBezTo>
                  <a:lnTo>
                    <a:pt x="783" y="231"/>
                  </a:lnTo>
                  <a:lnTo>
                    <a:pt x="812" y="257"/>
                  </a:lnTo>
                  <a:cubicBezTo>
                    <a:pt x="822" y="263"/>
                    <a:pt x="828" y="266"/>
                    <a:pt x="831" y="266"/>
                  </a:cubicBezTo>
                  <a:cubicBezTo>
                    <a:pt x="851" y="266"/>
                    <a:pt x="783" y="176"/>
                    <a:pt x="783" y="176"/>
                  </a:cubicBezTo>
                  <a:lnTo>
                    <a:pt x="783" y="176"/>
                  </a:lnTo>
                  <a:cubicBezTo>
                    <a:pt x="783" y="176"/>
                    <a:pt x="1039" y="364"/>
                    <a:pt x="1081" y="364"/>
                  </a:cubicBezTo>
                  <a:cubicBezTo>
                    <a:pt x="1082" y="365"/>
                    <a:pt x="1083" y="365"/>
                    <a:pt x="1083" y="365"/>
                  </a:cubicBezTo>
                  <a:cubicBezTo>
                    <a:pt x="1085" y="365"/>
                    <a:pt x="906" y="244"/>
                    <a:pt x="906" y="244"/>
                  </a:cubicBezTo>
                  <a:lnTo>
                    <a:pt x="906" y="244"/>
                  </a:lnTo>
                  <a:cubicBezTo>
                    <a:pt x="906" y="244"/>
                    <a:pt x="945" y="257"/>
                    <a:pt x="1000" y="270"/>
                  </a:cubicBezTo>
                  <a:cubicBezTo>
                    <a:pt x="1039" y="270"/>
                    <a:pt x="906" y="202"/>
                    <a:pt x="838" y="163"/>
                  </a:cubicBezTo>
                  <a:lnTo>
                    <a:pt x="877" y="163"/>
                  </a:lnTo>
                  <a:cubicBezTo>
                    <a:pt x="879" y="163"/>
                    <a:pt x="880" y="164"/>
                    <a:pt x="881" y="164"/>
                  </a:cubicBezTo>
                  <a:cubicBezTo>
                    <a:pt x="910" y="164"/>
                    <a:pt x="621" y="1"/>
                    <a:pt x="62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8" name="Google Shape;708;p27"/>
            <p:cNvSpPr/>
            <p:nvPr/>
          </p:nvSpPr>
          <p:spPr>
            <a:xfrm>
              <a:off x="7500146" y="4357212"/>
              <a:ext cx="2061" cy="8242"/>
            </a:xfrm>
            <a:custGeom>
              <a:avLst/>
              <a:gdLst/>
              <a:ahLst/>
              <a:cxnLst/>
              <a:rect l="l" t="t" r="r" b="b"/>
              <a:pathLst>
                <a:path w="14" h="56" extrusionOk="0">
                  <a:moveTo>
                    <a:pt x="1" y="1"/>
                  </a:moveTo>
                  <a:cubicBezTo>
                    <a:pt x="1" y="30"/>
                    <a:pt x="14" y="56"/>
                    <a:pt x="14" y="56"/>
                  </a:cubicBezTo>
                  <a:cubicBezTo>
                    <a:pt x="14" y="56"/>
                    <a:pt x="1" y="30"/>
                    <a:pt x="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9" name="Google Shape;709;p27"/>
            <p:cNvSpPr/>
            <p:nvPr/>
          </p:nvSpPr>
          <p:spPr>
            <a:xfrm>
              <a:off x="7490726" y="4403134"/>
              <a:ext cx="3974" cy="10450"/>
            </a:xfrm>
            <a:custGeom>
              <a:avLst/>
              <a:gdLst/>
              <a:ahLst/>
              <a:cxnLst/>
              <a:rect l="l" t="t" r="r" b="b"/>
              <a:pathLst>
                <a:path w="27" h="71" extrusionOk="0">
                  <a:moveTo>
                    <a:pt x="26" y="0"/>
                  </a:moveTo>
                  <a:cubicBezTo>
                    <a:pt x="12" y="36"/>
                    <a:pt x="0" y="71"/>
                    <a:pt x="6" y="71"/>
                  </a:cubicBezTo>
                  <a:cubicBezTo>
                    <a:pt x="7" y="71"/>
                    <a:pt x="8" y="70"/>
                    <a:pt x="10" y="68"/>
                  </a:cubicBezTo>
                  <a:cubicBezTo>
                    <a:pt x="10" y="68"/>
                    <a:pt x="10" y="42"/>
                    <a:pt x="26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0" name="Google Shape;710;p27"/>
            <p:cNvSpPr/>
            <p:nvPr/>
          </p:nvSpPr>
          <p:spPr>
            <a:xfrm>
              <a:off x="7391522" y="4337784"/>
              <a:ext cx="211656" cy="161609"/>
            </a:xfrm>
            <a:custGeom>
              <a:avLst/>
              <a:gdLst/>
              <a:ahLst/>
              <a:cxnLst/>
              <a:rect l="l" t="t" r="r" b="b"/>
              <a:pathLst>
                <a:path w="1438" h="1098" extrusionOk="0">
                  <a:moveTo>
                    <a:pt x="713" y="363"/>
                  </a:moveTo>
                  <a:cubicBezTo>
                    <a:pt x="713" y="363"/>
                    <a:pt x="713" y="376"/>
                    <a:pt x="726" y="376"/>
                  </a:cubicBezTo>
                  <a:cubicBezTo>
                    <a:pt x="726" y="363"/>
                    <a:pt x="713" y="363"/>
                    <a:pt x="713" y="363"/>
                  </a:cubicBezTo>
                  <a:close/>
                  <a:moveTo>
                    <a:pt x="731" y="408"/>
                  </a:moveTo>
                  <a:cubicBezTo>
                    <a:pt x="733" y="411"/>
                    <a:pt x="736" y="415"/>
                    <a:pt x="739" y="418"/>
                  </a:cubicBezTo>
                  <a:lnTo>
                    <a:pt x="739" y="418"/>
                  </a:lnTo>
                  <a:cubicBezTo>
                    <a:pt x="739" y="418"/>
                    <a:pt x="735" y="414"/>
                    <a:pt x="731" y="408"/>
                  </a:cubicBezTo>
                  <a:close/>
                  <a:moveTo>
                    <a:pt x="781" y="227"/>
                  </a:moveTo>
                  <a:cubicBezTo>
                    <a:pt x="833" y="295"/>
                    <a:pt x="914" y="376"/>
                    <a:pt x="956" y="431"/>
                  </a:cubicBezTo>
                  <a:cubicBezTo>
                    <a:pt x="888" y="376"/>
                    <a:pt x="781" y="282"/>
                    <a:pt x="752" y="256"/>
                  </a:cubicBezTo>
                  <a:cubicBezTo>
                    <a:pt x="765" y="256"/>
                    <a:pt x="807" y="269"/>
                    <a:pt x="820" y="295"/>
                  </a:cubicBezTo>
                  <a:cubicBezTo>
                    <a:pt x="833" y="295"/>
                    <a:pt x="807" y="269"/>
                    <a:pt x="781" y="227"/>
                  </a:cubicBezTo>
                  <a:close/>
                  <a:moveTo>
                    <a:pt x="658" y="243"/>
                  </a:moveTo>
                  <a:lnTo>
                    <a:pt x="658" y="243"/>
                  </a:lnTo>
                  <a:cubicBezTo>
                    <a:pt x="636" y="276"/>
                    <a:pt x="612" y="311"/>
                    <a:pt x="615" y="311"/>
                  </a:cubicBezTo>
                  <a:cubicBezTo>
                    <a:pt x="615" y="311"/>
                    <a:pt x="617" y="310"/>
                    <a:pt x="619" y="308"/>
                  </a:cubicBezTo>
                  <a:cubicBezTo>
                    <a:pt x="632" y="295"/>
                    <a:pt x="658" y="282"/>
                    <a:pt x="671" y="269"/>
                  </a:cubicBezTo>
                  <a:lnTo>
                    <a:pt x="684" y="269"/>
                  </a:lnTo>
                  <a:cubicBezTo>
                    <a:pt x="645" y="308"/>
                    <a:pt x="538" y="389"/>
                    <a:pt x="483" y="457"/>
                  </a:cubicBezTo>
                  <a:cubicBezTo>
                    <a:pt x="522" y="405"/>
                    <a:pt x="590" y="308"/>
                    <a:pt x="658" y="243"/>
                  </a:cubicBezTo>
                  <a:close/>
                  <a:moveTo>
                    <a:pt x="765" y="0"/>
                  </a:moveTo>
                  <a:cubicBezTo>
                    <a:pt x="765" y="0"/>
                    <a:pt x="295" y="214"/>
                    <a:pt x="360" y="214"/>
                  </a:cubicBezTo>
                  <a:cubicBezTo>
                    <a:pt x="370" y="214"/>
                    <a:pt x="379" y="214"/>
                    <a:pt x="388" y="211"/>
                  </a:cubicBezTo>
                  <a:lnTo>
                    <a:pt x="388" y="211"/>
                  </a:lnTo>
                  <a:cubicBezTo>
                    <a:pt x="303" y="266"/>
                    <a:pt x="161" y="350"/>
                    <a:pt x="198" y="350"/>
                  </a:cubicBezTo>
                  <a:cubicBezTo>
                    <a:pt x="266" y="337"/>
                    <a:pt x="321" y="308"/>
                    <a:pt x="321" y="308"/>
                  </a:cubicBezTo>
                  <a:lnTo>
                    <a:pt x="321" y="308"/>
                  </a:lnTo>
                  <a:cubicBezTo>
                    <a:pt x="321" y="308"/>
                    <a:pt x="87" y="471"/>
                    <a:pt x="100" y="471"/>
                  </a:cubicBezTo>
                  <a:cubicBezTo>
                    <a:pt x="101" y="471"/>
                    <a:pt x="102" y="471"/>
                    <a:pt x="104" y="470"/>
                  </a:cubicBezTo>
                  <a:cubicBezTo>
                    <a:pt x="146" y="457"/>
                    <a:pt x="483" y="227"/>
                    <a:pt x="483" y="227"/>
                  </a:cubicBezTo>
                  <a:lnTo>
                    <a:pt x="483" y="227"/>
                  </a:lnTo>
                  <a:cubicBezTo>
                    <a:pt x="483" y="227"/>
                    <a:pt x="387" y="343"/>
                    <a:pt x="411" y="343"/>
                  </a:cubicBezTo>
                  <a:cubicBezTo>
                    <a:pt x="415" y="343"/>
                    <a:pt x="420" y="342"/>
                    <a:pt x="428" y="337"/>
                  </a:cubicBezTo>
                  <a:cubicBezTo>
                    <a:pt x="457" y="324"/>
                    <a:pt x="496" y="282"/>
                    <a:pt x="522" y="256"/>
                  </a:cubicBezTo>
                  <a:lnTo>
                    <a:pt x="522" y="256"/>
                  </a:lnTo>
                  <a:cubicBezTo>
                    <a:pt x="509" y="282"/>
                    <a:pt x="483" y="308"/>
                    <a:pt x="483" y="308"/>
                  </a:cubicBezTo>
                  <a:cubicBezTo>
                    <a:pt x="366" y="385"/>
                    <a:pt x="214" y="500"/>
                    <a:pt x="246" y="500"/>
                  </a:cubicBezTo>
                  <a:cubicBezTo>
                    <a:pt x="248" y="500"/>
                    <a:pt x="250" y="500"/>
                    <a:pt x="253" y="499"/>
                  </a:cubicBezTo>
                  <a:cubicBezTo>
                    <a:pt x="298" y="491"/>
                    <a:pt x="342" y="464"/>
                    <a:pt x="371" y="443"/>
                  </a:cubicBezTo>
                  <a:lnTo>
                    <a:pt x="371" y="443"/>
                  </a:lnTo>
                  <a:cubicBezTo>
                    <a:pt x="274" y="529"/>
                    <a:pt x="0" y="795"/>
                    <a:pt x="7" y="795"/>
                  </a:cubicBezTo>
                  <a:cubicBezTo>
                    <a:pt x="8" y="795"/>
                    <a:pt x="8" y="795"/>
                    <a:pt x="10" y="794"/>
                  </a:cubicBezTo>
                  <a:cubicBezTo>
                    <a:pt x="65" y="781"/>
                    <a:pt x="376" y="486"/>
                    <a:pt x="376" y="486"/>
                  </a:cubicBezTo>
                  <a:lnTo>
                    <a:pt x="376" y="486"/>
                  </a:lnTo>
                  <a:cubicBezTo>
                    <a:pt x="376" y="486"/>
                    <a:pt x="254" y="689"/>
                    <a:pt x="263" y="689"/>
                  </a:cubicBezTo>
                  <a:cubicBezTo>
                    <a:pt x="264" y="689"/>
                    <a:pt x="264" y="688"/>
                    <a:pt x="266" y="687"/>
                  </a:cubicBezTo>
                  <a:cubicBezTo>
                    <a:pt x="295" y="661"/>
                    <a:pt x="402" y="512"/>
                    <a:pt x="441" y="444"/>
                  </a:cubicBezTo>
                  <a:lnTo>
                    <a:pt x="441" y="444"/>
                  </a:lnTo>
                  <a:cubicBezTo>
                    <a:pt x="441" y="470"/>
                    <a:pt x="428" y="499"/>
                    <a:pt x="441" y="499"/>
                  </a:cubicBezTo>
                  <a:lnTo>
                    <a:pt x="441" y="512"/>
                  </a:lnTo>
                  <a:cubicBezTo>
                    <a:pt x="470" y="499"/>
                    <a:pt x="564" y="418"/>
                    <a:pt x="564" y="418"/>
                  </a:cubicBezTo>
                  <a:lnTo>
                    <a:pt x="564" y="418"/>
                  </a:lnTo>
                  <a:cubicBezTo>
                    <a:pt x="564" y="418"/>
                    <a:pt x="328" y="838"/>
                    <a:pt x="355" y="838"/>
                  </a:cubicBezTo>
                  <a:cubicBezTo>
                    <a:pt x="356" y="838"/>
                    <a:pt x="358" y="838"/>
                    <a:pt x="360" y="836"/>
                  </a:cubicBezTo>
                  <a:cubicBezTo>
                    <a:pt x="389" y="810"/>
                    <a:pt x="441" y="713"/>
                    <a:pt x="483" y="648"/>
                  </a:cubicBezTo>
                  <a:lnTo>
                    <a:pt x="483" y="648"/>
                  </a:lnTo>
                  <a:cubicBezTo>
                    <a:pt x="408" y="783"/>
                    <a:pt x="240" y="1098"/>
                    <a:pt x="258" y="1098"/>
                  </a:cubicBezTo>
                  <a:cubicBezTo>
                    <a:pt x="260" y="1098"/>
                    <a:pt x="262" y="1096"/>
                    <a:pt x="266" y="1092"/>
                  </a:cubicBezTo>
                  <a:cubicBezTo>
                    <a:pt x="321" y="1037"/>
                    <a:pt x="632" y="470"/>
                    <a:pt x="632" y="470"/>
                  </a:cubicBezTo>
                  <a:lnTo>
                    <a:pt x="632" y="470"/>
                  </a:lnTo>
                  <a:cubicBezTo>
                    <a:pt x="632" y="470"/>
                    <a:pt x="557" y="620"/>
                    <a:pt x="574" y="620"/>
                  </a:cubicBezTo>
                  <a:cubicBezTo>
                    <a:pt x="575" y="620"/>
                    <a:pt x="576" y="619"/>
                    <a:pt x="577" y="619"/>
                  </a:cubicBezTo>
                  <a:cubicBezTo>
                    <a:pt x="601" y="607"/>
                    <a:pt x="660" y="491"/>
                    <a:pt x="702" y="422"/>
                  </a:cubicBezTo>
                  <a:lnTo>
                    <a:pt x="702" y="422"/>
                  </a:lnTo>
                  <a:cubicBezTo>
                    <a:pt x="700" y="429"/>
                    <a:pt x="700" y="437"/>
                    <a:pt x="700" y="444"/>
                  </a:cubicBezTo>
                  <a:cubicBezTo>
                    <a:pt x="713" y="418"/>
                    <a:pt x="713" y="405"/>
                    <a:pt x="726" y="376"/>
                  </a:cubicBezTo>
                  <a:lnTo>
                    <a:pt x="726" y="376"/>
                  </a:lnTo>
                  <a:cubicBezTo>
                    <a:pt x="713" y="389"/>
                    <a:pt x="713" y="389"/>
                    <a:pt x="713" y="405"/>
                  </a:cubicBezTo>
                  <a:lnTo>
                    <a:pt x="713" y="363"/>
                  </a:lnTo>
                  <a:cubicBezTo>
                    <a:pt x="713" y="350"/>
                    <a:pt x="713" y="337"/>
                    <a:pt x="726" y="337"/>
                  </a:cubicBezTo>
                  <a:lnTo>
                    <a:pt x="726" y="363"/>
                  </a:lnTo>
                  <a:lnTo>
                    <a:pt x="726" y="376"/>
                  </a:lnTo>
                  <a:cubicBezTo>
                    <a:pt x="726" y="380"/>
                    <a:pt x="726" y="385"/>
                    <a:pt x="726" y="390"/>
                  </a:cubicBezTo>
                  <a:lnTo>
                    <a:pt x="726" y="390"/>
                  </a:lnTo>
                  <a:cubicBezTo>
                    <a:pt x="726" y="389"/>
                    <a:pt x="726" y="389"/>
                    <a:pt x="726" y="389"/>
                  </a:cubicBezTo>
                  <a:lnTo>
                    <a:pt x="726" y="389"/>
                  </a:lnTo>
                  <a:cubicBezTo>
                    <a:pt x="726" y="396"/>
                    <a:pt x="729" y="403"/>
                    <a:pt x="731" y="408"/>
                  </a:cubicBezTo>
                  <a:lnTo>
                    <a:pt x="731" y="408"/>
                  </a:lnTo>
                  <a:cubicBezTo>
                    <a:pt x="728" y="402"/>
                    <a:pt x="727" y="396"/>
                    <a:pt x="726" y="390"/>
                  </a:cubicBezTo>
                  <a:lnTo>
                    <a:pt x="726" y="390"/>
                  </a:lnTo>
                  <a:cubicBezTo>
                    <a:pt x="765" y="458"/>
                    <a:pt x="833" y="593"/>
                    <a:pt x="862" y="606"/>
                  </a:cubicBezTo>
                  <a:cubicBezTo>
                    <a:pt x="863" y="606"/>
                    <a:pt x="864" y="607"/>
                    <a:pt x="865" y="607"/>
                  </a:cubicBezTo>
                  <a:cubicBezTo>
                    <a:pt x="882" y="607"/>
                    <a:pt x="807" y="457"/>
                    <a:pt x="807" y="457"/>
                  </a:cubicBezTo>
                  <a:lnTo>
                    <a:pt x="807" y="457"/>
                  </a:lnTo>
                  <a:cubicBezTo>
                    <a:pt x="807" y="457"/>
                    <a:pt x="1105" y="1011"/>
                    <a:pt x="1170" y="1079"/>
                  </a:cubicBezTo>
                  <a:cubicBezTo>
                    <a:pt x="1173" y="1081"/>
                    <a:pt x="1175" y="1082"/>
                    <a:pt x="1177" y="1082"/>
                  </a:cubicBezTo>
                  <a:cubicBezTo>
                    <a:pt x="1200" y="1082"/>
                    <a:pt x="1095" y="880"/>
                    <a:pt x="1013" y="732"/>
                  </a:cubicBezTo>
                  <a:lnTo>
                    <a:pt x="1013" y="732"/>
                  </a:lnTo>
                  <a:cubicBezTo>
                    <a:pt x="1038" y="766"/>
                    <a:pt x="1062" y="795"/>
                    <a:pt x="1076" y="810"/>
                  </a:cubicBezTo>
                  <a:cubicBezTo>
                    <a:pt x="1078" y="812"/>
                    <a:pt x="1080" y="812"/>
                    <a:pt x="1081" y="812"/>
                  </a:cubicBezTo>
                  <a:cubicBezTo>
                    <a:pt x="1110" y="812"/>
                    <a:pt x="875" y="405"/>
                    <a:pt x="875" y="405"/>
                  </a:cubicBezTo>
                  <a:lnTo>
                    <a:pt x="875" y="405"/>
                  </a:lnTo>
                  <a:cubicBezTo>
                    <a:pt x="875" y="405"/>
                    <a:pt x="956" y="486"/>
                    <a:pt x="995" y="486"/>
                  </a:cubicBezTo>
                  <a:cubicBezTo>
                    <a:pt x="1008" y="486"/>
                    <a:pt x="995" y="457"/>
                    <a:pt x="995" y="431"/>
                  </a:cubicBezTo>
                  <a:lnTo>
                    <a:pt x="995" y="431"/>
                  </a:lnTo>
                  <a:cubicBezTo>
                    <a:pt x="1037" y="499"/>
                    <a:pt x="1144" y="632"/>
                    <a:pt x="1170" y="661"/>
                  </a:cubicBezTo>
                  <a:cubicBezTo>
                    <a:pt x="1171" y="662"/>
                    <a:pt x="1173" y="663"/>
                    <a:pt x="1173" y="663"/>
                  </a:cubicBezTo>
                  <a:cubicBezTo>
                    <a:pt x="1183" y="663"/>
                    <a:pt x="1050" y="470"/>
                    <a:pt x="1050" y="470"/>
                  </a:cubicBezTo>
                  <a:lnTo>
                    <a:pt x="1050" y="470"/>
                  </a:lnTo>
                  <a:cubicBezTo>
                    <a:pt x="1050" y="470"/>
                    <a:pt x="1374" y="755"/>
                    <a:pt x="1413" y="781"/>
                  </a:cubicBezTo>
                  <a:cubicBezTo>
                    <a:pt x="1415" y="782"/>
                    <a:pt x="1416" y="783"/>
                    <a:pt x="1417" y="783"/>
                  </a:cubicBezTo>
                  <a:cubicBezTo>
                    <a:pt x="1437" y="783"/>
                    <a:pt x="1142" y="495"/>
                    <a:pt x="1057" y="409"/>
                  </a:cubicBezTo>
                  <a:lnTo>
                    <a:pt x="1057" y="409"/>
                  </a:lnTo>
                  <a:cubicBezTo>
                    <a:pt x="1084" y="435"/>
                    <a:pt x="1135" y="474"/>
                    <a:pt x="1186" y="486"/>
                  </a:cubicBezTo>
                  <a:cubicBezTo>
                    <a:pt x="1225" y="486"/>
                    <a:pt x="1076" y="376"/>
                    <a:pt x="969" y="295"/>
                  </a:cubicBezTo>
                  <a:cubicBezTo>
                    <a:pt x="969" y="295"/>
                    <a:pt x="956" y="295"/>
                    <a:pt x="956" y="282"/>
                  </a:cubicBezTo>
                  <a:lnTo>
                    <a:pt x="956" y="282"/>
                  </a:lnTo>
                  <a:cubicBezTo>
                    <a:pt x="969" y="295"/>
                    <a:pt x="995" y="308"/>
                    <a:pt x="1008" y="308"/>
                  </a:cubicBezTo>
                  <a:cubicBezTo>
                    <a:pt x="1016" y="313"/>
                    <a:pt x="1022" y="315"/>
                    <a:pt x="1025" y="315"/>
                  </a:cubicBezTo>
                  <a:cubicBezTo>
                    <a:pt x="1048" y="315"/>
                    <a:pt x="956" y="201"/>
                    <a:pt x="956" y="201"/>
                  </a:cubicBezTo>
                  <a:lnTo>
                    <a:pt x="956" y="201"/>
                  </a:lnTo>
                  <a:cubicBezTo>
                    <a:pt x="956" y="201"/>
                    <a:pt x="1293" y="444"/>
                    <a:pt x="1332" y="457"/>
                  </a:cubicBezTo>
                  <a:cubicBezTo>
                    <a:pt x="1368" y="457"/>
                    <a:pt x="1187" y="330"/>
                    <a:pt x="1133" y="292"/>
                  </a:cubicBezTo>
                  <a:lnTo>
                    <a:pt x="1133" y="292"/>
                  </a:lnTo>
                  <a:cubicBezTo>
                    <a:pt x="1153" y="305"/>
                    <a:pt x="1192" y="324"/>
                    <a:pt x="1238" y="324"/>
                  </a:cubicBezTo>
                  <a:cubicBezTo>
                    <a:pt x="1241" y="325"/>
                    <a:pt x="1242" y="325"/>
                    <a:pt x="1244" y="325"/>
                  </a:cubicBezTo>
                  <a:cubicBezTo>
                    <a:pt x="1260" y="325"/>
                    <a:pt x="1113" y="240"/>
                    <a:pt x="1037" y="188"/>
                  </a:cubicBezTo>
                  <a:lnTo>
                    <a:pt x="1037" y="188"/>
                  </a:lnTo>
                  <a:cubicBezTo>
                    <a:pt x="1037" y="188"/>
                    <a:pt x="1063" y="201"/>
                    <a:pt x="1076" y="201"/>
                  </a:cubicBezTo>
                  <a:cubicBezTo>
                    <a:pt x="1144" y="201"/>
                    <a:pt x="765" y="0"/>
                    <a:pt x="765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1" name="Google Shape;711;p27"/>
            <p:cNvSpPr/>
            <p:nvPr/>
          </p:nvSpPr>
          <p:spPr>
            <a:xfrm>
              <a:off x="7500146" y="4399307"/>
              <a:ext cx="3974" cy="12069"/>
            </a:xfrm>
            <a:custGeom>
              <a:avLst/>
              <a:gdLst/>
              <a:ahLst/>
              <a:cxnLst/>
              <a:rect l="l" t="t" r="r" b="b"/>
              <a:pathLst>
                <a:path w="27" h="82" extrusionOk="0">
                  <a:moveTo>
                    <a:pt x="1" y="0"/>
                  </a:moveTo>
                  <a:cubicBezTo>
                    <a:pt x="1" y="52"/>
                    <a:pt x="14" y="81"/>
                    <a:pt x="14" y="81"/>
                  </a:cubicBezTo>
                  <a:cubicBezTo>
                    <a:pt x="27" y="81"/>
                    <a:pt x="14" y="39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2" name="Google Shape;712;p27"/>
            <p:cNvSpPr/>
            <p:nvPr/>
          </p:nvSpPr>
          <p:spPr>
            <a:xfrm>
              <a:off x="7490137" y="4430658"/>
              <a:ext cx="4563" cy="12511"/>
            </a:xfrm>
            <a:custGeom>
              <a:avLst/>
              <a:gdLst/>
              <a:ahLst/>
              <a:cxnLst/>
              <a:rect l="l" t="t" r="r" b="b"/>
              <a:pathLst>
                <a:path w="31" h="85" extrusionOk="0">
                  <a:moveTo>
                    <a:pt x="30" y="1"/>
                  </a:moveTo>
                  <a:cubicBezTo>
                    <a:pt x="18" y="32"/>
                    <a:pt x="8" y="70"/>
                    <a:pt x="3" y="81"/>
                  </a:cubicBezTo>
                  <a:lnTo>
                    <a:pt x="3" y="81"/>
                  </a:lnTo>
                  <a:cubicBezTo>
                    <a:pt x="14" y="76"/>
                    <a:pt x="15" y="40"/>
                    <a:pt x="30" y="1"/>
                  </a:cubicBezTo>
                  <a:close/>
                  <a:moveTo>
                    <a:pt x="3" y="81"/>
                  </a:moveTo>
                  <a:cubicBezTo>
                    <a:pt x="3" y="82"/>
                    <a:pt x="2" y="82"/>
                    <a:pt x="1" y="82"/>
                  </a:cubicBezTo>
                  <a:cubicBezTo>
                    <a:pt x="1" y="84"/>
                    <a:pt x="1" y="85"/>
                    <a:pt x="1" y="85"/>
                  </a:cubicBezTo>
                  <a:cubicBezTo>
                    <a:pt x="2" y="85"/>
                    <a:pt x="3" y="84"/>
                    <a:pt x="3" y="8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3" name="Google Shape;713;p27"/>
            <p:cNvSpPr/>
            <p:nvPr/>
          </p:nvSpPr>
          <p:spPr>
            <a:xfrm>
              <a:off x="7373418" y="4353386"/>
              <a:ext cx="248011" cy="189721"/>
            </a:xfrm>
            <a:custGeom>
              <a:avLst/>
              <a:gdLst/>
              <a:ahLst/>
              <a:cxnLst/>
              <a:rect l="l" t="t" r="r" b="b"/>
              <a:pathLst>
                <a:path w="1685" h="1289" extrusionOk="0">
                  <a:moveTo>
                    <a:pt x="836" y="432"/>
                  </a:moveTo>
                  <a:cubicBezTo>
                    <a:pt x="836" y="432"/>
                    <a:pt x="836" y="445"/>
                    <a:pt x="849" y="445"/>
                  </a:cubicBezTo>
                  <a:cubicBezTo>
                    <a:pt x="849" y="432"/>
                    <a:pt x="836" y="432"/>
                    <a:pt x="836" y="432"/>
                  </a:cubicBezTo>
                  <a:close/>
                  <a:moveTo>
                    <a:pt x="849" y="406"/>
                  </a:moveTo>
                  <a:lnTo>
                    <a:pt x="849" y="432"/>
                  </a:lnTo>
                  <a:lnTo>
                    <a:pt x="849" y="445"/>
                  </a:lnTo>
                  <a:cubicBezTo>
                    <a:pt x="836" y="461"/>
                    <a:pt x="836" y="474"/>
                    <a:pt x="836" y="487"/>
                  </a:cubicBezTo>
                  <a:lnTo>
                    <a:pt x="836" y="432"/>
                  </a:lnTo>
                  <a:cubicBezTo>
                    <a:pt x="836" y="419"/>
                    <a:pt x="836" y="406"/>
                    <a:pt x="849" y="406"/>
                  </a:cubicBezTo>
                  <a:close/>
                  <a:moveTo>
                    <a:pt x="917" y="270"/>
                  </a:moveTo>
                  <a:lnTo>
                    <a:pt x="917" y="270"/>
                  </a:lnTo>
                  <a:cubicBezTo>
                    <a:pt x="985" y="351"/>
                    <a:pt x="1066" y="461"/>
                    <a:pt x="1118" y="513"/>
                  </a:cubicBezTo>
                  <a:cubicBezTo>
                    <a:pt x="1037" y="445"/>
                    <a:pt x="917" y="338"/>
                    <a:pt x="875" y="312"/>
                  </a:cubicBezTo>
                  <a:lnTo>
                    <a:pt x="888" y="299"/>
                  </a:lnTo>
                  <a:cubicBezTo>
                    <a:pt x="904" y="312"/>
                    <a:pt x="943" y="325"/>
                    <a:pt x="956" y="351"/>
                  </a:cubicBezTo>
                  <a:cubicBezTo>
                    <a:pt x="958" y="353"/>
                    <a:pt x="959" y="353"/>
                    <a:pt x="959" y="353"/>
                  </a:cubicBezTo>
                  <a:cubicBezTo>
                    <a:pt x="962" y="353"/>
                    <a:pt x="940" y="318"/>
                    <a:pt x="917" y="270"/>
                  </a:cubicBezTo>
                  <a:close/>
                  <a:moveTo>
                    <a:pt x="768" y="299"/>
                  </a:moveTo>
                  <a:lnTo>
                    <a:pt x="768" y="299"/>
                  </a:lnTo>
                  <a:cubicBezTo>
                    <a:pt x="746" y="332"/>
                    <a:pt x="722" y="367"/>
                    <a:pt x="723" y="367"/>
                  </a:cubicBezTo>
                  <a:cubicBezTo>
                    <a:pt x="723" y="367"/>
                    <a:pt x="724" y="366"/>
                    <a:pt x="726" y="364"/>
                  </a:cubicBezTo>
                  <a:cubicBezTo>
                    <a:pt x="742" y="351"/>
                    <a:pt x="768" y="338"/>
                    <a:pt x="794" y="325"/>
                  </a:cubicBezTo>
                  <a:lnTo>
                    <a:pt x="794" y="325"/>
                  </a:lnTo>
                  <a:cubicBezTo>
                    <a:pt x="755" y="364"/>
                    <a:pt x="632" y="474"/>
                    <a:pt x="564" y="542"/>
                  </a:cubicBezTo>
                  <a:cubicBezTo>
                    <a:pt x="619" y="474"/>
                    <a:pt x="700" y="380"/>
                    <a:pt x="768" y="299"/>
                  </a:cubicBezTo>
                  <a:close/>
                  <a:moveTo>
                    <a:pt x="888" y="1"/>
                  </a:moveTo>
                  <a:cubicBezTo>
                    <a:pt x="888" y="1"/>
                    <a:pt x="375" y="257"/>
                    <a:pt x="426" y="257"/>
                  </a:cubicBezTo>
                  <a:cubicBezTo>
                    <a:pt x="428" y="257"/>
                    <a:pt x="429" y="257"/>
                    <a:pt x="431" y="257"/>
                  </a:cubicBezTo>
                  <a:lnTo>
                    <a:pt x="483" y="257"/>
                  </a:lnTo>
                  <a:cubicBezTo>
                    <a:pt x="382" y="309"/>
                    <a:pt x="209" y="407"/>
                    <a:pt x="233" y="407"/>
                  </a:cubicBezTo>
                  <a:cubicBezTo>
                    <a:pt x="235" y="407"/>
                    <a:pt x="237" y="407"/>
                    <a:pt x="240" y="406"/>
                  </a:cubicBezTo>
                  <a:cubicBezTo>
                    <a:pt x="321" y="406"/>
                    <a:pt x="389" y="364"/>
                    <a:pt x="389" y="364"/>
                  </a:cubicBezTo>
                  <a:lnTo>
                    <a:pt x="389" y="364"/>
                  </a:lnTo>
                  <a:cubicBezTo>
                    <a:pt x="389" y="364"/>
                    <a:pt x="97" y="556"/>
                    <a:pt x="129" y="556"/>
                  </a:cubicBezTo>
                  <a:cubicBezTo>
                    <a:pt x="130" y="556"/>
                    <a:pt x="131" y="555"/>
                    <a:pt x="133" y="555"/>
                  </a:cubicBezTo>
                  <a:cubicBezTo>
                    <a:pt x="188" y="542"/>
                    <a:pt x="564" y="270"/>
                    <a:pt x="564" y="270"/>
                  </a:cubicBezTo>
                  <a:lnTo>
                    <a:pt x="564" y="270"/>
                  </a:lnTo>
                  <a:cubicBezTo>
                    <a:pt x="564" y="270"/>
                    <a:pt x="446" y="412"/>
                    <a:pt x="491" y="412"/>
                  </a:cubicBezTo>
                  <a:cubicBezTo>
                    <a:pt x="496" y="412"/>
                    <a:pt x="503" y="410"/>
                    <a:pt x="512" y="406"/>
                  </a:cubicBezTo>
                  <a:cubicBezTo>
                    <a:pt x="538" y="380"/>
                    <a:pt x="580" y="351"/>
                    <a:pt x="619" y="312"/>
                  </a:cubicBezTo>
                  <a:lnTo>
                    <a:pt x="619" y="312"/>
                  </a:lnTo>
                  <a:cubicBezTo>
                    <a:pt x="593" y="338"/>
                    <a:pt x="580" y="364"/>
                    <a:pt x="564" y="380"/>
                  </a:cubicBezTo>
                  <a:cubicBezTo>
                    <a:pt x="431" y="461"/>
                    <a:pt x="240" y="594"/>
                    <a:pt x="308" y="594"/>
                  </a:cubicBezTo>
                  <a:cubicBezTo>
                    <a:pt x="376" y="568"/>
                    <a:pt x="457" y="500"/>
                    <a:pt x="470" y="487"/>
                  </a:cubicBezTo>
                  <a:lnTo>
                    <a:pt x="470" y="487"/>
                  </a:lnTo>
                  <a:cubicBezTo>
                    <a:pt x="432" y="525"/>
                    <a:pt x="0" y="932"/>
                    <a:pt x="22" y="932"/>
                  </a:cubicBezTo>
                  <a:cubicBezTo>
                    <a:pt x="23" y="932"/>
                    <a:pt x="24" y="932"/>
                    <a:pt x="26" y="931"/>
                  </a:cubicBezTo>
                  <a:cubicBezTo>
                    <a:pt x="94" y="905"/>
                    <a:pt x="457" y="568"/>
                    <a:pt x="457" y="568"/>
                  </a:cubicBezTo>
                  <a:lnTo>
                    <a:pt x="457" y="568"/>
                  </a:lnTo>
                  <a:cubicBezTo>
                    <a:pt x="457" y="568"/>
                    <a:pt x="305" y="802"/>
                    <a:pt x="316" y="802"/>
                  </a:cubicBezTo>
                  <a:cubicBezTo>
                    <a:pt x="317" y="802"/>
                    <a:pt x="318" y="801"/>
                    <a:pt x="321" y="798"/>
                  </a:cubicBezTo>
                  <a:cubicBezTo>
                    <a:pt x="350" y="769"/>
                    <a:pt x="483" y="607"/>
                    <a:pt x="525" y="526"/>
                  </a:cubicBezTo>
                  <a:lnTo>
                    <a:pt x="525" y="526"/>
                  </a:lnTo>
                  <a:cubicBezTo>
                    <a:pt x="512" y="555"/>
                    <a:pt x="512" y="594"/>
                    <a:pt x="512" y="594"/>
                  </a:cubicBezTo>
                  <a:cubicBezTo>
                    <a:pt x="564" y="594"/>
                    <a:pt x="661" y="500"/>
                    <a:pt x="661" y="500"/>
                  </a:cubicBezTo>
                  <a:lnTo>
                    <a:pt x="661" y="500"/>
                  </a:lnTo>
                  <a:cubicBezTo>
                    <a:pt x="661" y="500"/>
                    <a:pt x="384" y="975"/>
                    <a:pt x="413" y="975"/>
                  </a:cubicBezTo>
                  <a:cubicBezTo>
                    <a:pt x="414" y="975"/>
                    <a:pt x="416" y="974"/>
                    <a:pt x="418" y="973"/>
                  </a:cubicBezTo>
                  <a:cubicBezTo>
                    <a:pt x="457" y="947"/>
                    <a:pt x="525" y="837"/>
                    <a:pt x="580" y="769"/>
                  </a:cubicBezTo>
                  <a:lnTo>
                    <a:pt x="580" y="769"/>
                  </a:lnTo>
                  <a:cubicBezTo>
                    <a:pt x="489" y="921"/>
                    <a:pt x="283" y="1289"/>
                    <a:pt x="302" y="1289"/>
                  </a:cubicBezTo>
                  <a:cubicBezTo>
                    <a:pt x="303" y="1289"/>
                    <a:pt x="305" y="1287"/>
                    <a:pt x="308" y="1284"/>
                  </a:cubicBezTo>
                  <a:cubicBezTo>
                    <a:pt x="389" y="1203"/>
                    <a:pt x="742" y="555"/>
                    <a:pt x="742" y="555"/>
                  </a:cubicBezTo>
                  <a:lnTo>
                    <a:pt x="742" y="555"/>
                  </a:lnTo>
                  <a:cubicBezTo>
                    <a:pt x="742" y="555"/>
                    <a:pt x="656" y="732"/>
                    <a:pt x="670" y="732"/>
                  </a:cubicBezTo>
                  <a:cubicBezTo>
                    <a:pt x="671" y="732"/>
                    <a:pt x="672" y="732"/>
                    <a:pt x="674" y="730"/>
                  </a:cubicBezTo>
                  <a:cubicBezTo>
                    <a:pt x="698" y="718"/>
                    <a:pt x="772" y="585"/>
                    <a:pt x="826" y="502"/>
                  </a:cubicBezTo>
                  <a:lnTo>
                    <a:pt x="826" y="502"/>
                  </a:lnTo>
                  <a:cubicBezTo>
                    <a:pt x="823" y="510"/>
                    <a:pt x="823" y="518"/>
                    <a:pt x="823" y="526"/>
                  </a:cubicBezTo>
                  <a:cubicBezTo>
                    <a:pt x="836" y="500"/>
                    <a:pt x="836" y="474"/>
                    <a:pt x="849" y="461"/>
                  </a:cubicBezTo>
                  <a:cubicBezTo>
                    <a:pt x="849" y="461"/>
                    <a:pt x="849" y="461"/>
                    <a:pt x="849" y="461"/>
                  </a:cubicBezTo>
                  <a:lnTo>
                    <a:pt x="849" y="461"/>
                  </a:lnTo>
                  <a:cubicBezTo>
                    <a:pt x="849" y="474"/>
                    <a:pt x="862" y="487"/>
                    <a:pt x="862" y="500"/>
                  </a:cubicBezTo>
                  <a:cubicBezTo>
                    <a:pt x="862" y="495"/>
                    <a:pt x="862" y="490"/>
                    <a:pt x="861" y="485"/>
                  </a:cubicBezTo>
                  <a:lnTo>
                    <a:pt x="861" y="485"/>
                  </a:lnTo>
                  <a:cubicBezTo>
                    <a:pt x="905" y="568"/>
                    <a:pt x="986" y="691"/>
                    <a:pt x="998" y="717"/>
                  </a:cubicBezTo>
                  <a:cubicBezTo>
                    <a:pt x="999" y="717"/>
                    <a:pt x="1000" y="718"/>
                    <a:pt x="1001" y="718"/>
                  </a:cubicBezTo>
                  <a:cubicBezTo>
                    <a:pt x="1031" y="718"/>
                    <a:pt x="943" y="542"/>
                    <a:pt x="943" y="542"/>
                  </a:cubicBezTo>
                  <a:lnTo>
                    <a:pt x="943" y="542"/>
                  </a:lnTo>
                  <a:cubicBezTo>
                    <a:pt x="943" y="542"/>
                    <a:pt x="1293" y="1190"/>
                    <a:pt x="1374" y="1255"/>
                  </a:cubicBezTo>
                  <a:cubicBezTo>
                    <a:pt x="1377" y="1258"/>
                    <a:pt x="1380" y="1260"/>
                    <a:pt x="1381" y="1260"/>
                  </a:cubicBezTo>
                  <a:cubicBezTo>
                    <a:pt x="1401" y="1260"/>
                    <a:pt x="1193" y="895"/>
                    <a:pt x="1105" y="743"/>
                  </a:cubicBezTo>
                  <a:lnTo>
                    <a:pt x="1105" y="743"/>
                  </a:lnTo>
                  <a:cubicBezTo>
                    <a:pt x="1147" y="811"/>
                    <a:pt x="1212" y="918"/>
                    <a:pt x="1254" y="960"/>
                  </a:cubicBezTo>
                  <a:cubicBezTo>
                    <a:pt x="1256" y="961"/>
                    <a:pt x="1258" y="962"/>
                    <a:pt x="1260" y="962"/>
                  </a:cubicBezTo>
                  <a:cubicBezTo>
                    <a:pt x="1301" y="962"/>
                    <a:pt x="1024" y="474"/>
                    <a:pt x="1024" y="474"/>
                  </a:cubicBezTo>
                  <a:lnTo>
                    <a:pt x="1024" y="474"/>
                  </a:lnTo>
                  <a:cubicBezTo>
                    <a:pt x="1024" y="474"/>
                    <a:pt x="1118" y="568"/>
                    <a:pt x="1160" y="581"/>
                  </a:cubicBezTo>
                  <a:lnTo>
                    <a:pt x="1173" y="568"/>
                  </a:lnTo>
                  <a:cubicBezTo>
                    <a:pt x="1173" y="568"/>
                    <a:pt x="1160" y="542"/>
                    <a:pt x="1160" y="513"/>
                  </a:cubicBezTo>
                  <a:lnTo>
                    <a:pt x="1160" y="513"/>
                  </a:lnTo>
                  <a:cubicBezTo>
                    <a:pt x="1199" y="581"/>
                    <a:pt x="1335" y="756"/>
                    <a:pt x="1361" y="785"/>
                  </a:cubicBezTo>
                  <a:cubicBezTo>
                    <a:pt x="1363" y="786"/>
                    <a:pt x="1364" y="787"/>
                    <a:pt x="1366" y="787"/>
                  </a:cubicBezTo>
                  <a:cubicBezTo>
                    <a:pt x="1387" y="787"/>
                    <a:pt x="1228" y="555"/>
                    <a:pt x="1228" y="555"/>
                  </a:cubicBezTo>
                  <a:lnTo>
                    <a:pt x="1228" y="555"/>
                  </a:lnTo>
                  <a:cubicBezTo>
                    <a:pt x="1228" y="555"/>
                    <a:pt x="1591" y="892"/>
                    <a:pt x="1659" y="918"/>
                  </a:cubicBezTo>
                  <a:cubicBezTo>
                    <a:pt x="1661" y="919"/>
                    <a:pt x="1662" y="919"/>
                    <a:pt x="1663" y="919"/>
                  </a:cubicBezTo>
                  <a:cubicBezTo>
                    <a:pt x="1685" y="919"/>
                    <a:pt x="1253" y="512"/>
                    <a:pt x="1212" y="474"/>
                  </a:cubicBezTo>
                  <a:lnTo>
                    <a:pt x="1212" y="474"/>
                  </a:lnTo>
                  <a:cubicBezTo>
                    <a:pt x="1228" y="487"/>
                    <a:pt x="1309" y="555"/>
                    <a:pt x="1374" y="568"/>
                  </a:cubicBezTo>
                  <a:cubicBezTo>
                    <a:pt x="1376" y="569"/>
                    <a:pt x="1378" y="569"/>
                    <a:pt x="1380" y="569"/>
                  </a:cubicBezTo>
                  <a:cubicBezTo>
                    <a:pt x="1413" y="569"/>
                    <a:pt x="1248" y="441"/>
                    <a:pt x="1131" y="364"/>
                  </a:cubicBezTo>
                  <a:cubicBezTo>
                    <a:pt x="1118" y="351"/>
                    <a:pt x="1118" y="351"/>
                    <a:pt x="1118" y="338"/>
                  </a:cubicBezTo>
                  <a:lnTo>
                    <a:pt x="1118" y="338"/>
                  </a:lnTo>
                  <a:cubicBezTo>
                    <a:pt x="1131" y="351"/>
                    <a:pt x="1160" y="364"/>
                    <a:pt x="1173" y="380"/>
                  </a:cubicBezTo>
                  <a:cubicBezTo>
                    <a:pt x="1182" y="384"/>
                    <a:pt x="1188" y="386"/>
                    <a:pt x="1192" y="386"/>
                  </a:cubicBezTo>
                  <a:cubicBezTo>
                    <a:pt x="1226" y="386"/>
                    <a:pt x="1118" y="257"/>
                    <a:pt x="1118" y="257"/>
                  </a:cubicBezTo>
                  <a:lnTo>
                    <a:pt x="1118" y="257"/>
                  </a:lnTo>
                  <a:cubicBezTo>
                    <a:pt x="1118" y="257"/>
                    <a:pt x="1497" y="526"/>
                    <a:pt x="1552" y="542"/>
                  </a:cubicBezTo>
                  <a:cubicBezTo>
                    <a:pt x="1553" y="542"/>
                    <a:pt x="1554" y="543"/>
                    <a:pt x="1555" y="543"/>
                  </a:cubicBezTo>
                  <a:cubicBezTo>
                    <a:pt x="1573" y="543"/>
                    <a:pt x="1293" y="351"/>
                    <a:pt x="1293" y="351"/>
                  </a:cubicBezTo>
                  <a:lnTo>
                    <a:pt x="1293" y="351"/>
                  </a:lnTo>
                  <a:cubicBezTo>
                    <a:pt x="1293" y="351"/>
                    <a:pt x="1361" y="380"/>
                    <a:pt x="1442" y="393"/>
                  </a:cubicBezTo>
                  <a:cubicBezTo>
                    <a:pt x="1445" y="394"/>
                    <a:pt x="1447" y="394"/>
                    <a:pt x="1449" y="394"/>
                  </a:cubicBezTo>
                  <a:cubicBezTo>
                    <a:pt x="1475" y="394"/>
                    <a:pt x="1319" y="305"/>
                    <a:pt x="1214" y="241"/>
                  </a:cubicBezTo>
                  <a:lnTo>
                    <a:pt x="1214" y="241"/>
                  </a:lnTo>
                  <a:cubicBezTo>
                    <a:pt x="1225" y="244"/>
                    <a:pt x="1237" y="244"/>
                    <a:pt x="1254" y="244"/>
                  </a:cubicBezTo>
                  <a:cubicBezTo>
                    <a:pt x="1335" y="244"/>
                    <a:pt x="888" y="1"/>
                    <a:pt x="888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4" name="Google Shape;714;p27"/>
            <p:cNvSpPr/>
            <p:nvPr/>
          </p:nvSpPr>
          <p:spPr>
            <a:xfrm>
              <a:off x="7500146" y="4426978"/>
              <a:ext cx="3974" cy="13835"/>
            </a:xfrm>
            <a:custGeom>
              <a:avLst/>
              <a:gdLst/>
              <a:ahLst/>
              <a:cxnLst/>
              <a:rect l="l" t="t" r="r" b="b"/>
              <a:pathLst>
                <a:path w="27" h="94" extrusionOk="0">
                  <a:moveTo>
                    <a:pt x="1" y="0"/>
                  </a:moveTo>
                  <a:cubicBezTo>
                    <a:pt x="14" y="55"/>
                    <a:pt x="14" y="94"/>
                    <a:pt x="27" y="94"/>
                  </a:cubicBezTo>
                  <a:cubicBezTo>
                    <a:pt x="27" y="94"/>
                    <a:pt x="14" y="55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5" name="Google Shape;715;p27"/>
            <p:cNvSpPr/>
            <p:nvPr/>
          </p:nvSpPr>
          <p:spPr>
            <a:xfrm>
              <a:off x="7456284" y="4377230"/>
              <a:ext cx="95525" cy="177947"/>
            </a:xfrm>
            <a:custGeom>
              <a:avLst/>
              <a:gdLst/>
              <a:ahLst/>
              <a:cxnLst/>
              <a:rect l="l" t="t" r="r" b="b"/>
              <a:pathLst>
                <a:path w="649" h="1209" extrusionOk="0">
                  <a:moveTo>
                    <a:pt x="299" y="487"/>
                  </a:moveTo>
                  <a:cubicBezTo>
                    <a:pt x="299" y="487"/>
                    <a:pt x="299" y="487"/>
                    <a:pt x="299" y="487"/>
                  </a:cubicBezTo>
                  <a:cubicBezTo>
                    <a:pt x="299" y="487"/>
                    <a:pt x="299" y="487"/>
                    <a:pt x="298" y="487"/>
                  </a:cubicBezTo>
                  <a:lnTo>
                    <a:pt x="298" y="487"/>
                  </a:lnTo>
                  <a:cubicBezTo>
                    <a:pt x="299" y="487"/>
                    <a:pt x="299" y="487"/>
                    <a:pt x="299" y="487"/>
                  </a:cubicBezTo>
                  <a:close/>
                  <a:moveTo>
                    <a:pt x="260" y="1"/>
                  </a:moveTo>
                  <a:lnTo>
                    <a:pt x="163" y="338"/>
                  </a:lnTo>
                  <a:lnTo>
                    <a:pt x="1" y="1041"/>
                  </a:lnTo>
                  <a:lnTo>
                    <a:pt x="231" y="445"/>
                  </a:lnTo>
                  <a:lnTo>
                    <a:pt x="231" y="445"/>
                  </a:lnTo>
                  <a:cubicBezTo>
                    <a:pt x="231" y="445"/>
                    <a:pt x="150" y="730"/>
                    <a:pt x="150" y="850"/>
                  </a:cubicBezTo>
                  <a:cubicBezTo>
                    <a:pt x="150" y="863"/>
                    <a:pt x="152" y="869"/>
                    <a:pt x="155" y="869"/>
                  </a:cubicBezTo>
                  <a:cubicBezTo>
                    <a:pt x="179" y="869"/>
                    <a:pt x="282" y="530"/>
                    <a:pt x="297" y="490"/>
                  </a:cubicBezTo>
                  <a:lnTo>
                    <a:pt x="297" y="490"/>
                  </a:lnTo>
                  <a:cubicBezTo>
                    <a:pt x="282" y="544"/>
                    <a:pt x="225" y="1209"/>
                    <a:pt x="241" y="1209"/>
                  </a:cubicBezTo>
                  <a:cubicBezTo>
                    <a:pt x="242" y="1209"/>
                    <a:pt x="243" y="1207"/>
                    <a:pt x="244" y="1203"/>
                  </a:cubicBezTo>
                  <a:cubicBezTo>
                    <a:pt x="260" y="1122"/>
                    <a:pt x="312" y="542"/>
                    <a:pt x="312" y="542"/>
                  </a:cubicBezTo>
                  <a:cubicBezTo>
                    <a:pt x="312" y="542"/>
                    <a:pt x="422" y="905"/>
                    <a:pt x="448" y="931"/>
                  </a:cubicBezTo>
                  <a:cubicBezTo>
                    <a:pt x="449" y="932"/>
                    <a:pt x="450" y="932"/>
                    <a:pt x="450" y="932"/>
                  </a:cubicBezTo>
                  <a:cubicBezTo>
                    <a:pt x="468" y="932"/>
                    <a:pt x="380" y="526"/>
                    <a:pt x="380" y="526"/>
                  </a:cubicBezTo>
                  <a:lnTo>
                    <a:pt x="380" y="526"/>
                  </a:lnTo>
                  <a:cubicBezTo>
                    <a:pt x="380" y="526"/>
                    <a:pt x="610" y="1028"/>
                    <a:pt x="623" y="1028"/>
                  </a:cubicBezTo>
                  <a:cubicBezTo>
                    <a:pt x="649" y="1028"/>
                    <a:pt x="260" y="1"/>
                    <a:pt x="26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6" name="Google Shape;716;p27"/>
            <p:cNvSpPr/>
            <p:nvPr/>
          </p:nvSpPr>
          <p:spPr>
            <a:xfrm>
              <a:off x="7467470" y="4273758"/>
              <a:ext cx="58581" cy="33117"/>
            </a:xfrm>
            <a:custGeom>
              <a:avLst/>
              <a:gdLst/>
              <a:ahLst/>
              <a:cxnLst/>
              <a:rect l="l" t="t" r="r" b="b"/>
              <a:pathLst>
                <a:path w="398" h="225" extrusionOk="0">
                  <a:moveTo>
                    <a:pt x="89" y="82"/>
                  </a:moveTo>
                  <a:cubicBezTo>
                    <a:pt x="88" y="82"/>
                    <a:pt x="87" y="82"/>
                    <a:pt x="87" y="82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7" y="83"/>
                    <a:pt x="89" y="82"/>
                  </a:cubicBezTo>
                  <a:close/>
                  <a:moveTo>
                    <a:pt x="210" y="1"/>
                  </a:moveTo>
                  <a:cubicBezTo>
                    <a:pt x="210" y="1"/>
                    <a:pt x="108" y="71"/>
                    <a:pt x="89" y="82"/>
                  </a:cubicBezTo>
                  <a:lnTo>
                    <a:pt x="89" y="82"/>
                  </a:lnTo>
                  <a:cubicBezTo>
                    <a:pt x="109" y="80"/>
                    <a:pt x="184" y="56"/>
                    <a:pt x="184" y="56"/>
                  </a:cubicBezTo>
                  <a:lnTo>
                    <a:pt x="184" y="56"/>
                  </a:lnTo>
                  <a:cubicBezTo>
                    <a:pt x="184" y="56"/>
                    <a:pt x="0" y="164"/>
                    <a:pt x="17" y="164"/>
                  </a:cubicBezTo>
                  <a:cubicBezTo>
                    <a:pt x="18" y="164"/>
                    <a:pt x="20" y="164"/>
                    <a:pt x="22" y="163"/>
                  </a:cubicBezTo>
                  <a:cubicBezTo>
                    <a:pt x="48" y="150"/>
                    <a:pt x="168" y="111"/>
                    <a:pt x="168" y="111"/>
                  </a:cubicBezTo>
                  <a:lnTo>
                    <a:pt x="168" y="111"/>
                  </a:lnTo>
                  <a:cubicBezTo>
                    <a:pt x="168" y="111"/>
                    <a:pt x="1" y="225"/>
                    <a:pt x="18" y="225"/>
                  </a:cubicBezTo>
                  <a:cubicBezTo>
                    <a:pt x="20" y="225"/>
                    <a:pt x="25" y="223"/>
                    <a:pt x="35" y="218"/>
                  </a:cubicBezTo>
                  <a:cubicBezTo>
                    <a:pt x="103" y="192"/>
                    <a:pt x="223" y="111"/>
                    <a:pt x="223" y="111"/>
                  </a:cubicBezTo>
                  <a:cubicBezTo>
                    <a:pt x="223" y="111"/>
                    <a:pt x="367" y="206"/>
                    <a:pt x="383" y="206"/>
                  </a:cubicBezTo>
                  <a:cubicBezTo>
                    <a:pt x="384" y="206"/>
                    <a:pt x="385" y="206"/>
                    <a:pt x="385" y="205"/>
                  </a:cubicBezTo>
                  <a:cubicBezTo>
                    <a:pt x="398" y="205"/>
                    <a:pt x="249" y="95"/>
                    <a:pt x="249" y="95"/>
                  </a:cubicBezTo>
                  <a:lnTo>
                    <a:pt x="249" y="95"/>
                  </a:lnTo>
                  <a:cubicBezTo>
                    <a:pt x="249" y="95"/>
                    <a:pt x="341" y="127"/>
                    <a:pt x="366" y="127"/>
                  </a:cubicBezTo>
                  <a:cubicBezTo>
                    <a:pt x="370" y="127"/>
                    <a:pt x="372" y="126"/>
                    <a:pt x="372" y="124"/>
                  </a:cubicBezTo>
                  <a:cubicBezTo>
                    <a:pt x="372" y="114"/>
                    <a:pt x="317" y="95"/>
                    <a:pt x="291" y="86"/>
                  </a:cubicBezTo>
                  <a:lnTo>
                    <a:pt x="291" y="86"/>
                  </a:lnTo>
                  <a:cubicBezTo>
                    <a:pt x="304" y="90"/>
                    <a:pt x="323" y="95"/>
                    <a:pt x="338" y="95"/>
                  </a:cubicBezTo>
                  <a:cubicBezTo>
                    <a:pt x="350" y="95"/>
                    <a:pt x="359" y="92"/>
                    <a:pt x="359" y="82"/>
                  </a:cubicBezTo>
                  <a:cubicBezTo>
                    <a:pt x="346" y="69"/>
                    <a:pt x="210" y="1"/>
                    <a:pt x="21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7" name="Google Shape;717;p27"/>
            <p:cNvSpPr/>
            <p:nvPr/>
          </p:nvSpPr>
          <p:spPr>
            <a:xfrm>
              <a:off x="7309391" y="4433160"/>
              <a:ext cx="2061" cy="7654"/>
            </a:xfrm>
            <a:custGeom>
              <a:avLst/>
              <a:gdLst/>
              <a:ahLst/>
              <a:cxnLst/>
              <a:rect l="l" t="t" r="r" b="b"/>
              <a:pathLst>
                <a:path w="14" h="52" extrusionOk="0">
                  <a:moveTo>
                    <a:pt x="1" y="52"/>
                  </a:moveTo>
                  <a:cubicBezTo>
                    <a:pt x="1" y="52"/>
                    <a:pt x="1" y="26"/>
                    <a:pt x="14" y="0"/>
                  </a:cubicBezTo>
                  <a:cubicBezTo>
                    <a:pt x="1" y="26"/>
                    <a:pt x="1" y="52"/>
                    <a:pt x="1" y="52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8" name="Google Shape;718;p27"/>
            <p:cNvSpPr/>
            <p:nvPr/>
          </p:nvSpPr>
          <p:spPr>
            <a:xfrm>
              <a:off x="7246542" y="4391065"/>
              <a:ext cx="133793" cy="104060"/>
            </a:xfrm>
            <a:custGeom>
              <a:avLst/>
              <a:gdLst/>
              <a:ahLst/>
              <a:cxnLst/>
              <a:rect l="l" t="t" r="r" b="b"/>
              <a:pathLst>
                <a:path w="909" h="707" extrusionOk="0">
                  <a:moveTo>
                    <a:pt x="334" y="176"/>
                  </a:moveTo>
                  <a:lnTo>
                    <a:pt x="334" y="176"/>
                  </a:lnTo>
                  <a:cubicBezTo>
                    <a:pt x="322" y="188"/>
                    <a:pt x="311" y="202"/>
                    <a:pt x="297" y="205"/>
                  </a:cubicBezTo>
                  <a:lnTo>
                    <a:pt x="297" y="205"/>
                  </a:lnTo>
                  <a:cubicBezTo>
                    <a:pt x="308" y="195"/>
                    <a:pt x="320" y="183"/>
                    <a:pt x="334" y="176"/>
                  </a:cubicBezTo>
                  <a:close/>
                  <a:moveTo>
                    <a:pt x="496" y="150"/>
                  </a:moveTo>
                  <a:cubicBezTo>
                    <a:pt x="522" y="189"/>
                    <a:pt x="577" y="257"/>
                    <a:pt x="603" y="286"/>
                  </a:cubicBezTo>
                  <a:cubicBezTo>
                    <a:pt x="564" y="244"/>
                    <a:pt x="496" y="189"/>
                    <a:pt x="470" y="176"/>
                  </a:cubicBezTo>
                  <a:lnTo>
                    <a:pt x="470" y="163"/>
                  </a:lnTo>
                  <a:cubicBezTo>
                    <a:pt x="483" y="176"/>
                    <a:pt x="509" y="176"/>
                    <a:pt x="509" y="189"/>
                  </a:cubicBezTo>
                  <a:cubicBezTo>
                    <a:pt x="512" y="192"/>
                    <a:pt x="513" y="194"/>
                    <a:pt x="514" y="194"/>
                  </a:cubicBezTo>
                  <a:cubicBezTo>
                    <a:pt x="517" y="194"/>
                    <a:pt x="506" y="171"/>
                    <a:pt x="496" y="150"/>
                  </a:cubicBezTo>
                  <a:close/>
                  <a:moveTo>
                    <a:pt x="415" y="163"/>
                  </a:moveTo>
                  <a:lnTo>
                    <a:pt x="415" y="163"/>
                  </a:lnTo>
                  <a:cubicBezTo>
                    <a:pt x="393" y="185"/>
                    <a:pt x="379" y="208"/>
                    <a:pt x="383" y="208"/>
                  </a:cubicBezTo>
                  <a:cubicBezTo>
                    <a:pt x="384" y="208"/>
                    <a:pt x="386" y="207"/>
                    <a:pt x="389" y="205"/>
                  </a:cubicBezTo>
                  <a:cubicBezTo>
                    <a:pt x="402" y="189"/>
                    <a:pt x="415" y="189"/>
                    <a:pt x="428" y="176"/>
                  </a:cubicBezTo>
                  <a:lnTo>
                    <a:pt x="428" y="189"/>
                  </a:lnTo>
                  <a:cubicBezTo>
                    <a:pt x="402" y="205"/>
                    <a:pt x="334" y="257"/>
                    <a:pt x="308" y="299"/>
                  </a:cubicBezTo>
                  <a:cubicBezTo>
                    <a:pt x="334" y="257"/>
                    <a:pt x="373" y="205"/>
                    <a:pt x="415" y="163"/>
                  </a:cubicBezTo>
                  <a:close/>
                  <a:moveTo>
                    <a:pt x="483" y="1"/>
                  </a:moveTo>
                  <a:cubicBezTo>
                    <a:pt x="483" y="1"/>
                    <a:pt x="185" y="150"/>
                    <a:pt x="227" y="150"/>
                  </a:cubicBezTo>
                  <a:cubicBezTo>
                    <a:pt x="230" y="150"/>
                    <a:pt x="232" y="150"/>
                    <a:pt x="234" y="150"/>
                  </a:cubicBezTo>
                  <a:lnTo>
                    <a:pt x="234" y="150"/>
                  </a:lnTo>
                  <a:cubicBezTo>
                    <a:pt x="177" y="187"/>
                    <a:pt x="95" y="231"/>
                    <a:pt x="130" y="231"/>
                  </a:cubicBezTo>
                  <a:cubicBezTo>
                    <a:pt x="172" y="218"/>
                    <a:pt x="198" y="205"/>
                    <a:pt x="198" y="205"/>
                  </a:cubicBezTo>
                  <a:lnTo>
                    <a:pt x="198" y="205"/>
                  </a:lnTo>
                  <a:cubicBezTo>
                    <a:pt x="198" y="205"/>
                    <a:pt x="36" y="312"/>
                    <a:pt x="65" y="312"/>
                  </a:cubicBezTo>
                  <a:cubicBezTo>
                    <a:pt x="91" y="299"/>
                    <a:pt x="292" y="150"/>
                    <a:pt x="292" y="150"/>
                  </a:cubicBezTo>
                  <a:lnTo>
                    <a:pt x="292" y="150"/>
                  </a:lnTo>
                  <a:cubicBezTo>
                    <a:pt x="292" y="150"/>
                    <a:pt x="242" y="223"/>
                    <a:pt x="256" y="223"/>
                  </a:cubicBezTo>
                  <a:cubicBezTo>
                    <a:pt x="258" y="223"/>
                    <a:pt x="261" y="221"/>
                    <a:pt x="266" y="218"/>
                  </a:cubicBezTo>
                  <a:cubicBezTo>
                    <a:pt x="270" y="218"/>
                    <a:pt x="274" y="217"/>
                    <a:pt x="278" y="216"/>
                  </a:cubicBezTo>
                  <a:lnTo>
                    <a:pt x="278" y="216"/>
                  </a:lnTo>
                  <a:cubicBezTo>
                    <a:pt x="215" y="266"/>
                    <a:pt x="132" y="325"/>
                    <a:pt x="159" y="325"/>
                  </a:cubicBezTo>
                  <a:cubicBezTo>
                    <a:pt x="194" y="313"/>
                    <a:pt x="231" y="292"/>
                    <a:pt x="248" y="276"/>
                  </a:cubicBezTo>
                  <a:lnTo>
                    <a:pt x="248" y="276"/>
                  </a:lnTo>
                  <a:cubicBezTo>
                    <a:pt x="205" y="320"/>
                    <a:pt x="1" y="514"/>
                    <a:pt x="8" y="514"/>
                  </a:cubicBezTo>
                  <a:cubicBezTo>
                    <a:pt x="9" y="514"/>
                    <a:pt x="9" y="513"/>
                    <a:pt x="10" y="513"/>
                  </a:cubicBezTo>
                  <a:cubicBezTo>
                    <a:pt x="36" y="500"/>
                    <a:pt x="240" y="312"/>
                    <a:pt x="240" y="312"/>
                  </a:cubicBezTo>
                  <a:lnTo>
                    <a:pt x="240" y="312"/>
                  </a:lnTo>
                  <a:cubicBezTo>
                    <a:pt x="240" y="312"/>
                    <a:pt x="154" y="449"/>
                    <a:pt x="169" y="449"/>
                  </a:cubicBezTo>
                  <a:cubicBezTo>
                    <a:pt x="170" y="449"/>
                    <a:pt x="171" y="449"/>
                    <a:pt x="172" y="448"/>
                  </a:cubicBezTo>
                  <a:cubicBezTo>
                    <a:pt x="185" y="419"/>
                    <a:pt x="253" y="338"/>
                    <a:pt x="279" y="299"/>
                  </a:cubicBezTo>
                  <a:lnTo>
                    <a:pt x="279" y="299"/>
                  </a:lnTo>
                  <a:cubicBezTo>
                    <a:pt x="279" y="312"/>
                    <a:pt x="266" y="325"/>
                    <a:pt x="266" y="325"/>
                  </a:cubicBezTo>
                  <a:lnTo>
                    <a:pt x="279" y="325"/>
                  </a:lnTo>
                  <a:cubicBezTo>
                    <a:pt x="292" y="325"/>
                    <a:pt x="347" y="270"/>
                    <a:pt x="347" y="270"/>
                  </a:cubicBezTo>
                  <a:lnTo>
                    <a:pt x="347" y="270"/>
                  </a:lnTo>
                  <a:cubicBezTo>
                    <a:pt x="347" y="270"/>
                    <a:pt x="192" y="542"/>
                    <a:pt x="225" y="542"/>
                  </a:cubicBezTo>
                  <a:cubicBezTo>
                    <a:pt x="225" y="542"/>
                    <a:pt x="226" y="542"/>
                    <a:pt x="227" y="542"/>
                  </a:cubicBezTo>
                  <a:cubicBezTo>
                    <a:pt x="240" y="513"/>
                    <a:pt x="279" y="461"/>
                    <a:pt x="308" y="419"/>
                  </a:cubicBezTo>
                  <a:lnTo>
                    <a:pt x="308" y="419"/>
                  </a:lnTo>
                  <a:cubicBezTo>
                    <a:pt x="256" y="508"/>
                    <a:pt x="143" y="706"/>
                    <a:pt x="156" y="706"/>
                  </a:cubicBezTo>
                  <a:cubicBezTo>
                    <a:pt x="156" y="706"/>
                    <a:pt x="157" y="705"/>
                    <a:pt x="159" y="704"/>
                  </a:cubicBezTo>
                  <a:cubicBezTo>
                    <a:pt x="198" y="662"/>
                    <a:pt x="389" y="312"/>
                    <a:pt x="389" y="312"/>
                  </a:cubicBezTo>
                  <a:lnTo>
                    <a:pt x="389" y="312"/>
                  </a:lnTo>
                  <a:cubicBezTo>
                    <a:pt x="389" y="312"/>
                    <a:pt x="352" y="407"/>
                    <a:pt x="358" y="407"/>
                  </a:cubicBezTo>
                  <a:cubicBezTo>
                    <a:pt x="359" y="407"/>
                    <a:pt x="359" y="407"/>
                    <a:pt x="360" y="406"/>
                  </a:cubicBezTo>
                  <a:cubicBezTo>
                    <a:pt x="373" y="393"/>
                    <a:pt x="415" y="312"/>
                    <a:pt x="441" y="270"/>
                  </a:cubicBezTo>
                  <a:lnTo>
                    <a:pt x="441" y="244"/>
                  </a:lnTo>
                  <a:cubicBezTo>
                    <a:pt x="454" y="231"/>
                    <a:pt x="454" y="231"/>
                    <a:pt x="454" y="218"/>
                  </a:cubicBezTo>
                  <a:lnTo>
                    <a:pt x="454" y="244"/>
                  </a:lnTo>
                  <a:cubicBezTo>
                    <a:pt x="454" y="257"/>
                    <a:pt x="441" y="257"/>
                    <a:pt x="441" y="270"/>
                  </a:cubicBezTo>
                  <a:lnTo>
                    <a:pt x="441" y="286"/>
                  </a:lnTo>
                  <a:cubicBezTo>
                    <a:pt x="441" y="270"/>
                    <a:pt x="454" y="257"/>
                    <a:pt x="454" y="257"/>
                  </a:cubicBezTo>
                  <a:cubicBezTo>
                    <a:pt x="483" y="299"/>
                    <a:pt x="522" y="380"/>
                    <a:pt x="535" y="393"/>
                  </a:cubicBezTo>
                  <a:cubicBezTo>
                    <a:pt x="536" y="394"/>
                    <a:pt x="537" y="394"/>
                    <a:pt x="537" y="394"/>
                  </a:cubicBezTo>
                  <a:cubicBezTo>
                    <a:pt x="546" y="394"/>
                    <a:pt x="509" y="299"/>
                    <a:pt x="509" y="299"/>
                  </a:cubicBezTo>
                  <a:lnTo>
                    <a:pt x="509" y="299"/>
                  </a:lnTo>
                  <a:cubicBezTo>
                    <a:pt x="509" y="299"/>
                    <a:pt x="697" y="649"/>
                    <a:pt x="739" y="691"/>
                  </a:cubicBezTo>
                  <a:cubicBezTo>
                    <a:pt x="740" y="693"/>
                    <a:pt x="741" y="693"/>
                    <a:pt x="742" y="693"/>
                  </a:cubicBezTo>
                  <a:cubicBezTo>
                    <a:pt x="750" y="693"/>
                    <a:pt x="680" y="564"/>
                    <a:pt x="632" y="468"/>
                  </a:cubicBezTo>
                  <a:lnTo>
                    <a:pt x="632" y="468"/>
                  </a:lnTo>
                  <a:cubicBezTo>
                    <a:pt x="649" y="495"/>
                    <a:pt x="669" y="520"/>
                    <a:pt x="684" y="529"/>
                  </a:cubicBezTo>
                  <a:cubicBezTo>
                    <a:pt x="685" y="530"/>
                    <a:pt x="686" y="531"/>
                    <a:pt x="687" y="531"/>
                  </a:cubicBezTo>
                  <a:cubicBezTo>
                    <a:pt x="700" y="531"/>
                    <a:pt x="551" y="257"/>
                    <a:pt x="551" y="257"/>
                  </a:cubicBezTo>
                  <a:lnTo>
                    <a:pt x="551" y="257"/>
                  </a:lnTo>
                  <a:cubicBezTo>
                    <a:pt x="551" y="257"/>
                    <a:pt x="603" y="312"/>
                    <a:pt x="632" y="325"/>
                  </a:cubicBezTo>
                  <a:lnTo>
                    <a:pt x="632" y="312"/>
                  </a:lnTo>
                  <a:cubicBezTo>
                    <a:pt x="632" y="312"/>
                    <a:pt x="632" y="310"/>
                    <a:pt x="631" y="306"/>
                  </a:cubicBezTo>
                  <a:lnTo>
                    <a:pt x="631" y="306"/>
                  </a:lnTo>
                  <a:cubicBezTo>
                    <a:pt x="664" y="351"/>
                    <a:pt x="717" y="421"/>
                    <a:pt x="739" y="432"/>
                  </a:cubicBezTo>
                  <a:cubicBezTo>
                    <a:pt x="740" y="433"/>
                    <a:pt x="740" y="433"/>
                    <a:pt x="740" y="433"/>
                  </a:cubicBezTo>
                  <a:cubicBezTo>
                    <a:pt x="742" y="433"/>
                    <a:pt x="658" y="312"/>
                    <a:pt x="658" y="312"/>
                  </a:cubicBezTo>
                  <a:lnTo>
                    <a:pt x="658" y="312"/>
                  </a:lnTo>
                  <a:cubicBezTo>
                    <a:pt x="658" y="312"/>
                    <a:pt x="859" y="487"/>
                    <a:pt x="888" y="500"/>
                  </a:cubicBezTo>
                  <a:cubicBezTo>
                    <a:pt x="889" y="500"/>
                    <a:pt x="890" y="500"/>
                    <a:pt x="891" y="500"/>
                  </a:cubicBezTo>
                  <a:cubicBezTo>
                    <a:pt x="908" y="500"/>
                    <a:pt x="761" y="367"/>
                    <a:pt x="692" y="296"/>
                  </a:cubicBezTo>
                  <a:lnTo>
                    <a:pt x="692" y="296"/>
                  </a:lnTo>
                  <a:cubicBezTo>
                    <a:pt x="706" y="305"/>
                    <a:pt x="722" y="312"/>
                    <a:pt x="739" y="312"/>
                  </a:cubicBezTo>
                  <a:cubicBezTo>
                    <a:pt x="742" y="313"/>
                    <a:pt x="744" y="313"/>
                    <a:pt x="745" y="313"/>
                  </a:cubicBezTo>
                  <a:cubicBezTo>
                    <a:pt x="762" y="313"/>
                    <a:pt x="666" y="241"/>
                    <a:pt x="603" y="205"/>
                  </a:cubicBezTo>
                  <a:lnTo>
                    <a:pt x="603" y="189"/>
                  </a:lnTo>
                  <a:cubicBezTo>
                    <a:pt x="603" y="205"/>
                    <a:pt x="616" y="205"/>
                    <a:pt x="632" y="218"/>
                  </a:cubicBezTo>
                  <a:cubicBezTo>
                    <a:pt x="635" y="219"/>
                    <a:pt x="638" y="219"/>
                    <a:pt x="640" y="219"/>
                  </a:cubicBezTo>
                  <a:cubicBezTo>
                    <a:pt x="674" y="219"/>
                    <a:pt x="603" y="137"/>
                    <a:pt x="603" y="137"/>
                  </a:cubicBezTo>
                  <a:lnTo>
                    <a:pt x="603" y="137"/>
                  </a:lnTo>
                  <a:cubicBezTo>
                    <a:pt x="603" y="137"/>
                    <a:pt x="807" y="286"/>
                    <a:pt x="833" y="299"/>
                  </a:cubicBezTo>
                  <a:cubicBezTo>
                    <a:pt x="858" y="299"/>
                    <a:pt x="705" y="195"/>
                    <a:pt x="697" y="189"/>
                  </a:cubicBezTo>
                  <a:lnTo>
                    <a:pt x="697" y="189"/>
                  </a:lnTo>
                  <a:cubicBezTo>
                    <a:pt x="701" y="192"/>
                    <a:pt x="741" y="218"/>
                    <a:pt x="778" y="218"/>
                  </a:cubicBezTo>
                  <a:cubicBezTo>
                    <a:pt x="807" y="218"/>
                    <a:pt x="697" y="163"/>
                    <a:pt x="645" y="137"/>
                  </a:cubicBezTo>
                  <a:lnTo>
                    <a:pt x="671" y="137"/>
                  </a:lnTo>
                  <a:cubicBezTo>
                    <a:pt x="713" y="137"/>
                    <a:pt x="483" y="1"/>
                    <a:pt x="483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9" name="Google Shape;719;p27"/>
            <p:cNvSpPr/>
            <p:nvPr/>
          </p:nvSpPr>
          <p:spPr>
            <a:xfrm>
              <a:off x="7313218" y="4433160"/>
              <a:ext cx="4563" cy="5740"/>
            </a:xfrm>
            <a:custGeom>
              <a:avLst/>
              <a:gdLst/>
              <a:ahLst/>
              <a:cxnLst/>
              <a:rect l="l" t="t" r="r" b="b"/>
              <a:pathLst>
                <a:path w="31" h="39" extrusionOk="0">
                  <a:moveTo>
                    <a:pt x="1" y="0"/>
                  </a:moveTo>
                  <a:lnTo>
                    <a:pt x="1" y="0"/>
                  </a:lnTo>
                  <a:cubicBezTo>
                    <a:pt x="17" y="26"/>
                    <a:pt x="17" y="39"/>
                    <a:pt x="17" y="39"/>
                  </a:cubicBezTo>
                  <a:cubicBezTo>
                    <a:pt x="30" y="39"/>
                    <a:pt x="17" y="13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0" name="Google Shape;720;p27"/>
            <p:cNvSpPr/>
            <p:nvPr/>
          </p:nvSpPr>
          <p:spPr>
            <a:xfrm>
              <a:off x="7307478" y="4460831"/>
              <a:ext cx="3974" cy="8242"/>
            </a:xfrm>
            <a:custGeom>
              <a:avLst/>
              <a:gdLst/>
              <a:ahLst/>
              <a:cxnLst/>
              <a:rect l="l" t="t" r="r" b="b"/>
              <a:pathLst>
                <a:path w="27" h="56" extrusionOk="0">
                  <a:moveTo>
                    <a:pt x="27" y="0"/>
                  </a:moveTo>
                  <a:lnTo>
                    <a:pt x="27" y="0"/>
                  </a:lnTo>
                  <a:cubicBezTo>
                    <a:pt x="14" y="26"/>
                    <a:pt x="1" y="55"/>
                    <a:pt x="1" y="55"/>
                  </a:cubicBezTo>
                  <a:cubicBezTo>
                    <a:pt x="14" y="55"/>
                    <a:pt x="14" y="26"/>
                    <a:pt x="27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1" name="Google Shape;721;p27"/>
            <p:cNvSpPr/>
            <p:nvPr/>
          </p:nvSpPr>
          <p:spPr>
            <a:xfrm>
              <a:off x="7226524" y="4406814"/>
              <a:ext cx="172209" cy="130112"/>
            </a:xfrm>
            <a:custGeom>
              <a:avLst/>
              <a:gdLst/>
              <a:ahLst/>
              <a:cxnLst/>
              <a:rect l="l" t="t" r="r" b="b"/>
              <a:pathLst>
                <a:path w="1170" h="884" extrusionOk="0">
                  <a:moveTo>
                    <a:pt x="404" y="250"/>
                  </a:moveTo>
                  <a:lnTo>
                    <a:pt x="404" y="250"/>
                  </a:lnTo>
                  <a:cubicBezTo>
                    <a:pt x="399" y="255"/>
                    <a:pt x="395" y="259"/>
                    <a:pt x="391" y="260"/>
                  </a:cubicBezTo>
                  <a:lnTo>
                    <a:pt x="391" y="260"/>
                  </a:lnTo>
                  <a:cubicBezTo>
                    <a:pt x="395" y="257"/>
                    <a:pt x="399" y="254"/>
                    <a:pt x="404" y="250"/>
                  </a:cubicBezTo>
                  <a:close/>
                  <a:moveTo>
                    <a:pt x="590" y="312"/>
                  </a:moveTo>
                  <a:lnTo>
                    <a:pt x="590" y="312"/>
                  </a:lnTo>
                  <a:cubicBezTo>
                    <a:pt x="587" y="315"/>
                    <a:pt x="585" y="317"/>
                    <a:pt x="583" y="321"/>
                  </a:cubicBezTo>
                  <a:lnTo>
                    <a:pt x="583" y="321"/>
                  </a:lnTo>
                  <a:cubicBezTo>
                    <a:pt x="587" y="315"/>
                    <a:pt x="590" y="312"/>
                    <a:pt x="590" y="312"/>
                  </a:cubicBezTo>
                  <a:close/>
                  <a:moveTo>
                    <a:pt x="590" y="312"/>
                  </a:moveTo>
                  <a:cubicBezTo>
                    <a:pt x="590" y="325"/>
                    <a:pt x="590" y="341"/>
                    <a:pt x="606" y="354"/>
                  </a:cubicBezTo>
                  <a:cubicBezTo>
                    <a:pt x="606" y="341"/>
                    <a:pt x="590" y="325"/>
                    <a:pt x="590" y="312"/>
                  </a:cubicBezTo>
                  <a:close/>
                  <a:moveTo>
                    <a:pt x="632" y="192"/>
                  </a:moveTo>
                  <a:cubicBezTo>
                    <a:pt x="687" y="244"/>
                    <a:pt x="739" y="312"/>
                    <a:pt x="781" y="354"/>
                  </a:cubicBezTo>
                  <a:cubicBezTo>
                    <a:pt x="726" y="312"/>
                    <a:pt x="645" y="231"/>
                    <a:pt x="619" y="218"/>
                  </a:cubicBezTo>
                  <a:lnTo>
                    <a:pt x="619" y="205"/>
                  </a:lnTo>
                  <a:cubicBezTo>
                    <a:pt x="632" y="218"/>
                    <a:pt x="658" y="231"/>
                    <a:pt x="671" y="244"/>
                  </a:cubicBezTo>
                  <a:cubicBezTo>
                    <a:pt x="671" y="244"/>
                    <a:pt x="658" y="218"/>
                    <a:pt x="632" y="192"/>
                  </a:cubicBezTo>
                  <a:close/>
                  <a:moveTo>
                    <a:pt x="538" y="205"/>
                  </a:moveTo>
                  <a:cubicBezTo>
                    <a:pt x="509" y="244"/>
                    <a:pt x="496" y="260"/>
                    <a:pt x="509" y="260"/>
                  </a:cubicBezTo>
                  <a:cubicBezTo>
                    <a:pt x="525" y="244"/>
                    <a:pt x="538" y="231"/>
                    <a:pt x="551" y="231"/>
                  </a:cubicBezTo>
                  <a:cubicBezTo>
                    <a:pt x="525" y="260"/>
                    <a:pt x="444" y="325"/>
                    <a:pt x="402" y="367"/>
                  </a:cubicBezTo>
                  <a:cubicBezTo>
                    <a:pt x="428" y="325"/>
                    <a:pt x="496" y="260"/>
                    <a:pt x="538" y="205"/>
                  </a:cubicBezTo>
                  <a:close/>
                  <a:moveTo>
                    <a:pt x="583" y="321"/>
                  </a:moveTo>
                  <a:cubicBezTo>
                    <a:pt x="580" y="326"/>
                    <a:pt x="577" y="333"/>
                    <a:pt x="577" y="341"/>
                  </a:cubicBezTo>
                  <a:lnTo>
                    <a:pt x="577" y="367"/>
                  </a:lnTo>
                  <a:cubicBezTo>
                    <a:pt x="577" y="347"/>
                    <a:pt x="577" y="332"/>
                    <a:pt x="583" y="321"/>
                  </a:cubicBezTo>
                  <a:close/>
                  <a:moveTo>
                    <a:pt x="619" y="1"/>
                  </a:moveTo>
                  <a:cubicBezTo>
                    <a:pt x="619" y="1"/>
                    <a:pt x="277" y="180"/>
                    <a:pt x="304" y="180"/>
                  </a:cubicBezTo>
                  <a:cubicBezTo>
                    <a:pt x="305" y="180"/>
                    <a:pt x="306" y="179"/>
                    <a:pt x="308" y="179"/>
                  </a:cubicBezTo>
                  <a:lnTo>
                    <a:pt x="334" y="179"/>
                  </a:lnTo>
                  <a:cubicBezTo>
                    <a:pt x="266" y="218"/>
                    <a:pt x="133" y="286"/>
                    <a:pt x="172" y="286"/>
                  </a:cubicBezTo>
                  <a:cubicBezTo>
                    <a:pt x="227" y="273"/>
                    <a:pt x="266" y="260"/>
                    <a:pt x="266" y="260"/>
                  </a:cubicBezTo>
                  <a:lnTo>
                    <a:pt x="266" y="260"/>
                  </a:lnTo>
                  <a:cubicBezTo>
                    <a:pt x="266" y="260"/>
                    <a:pt x="83" y="381"/>
                    <a:pt x="100" y="381"/>
                  </a:cubicBezTo>
                  <a:cubicBezTo>
                    <a:pt x="101" y="381"/>
                    <a:pt x="102" y="381"/>
                    <a:pt x="104" y="380"/>
                  </a:cubicBezTo>
                  <a:cubicBezTo>
                    <a:pt x="133" y="380"/>
                    <a:pt x="389" y="192"/>
                    <a:pt x="389" y="192"/>
                  </a:cubicBezTo>
                  <a:lnTo>
                    <a:pt x="389" y="192"/>
                  </a:lnTo>
                  <a:cubicBezTo>
                    <a:pt x="389" y="192"/>
                    <a:pt x="319" y="281"/>
                    <a:pt x="343" y="281"/>
                  </a:cubicBezTo>
                  <a:cubicBezTo>
                    <a:pt x="347" y="281"/>
                    <a:pt x="354" y="278"/>
                    <a:pt x="363" y="273"/>
                  </a:cubicBezTo>
                  <a:cubicBezTo>
                    <a:pt x="367" y="273"/>
                    <a:pt x="375" y="270"/>
                    <a:pt x="384" y="264"/>
                  </a:cubicBezTo>
                  <a:lnTo>
                    <a:pt x="384" y="264"/>
                  </a:lnTo>
                  <a:cubicBezTo>
                    <a:pt x="308" y="324"/>
                    <a:pt x="192" y="408"/>
                    <a:pt x="207" y="408"/>
                  </a:cubicBezTo>
                  <a:cubicBezTo>
                    <a:pt x="209" y="408"/>
                    <a:pt x="211" y="407"/>
                    <a:pt x="214" y="406"/>
                  </a:cubicBezTo>
                  <a:cubicBezTo>
                    <a:pt x="266" y="393"/>
                    <a:pt x="321" y="354"/>
                    <a:pt x="334" y="341"/>
                  </a:cubicBezTo>
                  <a:lnTo>
                    <a:pt x="334" y="341"/>
                  </a:lnTo>
                  <a:cubicBezTo>
                    <a:pt x="309" y="366"/>
                    <a:pt x="1" y="650"/>
                    <a:pt x="21" y="650"/>
                  </a:cubicBezTo>
                  <a:cubicBezTo>
                    <a:pt x="21" y="650"/>
                    <a:pt x="22" y="649"/>
                    <a:pt x="23" y="649"/>
                  </a:cubicBezTo>
                  <a:cubicBezTo>
                    <a:pt x="65" y="623"/>
                    <a:pt x="321" y="393"/>
                    <a:pt x="321" y="393"/>
                  </a:cubicBezTo>
                  <a:lnTo>
                    <a:pt x="321" y="393"/>
                  </a:lnTo>
                  <a:cubicBezTo>
                    <a:pt x="321" y="393"/>
                    <a:pt x="217" y="558"/>
                    <a:pt x="224" y="558"/>
                  </a:cubicBezTo>
                  <a:cubicBezTo>
                    <a:pt x="224" y="558"/>
                    <a:pt x="225" y="557"/>
                    <a:pt x="227" y="555"/>
                  </a:cubicBezTo>
                  <a:cubicBezTo>
                    <a:pt x="252" y="530"/>
                    <a:pt x="328" y="430"/>
                    <a:pt x="371" y="373"/>
                  </a:cubicBezTo>
                  <a:lnTo>
                    <a:pt x="371" y="373"/>
                  </a:lnTo>
                  <a:cubicBezTo>
                    <a:pt x="363" y="387"/>
                    <a:pt x="363" y="406"/>
                    <a:pt x="363" y="406"/>
                  </a:cubicBezTo>
                  <a:lnTo>
                    <a:pt x="363" y="422"/>
                  </a:lnTo>
                  <a:cubicBezTo>
                    <a:pt x="389" y="406"/>
                    <a:pt x="457" y="341"/>
                    <a:pt x="457" y="341"/>
                  </a:cubicBezTo>
                  <a:lnTo>
                    <a:pt x="457" y="341"/>
                  </a:lnTo>
                  <a:cubicBezTo>
                    <a:pt x="457" y="341"/>
                    <a:pt x="267" y="679"/>
                    <a:pt x="292" y="679"/>
                  </a:cubicBezTo>
                  <a:cubicBezTo>
                    <a:pt x="292" y="679"/>
                    <a:pt x="294" y="679"/>
                    <a:pt x="295" y="678"/>
                  </a:cubicBezTo>
                  <a:cubicBezTo>
                    <a:pt x="311" y="660"/>
                    <a:pt x="340" y="627"/>
                    <a:pt x="365" y="591"/>
                  </a:cubicBezTo>
                  <a:lnTo>
                    <a:pt x="365" y="591"/>
                  </a:lnTo>
                  <a:cubicBezTo>
                    <a:pt x="297" y="708"/>
                    <a:pt x="207" y="883"/>
                    <a:pt x="221" y="883"/>
                  </a:cubicBezTo>
                  <a:cubicBezTo>
                    <a:pt x="222" y="883"/>
                    <a:pt x="224" y="882"/>
                    <a:pt x="227" y="879"/>
                  </a:cubicBezTo>
                  <a:cubicBezTo>
                    <a:pt x="282" y="827"/>
                    <a:pt x="509" y="380"/>
                    <a:pt x="509" y="380"/>
                  </a:cubicBezTo>
                  <a:lnTo>
                    <a:pt x="509" y="380"/>
                  </a:lnTo>
                  <a:cubicBezTo>
                    <a:pt x="509" y="380"/>
                    <a:pt x="462" y="504"/>
                    <a:pt x="469" y="504"/>
                  </a:cubicBezTo>
                  <a:cubicBezTo>
                    <a:pt x="469" y="504"/>
                    <a:pt x="469" y="504"/>
                    <a:pt x="470" y="503"/>
                  </a:cubicBezTo>
                  <a:cubicBezTo>
                    <a:pt x="496" y="503"/>
                    <a:pt x="551" y="393"/>
                    <a:pt x="577" y="341"/>
                  </a:cubicBezTo>
                  <a:lnTo>
                    <a:pt x="577" y="299"/>
                  </a:lnTo>
                  <a:cubicBezTo>
                    <a:pt x="590" y="286"/>
                    <a:pt x="590" y="286"/>
                    <a:pt x="590" y="273"/>
                  </a:cubicBezTo>
                  <a:lnTo>
                    <a:pt x="590" y="299"/>
                  </a:lnTo>
                  <a:lnTo>
                    <a:pt x="590" y="312"/>
                  </a:lnTo>
                  <a:cubicBezTo>
                    <a:pt x="619" y="380"/>
                    <a:pt x="687" y="474"/>
                    <a:pt x="700" y="487"/>
                  </a:cubicBezTo>
                  <a:cubicBezTo>
                    <a:pt x="701" y="488"/>
                    <a:pt x="703" y="488"/>
                    <a:pt x="704" y="488"/>
                  </a:cubicBezTo>
                  <a:cubicBezTo>
                    <a:pt x="718" y="488"/>
                    <a:pt x="658" y="367"/>
                    <a:pt x="658" y="367"/>
                  </a:cubicBezTo>
                  <a:lnTo>
                    <a:pt x="658" y="367"/>
                  </a:lnTo>
                  <a:cubicBezTo>
                    <a:pt x="658" y="367"/>
                    <a:pt x="901" y="811"/>
                    <a:pt x="956" y="866"/>
                  </a:cubicBezTo>
                  <a:cubicBezTo>
                    <a:pt x="959" y="869"/>
                    <a:pt x="960" y="870"/>
                    <a:pt x="961" y="870"/>
                  </a:cubicBezTo>
                  <a:cubicBezTo>
                    <a:pt x="972" y="870"/>
                    <a:pt x="865" y="680"/>
                    <a:pt x="797" y="564"/>
                  </a:cubicBezTo>
                  <a:lnTo>
                    <a:pt x="797" y="564"/>
                  </a:lnTo>
                  <a:cubicBezTo>
                    <a:pt x="824" y="604"/>
                    <a:pt x="857" y="644"/>
                    <a:pt x="875" y="665"/>
                  </a:cubicBezTo>
                  <a:cubicBezTo>
                    <a:pt x="876" y="666"/>
                    <a:pt x="877" y="666"/>
                    <a:pt x="878" y="666"/>
                  </a:cubicBezTo>
                  <a:cubicBezTo>
                    <a:pt x="900" y="666"/>
                    <a:pt x="713" y="325"/>
                    <a:pt x="713" y="325"/>
                  </a:cubicBezTo>
                  <a:lnTo>
                    <a:pt x="713" y="325"/>
                  </a:lnTo>
                  <a:cubicBezTo>
                    <a:pt x="713" y="325"/>
                    <a:pt x="781" y="393"/>
                    <a:pt x="807" y="406"/>
                  </a:cubicBezTo>
                  <a:lnTo>
                    <a:pt x="807" y="393"/>
                  </a:lnTo>
                  <a:cubicBezTo>
                    <a:pt x="820" y="393"/>
                    <a:pt x="807" y="367"/>
                    <a:pt x="807" y="354"/>
                  </a:cubicBezTo>
                  <a:lnTo>
                    <a:pt x="807" y="354"/>
                  </a:lnTo>
                  <a:cubicBezTo>
                    <a:pt x="833" y="406"/>
                    <a:pt x="930" y="516"/>
                    <a:pt x="943" y="542"/>
                  </a:cubicBezTo>
                  <a:cubicBezTo>
                    <a:pt x="945" y="544"/>
                    <a:pt x="946" y="544"/>
                    <a:pt x="946" y="544"/>
                  </a:cubicBezTo>
                  <a:cubicBezTo>
                    <a:pt x="954" y="544"/>
                    <a:pt x="849" y="380"/>
                    <a:pt x="849" y="380"/>
                  </a:cubicBezTo>
                  <a:lnTo>
                    <a:pt x="849" y="380"/>
                  </a:lnTo>
                  <a:cubicBezTo>
                    <a:pt x="849" y="380"/>
                    <a:pt x="1105" y="610"/>
                    <a:pt x="1144" y="636"/>
                  </a:cubicBezTo>
                  <a:cubicBezTo>
                    <a:pt x="1145" y="636"/>
                    <a:pt x="1146" y="636"/>
                    <a:pt x="1146" y="636"/>
                  </a:cubicBezTo>
                  <a:cubicBezTo>
                    <a:pt x="1169" y="636"/>
                    <a:pt x="944" y="420"/>
                    <a:pt x="859" y="347"/>
                  </a:cubicBezTo>
                  <a:lnTo>
                    <a:pt x="859" y="347"/>
                  </a:lnTo>
                  <a:cubicBezTo>
                    <a:pt x="884" y="364"/>
                    <a:pt x="919" y="384"/>
                    <a:pt x="956" y="393"/>
                  </a:cubicBezTo>
                  <a:cubicBezTo>
                    <a:pt x="958" y="394"/>
                    <a:pt x="960" y="394"/>
                    <a:pt x="961" y="394"/>
                  </a:cubicBezTo>
                  <a:cubicBezTo>
                    <a:pt x="980" y="394"/>
                    <a:pt x="869" y="308"/>
                    <a:pt x="781" y="244"/>
                  </a:cubicBezTo>
                  <a:lnTo>
                    <a:pt x="781" y="231"/>
                  </a:lnTo>
                  <a:lnTo>
                    <a:pt x="807" y="260"/>
                  </a:lnTo>
                  <a:cubicBezTo>
                    <a:pt x="816" y="265"/>
                    <a:pt x="823" y="268"/>
                    <a:pt x="827" y="268"/>
                  </a:cubicBezTo>
                  <a:cubicBezTo>
                    <a:pt x="851" y="268"/>
                    <a:pt x="781" y="179"/>
                    <a:pt x="781" y="179"/>
                  </a:cubicBezTo>
                  <a:lnTo>
                    <a:pt x="781" y="179"/>
                  </a:lnTo>
                  <a:cubicBezTo>
                    <a:pt x="781" y="179"/>
                    <a:pt x="1037" y="367"/>
                    <a:pt x="1076" y="367"/>
                  </a:cubicBezTo>
                  <a:cubicBezTo>
                    <a:pt x="1077" y="368"/>
                    <a:pt x="1078" y="368"/>
                    <a:pt x="1078" y="368"/>
                  </a:cubicBezTo>
                  <a:cubicBezTo>
                    <a:pt x="1087" y="368"/>
                    <a:pt x="901" y="244"/>
                    <a:pt x="901" y="244"/>
                  </a:cubicBezTo>
                  <a:lnTo>
                    <a:pt x="901" y="244"/>
                  </a:lnTo>
                  <a:cubicBezTo>
                    <a:pt x="901" y="244"/>
                    <a:pt x="943" y="260"/>
                    <a:pt x="995" y="273"/>
                  </a:cubicBezTo>
                  <a:cubicBezTo>
                    <a:pt x="1037" y="273"/>
                    <a:pt x="901" y="205"/>
                    <a:pt x="833" y="163"/>
                  </a:cubicBezTo>
                  <a:lnTo>
                    <a:pt x="875" y="163"/>
                  </a:lnTo>
                  <a:cubicBezTo>
                    <a:pt x="877" y="164"/>
                    <a:pt x="879" y="164"/>
                    <a:pt x="880" y="164"/>
                  </a:cubicBezTo>
                  <a:cubicBezTo>
                    <a:pt x="904" y="164"/>
                    <a:pt x="619" y="1"/>
                    <a:pt x="61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2" name="Google Shape;722;p27"/>
            <p:cNvSpPr/>
            <p:nvPr/>
          </p:nvSpPr>
          <p:spPr>
            <a:xfrm>
              <a:off x="7315720" y="4458917"/>
              <a:ext cx="2061" cy="7654"/>
            </a:xfrm>
            <a:custGeom>
              <a:avLst/>
              <a:gdLst/>
              <a:ahLst/>
              <a:cxnLst/>
              <a:rect l="l" t="t" r="r" b="b"/>
              <a:pathLst>
                <a:path w="14" h="52" extrusionOk="0">
                  <a:moveTo>
                    <a:pt x="0" y="0"/>
                  </a:moveTo>
                  <a:cubicBezTo>
                    <a:pt x="0" y="26"/>
                    <a:pt x="13" y="52"/>
                    <a:pt x="13" y="52"/>
                  </a:cubicBezTo>
                  <a:cubicBezTo>
                    <a:pt x="13" y="52"/>
                    <a:pt x="0" y="26"/>
                    <a:pt x="0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3" name="Google Shape;723;p27"/>
            <p:cNvSpPr/>
            <p:nvPr/>
          </p:nvSpPr>
          <p:spPr>
            <a:xfrm>
              <a:off x="7306153" y="4504692"/>
              <a:ext cx="3385" cy="10156"/>
            </a:xfrm>
            <a:custGeom>
              <a:avLst/>
              <a:gdLst/>
              <a:ahLst/>
              <a:cxnLst/>
              <a:rect l="l" t="t" r="r" b="b"/>
              <a:pathLst>
                <a:path w="23" h="69" extrusionOk="0">
                  <a:moveTo>
                    <a:pt x="23" y="0"/>
                  </a:moveTo>
                  <a:lnTo>
                    <a:pt x="23" y="0"/>
                  </a:lnTo>
                  <a:cubicBezTo>
                    <a:pt x="12" y="33"/>
                    <a:pt x="1" y="68"/>
                    <a:pt x="6" y="68"/>
                  </a:cubicBezTo>
                  <a:cubicBezTo>
                    <a:pt x="7" y="68"/>
                    <a:pt x="8" y="67"/>
                    <a:pt x="10" y="65"/>
                  </a:cubicBezTo>
                  <a:cubicBezTo>
                    <a:pt x="10" y="65"/>
                    <a:pt x="10" y="39"/>
                    <a:pt x="23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4" name="Google Shape;724;p27"/>
            <p:cNvSpPr/>
            <p:nvPr/>
          </p:nvSpPr>
          <p:spPr>
            <a:xfrm>
              <a:off x="7206065" y="4438753"/>
              <a:ext cx="212833" cy="162198"/>
            </a:xfrm>
            <a:custGeom>
              <a:avLst/>
              <a:gdLst/>
              <a:ahLst/>
              <a:cxnLst/>
              <a:rect l="l" t="t" r="r" b="b"/>
              <a:pathLst>
                <a:path w="1446" h="1102" extrusionOk="0">
                  <a:moveTo>
                    <a:pt x="716" y="367"/>
                  </a:moveTo>
                  <a:cubicBezTo>
                    <a:pt x="716" y="367"/>
                    <a:pt x="716" y="380"/>
                    <a:pt x="729" y="380"/>
                  </a:cubicBezTo>
                  <a:cubicBezTo>
                    <a:pt x="729" y="367"/>
                    <a:pt x="716" y="367"/>
                    <a:pt x="716" y="367"/>
                  </a:cubicBezTo>
                  <a:close/>
                  <a:moveTo>
                    <a:pt x="731" y="402"/>
                  </a:moveTo>
                  <a:cubicBezTo>
                    <a:pt x="733" y="410"/>
                    <a:pt x="737" y="420"/>
                    <a:pt x="745" y="432"/>
                  </a:cubicBezTo>
                  <a:cubicBezTo>
                    <a:pt x="745" y="422"/>
                    <a:pt x="736" y="412"/>
                    <a:pt x="731" y="402"/>
                  </a:cubicBezTo>
                  <a:close/>
                  <a:moveTo>
                    <a:pt x="784" y="231"/>
                  </a:moveTo>
                  <a:cubicBezTo>
                    <a:pt x="839" y="299"/>
                    <a:pt x="920" y="380"/>
                    <a:pt x="959" y="432"/>
                  </a:cubicBezTo>
                  <a:cubicBezTo>
                    <a:pt x="891" y="380"/>
                    <a:pt x="784" y="286"/>
                    <a:pt x="758" y="257"/>
                  </a:cubicBezTo>
                  <a:cubicBezTo>
                    <a:pt x="771" y="257"/>
                    <a:pt x="810" y="270"/>
                    <a:pt x="826" y="299"/>
                  </a:cubicBezTo>
                  <a:cubicBezTo>
                    <a:pt x="839" y="299"/>
                    <a:pt x="810" y="270"/>
                    <a:pt x="784" y="231"/>
                  </a:cubicBezTo>
                  <a:close/>
                  <a:moveTo>
                    <a:pt x="664" y="244"/>
                  </a:moveTo>
                  <a:lnTo>
                    <a:pt x="664" y="244"/>
                  </a:lnTo>
                  <a:cubicBezTo>
                    <a:pt x="639" y="280"/>
                    <a:pt x="616" y="315"/>
                    <a:pt x="619" y="315"/>
                  </a:cubicBezTo>
                  <a:cubicBezTo>
                    <a:pt x="619" y="315"/>
                    <a:pt x="620" y="314"/>
                    <a:pt x="622" y="312"/>
                  </a:cubicBezTo>
                  <a:cubicBezTo>
                    <a:pt x="635" y="299"/>
                    <a:pt x="664" y="286"/>
                    <a:pt x="677" y="270"/>
                  </a:cubicBezTo>
                  <a:lnTo>
                    <a:pt x="690" y="270"/>
                  </a:lnTo>
                  <a:cubicBezTo>
                    <a:pt x="648" y="312"/>
                    <a:pt x="541" y="393"/>
                    <a:pt x="486" y="461"/>
                  </a:cubicBezTo>
                  <a:cubicBezTo>
                    <a:pt x="528" y="406"/>
                    <a:pt x="596" y="312"/>
                    <a:pt x="664" y="244"/>
                  </a:cubicBezTo>
                  <a:close/>
                  <a:moveTo>
                    <a:pt x="1174" y="660"/>
                  </a:moveTo>
                  <a:lnTo>
                    <a:pt x="1174" y="660"/>
                  </a:lnTo>
                  <a:cubicBezTo>
                    <a:pt x="1177" y="665"/>
                    <a:pt x="1179" y="667"/>
                    <a:pt x="1179" y="667"/>
                  </a:cubicBezTo>
                  <a:cubicBezTo>
                    <a:pt x="1179" y="667"/>
                    <a:pt x="1178" y="665"/>
                    <a:pt x="1176" y="662"/>
                  </a:cubicBezTo>
                  <a:cubicBezTo>
                    <a:pt x="1175" y="661"/>
                    <a:pt x="1175" y="661"/>
                    <a:pt x="1174" y="660"/>
                  </a:cubicBezTo>
                  <a:close/>
                  <a:moveTo>
                    <a:pt x="771" y="1"/>
                  </a:moveTo>
                  <a:cubicBezTo>
                    <a:pt x="771" y="1"/>
                    <a:pt x="323" y="219"/>
                    <a:pt x="362" y="219"/>
                  </a:cubicBezTo>
                  <a:cubicBezTo>
                    <a:pt x="363" y="219"/>
                    <a:pt x="364" y="218"/>
                    <a:pt x="366" y="218"/>
                  </a:cubicBezTo>
                  <a:cubicBezTo>
                    <a:pt x="373" y="218"/>
                    <a:pt x="381" y="218"/>
                    <a:pt x="388" y="216"/>
                  </a:cubicBezTo>
                  <a:lnTo>
                    <a:pt x="388" y="216"/>
                  </a:lnTo>
                  <a:cubicBezTo>
                    <a:pt x="304" y="269"/>
                    <a:pt x="165" y="351"/>
                    <a:pt x="204" y="351"/>
                  </a:cubicBezTo>
                  <a:cubicBezTo>
                    <a:pt x="272" y="338"/>
                    <a:pt x="324" y="312"/>
                    <a:pt x="324" y="312"/>
                  </a:cubicBezTo>
                  <a:lnTo>
                    <a:pt x="324" y="312"/>
                  </a:lnTo>
                  <a:cubicBezTo>
                    <a:pt x="324" y="312"/>
                    <a:pt x="86" y="475"/>
                    <a:pt x="107" y="475"/>
                  </a:cubicBezTo>
                  <a:cubicBezTo>
                    <a:pt x="107" y="475"/>
                    <a:pt x="109" y="474"/>
                    <a:pt x="110" y="474"/>
                  </a:cubicBezTo>
                  <a:cubicBezTo>
                    <a:pt x="149" y="461"/>
                    <a:pt x="486" y="231"/>
                    <a:pt x="486" y="231"/>
                  </a:cubicBezTo>
                  <a:lnTo>
                    <a:pt x="486" y="231"/>
                  </a:lnTo>
                  <a:cubicBezTo>
                    <a:pt x="486" y="231"/>
                    <a:pt x="394" y="345"/>
                    <a:pt x="417" y="345"/>
                  </a:cubicBezTo>
                  <a:cubicBezTo>
                    <a:pt x="420" y="345"/>
                    <a:pt x="426" y="343"/>
                    <a:pt x="434" y="338"/>
                  </a:cubicBezTo>
                  <a:cubicBezTo>
                    <a:pt x="460" y="325"/>
                    <a:pt x="502" y="299"/>
                    <a:pt x="528" y="257"/>
                  </a:cubicBezTo>
                  <a:lnTo>
                    <a:pt x="528" y="257"/>
                  </a:lnTo>
                  <a:cubicBezTo>
                    <a:pt x="515" y="286"/>
                    <a:pt x="486" y="312"/>
                    <a:pt x="486" y="312"/>
                  </a:cubicBezTo>
                  <a:cubicBezTo>
                    <a:pt x="372" y="389"/>
                    <a:pt x="220" y="501"/>
                    <a:pt x="252" y="501"/>
                  </a:cubicBezTo>
                  <a:cubicBezTo>
                    <a:pt x="254" y="501"/>
                    <a:pt x="256" y="501"/>
                    <a:pt x="259" y="500"/>
                  </a:cubicBezTo>
                  <a:cubicBezTo>
                    <a:pt x="308" y="490"/>
                    <a:pt x="358" y="457"/>
                    <a:pt x="386" y="435"/>
                  </a:cubicBezTo>
                  <a:lnTo>
                    <a:pt x="386" y="435"/>
                  </a:lnTo>
                  <a:cubicBezTo>
                    <a:pt x="301" y="511"/>
                    <a:pt x="1" y="799"/>
                    <a:pt x="13" y="799"/>
                  </a:cubicBezTo>
                  <a:cubicBezTo>
                    <a:pt x="14" y="799"/>
                    <a:pt x="15" y="799"/>
                    <a:pt x="16" y="798"/>
                  </a:cubicBezTo>
                  <a:cubicBezTo>
                    <a:pt x="68" y="785"/>
                    <a:pt x="379" y="487"/>
                    <a:pt x="379" y="487"/>
                  </a:cubicBezTo>
                  <a:lnTo>
                    <a:pt x="379" y="487"/>
                  </a:lnTo>
                  <a:cubicBezTo>
                    <a:pt x="379" y="487"/>
                    <a:pt x="257" y="693"/>
                    <a:pt x="269" y="693"/>
                  </a:cubicBezTo>
                  <a:cubicBezTo>
                    <a:pt x="269" y="693"/>
                    <a:pt x="270" y="692"/>
                    <a:pt x="272" y="691"/>
                  </a:cubicBezTo>
                  <a:cubicBezTo>
                    <a:pt x="298" y="662"/>
                    <a:pt x="405" y="513"/>
                    <a:pt x="447" y="448"/>
                  </a:cubicBezTo>
                  <a:lnTo>
                    <a:pt x="447" y="448"/>
                  </a:lnTo>
                  <a:cubicBezTo>
                    <a:pt x="447" y="474"/>
                    <a:pt x="434" y="500"/>
                    <a:pt x="447" y="500"/>
                  </a:cubicBezTo>
                  <a:lnTo>
                    <a:pt x="447" y="513"/>
                  </a:lnTo>
                  <a:cubicBezTo>
                    <a:pt x="473" y="500"/>
                    <a:pt x="567" y="419"/>
                    <a:pt x="567" y="419"/>
                  </a:cubicBezTo>
                  <a:lnTo>
                    <a:pt x="567" y="419"/>
                  </a:lnTo>
                  <a:cubicBezTo>
                    <a:pt x="567" y="419"/>
                    <a:pt x="333" y="840"/>
                    <a:pt x="360" y="840"/>
                  </a:cubicBezTo>
                  <a:cubicBezTo>
                    <a:pt x="362" y="840"/>
                    <a:pt x="364" y="839"/>
                    <a:pt x="366" y="837"/>
                  </a:cubicBezTo>
                  <a:cubicBezTo>
                    <a:pt x="392" y="811"/>
                    <a:pt x="447" y="717"/>
                    <a:pt x="486" y="649"/>
                  </a:cubicBezTo>
                  <a:lnTo>
                    <a:pt x="486" y="649"/>
                  </a:lnTo>
                  <a:cubicBezTo>
                    <a:pt x="410" y="788"/>
                    <a:pt x="242" y="1101"/>
                    <a:pt x="264" y="1101"/>
                  </a:cubicBezTo>
                  <a:cubicBezTo>
                    <a:pt x="266" y="1101"/>
                    <a:pt x="268" y="1100"/>
                    <a:pt x="272" y="1096"/>
                  </a:cubicBezTo>
                  <a:cubicBezTo>
                    <a:pt x="324" y="1041"/>
                    <a:pt x="635" y="474"/>
                    <a:pt x="635" y="474"/>
                  </a:cubicBezTo>
                  <a:lnTo>
                    <a:pt x="635" y="474"/>
                  </a:lnTo>
                  <a:cubicBezTo>
                    <a:pt x="635" y="474"/>
                    <a:pt x="560" y="624"/>
                    <a:pt x="580" y="624"/>
                  </a:cubicBezTo>
                  <a:cubicBezTo>
                    <a:pt x="581" y="624"/>
                    <a:pt x="582" y="624"/>
                    <a:pt x="583" y="623"/>
                  </a:cubicBezTo>
                  <a:cubicBezTo>
                    <a:pt x="607" y="611"/>
                    <a:pt x="665" y="498"/>
                    <a:pt x="704" y="426"/>
                  </a:cubicBezTo>
                  <a:lnTo>
                    <a:pt x="704" y="426"/>
                  </a:lnTo>
                  <a:cubicBezTo>
                    <a:pt x="703" y="433"/>
                    <a:pt x="703" y="440"/>
                    <a:pt x="703" y="448"/>
                  </a:cubicBezTo>
                  <a:cubicBezTo>
                    <a:pt x="716" y="419"/>
                    <a:pt x="716" y="406"/>
                    <a:pt x="729" y="380"/>
                  </a:cubicBezTo>
                  <a:lnTo>
                    <a:pt x="729" y="380"/>
                  </a:lnTo>
                  <a:cubicBezTo>
                    <a:pt x="716" y="393"/>
                    <a:pt x="716" y="393"/>
                    <a:pt x="716" y="406"/>
                  </a:cubicBezTo>
                  <a:lnTo>
                    <a:pt x="716" y="367"/>
                  </a:lnTo>
                  <a:cubicBezTo>
                    <a:pt x="716" y="351"/>
                    <a:pt x="716" y="338"/>
                    <a:pt x="729" y="338"/>
                  </a:cubicBezTo>
                  <a:lnTo>
                    <a:pt x="729" y="367"/>
                  </a:lnTo>
                  <a:lnTo>
                    <a:pt x="729" y="380"/>
                  </a:lnTo>
                  <a:cubicBezTo>
                    <a:pt x="729" y="385"/>
                    <a:pt x="729" y="389"/>
                    <a:pt x="730" y="394"/>
                  </a:cubicBezTo>
                  <a:lnTo>
                    <a:pt x="730" y="394"/>
                  </a:lnTo>
                  <a:cubicBezTo>
                    <a:pt x="729" y="394"/>
                    <a:pt x="729" y="393"/>
                    <a:pt x="729" y="393"/>
                  </a:cubicBezTo>
                  <a:lnTo>
                    <a:pt x="729" y="393"/>
                  </a:lnTo>
                  <a:cubicBezTo>
                    <a:pt x="729" y="396"/>
                    <a:pt x="730" y="399"/>
                    <a:pt x="731" y="402"/>
                  </a:cubicBezTo>
                  <a:lnTo>
                    <a:pt x="731" y="402"/>
                  </a:lnTo>
                  <a:cubicBezTo>
                    <a:pt x="730" y="399"/>
                    <a:pt x="730" y="397"/>
                    <a:pt x="730" y="394"/>
                  </a:cubicBezTo>
                  <a:lnTo>
                    <a:pt x="730" y="394"/>
                  </a:lnTo>
                  <a:cubicBezTo>
                    <a:pt x="772" y="462"/>
                    <a:pt x="839" y="594"/>
                    <a:pt x="865" y="610"/>
                  </a:cubicBezTo>
                  <a:cubicBezTo>
                    <a:pt x="866" y="611"/>
                    <a:pt x="867" y="611"/>
                    <a:pt x="867" y="611"/>
                  </a:cubicBezTo>
                  <a:cubicBezTo>
                    <a:pt x="885" y="611"/>
                    <a:pt x="810" y="461"/>
                    <a:pt x="810" y="461"/>
                  </a:cubicBezTo>
                  <a:lnTo>
                    <a:pt x="810" y="461"/>
                  </a:lnTo>
                  <a:cubicBezTo>
                    <a:pt x="810" y="461"/>
                    <a:pt x="1108" y="1015"/>
                    <a:pt x="1176" y="1080"/>
                  </a:cubicBezTo>
                  <a:cubicBezTo>
                    <a:pt x="1179" y="1082"/>
                    <a:pt x="1181" y="1083"/>
                    <a:pt x="1183" y="1083"/>
                  </a:cubicBezTo>
                  <a:cubicBezTo>
                    <a:pt x="1204" y="1083"/>
                    <a:pt x="1105" y="894"/>
                    <a:pt x="1023" y="748"/>
                  </a:cubicBezTo>
                  <a:lnTo>
                    <a:pt x="1023" y="748"/>
                  </a:lnTo>
                  <a:cubicBezTo>
                    <a:pt x="1046" y="780"/>
                    <a:pt x="1068" y="805"/>
                    <a:pt x="1082" y="811"/>
                  </a:cubicBezTo>
                  <a:cubicBezTo>
                    <a:pt x="1084" y="813"/>
                    <a:pt x="1086" y="814"/>
                    <a:pt x="1087" y="814"/>
                  </a:cubicBezTo>
                  <a:cubicBezTo>
                    <a:pt x="1111" y="814"/>
                    <a:pt x="878" y="406"/>
                    <a:pt x="878" y="406"/>
                  </a:cubicBezTo>
                  <a:lnTo>
                    <a:pt x="878" y="406"/>
                  </a:lnTo>
                  <a:cubicBezTo>
                    <a:pt x="878" y="406"/>
                    <a:pt x="959" y="487"/>
                    <a:pt x="1001" y="487"/>
                  </a:cubicBezTo>
                  <a:cubicBezTo>
                    <a:pt x="1014" y="487"/>
                    <a:pt x="1001" y="461"/>
                    <a:pt x="1001" y="432"/>
                  </a:cubicBezTo>
                  <a:lnTo>
                    <a:pt x="1001" y="432"/>
                  </a:lnTo>
                  <a:cubicBezTo>
                    <a:pt x="1039" y="498"/>
                    <a:pt x="1145" y="630"/>
                    <a:pt x="1174" y="660"/>
                  </a:cubicBezTo>
                  <a:lnTo>
                    <a:pt x="1174" y="660"/>
                  </a:lnTo>
                  <a:cubicBezTo>
                    <a:pt x="1151" y="625"/>
                    <a:pt x="1053" y="474"/>
                    <a:pt x="1053" y="474"/>
                  </a:cubicBezTo>
                  <a:lnTo>
                    <a:pt x="1053" y="474"/>
                  </a:lnTo>
                  <a:cubicBezTo>
                    <a:pt x="1053" y="474"/>
                    <a:pt x="1377" y="756"/>
                    <a:pt x="1419" y="785"/>
                  </a:cubicBezTo>
                  <a:cubicBezTo>
                    <a:pt x="1421" y="786"/>
                    <a:pt x="1422" y="786"/>
                    <a:pt x="1423" y="786"/>
                  </a:cubicBezTo>
                  <a:cubicBezTo>
                    <a:pt x="1446" y="786"/>
                    <a:pt x="1154" y="501"/>
                    <a:pt x="1063" y="415"/>
                  </a:cubicBezTo>
                  <a:lnTo>
                    <a:pt x="1063" y="415"/>
                  </a:lnTo>
                  <a:cubicBezTo>
                    <a:pt x="1091" y="440"/>
                    <a:pt x="1140" y="478"/>
                    <a:pt x="1189" y="487"/>
                  </a:cubicBezTo>
                  <a:cubicBezTo>
                    <a:pt x="1231" y="487"/>
                    <a:pt x="1082" y="380"/>
                    <a:pt x="972" y="299"/>
                  </a:cubicBezTo>
                  <a:cubicBezTo>
                    <a:pt x="972" y="299"/>
                    <a:pt x="959" y="299"/>
                    <a:pt x="959" y="286"/>
                  </a:cubicBezTo>
                  <a:lnTo>
                    <a:pt x="959" y="286"/>
                  </a:lnTo>
                  <a:cubicBezTo>
                    <a:pt x="972" y="299"/>
                    <a:pt x="1001" y="312"/>
                    <a:pt x="1014" y="325"/>
                  </a:cubicBezTo>
                  <a:cubicBezTo>
                    <a:pt x="1020" y="327"/>
                    <a:pt x="1024" y="328"/>
                    <a:pt x="1027" y="328"/>
                  </a:cubicBezTo>
                  <a:cubicBezTo>
                    <a:pt x="1063" y="328"/>
                    <a:pt x="959" y="205"/>
                    <a:pt x="959" y="205"/>
                  </a:cubicBezTo>
                  <a:lnTo>
                    <a:pt x="959" y="205"/>
                  </a:lnTo>
                  <a:cubicBezTo>
                    <a:pt x="959" y="205"/>
                    <a:pt x="1296" y="448"/>
                    <a:pt x="1338" y="461"/>
                  </a:cubicBezTo>
                  <a:cubicBezTo>
                    <a:pt x="1339" y="461"/>
                    <a:pt x="1340" y="462"/>
                    <a:pt x="1341" y="462"/>
                  </a:cubicBezTo>
                  <a:cubicBezTo>
                    <a:pt x="1360" y="462"/>
                    <a:pt x="1121" y="286"/>
                    <a:pt x="1121" y="286"/>
                  </a:cubicBezTo>
                  <a:lnTo>
                    <a:pt x="1121" y="286"/>
                  </a:lnTo>
                  <a:cubicBezTo>
                    <a:pt x="1121" y="286"/>
                    <a:pt x="1176" y="325"/>
                    <a:pt x="1244" y="325"/>
                  </a:cubicBezTo>
                  <a:cubicBezTo>
                    <a:pt x="1246" y="326"/>
                    <a:pt x="1248" y="326"/>
                    <a:pt x="1249" y="326"/>
                  </a:cubicBezTo>
                  <a:cubicBezTo>
                    <a:pt x="1263" y="326"/>
                    <a:pt x="1116" y="240"/>
                    <a:pt x="1040" y="189"/>
                  </a:cubicBezTo>
                  <a:lnTo>
                    <a:pt x="1040" y="189"/>
                  </a:lnTo>
                  <a:cubicBezTo>
                    <a:pt x="1040" y="189"/>
                    <a:pt x="1069" y="205"/>
                    <a:pt x="1082" y="205"/>
                  </a:cubicBezTo>
                  <a:cubicBezTo>
                    <a:pt x="1150" y="205"/>
                    <a:pt x="771" y="1"/>
                    <a:pt x="77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5" name="Google Shape;725;p27"/>
            <p:cNvSpPr/>
            <p:nvPr/>
          </p:nvSpPr>
          <p:spPr>
            <a:xfrm>
              <a:off x="7315720" y="4502190"/>
              <a:ext cx="3827" cy="10156"/>
            </a:xfrm>
            <a:custGeom>
              <a:avLst/>
              <a:gdLst/>
              <a:ahLst/>
              <a:cxnLst/>
              <a:rect l="l" t="t" r="r" b="b"/>
              <a:pathLst>
                <a:path w="26" h="69" extrusionOk="0">
                  <a:moveTo>
                    <a:pt x="0" y="1"/>
                  </a:moveTo>
                  <a:cubicBezTo>
                    <a:pt x="0" y="43"/>
                    <a:pt x="13" y="69"/>
                    <a:pt x="13" y="69"/>
                  </a:cubicBezTo>
                  <a:cubicBezTo>
                    <a:pt x="26" y="69"/>
                    <a:pt x="13" y="43"/>
                    <a:pt x="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6" name="Google Shape;726;p27"/>
            <p:cNvSpPr/>
            <p:nvPr/>
          </p:nvSpPr>
          <p:spPr>
            <a:xfrm>
              <a:off x="7305711" y="4532215"/>
              <a:ext cx="3827" cy="12364"/>
            </a:xfrm>
            <a:custGeom>
              <a:avLst/>
              <a:gdLst/>
              <a:ahLst/>
              <a:cxnLst/>
              <a:rect l="l" t="t" r="r" b="b"/>
              <a:pathLst>
                <a:path w="26" h="84" extrusionOk="0">
                  <a:moveTo>
                    <a:pt x="26" y="1"/>
                  </a:moveTo>
                  <a:cubicBezTo>
                    <a:pt x="16" y="32"/>
                    <a:pt x="6" y="72"/>
                    <a:pt x="2" y="82"/>
                  </a:cubicBezTo>
                  <a:lnTo>
                    <a:pt x="2" y="82"/>
                  </a:lnTo>
                  <a:cubicBezTo>
                    <a:pt x="13" y="80"/>
                    <a:pt x="14" y="54"/>
                    <a:pt x="26" y="1"/>
                  </a:cubicBezTo>
                  <a:close/>
                  <a:moveTo>
                    <a:pt x="2" y="82"/>
                  </a:moveTo>
                  <a:cubicBezTo>
                    <a:pt x="1" y="82"/>
                    <a:pt x="1" y="82"/>
                    <a:pt x="0" y="82"/>
                  </a:cubicBezTo>
                  <a:cubicBezTo>
                    <a:pt x="0" y="83"/>
                    <a:pt x="0" y="84"/>
                    <a:pt x="0" y="84"/>
                  </a:cubicBezTo>
                  <a:cubicBezTo>
                    <a:pt x="1" y="84"/>
                    <a:pt x="1" y="83"/>
                    <a:pt x="2" y="82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7" name="Google Shape;727;p27"/>
            <p:cNvSpPr/>
            <p:nvPr/>
          </p:nvSpPr>
          <p:spPr>
            <a:xfrm>
              <a:off x="7188550" y="4454502"/>
              <a:ext cx="248305" cy="189869"/>
            </a:xfrm>
            <a:custGeom>
              <a:avLst/>
              <a:gdLst/>
              <a:ahLst/>
              <a:cxnLst/>
              <a:rect l="l" t="t" r="r" b="b"/>
              <a:pathLst>
                <a:path w="1687" h="1290" extrusionOk="0">
                  <a:moveTo>
                    <a:pt x="835" y="435"/>
                  </a:moveTo>
                  <a:cubicBezTo>
                    <a:pt x="835" y="448"/>
                    <a:pt x="835" y="448"/>
                    <a:pt x="848" y="448"/>
                  </a:cubicBezTo>
                  <a:lnTo>
                    <a:pt x="835" y="435"/>
                  </a:lnTo>
                  <a:close/>
                  <a:moveTo>
                    <a:pt x="848" y="406"/>
                  </a:moveTo>
                  <a:lnTo>
                    <a:pt x="848" y="435"/>
                  </a:lnTo>
                  <a:lnTo>
                    <a:pt x="848" y="448"/>
                  </a:lnTo>
                  <a:cubicBezTo>
                    <a:pt x="835" y="461"/>
                    <a:pt x="835" y="474"/>
                    <a:pt x="835" y="487"/>
                  </a:cubicBezTo>
                  <a:lnTo>
                    <a:pt x="835" y="435"/>
                  </a:lnTo>
                  <a:cubicBezTo>
                    <a:pt x="835" y="422"/>
                    <a:pt x="835" y="406"/>
                    <a:pt x="848" y="406"/>
                  </a:cubicBezTo>
                  <a:close/>
                  <a:moveTo>
                    <a:pt x="916" y="273"/>
                  </a:moveTo>
                  <a:lnTo>
                    <a:pt x="916" y="273"/>
                  </a:lnTo>
                  <a:cubicBezTo>
                    <a:pt x="984" y="354"/>
                    <a:pt x="1065" y="461"/>
                    <a:pt x="1120" y="516"/>
                  </a:cubicBezTo>
                  <a:cubicBezTo>
                    <a:pt x="1039" y="448"/>
                    <a:pt x="916" y="341"/>
                    <a:pt x="877" y="312"/>
                  </a:cubicBezTo>
                  <a:lnTo>
                    <a:pt x="890" y="299"/>
                  </a:lnTo>
                  <a:cubicBezTo>
                    <a:pt x="903" y="312"/>
                    <a:pt x="945" y="325"/>
                    <a:pt x="958" y="354"/>
                  </a:cubicBezTo>
                  <a:cubicBezTo>
                    <a:pt x="960" y="356"/>
                    <a:pt x="961" y="356"/>
                    <a:pt x="961" y="356"/>
                  </a:cubicBezTo>
                  <a:cubicBezTo>
                    <a:pt x="964" y="356"/>
                    <a:pt x="941" y="318"/>
                    <a:pt x="916" y="273"/>
                  </a:cubicBezTo>
                  <a:close/>
                  <a:moveTo>
                    <a:pt x="767" y="299"/>
                  </a:moveTo>
                  <a:lnTo>
                    <a:pt x="767" y="299"/>
                  </a:lnTo>
                  <a:cubicBezTo>
                    <a:pt x="744" y="335"/>
                    <a:pt x="722" y="370"/>
                    <a:pt x="725" y="370"/>
                  </a:cubicBezTo>
                  <a:cubicBezTo>
                    <a:pt x="725" y="370"/>
                    <a:pt x="726" y="369"/>
                    <a:pt x="728" y="367"/>
                  </a:cubicBezTo>
                  <a:cubicBezTo>
                    <a:pt x="741" y="354"/>
                    <a:pt x="767" y="341"/>
                    <a:pt x="796" y="325"/>
                  </a:cubicBezTo>
                  <a:lnTo>
                    <a:pt x="796" y="325"/>
                  </a:lnTo>
                  <a:cubicBezTo>
                    <a:pt x="754" y="367"/>
                    <a:pt x="634" y="474"/>
                    <a:pt x="566" y="542"/>
                  </a:cubicBezTo>
                  <a:cubicBezTo>
                    <a:pt x="621" y="474"/>
                    <a:pt x="702" y="380"/>
                    <a:pt x="767" y="299"/>
                  </a:cubicBezTo>
                  <a:close/>
                  <a:moveTo>
                    <a:pt x="890" y="1"/>
                  </a:moveTo>
                  <a:cubicBezTo>
                    <a:pt x="890" y="1"/>
                    <a:pt x="349" y="273"/>
                    <a:pt x="430" y="273"/>
                  </a:cubicBezTo>
                  <a:cubicBezTo>
                    <a:pt x="443" y="260"/>
                    <a:pt x="472" y="260"/>
                    <a:pt x="485" y="260"/>
                  </a:cubicBezTo>
                  <a:cubicBezTo>
                    <a:pt x="385" y="308"/>
                    <a:pt x="212" y="407"/>
                    <a:pt x="234" y="407"/>
                  </a:cubicBezTo>
                  <a:cubicBezTo>
                    <a:pt x="236" y="407"/>
                    <a:pt x="238" y="407"/>
                    <a:pt x="242" y="406"/>
                  </a:cubicBezTo>
                  <a:cubicBezTo>
                    <a:pt x="323" y="406"/>
                    <a:pt x="391" y="367"/>
                    <a:pt x="391" y="367"/>
                  </a:cubicBezTo>
                  <a:lnTo>
                    <a:pt x="391" y="367"/>
                  </a:lnTo>
                  <a:cubicBezTo>
                    <a:pt x="391" y="367"/>
                    <a:pt x="99" y="556"/>
                    <a:pt x="131" y="556"/>
                  </a:cubicBezTo>
                  <a:cubicBezTo>
                    <a:pt x="132" y="556"/>
                    <a:pt x="133" y="555"/>
                    <a:pt x="135" y="555"/>
                  </a:cubicBezTo>
                  <a:cubicBezTo>
                    <a:pt x="187" y="542"/>
                    <a:pt x="566" y="273"/>
                    <a:pt x="566" y="273"/>
                  </a:cubicBezTo>
                  <a:lnTo>
                    <a:pt x="566" y="273"/>
                  </a:lnTo>
                  <a:cubicBezTo>
                    <a:pt x="566" y="273"/>
                    <a:pt x="447" y="412"/>
                    <a:pt x="489" y="412"/>
                  </a:cubicBezTo>
                  <a:cubicBezTo>
                    <a:pt x="494" y="412"/>
                    <a:pt x="501" y="410"/>
                    <a:pt x="511" y="406"/>
                  </a:cubicBezTo>
                  <a:cubicBezTo>
                    <a:pt x="540" y="380"/>
                    <a:pt x="579" y="354"/>
                    <a:pt x="621" y="312"/>
                  </a:cubicBezTo>
                  <a:lnTo>
                    <a:pt x="621" y="312"/>
                  </a:lnTo>
                  <a:cubicBezTo>
                    <a:pt x="592" y="341"/>
                    <a:pt x="579" y="367"/>
                    <a:pt x="566" y="380"/>
                  </a:cubicBezTo>
                  <a:cubicBezTo>
                    <a:pt x="430" y="461"/>
                    <a:pt x="242" y="597"/>
                    <a:pt x="310" y="597"/>
                  </a:cubicBezTo>
                  <a:cubicBezTo>
                    <a:pt x="366" y="573"/>
                    <a:pt x="430" y="525"/>
                    <a:pt x="459" y="500"/>
                  </a:cubicBezTo>
                  <a:lnTo>
                    <a:pt x="459" y="500"/>
                  </a:lnTo>
                  <a:cubicBezTo>
                    <a:pt x="376" y="582"/>
                    <a:pt x="0" y="948"/>
                    <a:pt x="22" y="948"/>
                  </a:cubicBezTo>
                  <a:cubicBezTo>
                    <a:pt x="22" y="948"/>
                    <a:pt x="23" y="948"/>
                    <a:pt x="25" y="947"/>
                  </a:cubicBezTo>
                  <a:cubicBezTo>
                    <a:pt x="93" y="908"/>
                    <a:pt x="459" y="568"/>
                    <a:pt x="459" y="568"/>
                  </a:cubicBezTo>
                  <a:lnTo>
                    <a:pt x="459" y="568"/>
                  </a:lnTo>
                  <a:cubicBezTo>
                    <a:pt x="459" y="568"/>
                    <a:pt x="306" y="802"/>
                    <a:pt x="317" y="802"/>
                  </a:cubicBezTo>
                  <a:cubicBezTo>
                    <a:pt x="318" y="802"/>
                    <a:pt x="320" y="801"/>
                    <a:pt x="323" y="798"/>
                  </a:cubicBezTo>
                  <a:cubicBezTo>
                    <a:pt x="349" y="772"/>
                    <a:pt x="483" y="612"/>
                    <a:pt x="523" y="531"/>
                  </a:cubicBezTo>
                  <a:lnTo>
                    <a:pt x="523" y="531"/>
                  </a:lnTo>
                  <a:cubicBezTo>
                    <a:pt x="511" y="557"/>
                    <a:pt x="511" y="597"/>
                    <a:pt x="511" y="597"/>
                  </a:cubicBezTo>
                  <a:cubicBezTo>
                    <a:pt x="566" y="597"/>
                    <a:pt x="660" y="503"/>
                    <a:pt x="660" y="503"/>
                  </a:cubicBezTo>
                  <a:lnTo>
                    <a:pt x="660" y="503"/>
                  </a:lnTo>
                  <a:cubicBezTo>
                    <a:pt x="660" y="503"/>
                    <a:pt x="385" y="975"/>
                    <a:pt x="412" y="975"/>
                  </a:cubicBezTo>
                  <a:cubicBezTo>
                    <a:pt x="413" y="975"/>
                    <a:pt x="415" y="975"/>
                    <a:pt x="417" y="973"/>
                  </a:cubicBezTo>
                  <a:cubicBezTo>
                    <a:pt x="459" y="947"/>
                    <a:pt x="524" y="840"/>
                    <a:pt x="579" y="772"/>
                  </a:cubicBezTo>
                  <a:lnTo>
                    <a:pt x="579" y="772"/>
                  </a:lnTo>
                  <a:cubicBezTo>
                    <a:pt x="491" y="924"/>
                    <a:pt x="283" y="1289"/>
                    <a:pt x="303" y="1289"/>
                  </a:cubicBezTo>
                  <a:cubicBezTo>
                    <a:pt x="304" y="1289"/>
                    <a:pt x="307" y="1287"/>
                    <a:pt x="310" y="1284"/>
                  </a:cubicBezTo>
                  <a:cubicBezTo>
                    <a:pt x="391" y="1203"/>
                    <a:pt x="741" y="555"/>
                    <a:pt x="741" y="555"/>
                  </a:cubicBezTo>
                  <a:lnTo>
                    <a:pt x="741" y="555"/>
                  </a:lnTo>
                  <a:cubicBezTo>
                    <a:pt x="741" y="555"/>
                    <a:pt x="659" y="733"/>
                    <a:pt x="669" y="733"/>
                  </a:cubicBezTo>
                  <a:cubicBezTo>
                    <a:pt x="670" y="733"/>
                    <a:pt x="671" y="732"/>
                    <a:pt x="673" y="730"/>
                  </a:cubicBezTo>
                  <a:cubicBezTo>
                    <a:pt x="701" y="718"/>
                    <a:pt x="775" y="582"/>
                    <a:pt x="827" y="500"/>
                  </a:cubicBezTo>
                  <a:lnTo>
                    <a:pt x="827" y="500"/>
                  </a:lnTo>
                  <a:cubicBezTo>
                    <a:pt x="822" y="510"/>
                    <a:pt x="822" y="520"/>
                    <a:pt x="822" y="529"/>
                  </a:cubicBezTo>
                  <a:cubicBezTo>
                    <a:pt x="835" y="503"/>
                    <a:pt x="835" y="474"/>
                    <a:pt x="848" y="461"/>
                  </a:cubicBezTo>
                  <a:cubicBezTo>
                    <a:pt x="848" y="461"/>
                    <a:pt x="848" y="461"/>
                    <a:pt x="848" y="461"/>
                  </a:cubicBezTo>
                  <a:lnTo>
                    <a:pt x="848" y="461"/>
                  </a:lnTo>
                  <a:cubicBezTo>
                    <a:pt x="848" y="474"/>
                    <a:pt x="864" y="487"/>
                    <a:pt x="864" y="503"/>
                  </a:cubicBezTo>
                  <a:cubicBezTo>
                    <a:pt x="864" y="499"/>
                    <a:pt x="864" y="494"/>
                    <a:pt x="864" y="490"/>
                  </a:cubicBezTo>
                  <a:lnTo>
                    <a:pt x="864" y="490"/>
                  </a:lnTo>
                  <a:cubicBezTo>
                    <a:pt x="910" y="574"/>
                    <a:pt x="985" y="694"/>
                    <a:pt x="997" y="717"/>
                  </a:cubicBezTo>
                  <a:cubicBezTo>
                    <a:pt x="998" y="717"/>
                    <a:pt x="1000" y="718"/>
                    <a:pt x="1001" y="718"/>
                  </a:cubicBezTo>
                  <a:cubicBezTo>
                    <a:pt x="1033" y="718"/>
                    <a:pt x="945" y="542"/>
                    <a:pt x="945" y="542"/>
                  </a:cubicBezTo>
                  <a:lnTo>
                    <a:pt x="945" y="542"/>
                  </a:lnTo>
                  <a:cubicBezTo>
                    <a:pt x="945" y="542"/>
                    <a:pt x="1295" y="1190"/>
                    <a:pt x="1376" y="1258"/>
                  </a:cubicBezTo>
                  <a:cubicBezTo>
                    <a:pt x="1379" y="1261"/>
                    <a:pt x="1382" y="1263"/>
                    <a:pt x="1383" y="1263"/>
                  </a:cubicBezTo>
                  <a:cubicBezTo>
                    <a:pt x="1403" y="1263"/>
                    <a:pt x="1195" y="898"/>
                    <a:pt x="1107" y="746"/>
                  </a:cubicBezTo>
                  <a:lnTo>
                    <a:pt x="1107" y="746"/>
                  </a:lnTo>
                  <a:cubicBezTo>
                    <a:pt x="1146" y="811"/>
                    <a:pt x="1214" y="921"/>
                    <a:pt x="1253" y="960"/>
                  </a:cubicBezTo>
                  <a:cubicBezTo>
                    <a:pt x="1255" y="962"/>
                    <a:pt x="1258" y="962"/>
                    <a:pt x="1259" y="962"/>
                  </a:cubicBezTo>
                  <a:cubicBezTo>
                    <a:pt x="1299" y="962"/>
                    <a:pt x="1026" y="474"/>
                    <a:pt x="1026" y="474"/>
                  </a:cubicBezTo>
                  <a:lnTo>
                    <a:pt x="1026" y="474"/>
                  </a:lnTo>
                  <a:cubicBezTo>
                    <a:pt x="1026" y="474"/>
                    <a:pt x="1120" y="568"/>
                    <a:pt x="1159" y="584"/>
                  </a:cubicBezTo>
                  <a:lnTo>
                    <a:pt x="1172" y="568"/>
                  </a:lnTo>
                  <a:cubicBezTo>
                    <a:pt x="1172" y="568"/>
                    <a:pt x="1159" y="542"/>
                    <a:pt x="1159" y="516"/>
                  </a:cubicBezTo>
                  <a:lnTo>
                    <a:pt x="1159" y="516"/>
                  </a:lnTo>
                  <a:cubicBezTo>
                    <a:pt x="1201" y="584"/>
                    <a:pt x="1334" y="759"/>
                    <a:pt x="1363" y="785"/>
                  </a:cubicBezTo>
                  <a:cubicBezTo>
                    <a:pt x="1365" y="786"/>
                    <a:pt x="1366" y="787"/>
                    <a:pt x="1367" y="787"/>
                  </a:cubicBezTo>
                  <a:cubicBezTo>
                    <a:pt x="1385" y="787"/>
                    <a:pt x="1227" y="555"/>
                    <a:pt x="1227" y="555"/>
                  </a:cubicBezTo>
                  <a:lnTo>
                    <a:pt x="1227" y="555"/>
                  </a:lnTo>
                  <a:cubicBezTo>
                    <a:pt x="1227" y="555"/>
                    <a:pt x="1593" y="892"/>
                    <a:pt x="1658" y="921"/>
                  </a:cubicBezTo>
                  <a:cubicBezTo>
                    <a:pt x="1659" y="922"/>
                    <a:pt x="1661" y="922"/>
                    <a:pt x="1661" y="922"/>
                  </a:cubicBezTo>
                  <a:cubicBezTo>
                    <a:pt x="1686" y="922"/>
                    <a:pt x="1252" y="515"/>
                    <a:pt x="1214" y="474"/>
                  </a:cubicBezTo>
                  <a:lnTo>
                    <a:pt x="1214" y="474"/>
                  </a:lnTo>
                  <a:cubicBezTo>
                    <a:pt x="1227" y="487"/>
                    <a:pt x="1308" y="555"/>
                    <a:pt x="1376" y="568"/>
                  </a:cubicBezTo>
                  <a:cubicBezTo>
                    <a:pt x="1379" y="569"/>
                    <a:pt x="1381" y="569"/>
                    <a:pt x="1383" y="569"/>
                  </a:cubicBezTo>
                  <a:cubicBezTo>
                    <a:pt x="1412" y="569"/>
                    <a:pt x="1246" y="444"/>
                    <a:pt x="1133" y="367"/>
                  </a:cubicBezTo>
                  <a:cubicBezTo>
                    <a:pt x="1120" y="354"/>
                    <a:pt x="1120" y="354"/>
                    <a:pt x="1120" y="341"/>
                  </a:cubicBezTo>
                  <a:lnTo>
                    <a:pt x="1120" y="341"/>
                  </a:lnTo>
                  <a:cubicBezTo>
                    <a:pt x="1133" y="354"/>
                    <a:pt x="1159" y="367"/>
                    <a:pt x="1172" y="380"/>
                  </a:cubicBezTo>
                  <a:cubicBezTo>
                    <a:pt x="1181" y="385"/>
                    <a:pt x="1188" y="387"/>
                    <a:pt x="1192" y="387"/>
                  </a:cubicBezTo>
                  <a:cubicBezTo>
                    <a:pt x="1224" y="387"/>
                    <a:pt x="1120" y="260"/>
                    <a:pt x="1120" y="260"/>
                  </a:cubicBezTo>
                  <a:lnTo>
                    <a:pt x="1120" y="260"/>
                  </a:lnTo>
                  <a:cubicBezTo>
                    <a:pt x="1120" y="260"/>
                    <a:pt x="1496" y="529"/>
                    <a:pt x="1551" y="542"/>
                  </a:cubicBezTo>
                  <a:cubicBezTo>
                    <a:pt x="1552" y="542"/>
                    <a:pt x="1553" y="543"/>
                    <a:pt x="1554" y="543"/>
                  </a:cubicBezTo>
                  <a:cubicBezTo>
                    <a:pt x="1575" y="543"/>
                    <a:pt x="1295" y="354"/>
                    <a:pt x="1295" y="354"/>
                  </a:cubicBezTo>
                  <a:lnTo>
                    <a:pt x="1295" y="354"/>
                  </a:lnTo>
                  <a:cubicBezTo>
                    <a:pt x="1295" y="354"/>
                    <a:pt x="1363" y="380"/>
                    <a:pt x="1444" y="393"/>
                  </a:cubicBezTo>
                  <a:cubicBezTo>
                    <a:pt x="1447" y="394"/>
                    <a:pt x="1449" y="394"/>
                    <a:pt x="1451" y="394"/>
                  </a:cubicBezTo>
                  <a:cubicBezTo>
                    <a:pt x="1474" y="394"/>
                    <a:pt x="1319" y="305"/>
                    <a:pt x="1217" y="241"/>
                  </a:cubicBezTo>
                  <a:lnTo>
                    <a:pt x="1217" y="241"/>
                  </a:lnTo>
                  <a:cubicBezTo>
                    <a:pt x="1226" y="244"/>
                    <a:pt x="1237" y="244"/>
                    <a:pt x="1253" y="244"/>
                  </a:cubicBezTo>
                  <a:cubicBezTo>
                    <a:pt x="1334" y="244"/>
                    <a:pt x="890" y="1"/>
                    <a:pt x="89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8" name="Google Shape;728;p27"/>
            <p:cNvSpPr/>
            <p:nvPr/>
          </p:nvSpPr>
          <p:spPr>
            <a:xfrm>
              <a:off x="7315720" y="4528536"/>
              <a:ext cx="3827" cy="13983"/>
            </a:xfrm>
            <a:custGeom>
              <a:avLst/>
              <a:gdLst/>
              <a:ahLst/>
              <a:cxnLst/>
              <a:rect l="l" t="t" r="r" b="b"/>
              <a:pathLst>
                <a:path w="26" h="95" extrusionOk="0">
                  <a:moveTo>
                    <a:pt x="0" y="0"/>
                  </a:moveTo>
                  <a:lnTo>
                    <a:pt x="0" y="0"/>
                  </a:lnTo>
                  <a:cubicBezTo>
                    <a:pt x="13" y="52"/>
                    <a:pt x="13" y="94"/>
                    <a:pt x="26" y="94"/>
                  </a:cubicBezTo>
                  <a:cubicBezTo>
                    <a:pt x="26" y="94"/>
                    <a:pt x="13" y="52"/>
                    <a:pt x="0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9" name="Google Shape;729;p27"/>
            <p:cNvSpPr/>
            <p:nvPr/>
          </p:nvSpPr>
          <p:spPr>
            <a:xfrm>
              <a:off x="7271711" y="4478346"/>
              <a:ext cx="95525" cy="177947"/>
            </a:xfrm>
            <a:custGeom>
              <a:avLst/>
              <a:gdLst/>
              <a:ahLst/>
              <a:cxnLst/>
              <a:rect l="l" t="t" r="r" b="b"/>
              <a:pathLst>
                <a:path w="649" h="1209" extrusionOk="0">
                  <a:moveTo>
                    <a:pt x="257" y="1"/>
                  </a:moveTo>
                  <a:lnTo>
                    <a:pt x="163" y="341"/>
                  </a:lnTo>
                  <a:lnTo>
                    <a:pt x="1" y="1041"/>
                  </a:lnTo>
                  <a:lnTo>
                    <a:pt x="231" y="448"/>
                  </a:lnTo>
                  <a:lnTo>
                    <a:pt x="231" y="448"/>
                  </a:lnTo>
                  <a:cubicBezTo>
                    <a:pt x="231" y="448"/>
                    <a:pt x="150" y="730"/>
                    <a:pt x="150" y="853"/>
                  </a:cubicBezTo>
                  <a:cubicBezTo>
                    <a:pt x="150" y="866"/>
                    <a:pt x="152" y="872"/>
                    <a:pt x="155" y="872"/>
                  </a:cubicBezTo>
                  <a:cubicBezTo>
                    <a:pt x="181" y="872"/>
                    <a:pt x="299" y="487"/>
                    <a:pt x="299" y="487"/>
                  </a:cubicBezTo>
                  <a:lnTo>
                    <a:pt x="299" y="487"/>
                  </a:lnTo>
                  <a:cubicBezTo>
                    <a:pt x="299" y="487"/>
                    <a:pt x="226" y="1209"/>
                    <a:pt x="241" y="1209"/>
                  </a:cubicBezTo>
                  <a:cubicBezTo>
                    <a:pt x="242" y="1209"/>
                    <a:pt x="243" y="1207"/>
                    <a:pt x="244" y="1203"/>
                  </a:cubicBezTo>
                  <a:cubicBezTo>
                    <a:pt x="257" y="1122"/>
                    <a:pt x="312" y="542"/>
                    <a:pt x="312" y="542"/>
                  </a:cubicBezTo>
                  <a:cubicBezTo>
                    <a:pt x="312" y="542"/>
                    <a:pt x="419" y="908"/>
                    <a:pt x="445" y="934"/>
                  </a:cubicBezTo>
                  <a:cubicBezTo>
                    <a:pt x="446" y="935"/>
                    <a:pt x="446" y="935"/>
                    <a:pt x="447" y="935"/>
                  </a:cubicBezTo>
                  <a:cubicBezTo>
                    <a:pt x="469" y="935"/>
                    <a:pt x="380" y="529"/>
                    <a:pt x="380" y="529"/>
                  </a:cubicBezTo>
                  <a:lnTo>
                    <a:pt x="380" y="529"/>
                  </a:lnTo>
                  <a:cubicBezTo>
                    <a:pt x="380" y="529"/>
                    <a:pt x="607" y="1028"/>
                    <a:pt x="623" y="1028"/>
                  </a:cubicBezTo>
                  <a:cubicBezTo>
                    <a:pt x="649" y="1028"/>
                    <a:pt x="257" y="1"/>
                    <a:pt x="257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0" name="Google Shape;730;p27"/>
            <p:cNvSpPr/>
            <p:nvPr/>
          </p:nvSpPr>
          <p:spPr>
            <a:xfrm>
              <a:off x="7282750" y="4375463"/>
              <a:ext cx="58728" cy="32675"/>
            </a:xfrm>
            <a:custGeom>
              <a:avLst/>
              <a:gdLst/>
              <a:ahLst/>
              <a:cxnLst/>
              <a:rect l="l" t="t" r="r" b="b"/>
              <a:pathLst>
                <a:path w="399" h="222" extrusionOk="0">
                  <a:moveTo>
                    <a:pt x="90" y="81"/>
                  </a:moveTo>
                  <a:cubicBezTo>
                    <a:pt x="89" y="81"/>
                    <a:pt x="89" y="81"/>
                    <a:pt x="88" y="81"/>
                  </a:cubicBezTo>
                  <a:cubicBezTo>
                    <a:pt x="87" y="82"/>
                    <a:pt x="87" y="82"/>
                    <a:pt x="87" y="82"/>
                  </a:cubicBezTo>
                  <a:cubicBezTo>
                    <a:pt x="88" y="82"/>
                    <a:pt x="89" y="82"/>
                    <a:pt x="90" y="81"/>
                  </a:cubicBezTo>
                  <a:close/>
                  <a:moveTo>
                    <a:pt x="208" y="0"/>
                  </a:moveTo>
                  <a:cubicBezTo>
                    <a:pt x="208" y="0"/>
                    <a:pt x="109" y="70"/>
                    <a:pt x="90" y="81"/>
                  </a:cubicBezTo>
                  <a:lnTo>
                    <a:pt x="90" y="81"/>
                  </a:lnTo>
                  <a:cubicBezTo>
                    <a:pt x="108" y="78"/>
                    <a:pt x="182" y="52"/>
                    <a:pt x="182" y="52"/>
                  </a:cubicBezTo>
                  <a:lnTo>
                    <a:pt x="182" y="52"/>
                  </a:lnTo>
                  <a:cubicBezTo>
                    <a:pt x="182" y="52"/>
                    <a:pt x="1" y="163"/>
                    <a:pt x="16" y="163"/>
                  </a:cubicBezTo>
                  <a:cubicBezTo>
                    <a:pt x="17" y="163"/>
                    <a:pt x="18" y="163"/>
                    <a:pt x="20" y="162"/>
                  </a:cubicBezTo>
                  <a:cubicBezTo>
                    <a:pt x="46" y="149"/>
                    <a:pt x="169" y="107"/>
                    <a:pt x="169" y="107"/>
                  </a:cubicBezTo>
                  <a:lnTo>
                    <a:pt x="169" y="107"/>
                  </a:lnTo>
                  <a:cubicBezTo>
                    <a:pt x="169" y="107"/>
                    <a:pt x="2" y="221"/>
                    <a:pt x="16" y="221"/>
                  </a:cubicBezTo>
                  <a:cubicBezTo>
                    <a:pt x="17" y="221"/>
                    <a:pt x="23" y="219"/>
                    <a:pt x="33" y="214"/>
                  </a:cubicBezTo>
                  <a:cubicBezTo>
                    <a:pt x="101" y="188"/>
                    <a:pt x="224" y="107"/>
                    <a:pt x="224" y="107"/>
                  </a:cubicBezTo>
                  <a:cubicBezTo>
                    <a:pt x="224" y="107"/>
                    <a:pt x="368" y="202"/>
                    <a:pt x="385" y="202"/>
                  </a:cubicBezTo>
                  <a:cubicBezTo>
                    <a:pt x="386" y="202"/>
                    <a:pt x="386" y="202"/>
                    <a:pt x="386" y="201"/>
                  </a:cubicBezTo>
                  <a:cubicBezTo>
                    <a:pt x="399" y="201"/>
                    <a:pt x="250" y="94"/>
                    <a:pt x="250" y="94"/>
                  </a:cubicBezTo>
                  <a:lnTo>
                    <a:pt x="250" y="94"/>
                  </a:lnTo>
                  <a:cubicBezTo>
                    <a:pt x="250" y="94"/>
                    <a:pt x="338" y="123"/>
                    <a:pt x="363" y="123"/>
                  </a:cubicBezTo>
                  <a:cubicBezTo>
                    <a:pt x="367" y="123"/>
                    <a:pt x="370" y="122"/>
                    <a:pt x="370" y="120"/>
                  </a:cubicBezTo>
                  <a:cubicBezTo>
                    <a:pt x="370" y="110"/>
                    <a:pt x="314" y="92"/>
                    <a:pt x="288" y="85"/>
                  </a:cubicBezTo>
                  <a:lnTo>
                    <a:pt x="288" y="85"/>
                  </a:lnTo>
                  <a:cubicBezTo>
                    <a:pt x="301" y="88"/>
                    <a:pt x="321" y="93"/>
                    <a:pt x="336" y="93"/>
                  </a:cubicBezTo>
                  <a:cubicBezTo>
                    <a:pt x="348" y="93"/>
                    <a:pt x="357" y="90"/>
                    <a:pt x="357" y="81"/>
                  </a:cubicBezTo>
                  <a:cubicBezTo>
                    <a:pt x="344" y="68"/>
                    <a:pt x="208" y="0"/>
                    <a:pt x="2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1" name="Google Shape;731;p27"/>
            <p:cNvSpPr/>
            <p:nvPr/>
          </p:nvSpPr>
          <p:spPr>
            <a:xfrm>
              <a:off x="7104800" y="4668214"/>
              <a:ext cx="815419" cy="33264"/>
            </a:xfrm>
            <a:custGeom>
              <a:avLst/>
              <a:gdLst/>
              <a:ahLst/>
              <a:cxnLst/>
              <a:rect l="l" t="t" r="r" b="b"/>
              <a:pathLst>
                <a:path w="5540" h="226" extrusionOk="0">
                  <a:moveTo>
                    <a:pt x="4403" y="0"/>
                  </a:moveTo>
                  <a:cubicBezTo>
                    <a:pt x="3103" y="0"/>
                    <a:pt x="1148" y="36"/>
                    <a:pt x="1148" y="36"/>
                  </a:cubicBezTo>
                  <a:cubicBezTo>
                    <a:pt x="1148" y="36"/>
                    <a:pt x="1" y="88"/>
                    <a:pt x="69" y="130"/>
                  </a:cubicBezTo>
                  <a:cubicBezTo>
                    <a:pt x="92" y="143"/>
                    <a:pt x="212" y="147"/>
                    <a:pt x="361" y="147"/>
                  </a:cubicBezTo>
                  <a:cubicBezTo>
                    <a:pt x="644" y="147"/>
                    <a:pt x="1033" y="132"/>
                    <a:pt x="1076" y="130"/>
                  </a:cubicBezTo>
                  <a:lnTo>
                    <a:pt x="1076" y="130"/>
                  </a:lnTo>
                  <a:cubicBezTo>
                    <a:pt x="1037" y="132"/>
                    <a:pt x="734" y="146"/>
                    <a:pt x="798" y="198"/>
                  </a:cubicBezTo>
                  <a:cubicBezTo>
                    <a:pt x="822" y="218"/>
                    <a:pt x="1237" y="225"/>
                    <a:pt x="1809" y="225"/>
                  </a:cubicBezTo>
                  <a:cubicBezTo>
                    <a:pt x="3172" y="225"/>
                    <a:pt x="5428" y="185"/>
                    <a:pt x="5428" y="185"/>
                  </a:cubicBezTo>
                  <a:cubicBezTo>
                    <a:pt x="5428" y="185"/>
                    <a:pt x="4592" y="117"/>
                    <a:pt x="4754" y="88"/>
                  </a:cubicBezTo>
                  <a:cubicBezTo>
                    <a:pt x="4784" y="83"/>
                    <a:pt x="4828" y="82"/>
                    <a:pt x="4881" y="82"/>
                  </a:cubicBezTo>
                  <a:cubicBezTo>
                    <a:pt x="4986" y="82"/>
                    <a:pt x="5124" y="88"/>
                    <a:pt x="5246" y="88"/>
                  </a:cubicBezTo>
                  <a:cubicBezTo>
                    <a:pt x="5397" y="88"/>
                    <a:pt x="5523" y="78"/>
                    <a:pt x="5535" y="36"/>
                  </a:cubicBezTo>
                  <a:cubicBezTo>
                    <a:pt x="5539" y="9"/>
                    <a:pt x="5053" y="0"/>
                    <a:pt x="4403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2" name="Google Shape;732;p27"/>
            <p:cNvSpPr/>
            <p:nvPr/>
          </p:nvSpPr>
          <p:spPr>
            <a:xfrm>
              <a:off x="7178247" y="4544137"/>
              <a:ext cx="107447" cy="137029"/>
            </a:xfrm>
            <a:custGeom>
              <a:avLst/>
              <a:gdLst/>
              <a:ahLst/>
              <a:cxnLst/>
              <a:rect l="l" t="t" r="r" b="b"/>
              <a:pathLst>
                <a:path w="730" h="931" extrusionOk="0">
                  <a:moveTo>
                    <a:pt x="270" y="1"/>
                  </a:moveTo>
                  <a:cubicBezTo>
                    <a:pt x="270" y="1"/>
                    <a:pt x="56" y="137"/>
                    <a:pt x="1" y="432"/>
                  </a:cubicBezTo>
                  <a:lnTo>
                    <a:pt x="1" y="931"/>
                  </a:lnTo>
                  <a:lnTo>
                    <a:pt x="730" y="931"/>
                  </a:lnTo>
                  <a:lnTo>
                    <a:pt x="730" y="351"/>
                  </a:lnTo>
                  <a:cubicBezTo>
                    <a:pt x="662" y="244"/>
                    <a:pt x="474" y="1"/>
                    <a:pt x="270" y="1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3" name="Google Shape;733;p27"/>
            <p:cNvSpPr/>
            <p:nvPr/>
          </p:nvSpPr>
          <p:spPr>
            <a:xfrm>
              <a:off x="7285547" y="4595652"/>
              <a:ext cx="3974" cy="85514"/>
            </a:xfrm>
            <a:custGeom>
              <a:avLst/>
              <a:gdLst/>
              <a:ahLst/>
              <a:cxnLst/>
              <a:rect l="l" t="t" r="r" b="b"/>
              <a:pathLst>
                <a:path w="27" h="581" extrusionOk="0">
                  <a:moveTo>
                    <a:pt x="1" y="1"/>
                  </a:moveTo>
                  <a:lnTo>
                    <a:pt x="1" y="581"/>
                  </a:lnTo>
                  <a:lnTo>
                    <a:pt x="27" y="581"/>
                  </a:lnTo>
                  <a:lnTo>
                    <a:pt x="27" y="43"/>
                  </a:lnTo>
                  <a:cubicBezTo>
                    <a:pt x="27" y="43"/>
                    <a:pt x="27" y="30"/>
                    <a:pt x="1" y="1"/>
                  </a:cubicBezTo>
                  <a:close/>
                </a:path>
              </a:pathLst>
            </a:custGeom>
            <a:solidFill>
              <a:srgbClr val="C5C6C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4" name="Google Shape;734;p27"/>
            <p:cNvSpPr/>
            <p:nvPr/>
          </p:nvSpPr>
          <p:spPr>
            <a:xfrm>
              <a:off x="7289373" y="4578137"/>
              <a:ext cx="139387" cy="103029"/>
            </a:xfrm>
            <a:custGeom>
              <a:avLst/>
              <a:gdLst/>
              <a:ahLst/>
              <a:cxnLst/>
              <a:rect l="l" t="t" r="r" b="b"/>
              <a:pathLst>
                <a:path w="947" h="700" extrusionOk="0">
                  <a:moveTo>
                    <a:pt x="380" y="0"/>
                  </a:moveTo>
                  <a:lnTo>
                    <a:pt x="1" y="133"/>
                  </a:lnTo>
                  <a:lnTo>
                    <a:pt x="1" y="700"/>
                  </a:lnTo>
                  <a:lnTo>
                    <a:pt x="947" y="700"/>
                  </a:lnTo>
                  <a:lnTo>
                    <a:pt x="947" y="201"/>
                  </a:lnTo>
                  <a:lnTo>
                    <a:pt x="380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5" name="Google Shape;735;p27"/>
            <p:cNvSpPr/>
            <p:nvPr/>
          </p:nvSpPr>
          <p:spPr>
            <a:xfrm>
              <a:off x="7178247" y="4540458"/>
              <a:ext cx="254340" cy="67264"/>
            </a:xfrm>
            <a:custGeom>
              <a:avLst/>
              <a:gdLst/>
              <a:ahLst/>
              <a:cxnLst/>
              <a:rect l="l" t="t" r="r" b="b"/>
              <a:pathLst>
                <a:path w="1728" h="457" extrusionOk="0">
                  <a:moveTo>
                    <a:pt x="312" y="0"/>
                  </a:moveTo>
                  <a:cubicBezTo>
                    <a:pt x="312" y="0"/>
                    <a:pt x="56" y="120"/>
                    <a:pt x="1" y="457"/>
                  </a:cubicBezTo>
                  <a:cubicBezTo>
                    <a:pt x="1" y="457"/>
                    <a:pt x="108" y="81"/>
                    <a:pt x="312" y="39"/>
                  </a:cubicBezTo>
                  <a:cubicBezTo>
                    <a:pt x="312" y="39"/>
                    <a:pt x="380" y="39"/>
                    <a:pt x="461" y="94"/>
                  </a:cubicBezTo>
                  <a:cubicBezTo>
                    <a:pt x="513" y="120"/>
                    <a:pt x="581" y="175"/>
                    <a:pt x="623" y="256"/>
                  </a:cubicBezTo>
                  <a:cubicBezTo>
                    <a:pt x="662" y="308"/>
                    <a:pt x="691" y="376"/>
                    <a:pt x="704" y="457"/>
                  </a:cubicBezTo>
                  <a:lnTo>
                    <a:pt x="1728" y="457"/>
                  </a:lnTo>
                  <a:cubicBezTo>
                    <a:pt x="1728" y="457"/>
                    <a:pt x="1728" y="363"/>
                    <a:pt x="1676" y="256"/>
                  </a:cubicBezTo>
                  <a:cubicBezTo>
                    <a:pt x="1663" y="201"/>
                    <a:pt x="1621" y="146"/>
                    <a:pt x="1566" y="107"/>
                  </a:cubicBezTo>
                  <a:cubicBezTo>
                    <a:pt x="1540" y="65"/>
                    <a:pt x="1485" y="39"/>
                    <a:pt x="1433" y="26"/>
                  </a:cubicBezTo>
                  <a:lnTo>
                    <a:pt x="312" y="0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6" name="Google Shape;736;p27"/>
            <p:cNvSpPr/>
            <p:nvPr/>
          </p:nvSpPr>
          <p:spPr>
            <a:xfrm>
              <a:off x="7200178" y="4637747"/>
              <a:ext cx="51663" cy="43420"/>
            </a:xfrm>
            <a:custGeom>
              <a:avLst/>
              <a:gdLst/>
              <a:ahLst/>
              <a:cxnLst/>
              <a:rect l="l" t="t" r="r" b="b"/>
              <a:pathLst>
                <a:path w="351" h="295" extrusionOk="0">
                  <a:moveTo>
                    <a:pt x="1" y="0"/>
                  </a:moveTo>
                  <a:lnTo>
                    <a:pt x="1" y="295"/>
                  </a:lnTo>
                  <a:lnTo>
                    <a:pt x="351" y="295"/>
                  </a:lnTo>
                  <a:lnTo>
                    <a:pt x="351" y="0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7" name="Google Shape;737;p27"/>
            <p:cNvSpPr/>
            <p:nvPr/>
          </p:nvSpPr>
          <p:spPr>
            <a:xfrm>
              <a:off x="7222256" y="4637747"/>
              <a:ext cx="1913" cy="43420"/>
            </a:xfrm>
            <a:custGeom>
              <a:avLst/>
              <a:gdLst/>
              <a:ahLst/>
              <a:cxnLst/>
              <a:rect l="l" t="t" r="r" b="b"/>
              <a:pathLst>
                <a:path w="13" h="295" extrusionOk="0">
                  <a:moveTo>
                    <a:pt x="0" y="0"/>
                  </a:moveTo>
                  <a:lnTo>
                    <a:pt x="0" y="295"/>
                  </a:lnTo>
                  <a:lnTo>
                    <a:pt x="13" y="295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8" name="Google Shape;738;p27"/>
            <p:cNvSpPr/>
            <p:nvPr/>
          </p:nvSpPr>
          <p:spPr>
            <a:xfrm>
              <a:off x="7379011" y="4414909"/>
              <a:ext cx="208565" cy="266258"/>
            </a:xfrm>
            <a:custGeom>
              <a:avLst/>
              <a:gdLst/>
              <a:ahLst/>
              <a:cxnLst/>
              <a:rect l="l" t="t" r="r" b="b"/>
              <a:pathLst>
                <a:path w="1417" h="1809" extrusionOk="0">
                  <a:moveTo>
                    <a:pt x="528" y="1"/>
                  </a:moveTo>
                  <a:cubicBezTo>
                    <a:pt x="523" y="1"/>
                    <a:pt x="518" y="1"/>
                    <a:pt x="513" y="1"/>
                  </a:cubicBezTo>
                  <a:cubicBezTo>
                    <a:pt x="513" y="1"/>
                    <a:pt x="95" y="270"/>
                    <a:pt x="1" y="853"/>
                  </a:cubicBezTo>
                  <a:lnTo>
                    <a:pt x="1" y="1809"/>
                  </a:lnTo>
                  <a:lnTo>
                    <a:pt x="1417" y="1809"/>
                  </a:lnTo>
                  <a:lnTo>
                    <a:pt x="1417" y="691"/>
                  </a:lnTo>
                  <a:cubicBezTo>
                    <a:pt x="1286" y="490"/>
                    <a:pt x="915" y="1"/>
                    <a:pt x="528" y="1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9" name="Google Shape;739;p27"/>
            <p:cNvSpPr/>
            <p:nvPr/>
          </p:nvSpPr>
          <p:spPr>
            <a:xfrm>
              <a:off x="7587428" y="4516614"/>
              <a:ext cx="8243" cy="164553"/>
            </a:xfrm>
            <a:custGeom>
              <a:avLst/>
              <a:gdLst/>
              <a:ahLst/>
              <a:cxnLst/>
              <a:rect l="l" t="t" r="r" b="b"/>
              <a:pathLst>
                <a:path w="56" h="1118" extrusionOk="0">
                  <a:moveTo>
                    <a:pt x="1" y="0"/>
                  </a:moveTo>
                  <a:lnTo>
                    <a:pt x="1" y="1118"/>
                  </a:lnTo>
                  <a:lnTo>
                    <a:pt x="56" y="1118"/>
                  </a:lnTo>
                  <a:lnTo>
                    <a:pt x="56" y="65"/>
                  </a:lnTo>
                  <a:cubicBezTo>
                    <a:pt x="56" y="65"/>
                    <a:pt x="43" y="39"/>
                    <a:pt x="1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0" name="Google Shape;740;p27"/>
            <p:cNvSpPr/>
            <p:nvPr/>
          </p:nvSpPr>
          <p:spPr>
            <a:xfrm>
              <a:off x="7595523" y="4480848"/>
              <a:ext cx="268764" cy="200319"/>
            </a:xfrm>
            <a:custGeom>
              <a:avLst/>
              <a:gdLst/>
              <a:ahLst/>
              <a:cxnLst/>
              <a:rect l="l" t="t" r="r" b="b"/>
              <a:pathLst>
                <a:path w="1826" h="1361" extrusionOk="0">
                  <a:moveTo>
                    <a:pt x="743" y="0"/>
                  </a:moveTo>
                  <a:lnTo>
                    <a:pt x="1" y="282"/>
                  </a:lnTo>
                  <a:lnTo>
                    <a:pt x="1" y="1361"/>
                  </a:lnTo>
                  <a:lnTo>
                    <a:pt x="1825" y="1361"/>
                  </a:lnTo>
                  <a:lnTo>
                    <a:pt x="1825" y="405"/>
                  </a:lnTo>
                  <a:lnTo>
                    <a:pt x="743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1" name="Google Shape;741;p27"/>
            <p:cNvSpPr/>
            <p:nvPr/>
          </p:nvSpPr>
          <p:spPr>
            <a:xfrm>
              <a:off x="7375331" y="4406814"/>
              <a:ext cx="498377" cy="133791"/>
            </a:xfrm>
            <a:custGeom>
              <a:avLst/>
              <a:gdLst/>
              <a:ahLst/>
              <a:cxnLst/>
              <a:rect l="l" t="t" r="r" b="b"/>
              <a:pathLst>
                <a:path w="3386" h="909" extrusionOk="0">
                  <a:moveTo>
                    <a:pt x="606" y="1"/>
                  </a:moveTo>
                  <a:cubicBezTo>
                    <a:pt x="606" y="1"/>
                    <a:pt x="133" y="244"/>
                    <a:pt x="0" y="908"/>
                  </a:cubicBezTo>
                  <a:lnTo>
                    <a:pt x="26" y="908"/>
                  </a:lnTo>
                  <a:cubicBezTo>
                    <a:pt x="26" y="908"/>
                    <a:pt x="214" y="163"/>
                    <a:pt x="606" y="82"/>
                  </a:cubicBezTo>
                  <a:cubicBezTo>
                    <a:pt x="606" y="82"/>
                    <a:pt x="742" y="82"/>
                    <a:pt x="917" y="179"/>
                  </a:cubicBezTo>
                  <a:cubicBezTo>
                    <a:pt x="1024" y="244"/>
                    <a:pt x="1134" y="341"/>
                    <a:pt x="1228" y="503"/>
                  </a:cubicBezTo>
                  <a:cubicBezTo>
                    <a:pt x="1296" y="610"/>
                    <a:pt x="1348" y="746"/>
                    <a:pt x="1390" y="908"/>
                  </a:cubicBezTo>
                  <a:lnTo>
                    <a:pt x="3373" y="908"/>
                  </a:lnTo>
                  <a:cubicBezTo>
                    <a:pt x="3373" y="908"/>
                    <a:pt x="3386" y="717"/>
                    <a:pt x="3292" y="516"/>
                  </a:cubicBezTo>
                  <a:cubicBezTo>
                    <a:pt x="3240" y="406"/>
                    <a:pt x="3172" y="312"/>
                    <a:pt x="3078" y="218"/>
                  </a:cubicBezTo>
                  <a:cubicBezTo>
                    <a:pt x="3010" y="150"/>
                    <a:pt x="2916" y="98"/>
                    <a:pt x="2819" y="56"/>
                  </a:cubicBezTo>
                  <a:lnTo>
                    <a:pt x="606" y="1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2" name="Google Shape;742;p27"/>
            <p:cNvSpPr/>
            <p:nvPr/>
          </p:nvSpPr>
          <p:spPr>
            <a:xfrm>
              <a:off x="7418604" y="4597565"/>
              <a:ext cx="101707" cy="83601"/>
            </a:xfrm>
            <a:custGeom>
              <a:avLst/>
              <a:gdLst/>
              <a:ahLst/>
              <a:cxnLst/>
              <a:rect l="l" t="t" r="r" b="b"/>
              <a:pathLst>
                <a:path w="691" h="568" extrusionOk="0">
                  <a:moveTo>
                    <a:pt x="1" y="1"/>
                  </a:moveTo>
                  <a:lnTo>
                    <a:pt x="1" y="568"/>
                  </a:lnTo>
                  <a:lnTo>
                    <a:pt x="691" y="568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3" name="Google Shape;743;p27"/>
            <p:cNvSpPr/>
            <p:nvPr/>
          </p:nvSpPr>
          <p:spPr>
            <a:xfrm>
              <a:off x="7464379" y="4597565"/>
              <a:ext cx="2061" cy="83601"/>
            </a:xfrm>
            <a:custGeom>
              <a:avLst/>
              <a:gdLst/>
              <a:ahLst/>
              <a:cxnLst/>
              <a:rect l="l" t="t" r="r" b="b"/>
              <a:pathLst>
                <a:path w="14" h="568" extrusionOk="0">
                  <a:moveTo>
                    <a:pt x="1" y="1"/>
                  </a:moveTo>
                  <a:lnTo>
                    <a:pt x="1" y="568"/>
                  </a:lnTo>
                  <a:lnTo>
                    <a:pt x="14" y="568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4" name="Google Shape;744;p27"/>
            <p:cNvSpPr/>
            <p:nvPr/>
          </p:nvSpPr>
          <p:spPr>
            <a:xfrm>
              <a:off x="7828374" y="4559886"/>
              <a:ext cx="133057" cy="159549"/>
            </a:xfrm>
            <a:custGeom>
              <a:avLst/>
              <a:gdLst/>
              <a:ahLst/>
              <a:cxnLst/>
              <a:rect l="l" t="t" r="r" b="b"/>
              <a:pathLst>
                <a:path w="904" h="1084" extrusionOk="0">
                  <a:moveTo>
                    <a:pt x="862" y="338"/>
                  </a:moveTo>
                  <a:cubicBezTo>
                    <a:pt x="836" y="338"/>
                    <a:pt x="810" y="367"/>
                    <a:pt x="810" y="393"/>
                  </a:cubicBezTo>
                  <a:cubicBezTo>
                    <a:pt x="810" y="406"/>
                    <a:pt x="823" y="419"/>
                    <a:pt x="836" y="435"/>
                  </a:cubicBezTo>
                  <a:lnTo>
                    <a:pt x="862" y="435"/>
                  </a:lnTo>
                  <a:cubicBezTo>
                    <a:pt x="891" y="435"/>
                    <a:pt x="904" y="419"/>
                    <a:pt x="904" y="393"/>
                  </a:cubicBezTo>
                  <a:cubicBezTo>
                    <a:pt x="904" y="367"/>
                    <a:pt x="891" y="338"/>
                    <a:pt x="862" y="338"/>
                  </a:cubicBezTo>
                  <a:close/>
                  <a:moveTo>
                    <a:pt x="486" y="1"/>
                  </a:moveTo>
                  <a:cubicBezTo>
                    <a:pt x="350" y="1"/>
                    <a:pt x="227" y="124"/>
                    <a:pt x="227" y="273"/>
                  </a:cubicBezTo>
                  <a:cubicBezTo>
                    <a:pt x="227" y="406"/>
                    <a:pt x="324" y="516"/>
                    <a:pt x="457" y="529"/>
                  </a:cubicBezTo>
                  <a:lnTo>
                    <a:pt x="457" y="678"/>
                  </a:lnTo>
                  <a:lnTo>
                    <a:pt x="405" y="623"/>
                  </a:lnTo>
                  <a:lnTo>
                    <a:pt x="405" y="568"/>
                  </a:lnTo>
                  <a:lnTo>
                    <a:pt x="389" y="568"/>
                  </a:lnTo>
                  <a:lnTo>
                    <a:pt x="389" y="662"/>
                  </a:lnTo>
                  <a:lnTo>
                    <a:pt x="282" y="555"/>
                  </a:lnTo>
                  <a:lnTo>
                    <a:pt x="282" y="529"/>
                  </a:lnTo>
                  <a:cubicBezTo>
                    <a:pt x="282" y="461"/>
                    <a:pt x="243" y="419"/>
                    <a:pt x="188" y="419"/>
                  </a:cubicBezTo>
                  <a:cubicBezTo>
                    <a:pt x="146" y="419"/>
                    <a:pt x="107" y="448"/>
                    <a:pt x="94" y="474"/>
                  </a:cubicBezTo>
                  <a:lnTo>
                    <a:pt x="65" y="474"/>
                  </a:lnTo>
                  <a:cubicBezTo>
                    <a:pt x="26" y="474"/>
                    <a:pt x="0" y="500"/>
                    <a:pt x="0" y="542"/>
                  </a:cubicBezTo>
                  <a:cubicBezTo>
                    <a:pt x="0" y="581"/>
                    <a:pt x="26" y="623"/>
                    <a:pt x="65" y="623"/>
                  </a:cubicBezTo>
                  <a:cubicBezTo>
                    <a:pt x="94" y="623"/>
                    <a:pt x="107" y="610"/>
                    <a:pt x="120" y="597"/>
                  </a:cubicBezTo>
                  <a:cubicBezTo>
                    <a:pt x="133" y="610"/>
                    <a:pt x="162" y="623"/>
                    <a:pt x="188" y="623"/>
                  </a:cubicBezTo>
                  <a:cubicBezTo>
                    <a:pt x="214" y="623"/>
                    <a:pt x="243" y="610"/>
                    <a:pt x="269" y="581"/>
                  </a:cubicBezTo>
                  <a:lnTo>
                    <a:pt x="457" y="730"/>
                  </a:lnTo>
                  <a:lnTo>
                    <a:pt x="457" y="1083"/>
                  </a:lnTo>
                  <a:lnTo>
                    <a:pt x="525" y="1083"/>
                  </a:lnTo>
                  <a:lnTo>
                    <a:pt x="525" y="691"/>
                  </a:lnTo>
                  <a:lnTo>
                    <a:pt x="567" y="678"/>
                  </a:lnTo>
                  <a:lnTo>
                    <a:pt x="606" y="691"/>
                  </a:lnTo>
                  <a:lnTo>
                    <a:pt x="619" y="678"/>
                  </a:lnTo>
                  <a:lnTo>
                    <a:pt x="593" y="662"/>
                  </a:lnTo>
                  <a:lnTo>
                    <a:pt x="742" y="581"/>
                  </a:lnTo>
                  <a:cubicBezTo>
                    <a:pt x="755" y="610"/>
                    <a:pt x="781" y="623"/>
                    <a:pt x="810" y="623"/>
                  </a:cubicBezTo>
                  <a:cubicBezTo>
                    <a:pt x="862" y="623"/>
                    <a:pt x="904" y="581"/>
                    <a:pt x="904" y="529"/>
                  </a:cubicBezTo>
                  <a:cubicBezTo>
                    <a:pt x="904" y="487"/>
                    <a:pt x="875" y="448"/>
                    <a:pt x="836" y="435"/>
                  </a:cubicBezTo>
                  <a:lnTo>
                    <a:pt x="810" y="435"/>
                  </a:lnTo>
                  <a:cubicBezTo>
                    <a:pt x="768" y="435"/>
                    <a:pt x="729" y="474"/>
                    <a:pt x="729" y="529"/>
                  </a:cubicBezTo>
                  <a:lnTo>
                    <a:pt x="729" y="555"/>
                  </a:lnTo>
                  <a:lnTo>
                    <a:pt x="619" y="610"/>
                  </a:lnTo>
                  <a:lnTo>
                    <a:pt x="632" y="542"/>
                  </a:lnTo>
                  <a:lnTo>
                    <a:pt x="606" y="542"/>
                  </a:lnTo>
                  <a:lnTo>
                    <a:pt x="606" y="610"/>
                  </a:lnTo>
                  <a:lnTo>
                    <a:pt x="525" y="636"/>
                  </a:lnTo>
                  <a:lnTo>
                    <a:pt x="525" y="529"/>
                  </a:lnTo>
                  <a:cubicBezTo>
                    <a:pt x="661" y="500"/>
                    <a:pt x="755" y="393"/>
                    <a:pt x="755" y="273"/>
                  </a:cubicBezTo>
                  <a:cubicBezTo>
                    <a:pt x="755" y="124"/>
                    <a:pt x="632" y="1"/>
                    <a:pt x="48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5" name="Google Shape;745;p27"/>
            <p:cNvSpPr/>
            <p:nvPr/>
          </p:nvSpPr>
          <p:spPr>
            <a:xfrm>
              <a:off x="5379910" y="4673513"/>
              <a:ext cx="1665427" cy="22078"/>
            </a:xfrm>
            <a:custGeom>
              <a:avLst/>
              <a:gdLst/>
              <a:ahLst/>
              <a:cxnLst/>
              <a:rect l="l" t="t" r="r" b="b"/>
              <a:pathLst>
                <a:path w="11315" h="150" extrusionOk="0">
                  <a:moveTo>
                    <a:pt x="892" y="0"/>
                  </a:moveTo>
                  <a:lnTo>
                    <a:pt x="1" y="149"/>
                  </a:lnTo>
                  <a:lnTo>
                    <a:pt x="10787" y="149"/>
                  </a:lnTo>
                  <a:lnTo>
                    <a:pt x="1131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6" name="Google Shape;746;p27"/>
            <p:cNvSpPr/>
            <p:nvPr/>
          </p:nvSpPr>
          <p:spPr>
            <a:xfrm>
              <a:off x="5536812" y="4639513"/>
              <a:ext cx="1600222" cy="22225"/>
            </a:xfrm>
            <a:custGeom>
              <a:avLst/>
              <a:gdLst/>
              <a:ahLst/>
              <a:cxnLst/>
              <a:rect l="l" t="t" r="r" b="b"/>
              <a:pathLst>
                <a:path w="10872" h="151" extrusionOk="0">
                  <a:moveTo>
                    <a:pt x="908" y="1"/>
                  </a:moveTo>
                  <a:lnTo>
                    <a:pt x="1" y="150"/>
                  </a:lnTo>
                  <a:lnTo>
                    <a:pt x="10343" y="150"/>
                  </a:lnTo>
                  <a:lnTo>
                    <a:pt x="10871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7" name="Google Shape;747;p27"/>
            <p:cNvSpPr/>
            <p:nvPr/>
          </p:nvSpPr>
          <p:spPr>
            <a:xfrm>
              <a:off x="7581688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8" name="Google Shape;748;p27"/>
            <p:cNvSpPr/>
            <p:nvPr/>
          </p:nvSpPr>
          <p:spPr>
            <a:xfrm>
              <a:off x="7571679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9" name="Google Shape;749;p27"/>
            <p:cNvSpPr/>
            <p:nvPr/>
          </p:nvSpPr>
          <p:spPr>
            <a:xfrm>
              <a:off x="7561670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0" name="Google Shape;750;p27"/>
            <p:cNvSpPr/>
            <p:nvPr/>
          </p:nvSpPr>
          <p:spPr>
            <a:xfrm>
              <a:off x="7551662" y="4685435"/>
              <a:ext cx="4416" cy="17662"/>
            </a:xfrm>
            <a:custGeom>
              <a:avLst/>
              <a:gdLst/>
              <a:ahLst/>
              <a:cxnLst/>
              <a:rect l="l" t="t" r="r" b="b"/>
              <a:pathLst>
                <a:path w="30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1" name="Google Shape;751;p27"/>
            <p:cNvSpPr/>
            <p:nvPr/>
          </p:nvSpPr>
          <p:spPr>
            <a:xfrm>
              <a:off x="7542242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2" name="Google Shape;752;p27"/>
            <p:cNvSpPr/>
            <p:nvPr/>
          </p:nvSpPr>
          <p:spPr>
            <a:xfrm>
              <a:off x="7533999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3" name="Google Shape;753;p27"/>
            <p:cNvSpPr/>
            <p:nvPr/>
          </p:nvSpPr>
          <p:spPr>
            <a:xfrm>
              <a:off x="7523990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4" name="Google Shape;754;p27"/>
            <p:cNvSpPr/>
            <p:nvPr/>
          </p:nvSpPr>
          <p:spPr>
            <a:xfrm>
              <a:off x="7513982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5" name="Google Shape;755;p27"/>
            <p:cNvSpPr/>
            <p:nvPr/>
          </p:nvSpPr>
          <p:spPr>
            <a:xfrm>
              <a:off x="7503973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6" name="Google Shape;756;p27"/>
            <p:cNvSpPr/>
            <p:nvPr/>
          </p:nvSpPr>
          <p:spPr>
            <a:xfrm>
              <a:off x="7494553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7" name="Google Shape;757;p27"/>
            <p:cNvSpPr/>
            <p:nvPr/>
          </p:nvSpPr>
          <p:spPr>
            <a:xfrm>
              <a:off x="7484544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8" name="Google Shape;758;p27"/>
            <p:cNvSpPr/>
            <p:nvPr/>
          </p:nvSpPr>
          <p:spPr>
            <a:xfrm>
              <a:off x="7474388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9" name="Google Shape;759;p27"/>
            <p:cNvSpPr/>
            <p:nvPr/>
          </p:nvSpPr>
          <p:spPr>
            <a:xfrm>
              <a:off x="7464379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0" name="Google Shape;760;p27"/>
            <p:cNvSpPr/>
            <p:nvPr/>
          </p:nvSpPr>
          <p:spPr>
            <a:xfrm>
              <a:off x="7454371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1" name="Google Shape;761;p27"/>
            <p:cNvSpPr/>
            <p:nvPr/>
          </p:nvSpPr>
          <p:spPr>
            <a:xfrm>
              <a:off x="7444362" y="4685435"/>
              <a:ext cx="4416" cy="17662"/>
            </a:xfrm>
            <a:custGeom>
              <a:avLst/>
              <a:gdLst/>
              <a:ahLst/>
              <a:cxnLst/>
              <a:rect l="l" t="t" r="r" b="b"/>
              <a:pathLst>
                <a:path w="30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2" name="Google Shape;762;p27"/>
            <p:cNvSpPr/>
            <p:nvPr/>
          </p:nvSpPr>
          <p:spPr>
            <a:xfrm>
              <a:off x="7436855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3" name="Google Shape;763;p27"/>
            <p:cNvSpPr/>
            <p:nvPr/>
          </p:nvSpPr>
          <p:spPr>
            <a:xfrm>
              <a:off x="7426699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4" name="Google Shape;764;p27"/>
            <p:cNvSpPr/>
            <p:nvPr/>
          </p:nvSpPr>
          <p:spPr>
            <a:xfrm>
              <a:off x="7416691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5" name="Google Shape;765;p27"/>
            <p:cNvSpPr/>
            <p:nvPr/>
          </p:nvSpPr>
          <p:spPr>
            <a:xfrm>
              <a:off x="7406682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6" name="Google Shape;766;p27"/>
            <p:cNvSpPr/>
            <p:nvPr/>
          </p:nvSpPr>
          <p:spPr>
            <a:xfrm>
              <a:off x="7396673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7" name="Google Shape;767;p27"/>
            <p:cNvSpPr/>
            <p:nvPr/>
          </p:nvSpPr>
          <p:spPr>
            <a:xfrm>
              <a:off x="7387253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8" name="Google Shape;768;p27"/>
            <p:cNvSpPr/>
            <p:nvPr/>
          </p:nvSpPr>
          <p:spPr>
            <a:xfrm>
              <a:off x="7377244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9" name="Google Shape;769;p27"/>
            <p:cNvSpPr/>
            <p:nvPr/>
          </p:nvSpPr>
          <p:spPr>
            <a:xfrm>
              <a:off x="7367088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0" name="Google Shape;770;p27"/>
            <p:cNvSpPr/>
            <p:nvPr/>
          </p:nvSpPr>
          <p:spPr>
            <a:xfrm>
              <a:off x="7357080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1" name="Google Shape;771;p27"/>
            <p:cNvSpPr/>
            <p:nvPr/>
          </p:nvSpPr>
          <p:spPr>
            <a:xfrm>
              <a:off x="7348984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2" name="Google Shape;772;p27"/>
            <p:cNvSpPr/>
            <p:nvPr/>
          </p:nvSpPr>
          <p:spPr>
            <a:xfrm>
              <a:off x="733956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3" name="Google Shape;773;p27"/>
            <p:cNvSpPr/>
            <p:nvPr/>
          </p:nvSpPr>
          <p:spPr>
            <a:xfrm>
              <a:off x="7329556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4" name="Google Shape;774;p27"/>
            <p:cNvSpPr/>
            <p:nvPr/>
          </p:nvSpPr>
          <p:spPr>
            <a:xfrm>
              <a:off x="7319400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5" name="Google Shape;775;p27"/>
            <p:cNvSpPr/>
            <p:nvPr/>
          </p:nvSpPr>
          <p:spPr>
            <a:xfrm>
              <a:off x="7309391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6" name="Google Shape;776;p27"/>
            <p:cNvSpPr/>
            <p:nvPr/>
          </p:nvSpPr>
          <p:spPr>
            <a:xfrm>
              <a:off x="7299382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7" name="Google Shape;777;p27"/>
            <p:cNvSpPr/>
            <p:nvPr/>
          </p:nvSpPr>
          <p:spPr>
            <a:xfrm>
              <a:off x="7289373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8" name="Google Shape;778;p27"/>
            <p:cNvSpPr/>
            <p:nvPr/>
          </p:nvSpPr>
          <p:spPr>
            <a:xfrm>
              <a:off x="7279953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9" name="Google Shape;779;p27"/>
            <p:cNvSpPr/>
            <p:nvPr/>
          </p:nvSpPr>
          <p:spPr>
            <a:xfrm>
              <a:off x="7269945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0" name="Google Shape;780;p27"/>
            <p:cNvSpPr/>
            <p:nvPr/>
          </p:nvSpPr>
          <p:spPr>
            <a:xfrm>
              <a:off x="7261702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1" name="Google Shape;781;p27"/>
            <p:cNvSpPr/>
            <p:nvPr/>
          </p:nvSpPr>
          <p:spPr>
            <a:xfrm>
              <a:off x="7251693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2" name="Google Shape;782;p27"/>
            <p:cNvSpPr/>
            <p:nvPr/>
          </p:nvSpPr>
          <p:spPr>
            <a:xfrm>
              <a:off x="7241685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3" name="Google Shape;783;p27"/>
            <p:cNvSpPr/>
            <p:nvPr/>
          </p:nvSpPr>
          <p:spPr>
            <a:xfrm>
              <a:off x="7232265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4" name="Google Shape;784;p27"/>
            <p:cNvSpPr/>
            <p:nvPr/>
          </p:nvSpPr>
          <p:spPr>
            <a:xfrm>
              <a:off x="7222256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5" name="Google Shape;785;p27"/>
            <p:cNvSpPr/>
            <p:nvPr/>
          </p:nvSpPr>
          <p:spPr>
            <a:xfrm>
              <a:off x="7212100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6" name="Google Shape;786;p27"/>
            <p:cNvSpPr/>
            <p:nvPr/>
          </p:nvSpPr>
          <p:spPr>
            <a:xfrm>
              <a:off x="7202091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7" name="Google Shape;787;p27"/>
            <p:cNvSpPr/>
            <p:nvPr/>
          </p:nvSpPr>
          <p:spPr>
            <a:xfrm>
              <a:off x="7192083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8" name="Google Shape;788;p27"/>
            <p:cNvSpPr/>
            <p:nvPr/>
          </p:nvSpPr>
          <p:spPr>
            <a:xfrm>
              <a:off x="7182074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9" name="Google Shape;789;p27"/>
            <p:cNvSpPr/>
            <p:nvPr/>
          </p:nvSpPr>
          <p:spPr>
            <a:xfrm>
              <a:off x="7172654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0" name="Google Shape;790;p27"/>
            <p:cNvSpPr/>
            <p:nvPr/>
          </p:nvSpPr>
          <p:spPr>
            <a:xfrm>
              <a:off x="7164411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1" name="Google Shape;791;p27"/>
            <p:cNvSpPr/>
            <p:nvPr/>
          </p:nvSpPr>
          <p:spPr>
            <a:xfrm>
              <a:off x="7154403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2" name="Google Shape;792;p27"/>
            <p:cNvSpPr/>
            <p:nvPr/>
          </p:nvSpPr>
          <p:spPr>
            <a:xfrm>
              <a:off x="714439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3" name="Google Shape;793;p27"/>
            <p:cNvSpPr/>
            <p:nvPr/>
          </p:nvSpPr>
          <p:spPr>
            <a:xfrm>
              <a:off x="7134385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4" name="Google Shape;794;p27"/>
            <p:cNvSpPr/>
            <p:nvPr/>
          </p:nvSpPr>
          <p:spPr>
            <a:xfrm>
              <a:off x="7124965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5" name="Google Shape;795;p27"/>
            <p:cNvSpPr/>
            <p:nvPr/>
          </p:nvSpPr>
          <p:spPr>
            <a:xfrm>
              <a:off x="7114956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6" name="Google Shape;796;p27"/>
            <p:cNvSpPr/>
            <p:nvPr/>
          </p:nvSpPr>
          <p:spPr>
            <a:xfrm>
              <a:off x="7104800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7" name="Google Shape;797;p27"/>
            <p:cNvSpPr/>
            <p:nvPr/>
          </p:nvSpPr>
          <p:spPr>
            <a:xfrm>
              <a:off x="7094792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8" name="Google Shape;798;p27"/>
            <p:cNvSpPr/>
            <p:nvPr/>
          </p:nvSpPr>
          <p:spPr>
            <a:xfrm>
              <a:off x="7084783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9" name="Google Shape;799;p27"/>
            <p:cNvSpPr/>
            <p:nvPr/>
          </p:nvSpPr>
          <p:spPr>
            <a:xfrm>
              <a:off x="707727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0" name="Google Shape;800;p27"/>
            <p:cNvSpPr/>
            <p:nvPr/>
          </p:nvSpPr>
          <p:spPr>
            <a:xfrm>
              <a:off x="7067268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1" name="Google Shape;801;p27"/>
            <p:cNvSpPr/>
            <p:nvPr/>
          </p:nvSpPr>
          <p:spPr>
            <a:xfrm>
              <a:off x="7057112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2" name="Google Shape;802;p27"/>
            <p:cNvSpPr/>
            <p:nvPr/>
          </p:nvSpPr>
          <p:spPr>
            <a:xfrm>
              <a:off x="7047103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3" name="Google Shape;803;p27"/>
            <p:cNvSpPr/>
            <p:nvPr/>
          </p:nvSpPr>
          <p:spPr>
            <a:xfrm>
              <a:off x="703709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4" name="Google Shape;804;p27"/>
            <p:cNvSpPr/>
            <p:nvPr/>
          </p:nvSpPr>
          <p:spPr>
            <a:xfrm>
              <a:off x="7027085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5" name="Google Shape;805;p27"/>
            <p:cNvSpPr/>
            <p:nvPr/>
          </p:nvSpPr>
          <p:spPr>
            <a:xfrm>
              <a:off x="7017665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6" name="Google Shape;806;p27"/>
            <p:cNvSpPr/>
            <p:nvPr/>
          </p:nvSpPr>
          <p:spPr>
            <a:xfrm>
              <a:off x="7007657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7" name="Google Shape;807;p27"/>
            <p:cNvSpPr/>
            <p:nvPr/>
          </p:nvSpPr>
          <p:spPr>
            <a:xfrm>
              <a:off x="6997501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8" name="Google Shape;808;p27"/>
            <p:cNvSpPr/>
            <p:nvPr/>
          </p:nvSpPr>
          <p:spPr>
            <a:xfrm>
              <a:off x="6987492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9" name="Google Shape;809;p27"/>
            <p:cNvSpPr/>
            <p:nvPr/>
          </p:nvSpPr>
          <p:spPr>
            <a:xfrm>
              <a:off x="6979397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0" name="Google Shape;810;p27"/>
            <p:cNvSpPr/>
            <p:nvPr/>
          </p:nvSpPr>
          <p:spPr>
            <a:xfrm>
              <a:off x="696997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1" name="Google Shape;811;p27"/>
            <p:cNvSpPr/>
            <p:nvPr/>
          </p:nvSpPr>
          <p:spPr>
            <a:xfrm>
              <a:off x="6959968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2" name="Google Shape;812;p27"/>
            <p:cNvSpPr/>
            <p:nvPr/>
          </p:nvSpPr>
          <p:spPr>
            <a:xfrm>
              <a:off x="6949812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3" name="Google Shape;813;p27"/>
            <p:cNvSpPr/>
            <p:nvPr/>
          </p:nvSpPr>
          <p:spPr>
            <a:xfrm>
              <a:off x="6939803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4" name="Google Shape;814;p27"/>
            <p:cNvSpPr/>
            <p:nvPr/>
          </p:nvSpPr>
          <p:spPr>
            <a:xfrm>
              <a:off x="6929794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5" name="Google Shape;815;p27"/>
            <p:cNvSpPr/>
            <p:nvPr/>
          </p:nvSpPr>
          <p:spPr>
            <a:xfrm>
              <a:off x="6919786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6" name="Google Shape;816;p27"/>
            <p:cNvSpPr/>
            <p:nvPr/>
          </p:nvSpPr>
          <p:spPr>
            <a:xfrm>
              <a:off x="6910366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7" name="Google Shape;817;p27"/>
            <p:cNvSpPr/>
            <p:nvPr/>
          </p:nvSpPr>
          <p:spPr>
            <a:xfrm>
              <a:off x="6900357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8" name="Google Shape;818;p27"/>
            <p:cNvSpPr/>
            <p:nvPr/>
          </p:nvSpPr>
          <p:spPr>
            <a:xfrm>
              <a:off x="689211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9" name="Google Shape;819;p27"/>
            <p:cNvSpPr/>
            <p:nvPr/>
          </p:nvSpPr>
          <p:spPr>
            <a:xfrm>
              <a:off x="688210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0" name="Google Shape;820;p27"/>
            <p:cNvSpPr/>
            <p:nvPr/>
          </p:nvSpPr>
          <p:spPr>
            <a:xfrm>
              <a:off x="6872097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1" name="Google Shape;821;p27"/>
            <p:cNvSpPr/>
            <p:nvPr/>
          </p:nvSpPr>
          <p:spPr>
            <a:xfrm>
              <a:off x="686267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2" name="Google Shape;822;p27"/>
            <p:cNvSpPr/>
            <p:nvPr/>
          </p:nvSpPr>
          <p:spPr>
            <a:xfrm>
              <a:off x="6852668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3" name="Google Shape;823;p27"/>
            <p:cNvSpPr/>
            <p:nvPr/>
          </p:nvSpPr>
          <p:spPr>
            <a:xfrm>
              <a:off x="6842512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4" name="Google Shape;824;p27"/>
            <p:cNvSpPr/>
            <p:nvPr/>
          </p:nvSpPr>
          <p:spPr>
            <a:xfrm>
              <a:off x="6832503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5" name="Google Shape;825;p27"/>
            <p:cNvSpPr/>
            <p:nvPr/>
          </p:nvSpPr>
          <p:spPr>
            <a:xfrm>
              <a:off x="6822495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6" name="Google Shape;826;p27"/>
            <p:cNvSpPr/>
            <p:nvPr/>
          </p:nvSpPr>
          <p:spPr>
            <a:xfrm>
              <a:off x="6812486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7" name="Google Shape;827;p27"/>
            <p:cNvSpPr/>
            <p:nvPr/>
          </p:nvSpPr>
          <p:spPr>
            <a:xfrm>
              <a:off x="6803066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8" name="Google Shape;828;p27"/>
            <p:cNvSpPr/>
            <p:nvPr/>
          </p:nvSpPr>
          <p:spPr>
            <a:xfrm>
              <a:off x="6794823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9" name="Google Shape;829;p27"/>
            <p:cNvSpPr/>
            <p:nvPr/>
          </p:nvSpPr>
          <p:spPr>
            <a:xfrm>
              <a:off x="6784815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0" name="Google Shape;830;p27"/>
            <p:cNvSpPr/>
            <p:nvPr/>
          </p:nvSpPr>
          <p:spPr>
            <a:xfrm>
              <a:off x="677480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1" name="Google Shape;831;p27"/>
            <p:cNvSpPr/>
            <p:nvPr/>
          </p:nvSpPr>
          <p:spPr>
            <a:xfrm>
              <a:off x="6764797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2" name="Google Shape;832;p27"/>
            <p:cNvSpPr/>
            <p:nvPr/>
          </p:nvSpPr>
          <p:spPr>
            <a:xfrm>
              <a:off x="675537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3" name="Google Shape;833;p27"/>
            <p:cNvSpPr/>
            <p:nvPr/>
          </p:nvSpPr>
          <p:spPr>
            <a:xfrm>
              <a:off x="6745368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4" name="Google Shape;834;p27"/>
            <p:cNvSpPr/>
            <p:nvPr/>
          </p:nvSpPr>
          <p:spPr>
            <a:xfrm>
              <a:off x="6735213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5" name="Google Shape;835;p27"/>
            <p:cNvSpPr/>
            <p:nvPr/>
          </p:nvSpPr>
          <p:spPr>
            <a:xfrm>
              <a:off x="6725204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6" name="Google Shape;836;p27"/>
            <p:cNvSpPr/>
            <p:nvPr/>
          </p:nvSpPr>
          <p:spPr>
            <a:xfrm>
              <a:off x="6715195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7" name="Google Shape;837;p27"/>
            <p:cNvSpPr/>
            <p:nvPr/>
          </p:nvSpPr>
          <p:spPr>
            <a:xfrm>
              <a:off x="6707688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8" name="Google Shape;838;p27"/>
            <p:cNvSpPr/>
            <p:nvPr/>
          </p:nvSpPr>
          <p:spPr>
            <a:xfrm>
              <a:off x="6697680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9" name="Google Shape;839;p27"/>
            <p:cNvSpPr/>
            <p:nvPr/>
          </p:nvSpPr>
          <p:spPr>
            <a:xfrm>
              <a:off x="668752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0" name="Google Shape;840;p27"/>
            <p:cNvSpPr/>
            <p:nvPr/>
          </p:nvSpPr>
          <p:spPr>
            <a:xfrm>
              <a:off x="6677515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1" name="Google Shape;841;p27"/>
            <p:cNvSpPr/>
            <p:nvPr/>
          </p:nvSpPr>
          <p:spPr>
            <a:xfrm>
              <a:off x="666750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2" name="Google Shape;842;p27"/>
            <p:cNvSpPr/>
            <p:nvPr/>
          </p:nvSpPr>
          <p:spPr>
            <a:xfrm>
              <a:off x="6657498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3" name="Google Shape;843;p27"/>
            <p:cNvSpPr/>
            <p:nvPr/>
          </p:nvSpPr>
          <p:spPr>
            <a:xfrm>
              <a:off x="6648078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4" name="Google Shape;844;p27"/>
            <p:cNvSpPr/>
            <p:nvPr/>
          </p:nvSpPr>
          <p:spPr>
            <a:xfrm>
              <a:off x="6638069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5" name="Google Shape;845;p27"/>
            <p:cNvSpPr/>
            <p:nvPr/>
          </p:nvSpPr>
          <p:spPr>
            <a:xfrm>
              <a:off x="6627913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6" name="Google Shape;846;p27"/>
            <p:cNvSpPr/>
            <p:nvPr/>
          </p:nvSpPr>
          <p:spPr>
            <a:xfrm>
              <a:off x="6617904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7" name="Google Shape;847;p27"/>
            <p:cNvSpPr/>
            <p:nvPr/>
          </p:nvSpPr>
          <p:spPr>
            <a:xfrm>
              <a:off x="6609809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8" name="Google Shape;848;p27"/>
            <p:cNvSpPr/>
            <p:nvPr/>
          </p:nvSpPr>
          <p:spPr>
            <a:xfrm>
              <a:off x="6600389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9" name="Google Shape;849;p27"/>
            <p:cNvSpPr/>
            <p:nvPr/>
          </p:nvSpPr>
          <p:spPr>
            <a:xfrm>
              <a:off x="6590380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0" name="Google Shape;850;p27"/>
            <p:cNvSpPr/>
            <p:nvPr/>
          </p:nvSpPr>
          <p:spPr>
            <a:xfrm>
              <a:off x="6580224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1" name="Google Shape;851;p27"/>
            <p:cNvSpPr/>
            <p:nvPr/>
          </p:nvSpPr>
          <p:spPr>
            <a:xfrm>
              <a:off x="6570215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2" name="Google Shape;852;p27"/>
            <p:cNvSpPr/>
            <p:nvPr/>
          </p:nvSpPr>
          <p:spPr>
            <a:xfrm>
              <a:off x="6560207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3" name="Google Shape;853;p27"/>
            <p:cNvSpPr/>
            <p:nvPr/>
          </p:nvSpPr>
          <p:spPr>
            <a:xfrm>
              <a:off x="6550198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4" name="Google Shape;854;p27"/>
            <p:cNvSpPr/>
            <p:nvPr/>
          </p:nvSpPr>
          <p:spPr>
            <a:xfrm>
              <a:off x="6540778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5" name="Google Shape;855;p27"/>
            <p:cNvSpPr/>
            <p:nvPr/>
          </p:nvSpPr>
          <p:spPr>
            <a:xfrm>
              <a:off x="6530769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6" name="Google Shape;856;p27"/>
            <p:cNvSpPr/>
            <p:nvPr/>
          </p:nvSpPr>
          <p:spPr>
            <a:xfrm>
              <a:off x="652252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7" name="Google Shape;857;p27"/>
            <p:cNvSpPr/>
            <p:nvPr/>
          </p:nvSpPr>
          <p:spPr>
            <a:xfrm>
              <a:off x="6512518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8" name="Google Shape;858;p27"/>
            <p:cNvSpPr/>
            <p:nvPr/>
          </p:nvSpPr>
          <p:spPr>
            <a:xfrm>
              <a:off x="6502509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9" name="Google Shape;859;p27"/>
            <p:cNvSpPr/>
            <p:nvPr/>
          </p:nvSpPr>
          <p:spPr>
            <a:xfrm>
              <a:off x="6493089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0" name="Google Shape;860;p27"/>
            <p:cNvSpPr/>
            <p:nvPr/>
          </p:nvSpPr>
          <p:spPr>
            <a:xfrm>
              <a:off x="6483080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1" name="Google Shape;861;p27"/>
            <p:cNvSpPr/>
            <p:nvPr/>
          </p:nvSpPr>
          <p:spPr>
            <a:xfrm>
              <a:off x="6472924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2" name="Google Shape;862;p27"/>
            <p:cNvSpPr/>
            <p:nvPr/>
          </p:nvSpPr>
          <p:spPr>
            <a:xfrm>
              <a:off x="6462916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3" name="Google Shape;863;p27"/>
            <p:cNvSpPr/>
            <p:nvPr/>
          </p:nvSpPr>
          <p:spPr>
            <a:xfrm>
              <a:off x="6452907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4" name="Google Shape;864;p27"/>
            <p:cNvSpPr/>
            <p:nvPr/>
          </p:nvSpPr>
          <p:spPr>
            <a:xfrm>
              <a:off x="6442898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5" name="Google Shape;865;p27"/>
            <p:cNvSpPr/>
            <p:nvPr/>
          </p:nvSpPr>
          <p:spPr>
            <a:xfrm>
              <a:off x="6435392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6" name="Google Shape;866;p27"/>
            <p:cNvSpPr/>
            <p:nvPr/>
          </p:nvSpPr>
          <p:spPr>
            <a:xfrm>
              <a:off x="642523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7" name="Google Shape;867;p27"/>
            <p:cNvSpPr/>
            <p:nvPr/>
          </p:nvSpPr>
          <p:spPr>
            <a:xfrm>
              <a:off x="641522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8" name="Google Shape;868;p27"/>
            <p:cNvSpPr/>
            <p:nvPr/>
          </p:nvSpPr>
          <p:spPr>
            <a:xfrm>
              <a:off x="6405218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9" name="Google Shape;869;p27"/>
            <p:cNvSpPr/>
            <p:nvPr/>
          </p:nvSpPr>
          <p:spPr>
            <a:xfrm>
              <a:off x="6395209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0" name="Google Shape;870;p27"/>
            <p:cNvSpPr/>
            <p:nvPr/>
          </p:nvSpPr>
          <p:spPr>
            <a:xfrm>
              <a:off x="6385789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1" name="Google Shape;871;p27"/>
            <p:cNvSpPr/>
            <p:nvPr/>
          </p:nvSpPr>
          <p:spPr>
            <a:xfrm>
              <a:off x="6375781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2" name="Google Shape;872;p27"/>
            <p:cNvSpPr/>
            <p:nvPr/>
          </p:nvSpPr>
          <p:spPr>
            <a:xfrm>
              <a:off x="6365625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3" name="Google Shape;873;p27"/>
            <p:cNvSpPr/>
            <p:nvPr/>
          </p:nvSpPr>
          <p:spPr>
            <a:xfrm>
              <a:off x="6355616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4" name="Google Shape;874;p27"/>
            <p:cNvSpPr/>
            <p:nvPr/>
          </p:nvSpPr>
          <p:spPr>
            <a:xfrm>
              <a:off x="6345607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5" name="Google Shape;875;p27"/>
            <p:cNvSpPr/>
            <p:nvPr/>
          </p:nvSpPr>
          <p:spPr>
            <a:xfrm>
              <a:off x="6338101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6" name="Google Shape;876;p27"/>
            <p:cNvSpPr/>
            <p:nvPr/>
          </p:nvSpPr>
          <p:spPr>
            <a:xfrm>
              <a:off x="6328092" y="4685435"/>
              <a:ext cx="1913" cy="17662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7" name="Google Shape;877;p27"/>
            <p:cNvSpPr/>
            <p:nvPr/>
          </p:nvSpPr>
          <p:spPr>
            <a:xfrm>
              <a:off x="6317936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8" name="Google Shape;878;p27"/>
            <p:cNvSpPr/>
            <p:nvPr/>
          </p:nvSpPr>
          <p:spPr>
            <a:xfrm>
              <a:off x="6307927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9" name="Google Shape;879;p27"/>
            <p:cNvSpPr/>
            <p:nvPr/>
          </p:nvSpPr>
          <p:spPr>
            <a:xfrm>
              <a:off x="6297918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0" name="Google Shape;880;p27"/>
            <p:cNvSpPr/>
            <p:nvPr/>
          </p:nvSpPr>
          <p:spPr>
            <a:xfrm>
              <a:off x="6287910" y="4685435"/>
              <a:ext cx="4563" cy="17662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1" name="Google Shape;881;p27"/>
            <p:cNvSpPr/>
            <p:nvPr/>
          </p:nvSpPr>
          <p:spPr>
            <a:xfrm>
              <a:off x="6278490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2" name="Google Shape;882;p27"/>
            <p:cNvSpPr/>
            <p:nvPr/>
          </p:nvSpPr>
          <p:spPr>
            <a:xfrm>
              <a:off x="6268481" y="4685435"/>
              <a:ext cx="3827" cy="17662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3" name="Google Shape;883;p27"/>
            <p:cNvSpPr/>
            <p:nvPr/>
          </p:nvSpPr>
          <p:spPr>
            <a:xfrm>
              <a:off x="6258325" y="4685435"/>
              <a:ext cx="3974" cy="17662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4" name="Google Shape;884;p27"/>
            <p:cNvSpPr/>
            <p:nvPr/>
          </p:nvSpPr>
          <p:spPr>
            <a:xfrm>
              <a:off x="6250230" y="4685435"/>
              <a:ext cx="2061" cy="17662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5" name="Google Shape;885;p27"/>
            <p:cNvSpPr/>
            <p:nvPr/>
          </p:nvSpPr>
          <p:spPr>
            <a:xfrm>
              <a:off x="6240221" y="4685435"/>
              <a:ext cx="2649" cy="17662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886" name="Google Shape;886;p27"/>
          <p:cNvSpPr txBox="1">
            <a:spLocks noGrp="1"/>
          </p:cNvSpPr>
          <p:nvPr>
            <p:ph type="title"/>
          </p:nvPr>
        </p:nvSpPr>
        <p:spPr>
          <a:xfrm>
            <a:off x="4224000" y="2862833"/>
            <a:ext cx="3744000" cy="74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887" name="Google Shape;887;p27"/>
          <p:cNvSpPr txBox="1">
            <a:spLocks noGrp="1"/>
          </p:cNvSpPr>
          <p:nvPr>
            <p:ph type="body" idx="1"/>
          </p:nvPr>
        </p:nvSpPr>
        <p:spPr>
          <a:xfrm>
            <a:off x="4224000" y="3579660"/>
            <a:ext cx="3744000" cy="9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>
                <a:solidFill>
                  <a:schemeClr val="dk1"/>
                </a:solidFill>
              </a:defRPr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/>
            </a:lvl9pPr>
          </a:lstStyle>
          <a:p>
            <a:endParaRPr/>
          </a:p>
        </p:txBody>
      </p:sp>
      <p:sp>
        <p:nvSpPr>
          <p:cNvPr id="888" name="Google Shape;888;p27"/>
          <p:cNvSpPr txBox="1">
            <a:spLocks noGrp="1"/>
          </p:cNvSpPr>
          <p:nvPr>
            <p:ph type="title" idx="2" hasCustomPrompt="1"/>
          </p:nvPr>
        </p:nvSpPr>
        <p:spPr>
          <a:xfrm>
            <a:off x="4224000" y="1446500"/>
            <a:ext cx="3744000" cy="9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8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2447943344"/>
      </p:ext>
    </p:extLst>
  </p:cSld>
  <p:clrMapOvr>
    <a:masterClrMapping/>
  </p:clrMapOvr>
  <p:transition spd="slow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">
  <p:cSld name="Numbers and text"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p28"/>
          <p:cNvSpPr/>
          <p:nvPr/>
        </p:nvSpPr>
        <p:spPr>
          <a:xfrm>
            <a:off x="8469765" y="787467"/>
            <a:ext cx="1563220" cy="1526859"/>
          </a:xfrm>
          <a:custGeom>
            <a:avLst/>
            <a:gdLst/>
            <a:ahLst/>
            <a:cxnLst/>
            <a:rect l="l" t="t" r="r" b="b"/>
            <a:pathLst>
              <a:path w="8723" h="8706" extrusionOk="0">
                <a:moveTo>
                  <a:pt x="4362" y="0"/>
                </a:moveTo>
                <a:cubicBezTo>
                  <a:pt x="1961" y="0"/>
                  <a:pt x="1" y="1944"/>
                  <a:pt x="1" y="4345"/>
                </a:cubicBezTo>
                <a:cubicBezTo>
                  <a:pt x="1" y="6749"/>
                  <a:pt x="1961" y="8706"/>
                  <a:pt x="4362" y="8706"/>
                </a:cubicBezTo>
                <a:cubicBezTo>
                  <a:pt x="6766" y="8706"/>
                  <a:pt x="8723" y="6749"/>
                  <a:pt x="8723" y="4345"/>
                </a:cubicBezTo>
                <a:cubicBezTo>
                  <a:pt x="8723" y="1944"/>
                  <a:pt x="6766" y="0"/>
                  <a:pt x="4362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1" name="Google Shape;891;p28"/>
          <p:cNvSpPr/>
          <p:nvPr/>
        </p:nvSpPr>
        <p:spPr>
          <a:xfrm>
            <a:off x="-1132534" y="-505933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2" name="Google Shape;892;p28"/>
          <p:cNvSpPr/>
          <p:nvPr/>
        </p:nvSpPr>
        <p:spPr>
          <a:xfrm>
            <a:off x="-287301" y="3645607"/>
            <a:ext cx="2945241" cy="1889959"/>
          </a:xfrm>
          <a:custGeom>
            <a:avLst/>
            <a:gdLst/>
            <a:ahLst/>
            <a:cxnLst/>
            <a:rect l="l" t="t" r="r" b="b"/>
            <a:pathLst>
              <a:path w="9746" h="6254" extrusionOk="0">
                <a:moveTo>
                  <a:pt x="0" y="1"/>
                </a:moveTo>
                <a:lnTo>
                  <a:pt x="0" y="6092"/>
                </a:lnTo>
                <a:cubicBezTo>
                  <a:pt x="39" y="6131"/>
                  <a:pt x="94" y="6157"/>
                  <a:pt x="162" y="6186"/>
                </a:cubicBezTo>
                <a:cubicBezTo>
                  <a:pt x="282" y="6238"/>
                  <a:pt x="405" y="6254"/>
                  <a:pt x="541" y="6254"/>
                </a:cubicBezTo>
                <a:cubicBezTo>
                  <a:pt x="849" y="6254"/>
                  <a:pt x="1160" y="6092"/>
                  <a:pt x="1335" y="5833"/>
                </a:cubicBezTo>
                <a:cubicBezTo>
                  <a:pt x="1371" y="6021"/>
                  <a:pt x="1570" y="6139"/>
                  <a:pt x="1763" y="6139"/>
                </a:cubicBezTo>
                <a:cubicBezTo>
                  <a:pt x="1792" y="6139"/>
                  <a:pt x="1822" y="6136"/>
                  <a:pt x="1850" y="6131"/>
                </a:cubicBezTo>
                <a:cubicBezTo>
                  <a:pt x="2064" y="6076"/>
                  <a:pt x="2242" y="5930"/>
                  <a:pt x="2388" y="5781"/>
                </a:cubicBezTo>
                <a:cubicBezTo>
                  <a:pt x="2709" y="6054"/>
                  <a:pt x="3132" y="6222"/>
                  <a:pt x="3560" y="6222"/>
                </a:cubicBezTo>
                <a:cubicBezTo>
                  <a:pt x="3619" y="6222"/>
                  <a:pt x="3679" y="6219"/>
                  <a:pt x="3739" y="6212"/>
                </a:cubicBezTo>
                <a:cubicBezTo>
                  <a:pt x="4225" y="6173"/>
                  <a:pt x="4685" y="5930"/>
                  <a:pt x="4980" y="5551"/>
                </a:cubicBezTo>
                <a:cubicBezTo>
                  <a:pt x="5085" y="5759"/>
                  <a:pt x="5328" y="5857"/>
                  <a:pt x="5556" y="5857"/>
                </a:cubicBezTo>
                <a:cubicBezTo>
                  <a:pt x="5595" y="5857"/>
                  <a:pt x="5633" y="5855"/>
                  <a:pt x="5670" y="5849"/>
                </a:cubicBezTo>
                <a:cubicBezTo>
                  <a:pt x="5939" y="5807"/>
                  <a:pt x="6169" y="5658"/>
                  <a:pt x="6399" y="5509"/>
                </a:cubicBezTo>
                <a:cubicBezTo>
                  <a:pt x="6464" y="5683"/>
                  <a:pt x="6653" y="5781"/>
                  <a:pt x="6838" y="5781"/>
                </a:cubicBezTo>
                <a:cubicBezTo>
                  <a:pt x="6955" y="5781"/>
                  <a:pt x="7071" y="5742"/>
                  <a:pt x="7154" y="5658"/>
                </a:cubicBezTo>
                <a:cubicBezTo>
                  <a:pt x="7291" y="5764"/>
                  <a:pt x="7465" y="5815"/>
                  <a:pt x="7640" y="5815"/>
                </a:cubicBezTo>
                <a:cubicBezTo>
                  <a:pt x="7844" y="5815"/>
                  <a:pt x="8049" y="5744"/>
                  <a:pt x="8194" y="5606"/>
                </a:cubicBezTo>
                <a:cubicBezTo>
                  <a:pt x="8274" y="5684"/>
                  <a:pt x="8385" y="5725"/>
                  <a:pt x="8496" y="5725"/>
                </a:cubicBezTo>
                <a:cubicBezTo>
                  <a:pt x="8591" y="5725"/>
                  <a:pt x="8686" y="5695"/>
                  <a:pt x="8761" y="5632"/>
                </a:cubicBezTo>
                <a:cubicBezTo>
                  <a:pt x="8798" y="5704"/>
                  <a:pt x="8883" y="5727"/>
                  <a:pt x="8971" y="5727"/>
                </a:cubicBezTo>
                <a:cubicBezTo>
                  <a:pt x="9014" y="5727"/>
                  <a:pt x="9058" y="5721"/>
                  <a:pt x="9098" y="5713"/>
                </a:cubicBezTo>
                <a:cubicBezTo>
                  <a:pt x="9260" y="5700"/>
                  <a:pt x="9435" y="5671"/>
                  <a:pt x="9597" y="5645"/>
                </a:cubicBezTo>
                <a:cubicBezTo>
                  <a:pt x="9626" y="5645"/>
                  <a:pt x="9652" y="5632"/>
                  <a:pt x="9678" y="5619"/>
                </a:cubicBezTo>
                <a:cubicBezTo>
                  <a:pt x="9746" y="5551"/>
                  <a:pt x="9626" y="5457"/>
                  <a:pt x="9532" y="5457"/>
                </a:cubicBezTo>
                <a:cubicBezTo>
                  <a:pt x="9435" y="5457"/>
                  <a:pt x="9328" y="5483"/>
                  <a:pt x="9247" y="5538"/>
                </a:cubicBezTo>
                <a:cubicBezTo>
                  <a:pt x="9227" y="5452"/>
                  <a:pt x="9148" y="5402"/>
                  <a:pt x="9070" y="5402"/>
                </a:cubicBezTo>
                <a:cubicBezTo>
                  <a:pt x="9047" y="5402"/>
                  <a:pt x="9025" y="5406"/>
                  <a:pt x="9004" y="5415"/>
                </a:cubicBezTo>
                <a:cubicBezTo>
                  <a:pt x="8978" y="5444"/>
                  <a:pt x="8949" y="5457"/>
                  <a:pt x="8923" y="5470"/>
                </a:cubicBezTo>
                <a:cubicBezTo>
                  <a:pt x="8916" y="5471"/>
                  <a:pt x="8910" y="5472"/>
                  <a:pt x="8903" y="5472"/>
                </a:cubicBezTo>
                <a:cubicBezTo>
                  <a:pt x="8833" y="5472"/>
                  <a:pt x="8783" y="5410"/>
                  <a:pt x="8735" y="5363"/>
                </a:cubicBezTo>
                <a:cubicBezTo>
                  <a:pt x="8599" y="5201"/>
                  <a:pt x="8437" y="5065"/>
                  <a:pt x="8236" y="5010"/>
                </a:cubicBezTo>
                <a:cubicBezTo>
                  <a:pt x="8180" y="4996"/>
                  <a:pt x="8123" y="4988"/>
                  <a:pt x="8066" y="4988"/>
                </a:cubicBezTo>
                <a:cubicBezTo>
                  <a:pt x="7913" y="4988"/>
                  <a:pt x="7761" y="5041"/>
                  <a:pt x="7653" y="5159"/>
                </a:cubicBezTo>
                <a:cubicBezTo>
                  <a:pt x="7721" y="5078"/>
                  <a:pt x="7303" y="4848"/>
                  <a:pt x="7248" y="4835"/>
                </a:cubicBezTo>
                <a:cubicBezTo>
                  <a:pt x="7178" y="4810"/>
                  <a:pt x="7108" y="4795"/>
                  <a:pt x="7040" y="4795"/>
                </a:cubicBezTo>
                <a:cubicBezTo>
                  <a:pt x="6927" y="4795"/>
                  <a:pt x="6821" y="4835"/>
                  <a:pt x="6736" y="4929"/>
                </a:cubicBezTo>
                <a:cubicBezTo>
                  <a:pt x="6655" y="4537"/>
                  <a:pt x="6344" y="4200"/>
                  <a:pt x="5952" y="4106"/>
                </a:cubicBezTo>
                <a:cubicBezTo>
                  <a:pt x="5874" y="4087"/>
                  <a:pt x="5794" y="4078"/>
                  <a:pt x="5714" y="4078"/>
                </a:cubicBezTo>
                <a:cubicBezTo>
                  <a:pt x="5392" y="4078"/>
                  <a:pt x="5067" y="4223"/>
                  <a:pt x="4873" y="4472"/>
                </a:cubicBezTo>
                <a:cubicBezTo>
                  <a:pt x="4873" y="4275"/>
                  <a:pt x="4674" y="4135"/>
                  <a:pt x="4483" y="4135"/>
                </a:cubicBezTo>
                <a:cubicBezTo>
                  <a:pt x="4410" y="4135"/>
                  <a:pt x="4339" y="4155"/>
                  <a:pt x="4280" y="4200"/>
                </a:cubicBezTo>
                <a:cubicBezTo>
                  <a:pt x="4307" y="3976"/>
                  <a:pt x="4076" y="3810"/>
                  <a:pt x="3865" y="3810"/>
                </a:cubicBezTo>
                <a:cubicBezTo>
                  <a:pt x="3771" y="3810"/>
                  <a:pt x="3681" y="3843"/>
                  <a:pt x="3619" y="3918"/>
                </a:cubicBezTo>
                <a:cubicBezTo>
                  <a:pt x="3765" y="3458"/>
                  <a:pt x="3551" y="2904"/>
                  <a:pt x="3133" y="2690"/>
                </a:cubicBezTo>
                <a:cubicBezTo>
                  <a:pt x="2993" y="2620"/>
                  <a:pt x="2838" y="2587"/>
                  <a:pt x="2683" y="2587"/>
                </a:cubicBezTo>
                <a:cubicBezTo>
                  <a:pt x="2358" y="2587"/>
                  <a:pt x="2032" y="2734"/>
                  <a:pt x="1850" y="2998"/>
                </a:cubicBezTo>
                <a:cubicBezTo>
                  <a:pt x="1837" y="2674"/>
                  <a:pt x="1837" y="2337"/>
                  <a:pt x="1675" y="2055"/>
                </a:cubicBezTo>
                <a:cubicBezTo>
                  <a:pt x="1540" y="1839"/>
                  <a:pt x="1299" y="1679"/>
                  <a:pt x="1060" y="1679"/>
                </a:cubicBezTo>
                <a:cubicBezTo>
                  <a:pt x="984" y="1679"/>
                  <a:pt x="908" y="1695"/>
                  <a:pt x="836" y="1731"/>
                </a:cubicBezTo>
                <a:cubicBezTo>
                  <a:pt x="983" y="1498"/>
                  <a:pt x="753" y="1153"/>
                  <a:pt x="486" y="1153"/>
                </a:cubicBezTo>
                <a:cubicBezTo>
                  <a:pt x="459" y="1153"/>
                  <a:pt x="432" y="1157"/>
                  <a:pt x="405" y="1164"/>
                </a:cubicBezTo>
                <a:cubicBezTo>
                  <a:pt x="593" y="1109"/>
                  <a:pt x="486" y="584"/>
                  <a:pt x="431" y="474"/>
                </a:cubicBezTo>
                <a:cubicBezTo>
                  <a:pt x="350" y="260"/>
                  <a:pt x="188" y="98"/>
                  <a:pt x="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3" name="Google Shape;893;p28"/>
          <p:cNvSpPr/>
          <p:nvPr/>
        </p:nvSpPr>
        <p:spPr>
          <a:xfrm>
            <a:off x="8156693" y="444452"/>
            <a:ext cx="4035276" cy="1851277"/>
          </a:xfrm>
          <a:custGeom>
            <a:avLst/>
            <a:gdLst/>
            <a:ahLst/>
            <a:cxnLst/>
            <a:rect l="l" t="t" r="r" b="b"/>
            <a:pathLst>
              <a:path w="13353" h="6126" extrusionOk="0">
                <a:moveTo>
                  <a:pt x="13095" y="1"/>
                </a:moveTo>
                <a:cubicBezTo>
                  <a:pt x="13024" y="1"/>
                  <a:pt x="12953" y="8"/>
                  <a:pt x="12880" y="21"/>
                </a:cubicBezTo>
                <a:cubicBezTo>
                  <a:pt x="12313" y="102"/>
                  <a:pt x="11921" y="588"/>
                  <a:pt x="11840" y="1139"/>
                </a:cubicBezTo>
                <a:cubicBezTo>
                  <a:pt x="11652" y="925"/>
                  <a:pt x="11302" y="750"/>
                  <a:pt x="11017" y="750"/>
                </a:cubicBezTo>
                <a:cubicBezTo>
                  <a:pt x="11003" y="749"/>
                  <a:pt x="10989" y="748"/>
                  <a:pt x="10975" y="748"/>
                </a:cubicBezTo>
                <a:cubicBezTo>
                  <a:pt x="10799" y="748"/>
                  <a:pt x="10615" y="841"/>
                  <a:pt x="10492" y="964"/>
                </a:cubicBezTo>
                <a:cubicBezTo>
                  <a:pt x="10343" y="1113"/>
                  <a:pt x="10275" y="1317"/>
                  <a:pt x="10288" y="1518"/>
                </a:cubicBezTo>
                <a:cubicBezTo>
                  <a:pt x="10211" y="1506"/>
                  <a:pt x="10129" y="1493"/>
                  <a:pt x="10048" y="1493"/>
                </a:cubicBezTo>
                <a:cubicBezTo>
                  <a:pt x="9957" y="1493"/>
                  <a:pt x="9868" y="1509"/>
                  <a:pt x="9789" y="1560"/>
                </a:cubicBezTo>
                <a:cubicBezTo>
                  <a:pt x="9666" y="1654"/>
                  <a:pt x="9614" y="1816"/>
                  <a:pt x="9666" y="1965"/>
                </a:cubicBezTo>
                <a:cubicBezTo>
                  <a:pt x="9465" y="1774"/>
                  <a:pt x="9180" y="1654"/>
                  <a:pt x="8911" y="1654"/>
                </a:cubicBezTo>
                <a:cubicBezTo>
                  <a:pt x="8629" y="1654"/>
                  <a:pt x="8344" y="1803"/>
                  <a:pt x="8195" y="2030"/>
                </a:cubicBezTo>
                <a:cubicBezTo>
                  <a:pt x="8114" y="2153"/>
                  <a:pt x="8075" y="2302"/>
                  <a:pt x="8033" y="2451"/>
                </a:cubicBezTo>
                <a:cubicBezTo>
                  <a:pt x="7981" y="2678"/>
                  <a:pt x="8020" y="2882"/>
                  <a:pt x="8007" y="3112"/>
                </a:cubicBezTo>
                <a:cubicBezTo>
                  <a:pt x="7888" y="3061"/>
                  <a:pt x="7763" y="3015"/>
                  <a:pt x="7636" y="3015"/>
                </a:cubicBezTo>
                <a:cubicBezTo>
                  <a:pt x="7562" y="3015"/>
                  <a:pt x="7488" y="3030"/>
                  <a:pt x="7414" y="3070"/>
                </a:cubicBezTo>
                <a:cubicBezTo>
                  <a:pt x="7210" y="3164"/>
                  <a:pt x="7090" y="3368"/>
                  <a:pt x="7074" y="3585"/>
                </a:cubicBezTo>
                <a:cubicBezTo>
                  <a:pt x="6891" y="3395"/>
                  <a:pt x="6691" y="3317"/>
                  <a:pt x="6491" y="3317"/>
                </a:cubicBezTo>
                <a:cubicBezTo>
                  <a:pt x="5877" y="3317"/>
                  <a:pt x="5255" y="4053"/>
                  <a:pt x="5091" y="4583"/>
                </a:cubicBezTo>
                <a:cubicBezTo>
                  <a:pt x="4916" y="4366"/>
                  <a:pt x="4699" y="4152"/>
                  <a:pt x="4417" y="4110"/>
                </a:cubicBezTo>
                <a:cubicBezTo>
                  <a:pt x="4396" y="4107"/>
                  <a:pt x="4374" y="4106"/>
                  <a:pt x="4352" y="4106"/>
                </a:cubicBezTo>
                <a:cubicBezTo>
                  <a:pt x="4085" y="4106"/>
                  <a:pt x="3813" y="4319"/>
                  <a:pt x="3876" y="4583"/>
                </a:cubicBezTo>
                <a:cubicBezTo>
                  <a:pt x="3687" y="4484"/>
                  <a:pt x="3490" y="4393"/>
                  <a:pt x="3289" y="4393"/>
                </a:cubicBezTo>
                <a:cubicBezTo>
                  <a:pt x="3273" y="4393"/>
                  <a:pt x="3257" y="4394"/>
                  <a:pt x="3241" y="4395"/>
                </a:cubicBezTo>
                <a:cubicBezTo>
                  <a:pt x="2972" y="4421"/>
                  <a:pt x="2849" y="4609"/>
                  <a:pt x="2755" y="4826"/>
                </a:cubicBezTo>
                <a:cubicBezTo>
                  <a:pt x="2679" y="4710"/>
                  <a:pt x="2540" y="4643"/>
                  <a:pt x="2403" y="4643"/>
                </a:cubicBezTo>
                <a:cubicBezTo>
                  <a:pt x="2348" y="4643"/>
                  <a:pt x="2293" y="4654"/>
                  <a:pt x="2243" y="4677"/>
                </a:cubicBezTo>
                <a:cubicBezTo>
                  <a:pt x="2052" y="4745"/>
                  <a:pt x="1932" y="4933"/>
                  <a:pt x="1919" y="5137"/>
                </a:cubicBezTo>
                <a:cubicBezTo>
                  <a:pt x="1878" y="5027"/>
                  <a:pt x="1766" y="4961"/>
                  <a:pt x="1650" y="4961"/>
                </a:cubicBezTo>
                <a:cubicBezTo>
                  <a:pt x="1608" y="4961"/>
                  <a:pt x="1566" y="4970"/>
                  <a:pt x="1527" y="4988"/>
                </a:cubicBezTo>
                <a:cubicBezTo>
                  <a:pt x="1378" y="5043"/>
                  <a:pt x="1297" y="5189"/>
                  <a:pt x="1271" y="5351"/>
                </a:cubicBezTo>
                <a:cubicBezTo>
                  <a:pt x="1189" y="5294"/>
                  <a:pt x="1103" y="5258"/>
                  <a:pt x="1015" y="5258"/>
                </a:cubicBezTo>
                <a:cubicBezTo>
                  <a:pt x="956" y="5258"/>
                  <a:pt x="897" y="5274"/>
                  <a:pt x="837" y="5312"/>
                </a:cubicBezTo>
                <a:cubicBezTo>
                  <a:pt x="798" y="5351"/>
                  <a:pt x="743" y="5406"/>
                  <a:pt x="691" y="5432"/>
                </a:cubicBezTo>
                <a:cubicBezTo>
                  <a:pt x="623" y="5461"/>
                  <a:pt x="542" y="5461"/>
                  <a:pt x="474" y="5461"/>
                </a:cubicBezTo>
                <a:lnTo>
                  <a:pt x="43" y="5461"/>
                </a:lnTo>
                <a:cubicBezTo>
                  <a:pt x="1" y="5513"/>
                  <a:pt x="69" y="5581"/>
                  <a:pt x="137" y="5610"/>
                </a:cubicBezTo>
                <a:cubicBezTo>
                  <a:pt x="284" y="5676"/>
                  <a:pt x="459" y="5710"/>
                  <a:pt x="636" y="5710"/>
                </a:cubicBezTo>
                <a:cubicBezTo>
                  <a:pt x="813" y="5710"/>
                  <a:pt x="992" y="5676"/>
                  <a:pt x="1148" y="5610"/>
                </a:cubicBezTo>
                <a:cubicBezTo>
                  <a:pt x="1221" y="5677"/>
                  <a:pt x="1320" y="5708"/>
                  <a:pt x="1422" y="5708"/>
                </a:cubicBezTo>
                <a:cubicBezTo>
                  <a:pt x="1588" y="5708"/>
                  <a:pt x="1762" y="5625"/>
                  <a:pt x="1838" y="5474"/>
                </a:cubicBezTo>
                <a:cubicBezTo>
                  <a:pt x="1917" y="5516"/>
                  <a:pt x="2010" y="5537"/>
                  <a:pt x="2104" y="5537"/>
                </a:cubicBezTo>
                <a:cubicBezTo>
                  <a:pt x="2219" y="5537"/>
                  <a:pt x="2335" y="5507"/>
                  <a:pt x="2431" y="5448"/>
                </a:cubicBezTo>
                <a:cubicBezTo>
                  <a:pt x="2623" y="5738"/>
                  <a:pt x="2969" y="5948"/>
                  <a:pt x="3307" y="5948"/>
                </a:cubicBezTo>
                <a:cubicBezTo>
                  <a:pt x="3517" y="5948"/>
                  <a:pt x="3724" y="5867"/>
                  <a:pt x="3889" y="5675"/>
                </a:cubicBezTo>
                <a:cubicBezTo>
                  <a:pt x="3955" y="5950"/>
                  <a:pt x="4250" y="6126"/>
                  <a:pt x="4540" y="6126"/>
                </a:cubicBezTo>
                <a:cubicBezTo>
                  <a:pt x="4608" y="6126"/>
                  <a:pt x="4676" y="6116"/>
                  <a:pt x="4741" y="6096"/>
                </a:cubicBezTo>
                <a:cubicBezTo>
                  <a:pt x="5078" y="5999"/>
                  <a:pt x="5308" y="5662"/>
                  <a:pt x="5373" y="5325"/>
                </a:cubicBezTo>
                <a:lnTo>
                  <a:pt x="5373" y="5325"/>
                </a:lnTo>
                <a:cubicBezTo>
                  <a:pt x="5334" y="5529"/>
                  <a:pt x="6037" y="5756"/>
                  <a:pt x="6157" y="5785"/>
                </a:cubicBezTo>
                <a:cubicBezTo>
                  <a:pt x="6211" y="5792"/>
                  <a:pt x="6262" y="5796"/>
                  <a:pt x="6313" y="5796"/>
                </a:cubicBezTo>
                <a:cubicBezTo>
                  <a:pt x="6617" y="5796"/>
                  <a:pt x="6866" y="5672"/>
                  <a:pt x="7155" y="5555"/>
                </a:cubicBezTo>
                <a:cubicBezTo>
                  <a:pt x="7171" y="5662"/>
                  <a:pt x="7252" y="5772"/>
                  <a:pt x="7359" y="5798"/>
                </a:cubicBezTo>
                <a:cubicBezTo>
                  <a:pt x="7381" y="5803"/>
                  <a:pt x="7403" y="5806"/>
                  <a:pt x="7426" y="5806"/>
                </a:cubicBezTo>
                <a:cubicBezTo>
                  <a:pt x="7514" y="5806"/>
                  <a:pt x="7603" y="5766"/>
                  <a:pt x="7657" y="5691"/>
                </a:cubicBezTo>
                <a:cubicBezTo>
                  <a:pt x="7777" y="5853"/>
                  <a:pt x="7981" y="5947"/>
                  <a:pt x="8182" y="5973"/>
                </a:cubicBezTo>
                <a:cubicBezTo>
                  <a:pt x="8219" y="5978"/>
                  <a:pt x="8255" y="5980"/>
                  <a:pt x="8293" y="5980"/>
                </a:cubicBezTo>
                <a:cubicBezTo>
                  <a:pt x="8462" y="5980"/>
                  <a:pt x="8634" y="5935"/>
                  <a:pt x="8791" y="5879"/>
                </a:cubicBezTo>
                <a:cubicBezTo>
                  <a:pt x="9128" y="5772"/>
                  <a:pt x="9504" y="5568"/>
                  <a:pt x="9763" y="5325"/>
                </a:cubicBezTo>
                <a:cubicBezTo>
                  <a:pt x="9883" y="5662"/>
                  <a:pt x="10233" y="5905"/>
                  <a:pt x="10599" y="5905"/>
                </a:cubicBezTo>
                <a:cubicBezTo>
                  <a:pt x="10608" y="5905"/>
                  <a:pt x="10617" y="5905"/>
                  <a:pt x="10627" y="5905"/>
                </a:cubicBezTo>
                <a:cubicBezTo>
                  <a:pt x="10980" y="5905"/>
                  <a:pt x="11331" y="5666"/>
                  <a:pt x="11464" y="5338"/>
                </a:cubicBezTo>
                <a:cubicBezTo>
                  <a:pt x="11477" y="5649"/>
                  <a:pt x="11720" y="5934"/>
                  <a:pt x="12015" y="5999"/>
                </a:cubicBezTo>
                <a:cubicBezTo>
                  <a:pt x="12055" y="6006"/>
                  <a:pt x="12097" y="6009"/>
                  <a:pt x="12138" y="6009"/>
                </a:cubicBezTo>
                <a:cubicBezTo>
                  <a:pt x="12411" y="6009"/>
                  <a:pt x="12681" y="5855"/>
                  <a:pt x="12799" y="5610"/>
                </a:cubicBezTo>
                <a:cubicBezTo>
                  <a:pt x="12922" y="5811"/>
                  <a:pt x="13123" y="5960"/>
                  <a:pt x="13353" y="6054"/>
                </a:cubicBezTo>
                <a:lnTo>
                  <a:pt x="13353" y="34"/>
                </a:lnTo>
                <a:cubicBezTo>
                  <a:pt x="13265" y="11"/>
                  <a:pt x="13180" y="1"/>
                  <a:pt x="13095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4" name="Google Shape;894;p28"/>
          <p:cNvSpPr/>
          <p:nvPr/>
        </p:nvSpPr>
        <p:spPr>
          <a:xfrm>
            <a:off x="5593845" y="4995200"/>
            <a:ext cx="6725079" cy="566761"/>
          </a:xfrm>
          <a:custGeom>
            <a:avLst/>
            <a:gdLst/>
            <a:ahLst/>
            <a:cxnLst/>
            <a:rect l="l" t="t" r="r" b="b"/>
            <a:pathLst>
              <a:path w="27784" h="3594" extrusionOk="0">
                <a:moveTo>
                  <a:pt x="27784" y="1"/>
                </a:moveTo>
                <a:cubicBezTo>
                  <a:pt x="13745" y="218"/>
                  <a:pt x="1" y="3432"/>
                  <a:pt x="1" y="3432"/>
                </a:cubicBezTo>
                <a:lnTo>
                  <a:pt x="21061" y="3552"/>
                </a:lnTo>
                <a:lnTo>
                  <a:pt x="27784" y="3594"/>
                </a:lnTo>
                <a:lnTo>
                  <a:pt x="27784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5" name="Google Shape;895;p28"/>
          <p:cNvSpPr/>
          <p:nvPr/>
        </p:nvSpPr>
        <p:spPr>
          <a:xfrm>
            <a:off x="-65195" y="4995205"/>
            <a:ext cx="12384144" cy="1394827"/>
          </a:xfrm>
          <a:custGeom>
            <a:avLst/>
            <a:gdLst/>
            <a:ahLst/>
            <a:cxnLst/>
            <a:rect l="l" t="t" r="r" b="b"/>
            <a:pathLst>
              <a:path w="45536" h="8845" extrusionOk="0">
                <a:moveTo>
                  <a:pt x="10609" y="1"/>
                </a:moveTo>
                <a:cubicBezTo>
                  <a:pt x="2565" y="1"/>
                  <a:pt x="1" y="719"/>
                  <a:pt x="1" y="719"/>
                </a:cubicBezTo>
                <a:lnTo>
                  <a:pt x="1" y="8845"/>
                </a:lnTo>
                <a:lnTo>
                  <a:pt x="45536" y="8845"/>
                </a:lnTo>
                <a:lnTo>
                  <a:pt x="45536" y="3230"/>
                </a:lnTo>
                <a:cubicBezTo>
                  <a:pt x="44954" y="3336"/>
                  <a:pt x="44228" y="3384"/>
                  <a:pt x="43384" y="3384"/>
                </a:cubicBezTo>
                <a:cubicBezTo>
                  <a:pt x="36402" y="3384"/>
                  <a:pt x="21312" y="137"/>
                  <a:pt x="12676" y="16"/>
                </a:cubicBezTo>
                <a:cubicBezTo>
                  <a:pt x="11950" y="6"/>
                  <a:pt x="11262" y="1"/>
                  <a:pt x="106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6" name="Google Shape;896;p28"/>
          <p:cNvSpPr/>
          <p:nvPr/>
        </p:nvSpPr>
        <p:spPr>
          <a:xfrm>
            <a:off x="4951" y="5418021"/>
            <a:ext cx="11325455" cy="826331"/>
          </a:xfrm>
          <a:custGeom>
            <a:avLst/>
            <a:gdLst/>
            <a:ahLst/>
            <a:cxnLst/>
            <a:rect l="l" t="t" r="r" b="b"/>
            <a:pathLst>
              <a:path w="46790" h="3483" extrusionOk="0">
                <a:moveTo>
                  <a:pt x="24123" y="0"/>
                </a:moveTo>
                <a:cubicBezTo>
                  <a:pt x="12297" y="0"/>
                  <a:pt x="1" y="1740"/>
                  <a:pt x="1" y="1740"/>
                </a:cubicBezTo>
                <a:lnTo>
                  <a:pt x="1" y="3483"/>
                </a:lnTo>
                <a:lnTo>
                  <a:pt x="46790" y="3483"/>
                </a:lnTo>
                <a:lnTo>
                  <a:pt x="46790" y="2388"/>
                </a:lnTo>
                <a:cubicBezTo>
                  <a:pt x="46790" y="2388"/>
                  <a:pt x="35949" y="0"/>
                  <a:pt x="24123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7" name="Google Shape;897;p28"/>
          <p:cNvSpPr/>
          <p:nvPr/>
        </p:nvSpPr>
        <p:spPr>
          <a:xfrm>
            <a:off x="-65194" y="5535571"/>
            <a:ext cx="12384175" cy="1322444"/>
          </a:xfrm>
          <a:custGeom>
            <a:avLst/>
            <a:gdLst/>
            <a:ahLst/>
            <a:cxnLst/>
            <a:rect l="l" t="t" r="r" b="b"/>
            <a:pathLst>
              <a:path w="51164" h="8386" extrusionOk="0">
                <a:moveTo>
                  <a:pt x="51164" y="1"/>
                </a:moveTo>
                <a:cubicBezTo>
                  <a:pt x="51164" y="1"/>
                  <a:pt x="12488" y="1783"/>
                  <a:pt x="1" y="4579"/>
                </a:cubicBezTo>
                <a:lnTo>
                  <a:pt x="1" y="8386"/>
                </a:lnTo>
                <a:lnTo>
                  <a:pt x="51164" y="8386"/>
                </a:lnTo>
                <a:lnTo>
                  <a:pt x="51164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8" name="Google Shape;898;p28"/>
          <p:cNvSpPr/>
          <p:nvPr/>
        </p:nvSpPr>
        <p:spPr>
          <a:xfrm>
            <a:off x="-65200" y="6031671"/>
            <a:ext cx="12384175" cy="826341"/>
          </a:xfrm>
          <a:custGeom>
            <a:avLst/>
            <a:gdLst/>
            <a:ahLst/>
            <a:cxnLst/>
            <a:rect l="l" t="t" r="r" b="b"/>
            <a:pathLst>
              <a:path w="51164" h="7555" extrusionOk="0">
                <a:moveTo>
                  <a:pt x="7656" y="1"/>
                </a:moveTo>
                <a:cubicBezTo>
                  <a:pt x="2876" y="1"/>
                  <a:pt x="1" y="385"/>
                  <a:pt x="1" y="385"/>
                </a:cubicBezTo>
                <a:lnTo>
                  <a:pt x="1" y="7555"/>
                </a:lnTo>
                <a:lnTo>
                  <a:pt x="51164" y="7555"/>
                </a:lnTo>
                <a:lnTo>
                  <a:pt x="51164" y="3249"/>
                </a:lnTo>
                <a:cubicBezTo>
                  <a:pt x="49225" y="3578"/>
                  <a:pt x="47012" y="3826"/>
                  <a:pt x="44108" y="3826"/>
                </a:cubicBezTo>
                <a:cubicBezTo>
                  <a:pt x="39852" y="3826"/>
                  <a:pt x="34112" y="3292"/>
                  <a:pt x="25581" y="1694"/>
                </a:cubicBezTo>
                <a:cubicBezTo>
                  <a:pt x="18442" y="347"/>
                  <a:pt x="12191" y="1"/>
                  <a:pt x="765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9" name="Google Shape;899;p28"/>
          <p:cNvSpPr txBox="1">
            <a:spLocks noGrp="1"/>
          </p:cNvSpPr>
          <p:nvPr>
            <p:ph type="title" hasCustomPrompt="1"/>
          </p:nvPr>
        </p:nvSpPr>
        <p:spPr>
          <a:xfrm>
            <a:off x="960096" y="1155867"/>
            <a:ext cx="6018000" cy="138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2pPr>
            <a:lvl3pPr lvl="2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3pPr>
            <a:lvl4pPr lvl="3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4pPr>
            <a:lvl5pPr lvl="4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5pPr>
            <a:lvl6pPr lvl="5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6pPr>
            <a:lvl7pPr lvl="6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7pPr>
            <a:lvl8pPr lvl="7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8pPr>
            <a:lvl9pPr lvl="8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900" name="Google Shape;900;p28"/>
          <p:cNvSpPr txBox="1">
            <a:spLocks noGrp="1"/>
          </p:cNvSpPr>
          <p:nvPr>
            <p:ph type="subTitle" idx="1"/>
          </p:nvPr>
        </p:nvSpPr>
        <p:spPr>
          <a:xfrm>
            <a:off x="960032" y="2335133"/>
            <a:ext cx="6018000" cy="57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9pPr>
          </a:lstStyle>
          <a:p>
            <a:endParaRPr/>
          </a:p>
        </p:txBody>
      </p:sp>
      <p:sp>
        <p:nvSpPr>
          <p:cNvPr id="901" name="Google Shape;901;p28"/>
          <p:cNvSpPr txBox="1">
            <a:spLocks noGrp="1"/>
          </p:cNvSpPr>
          <p:nvPr>
            <p:ph type="title" idx="2" hasCustomPrompt="1"/>
          </p:nvPr>
        </p:nvSpPr>
        <p:spPr>
          <a:xfrm>
            <a:off x="960175" y="3047349"/>
            <a:ext cx="6018000" cy="138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2pPr>
            <a:lvl3pPr lvl="2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3pPr>
            <a:lvl4pPr lvl="3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4pPr>
            <a:lvl5pPr lvl="4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5pPr>
            <a:lvl6pPr lvl="5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6pPr>
            <a:lvl7pPr lvl="6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7pPr>
            <a:lvl8pPr lvl="7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8pPr>
            <a:lvl9pPr lvl="8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902" name="Google Shape;902;p28"/>
          <p:cNvSpPr txBox="1">
            <a:spLocks noGrp="1"/>
          </p:cNvSpPr>
          <p:nvPr>
            <p:ph type="subTitle" idx="3"/>
          </p:nvPr>
        </p:nvSpPr>
        <p:spPr>
          <a:xfrm>
            <a:off x="960000" y="4226617"/>
            <a:ext cx="6018000" cy="57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133">
                <a:solidFill>
                  <a:srgbClr val="242424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94502418"/>
      </p:ext>
    </p:extLst>
  </p:cSld>
  <p:clrMapOvr>
    <a:masterClrMapping/>
  </p:clrMapOvr>
  <p:transition spd="slow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" name="Google Shape;904;p29"/>
          <p:cNvSpPr/>
          <p:nvPr/>
        </p:nvSpPr>
        <p:spPr>
          <a:xfrm flipH="1">
            <a:off x="65" y="4683734"/>
            <a:ext cx="5317036" cy="2140793"/>
          </a:xfrm>
          <a:custGeom>
            <a:avLst/>
            <a:gdLst/>
            <a:ahLst/>
            <a:cxnLst/>
            <a:rect l="l" t="t" r="r" b="b"/>
            <a:pathLst>
              <a:path w="32291" h="10923" extrusionOk="0">
                <a:moveTo>
                  <a:pt x="32291" y="1"/>
                </a:moveTo>
                <a:cubicBezTo>
                  <a:pt x="31915" y="189"/>
                  <a:pt x="31293" y="432"/>
                  <a:pt x="30509" y="542"/>
                </a:cubicBezTo>
                <a:cubicBezTo>
                  <a:pt x="29229" y="704"/>
                  <a:pt x="28795" y="1109"/>
                  <a:pt x="27797" y="1352"/>
                </a:cubicBezTo>
                <a:cubicBezTo>
                  <a:pt x="27649" y="1387"/>
                  <a:pt x="27508" y="1402"/>
                  <a:pt x="27371" y="1402"/>
                </a:cubicBezTo>
                <a:cubicBezTo>
                  <a:pt x="26657" y="1402"/>
                  <a:pt x="26030" y="1004"/>
                  <a:pt x="25053" y="1004"/>
                </a:cubicBezTo>
                <a:cubicBezTo>
                  <a:pt x="24922" y="1004"/>
                  <a:pt x="24783" y="1012"/>
                  <a:pt x="24638" y="1028"/>
                </a:cubicBezTo>
                <a:cubicBezTo>
                  <a:pt x="23206" y="1190"/>
                  <a:pt x="23491" y="1676"/>
                  <a:pt x="21492" y="1757"/>
                </a:cubicBezTo>
                <a:cubicBezTo>
                  <a:pt x="19480" y="1838"/>
                  <a:pt x="20345" y="2405"/>
                  <a:pt x="18197" y="2742"/>
                </a:cubicBezTo>
                <a:cubicBezTo>
                  <a:pt x="16039" y="3066"/>
                  <a:pt x="17186" y="3309"/>
                  <a:pt x="15903" y="3552"/>
                </a:cubicBezTo>
                <a:cubicBezTo>
                  <a:pt x="14607" y="3795"/>
                  <a:pt x="14607" y="4038"/>
                  <a:pt x="14040" y="4362"/>
                </a:cubicBezTo>
                <a:cubicBezTo>
                  <a:pt x="13909" y="4435"/>
                  <a:pt x="13771" y="4463"/>
                  <a:pt x="13611" y="4463"/>
                </a:cubicBezTo>
                <a:cubicBezTo>
                  <a:pt x="13111" y="4463"/>
                  <a:pt x="12398" y="4192"/>
                  <a:pt x="11017" y="4192"/>
                </a:cubicBezTo>
                <a:cubicBezTo>
                  <a:pt x="10884" y="4192"/>
                  <a:pt x="10745" y="4194"/>
                  <a:pt x="10599" y="4200"/>
                </a:cubicBezTo>
                <a:cubicBezTo>
                  <a:pt x="8451" y="4281"/>
                  <a:pt x="8020" y="5023"/>
                  <a:pt x="8020" y="5023"/>
                </a:cubicBezTo>
                <a:lnTo>
                  <a:pt x="7019" y="4767"/>
                </a:lnTo>
                <a:cubicBezTo>
                  <a:pt x="6852" y="4751"/>
                  <a:pt x="6696" y="4744"/>
                  <a:pt x="6550" y="4744"/>
                </a:cubicBezTo>
                <a:cubicBezTo>
                  <a:pt x="5178" y="4744"/>
                  <a:pt x="4628" y="5378"/>
                  <a:pt x="3727" y="5671"/>
                </a:cubicBezTo>
                <a:cubicBezTo>
                  <a:pt x="2713" y="5995"/>
                  <a:pt x="1" y="5995"/>
                  <a:pt x="1" y="5995"/>
                </a:cubicBezTo>
                <a:cubicBezTo>
                  <a:pt x="1" y="5995"/>
                  <a:pt x="1851" y="9073"/>
                  <a:pt x="3092" y="10923"/>
                </a:cubicBezTo>
                <a:lnTo>
                  <a:pt x="32291" y="10923"/>
                </a:lnTo>
                <a:lnTo>
                  <a:pt x="32291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5" name="Google Shape;905;p29"/>
          <p:cNvSpPr/>
          <p:nvPr/>
        </p:nvSpPr>
        <p:spPr>
          <a:xfrm flipH="1">
            <a:off x="8864984" y="4783301"/>
            <a:ext cx="3327017" cy="1997871"/>
          </a:xfrm>
          <a:custGeom>
            <a:avLst/>
            <a:gdLst/>
            <a:ahLst/>
            <a:cxnLst/>
            <a:rect l="l" t="t" r="r" b="b"/>
            <a:pathLst>
              <a:path w="18359" h="10906" extrusionOk="0">
                <a:moveTo>
                  <a:pt x="1" y="0"/>
                </a:moveTo>
                <a:lnTo>
                  <a:pt x="1" y="10906"/>
                </a:lnTo>
                <a:lnTo>
                  <a:pt x="16606" y="10906"/>
                </a:lnTo>
                <a:cubicBezTo>
                  <a:pt x="17306" y="9072"/>
                  <a:pt x="18359" y="5994"/>
                  <a:pt x="18359" y="5994"/>
                </a:cubicBezTo>
                <a:cubicBezTo>
                  <a:pt x="18359" y="5994"/>
                  <a:pt x="16820" y="5994"/>
                  <a:pt x="16240" y="5670"/>
                </a:cubicBezTo>
                <a:cubicBezTo>
                  <a:pt x="15727" y="5377"/>
                  <a:pt x="15413" y="4740"/>
                  <a:pt x="14640" y="4740"/>
                </a:cubicBezTo>
                <a:cubicBezTo>
                  <a:pt x="14557" y="4740"/>
                  <a:pt x="14470" y="4747"/>
                  <a:pt x="14377" y="4763"/>
                </a:cubicBezTo>
                <a:lnTo>
                  <a:pt x="13797" y="5006"/>
                </a:lnTo>
                <a:cubicBezTo>
                  <a:pt x="13797" y="5006"/>
                  <a:pt x="13554" y="4277"/>
                  <a:pt x="12339" y="4196"/>
                </a:cubicBezTo>
                <a:cubicBezTo>
                  <a:pt x="12272" y="4192"/>
                  <a:pt x="12208" y="4191"/>
                  <a:pt x="12146" y="4191"/>
                </a:cubicBezTo>
                <a:cubicBezTo>
                  <a:pt x="11730" y="4191"/>
                  <a:pt x="11411" y="4261"/>
                  <a:pt x="11166" y="4332"/>
                </a:cubicBezTo>
                <a:cubicBezTo>
                  <a:pt x="10937" y="4396"/>
                  <a:pt x="10767" y="4462"/>
                  <a:pt x="10627" y="4462"/>
                </a:cubicBezTo>
                <a:cubicBezTo>
                  <a:pt x="10535" y="4462"/>
                  <a:pt x="10456" y="4434"/>
                  <a:pt x="10382" y="4358"/>
                </a:cubicBezTo>
                <a:cubicBezTo>
                  <a:pt x="10058" y="4034"/>
                  <a:pt x="10058" y="3791"/>
                  <a:pt x="9316" y="3548"/>
                </a:cubicBezTo>
                <a:cubicBezTo>
                  <a:pt x="8587" y="3305"/>
                  <a:pt x="9235" y="3062"/>
                  <a:pt x="8020" y="2725"/>
                </a:cubicBezTo>
                <a:cubicBezTo>
                  <a:pt x="6792" y="2401"/>
                  <a:pt x="7278" y="1834"/>
                  <a:pt x="6144" y="1753"/>
                </a:cubicBezTo>
                <a:cubicBezTo>
                  <a:pt x="4994" y="1672"/>
                  <a:pt x="5156" y="1186"/>
                  <a:pt x="4346" y="1024"/>
                </a:cubicBezTo>
                <a:cubicBezTo>
                  <a:pt x="4259" y="1006"/>
                  <a:pt x="4178" y="998"/>
                  <a:pt x="4100" y="998"/>
                </a:cubicBezTo>
                <a:cubicBezTo>
                  <a:pt x="3826" y="998"/>
                  <a:pt x="3599" y="1095"/>
                  <a:pt x="3390" y="1199"/>
                </a:cubicBezTo>
                <a:cubicBezTo>
                  <a:pt x="3183" y="1297"/>
                  <a:pt x="2992" y="1396"/>
                  <a:pt x="2789" y="1396"/>
                </a:cubicBezTo>
                <a:cubicBezTo>
                  <a:pt x="2712" y="1396"/>
                  <a:pt x="2633" y="1382"/>
                  <a:pt x="2551" y="1348"/>
                </a:cubicBezTo>
                <a:cubicBezTo>
                  <a:pt x="1984" y="1105"/>
                  <a:pt x="1741" y="687"/>
                  <a:pt x="999" y="525"/>
                </a:cubicBezTo>
                <a:cubicBezTo>
                  <a:pt x="568" y="431"/>
                  <a:pt x="202" y="188"/>
                  <a:pt x="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6" name="Google Shape;906;p29"/>
          <p:cNvSpPr/>
          <p:nvPr/>
        </p:nvSpPr>
        <p:spPr>
          <a:xfrm flipH="1">
            <a:off x="34" y="5638961"/>
            <a:ext cx="12191948" cy="899905"/>
          </a:xfrm>
          <a:custGeom>
            <a:avLst/>
            <a:gdLst/>
            <a:ahLst/>
            <a:cxnLst/>
            <a:rect l="l" t="t" r="r" b="b"/>
            <a:pathLst>
              <a:path w="53351" h="10705" extrusionOk="0">
                <a:moveTo>
                  <a:pt x="1" y="0"/>
                </a:moveTo>
                <a:lnTo>
                  <a:pt x="1" y="10705"/>
                </a:lnTo>
                <a:lnTo>
                  <a:pt x="53351" y="6075"/>
                </a:lnTo>
                <a:lnTo>
                  <a:pt x="53351" y="431"/>
                </a:lnTo>
                <a:cubicBezTo>
                  <a:pt x="50211" y="280"/>
                  <a:pt x="46158" y="14"/>
                  <a:pt x="42519" y="14"/>
                </a:cubicBezTo>
                <a:cubicBezTo>
                  <a:pt x="40918" y="14"/>
                  <a:pt x="39398" y="65"/>
                  <a:pt x="38071" y="201"/>
                </a:cubicBezTo>
                <a:cubicBezTo>
                  <a:pt x="36591" y="351"/>
                  <a:pt x="33181" y="406"/>
                  <a:pt x="28961" y="406"/>
                </a:cubicBezTo>
                <a:cubicBezTo>
                  <a:pt x="18777" y="406"/>
                  <a:pt x="3875" y="85"/>
                  <a:pt x="1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7" name="Google Shape;907;p29"/>
          <p:cNvSpPr/>
          <p:nvPr/>
        </p:nvSpPr>
        <p:spPr>
          <a:xfrm flipH="1">
            <a:off x="8010244" y="5524523"/>
            <a:ext cx="4168037" cy="1347312"/>
          </a:xfrm>
          <a:custGeom>
            <a:avLst/>
            <a:gdLst/>
            <a:ahLst/>
            <a:cxnLst/>
            <a:rect l="l" t="t" r="r" b="b"/>
            <a:pathLst>
              <a:path w="18239" h="8318" extrusionOk="0">
                <a:moveTo>
                  <a:pt x="1" y="1"/>
                </a:moveTo>
                <a:lnTo>
                  <a:pt x="1" y="8318"/>
                </a:lnTo>
                <a:lnTo>
                  <a:pt x="13690" y="5279"/>
                </a:lnTo>
                <a:lnTo>
                  <a:pt x="4469" y="2917"/>
                </a:lnTo>
                <a:cubicBezTo>
                  <a:pt x="4469" y="2917"/>
                  <a:pt x="9883" y="2823"/>
                  <a:pt x="13959" y="2823"/>
                </a:cubicBezTo>
                <a:cubicBezTo>
                  <a:pt x="15997" y="2823"/>
                  <a:pt x="17711" y="2849"/>
                  <a:pt x="18239" y="2917"/>
                </a:cubicBezTo>
                <a:cubicBezTo>
                  <a:pt x="17131" y="2243"/>
                  <a:pt x="14594" y="1582"/>
                  <a:pt x="11704" y="1015"/>
                </a:cubicBezTo>
                <a:cubicBezTo>
                  <a:pt x="6737" y="380"/>
                  <a:pt x="2175" y="11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8" name="Google Shape;908;p29"/>
          <p:cNvSpPr/>
          <p:nvPr/>
        </p:nvSpPr>
        <p:spPr>
          <a:xfrm flipH="1">
            <a:off x="79" y="5752072"/>
            <a:ext cx="7793103" cy="1096349"/>
          </a:xfrm>
          <a:custGeom>
            <a:avLst/>
            <a:gdLst/>
            <a:ahLst/>
            <a:cxnLst/>
            <a:rect l="l" t="t" r="r" b="b"/>
            <a:pathLst>
              <a:path w="34102" h="12070" extrusionOk="0">
                <a:moveTo>
                  <a:pt x="34102" y="0"/>
                </a:moveTo>
                <a:cubicBezTo>
                  <a:pt x="29744" y="107"/>
                  <a:pt x="22224" y="862"/>
                  <a:pt x="15216" y="1889"/>
                </a:cubicBezTo>
                <a:cubicBezTo>
                  <a:pt x="5104" y="3373"/>
                  <a:pt x="1" y="4063"/>
                  <a:pt x="1" y="4063"/>
                </a:cubicBezTo>
                <a:lnTo>
                  <a:pt x="27152" y="12069"/>
                </a:lnTo>
                <a:lnTo>
                  <a:pt x="34102" y="12069"/>
                </a:lnTo>
                <a:lnTo>
                  <a:pt x="3410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9" name="Google Shape;909;p29"/>
          <p:cNvSpPr/>
          <p:nvPr/>
        </p:nvSpPr>
        <p:spPr>
          <a:xfrm flipH="1">
            <a:off x="80" y="5948501"/>
            <a:ext cx="7424613" cy="899940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10" name="Google Shape;910;p29"/>
          <p:cNvSpPr/>
          <p:nvPr/>
        </p:nvSpPr>
        <p:spPr>
          <a:xfrm flipH="1">
            <a:off x="34" y="5839530"/>
            <a:ext cx="12191948" cy="1008844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11" name="Google Shape;911;p29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12" name="Google Shape;912;p29"/>
          <p:cNvSpPr txBox="1">
            <a:spLocks noGrp="1"/>
          </p:cNvSpPr>
          <p:nvPr>
            <p:ph type="subTitle" idx="1"/>
          </p:nvPr>
        </p:nvSpPr>
        <p:spPr>
          <a:xfrm>
            <a:off x="2735047" y="2643419"/>
            <a:ext cx="3323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1158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913" name="Google Shape;913;p29"/>
          <p:cNvSpPr txBox="1">
            <a:spLocks noGrp="1"/>
          </p:cNvSpPr>
          <p:nvPr>
            <p:ph type="title" idx="2"/>
          </p:nvPr>
        </p:nvSpPr>
        <p:spPr>
          <a:xfrm>
            <a:off x="2734903" y="2020033"/>
            <a:ext cx="33236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914" name="Google Shape;914;p29"/>
          <p:cNvSpPr txBox="1">
            <a:spLocks noGrp="1"/>
          </p:cNvSpPr>
          <p:nvPr>
            <p:ph type="subTitle" idx="3"/>
          </p:nvPr>
        </p:nvSpPr>
        <p:spPr>
          <a:xfrm>
            <a:off x="7590015" y="2643419"/>
            <a:ext cx="3323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21902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915" name="Google Shape;915;p29"/>
          <p:cNvSpPr txBox="1">
            <a:spLocks noGrp="1"/>
          </p:cNvSpPr>
          <p:nvPr>
            <p:ph type="title" idx="4"/>
          </p:nvPr>
        </p:nvSpPr>
        <p:spPr>
          <a:xfrm>
            <a:off x="7589899" y="2020033"/>
            <a:ext cx="33236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916" name="Google Shape;916;p29"/>
          <p:cNvSpPr txBox="1">
            <a:spLocks noGrp="1"/>
          </p:cNvSpPr>
          <p:nvPr>
            <p:ph type="subTitle" idx="5"/>
          </p:nvPr>
        </p:nvSpPr>
        <p:spPr>
          <a:xfrm>
            <a:off x="2734884" y="4392400"/>
            <a:ext cx="3323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1158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917" name="Google Shape;917;p29"/>
          <p:cNvSpPr txBox="1">
            <a:spLocks noGrp="1"/>
          </p:cNvSpPr>
          <p:nvPr>
            <p:ph type="title" idx="6"/>
          </p:nvPr>
        </p:nvSpPr>
        <p:spPr>
          <a:xfrm>
            <a:off x="2734903" y="3768995"/>
            <a:ext cx="33236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918" name="Google Shape;918;p29"/>
          <p:cNvSpPr txBox="1">
            <a:spLocks noGrp="1"/>
          </p:cNvSpPr>
          <p:nvPr>
            <p:ph type="subTitle" idx="7"/>
          </p:nvPr>
        </p:nvSpPr>
        <p:spPr>
          <a:xfrm>
            <a:off x="7589817" y="4392400"/>
            <a:ext cx="33236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9810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919" name="Google Shape;919;p29"/>
          <p:cNvSpPr txBox="1">
            <a:spLocks noGrp="1"/>
          </p:cNvSpPr>
          <p:nvPr>
            <p:ph type="title" idx="8"/>
          </p:nvPr>
        </p:nvSpPr>
        <p:spPr>
          <a:xfrm>
            <a:off x="7589859" y="3768995"/>
            <a:ext cx="3323600" cy="5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8486948"/>
      </p:ext>
    </p:extLst>
  </p:cSld>
  <p:clrMapOvr>
    <a:masterClrMapping/>
  </p:clrMapOvr>
  <p:transition spd="slow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1">
  <p:cSld name="Title and text 1">
    <p:spTree>
      <p:nvGrpSpPr>
        <p:cNvPr id="1" name="Shape 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1" name="Google Shape;921;p30"/>
          <p:cNvGrpSpPr/>
          <p:nvPr/>
        </p:nvGrpSpPr>
        <p:grpSpPr>
          <a:xfrm>
            <a:off x="367" y="5412357"/>
            <a:ext cx="12223208" cy="1464784"/>
            <a:chOff x="271" y="2964551"/>
            <a:chExt cx="9167406" cy="2193229"/>
          </a:xfrm>
        </p:grpSpPr>
        <p:sp>
          <p:nvSpPr>
            <p:cNvPr id="922" name="Google Shape;922;p30"/>
            <p:cNvSpPr/>
            <p:nvPr/>
          </p:nvSpPr>
          <p:spPr>
            <a:xfrm>
              <a:off x="275" y="3538374"/>
              <a:ext cx="9167398" cy="1619406"/>
            </a:xfrm>
            <a:custGeom>
              <a:avLst/>
              <a:gdLst/>
              <a:ahLst/>
              <a:cxnLst/>
              <a:rect l="l" t="t" r="r" b="b"/>
              <a:pathLst>
                <a:path w="43860" h="10974" extrusionOk="0">
                  <a:moveTo>
                    <a:pt x="0" y="0"/>
                  </a:moveTo>
                  <a:lnTo>
                    <a:pt x="0" y="10974"/>
                  </a:lnTo>
                  <a:lnTo>
                    <a:pt x="43860" y="10974"/>
                  </a:lnTo>
                  <a:lnTo>
                    <a:pt x="43860" y="0"/>
                  </a:ln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3" name="Google Shape;923;p30"/>
            <p:cNvSpPr/>
            <p:nvPr/>
          </p:nvSpPr>
          <p:spPr>
            <a:xfrm>
              <a:off x="1413430" y="2964551"/>
              <a:ext cx="7754247" cy="680775"/>
            </a:xfrm>
            <a:custGeom>
              <a:avLst/>
              <a:gdLst/>
              <a:ahLst/>
              <a:cxnLst/>
              <a:rect l="l" t="t" r="r" b="b"/>
              <a:pathLst>
                <a:path w="37099" h="4687" extrusionOk="0">
                  <a:moveTo>
                    <a:pt x="29289" y="0"/>
                  </a:moveTo>
                  <a:cubicBezTo>
                    <a:pt x="28606" y="0"/>
                    <a:pt x="27911" y="10"/>
                    <a:pt x="27217" y="28"/>
                  </a:cubicBezTo>
                  <a:cubicBezTo>
                    <a:pt x="18981" y="245"/>
                    <a:pt x="8493" y="2688"/>
                    <a:pt x="1" y="4687"/>
                  </a:cubicBezTo>
                  <a:lnTo>
                    <a:pt x="37099" y="4687"/>
                  </a:lnTo>
                  <a:lnTo>
                    <a:pt x="37099" y="731"/>
                  </a:lnTo>
                  <a:cubicBezTo>
                    <a:pt x="35742" y="225"/>
                    <a:pt x="32651" y="0"/>
                    <a:pt x="2928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4" name="Google Shape;924;p30"/>
            <p:cNvSpPr/>
            <p:nvPr/>
          </p:nvSpPr>
          <p:spPr>
            <a:xfrm>
              <a:off x="271" y="3209866"/>
              <a:ext cx="4762825" cy="666541"/>
            </a:xfrm>
            <a:custGeom>
              <a:avLst/>
              <a:gdLst/>
              <a:ahLst/>
              <a:cxnLst/>
              <a:rect l="l" t="t" r="r" b="b"/>
              <a:pathLst>
                <a:path w="22787" h="4589" extrusionOk="0">
                  <a:moveTo>
                    <a:pt x="3161" y="1"/>
                  </a:moveTo>
                  <a:cubicBezTo>
                    <a:pt x="1090" y="1"/>
                    <a:pt x="0" y="199"/>
                    <a:pt x="0" y="199"/>
                  </a:cubicBezTo>
                  <a:lnTo>
                    <a:pt x="0" y="4589"/>
                  </a:lnTo>
                  <a:lnTo>
                    <a:pt x="22787" y="4589"/>
                  </a:lnTo>
                  <a:cubicBezTo>
                    <a:pt x="22787" y="4589"/>
                    <a:pt x="18128" y="2036"/>
                    <a:pt x="11029" y="766"/>
                  </a:cubicBezTo>
                  <a:cubicBezTo>
                    <a:pt x="7669" y="160"/>
                    <a:pt x="5020" y="1"/>
                    <a:pt x="316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5" name="Google Shape;925;p30"/>
            <p:cNvSpPr/>
            <p:nvPr/>
          </p:nvSpPr>
          <p:spPr>
            <a:xfrm>
              <a:off x="271" y="3612551"/>
              <a:ext cx="9167398" cy="362393"/>
            </a:xfrm>
            <a:custGeom>
              <a:avLst/>
              <a:gdLst/>
              <a:ahLst/>
              <a:cxnLst/>
              <a:rect l="l" t="t" r="r" b="b"/>
              <a:pathLst>
                <a:path w="43860" h="2495" extrusionOk="0">
                  <a:moveTo>
                    <a:pt x="0" y="0"/>
                  </a:moveTo>
                  <a:lnTo>
                    <a:pt x="0" y="512"/>
                  </a:lnTo>
                  <a:cubicBezTo>
                    <a:pt x="18857" y="538"/>
                    <a:pt x="31655" y="810"/>
                    <a:pt x="43860" y="2495"/>
                  </a:cubicBezTo>
                  <a:lnTo>
                    <a:pt x="4386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926" name="Google Shape;926;p30"/>
          <p:cNvGrpSpPr/>
          <p:nvPr/>
        </p:nvGrpSpPr>
        <p:grpSpPr>
          <a:xfrm>
            <a:off x="9618473" y="5301960"/>
            <a:ext cx="1777831" cy="1103969"/>
            <a:chOff x="6746800" y="2104200"/>
            <a:chExt cx="70575" cy="43825"/>
          </a:xfrm>
        </p:grpSpPr>
        <p:sp>
          <p:nvSpPr>
            <p:cNvPr id="927" name="Google Shape;927;p30"/>
            <p:cNvSpPr/>
            <p:nvPr/>
          </p:nvSpPr>
          <p:spPr>
            <a:xfrm>
              <a:off x="6796125" y="2117300"/>
              <a:ext cx="10150" cy="21650"/>
            </a:xfrm>
            <a:custGeom>
              <a:avLst/>
              <a:gdLst/>
              <a:ahLst/>
              <a:cxnLst/>
              <a:rect l="l" t="t" r="r" b="b"/>
              <a:pathLst>
                <a:path w="406" h="866" extrusionOk="0">
                  <a:moveTo>
                    <a:pt x="202" y="1"/>
                  </a:moveTo>
                  <a:cubicBezTo>
                    <a:pt x="202" y="1"/>
                    <a:pt x="176" y="95"/>
                    <a:pt x="133" y="218"/>
                  </a:cubicBezTo>
                  <a:lnTo>
                    <a:pt x="176" y="286"/>
                  </a:lnTo>
                  <a:lnTo>
                    <a:pt x="121" y="231"/>
                  </a:lnTo>
                  <a:cubicBezTo>
                    <a:pt x="108" y="286"/>
                    <a:pt x="95" y="338"/>
                    <a:pt x="82" y="393"/>
                  </a:cubicBezTo>
                  <a:lnTo>
                    <a:pt x="121" y="487"/>
                  </a:lnTo>
                  <a:lnTo>
                    <a:pt x="69" y="419"/>
                  </a:lnTo>
                  <a:cubicBezTo>
                    <a:pt x="27" y="542"/>
                    <a:pt x="1" y="649"/>
                    <a:pt x="1" y="675"/>
                  </a:cubicBezTo>
                  <a:cubicBezTo>
                    <a:pt x="1" y="730"/>
                    <a:pt x="150" y="837"/>
                    <a:pt x="150" y="837"/>
                  </a:cubicBezTo>
                  <a:lnTo>
                    <a:pt x="214" y="866"/>
                  </a:lnTo>
                  <a:lnTo>
                    <a:pt x="257" y="837"/>
                  </a:lnTo>
                  <a:cubicBezTo>
                    <a:pt x="257" y="837"/>
                    <a:pt x="406" y="730"/>
                    <a:pt x="406" y="675"/>
                  </a:cubicBezTo>
                  <a:cubicBezTo>
                    <a:pt x="406" y="662"/>
                    <a:pt x="376" y="568"/>
                    <a:pt x="351" y="487"/>
                  </a:cubicBezTo>
                  <a:lnTo>
                    <a:pt x="257" y="610"/>
                  </a:lnTo>
                  <a:lnTo>
                    <a:pt x="338" y="448"/>
                  </a:lnTo>
                  <a:cubicBezTo>
                    <a:pt x="283" y="257"/>
                    <a:pt x="202" y="1"/>
                    <a:pt x="202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8" name="Google Shape;928;p30"/>
            <p:cNvSpPr/>
            <p:nvPr/>
          </p:nvSpPr>
          <p:spPr>
            <a:xfrm>
              <a:off x="6801150" y="2127100"/>
              <a:ext cx="750" cy="12825"/>
            </a:xfrm>
            <a:custGeom>
              <a:avLst/>
              <a:gdLst/>
              <a:ahLst/>
              <a:cxnLst/>
              <a:rect l="l" t="t" r="r" b="b"/>
              <a:pathLst>
                <a:path w="30" h="513" extrusionOk="0">
                  <a:moveTo>
                    <a:pt x="1" y="1"/>
                  </a:moveTo>
                  <a:lnTo>
                    <a:pt x="1" y="513"/>
                  </a:lnTo>
                  <a:lnTo>
                    <a:pt x="30" y="51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29" name="Google Shape;929;p30"/>
            <p:cNvSpPr/>
            <p:nvPr/>
          </p:nvSpPr>
          <p:spPr>
            <a:xfrm>
              <a:off x="6797100" y="2139575"/>
              <a:ext cx="7150" cy="7800"/>
            </a:xfrm>
            <a:custGeom>
              <a:avLst/>
              <a:gdLst/>
              <a:ahLst/>
              <a:cxnLst/>
              <a:rect l="l" t="t" r="r" b="b"/>
              <a:pathLst>
                <a:path w="286" h="312" extrusionOk="0">
                  <a:moveTo>
                    <a:pt x="163" y="1"/>
                  </a:moveTo>
                  <a:cubicBezTo>
                    <a:pt x="137" y="1"/>
                    <a:pt x="69" y="1"/>
                    <a:pt x="56" y="14"/>
                  </a:cubicBezTo>
                  <a:cubicBezTo>
                    <a:pt x="43" y="14"/>
                    <a:pt x="1" y="270"/>
                    <a:pt x="1" y="312"/>
                  </a:cubicBezTo>
                  <a:cubicBezTo>
                    <a:pt x="13" y="312"/>
                    <a:pt x="256" y="82"/>
                    <a:pt x="286" y="56"/>
                  </a:cubicBezTo>
                  <a:cubicBezTo>
                    <a:pt x="273" y="43"/>
                    <a:pt x="218" y="14"/>
                    <a:pt x="192" y="1"/>
                  </a:cubicBezTo>
                  <a:lnTo>
                    <a:pt x="192" y="14"/>
                  </a:lnTo>
                  <a:lnTo>
                    <a:pt x="163" y="14"/>
                  </a:lnTo>
                  <a:lnTo>
                    <a:pt x="163" y="1"/>
                  </a:lnTo>
                  <a:close/>
                </a:path>
              </a:pathLst>
            </a:custGeom>
            <a:solidFill>
              <a:srgbClr val="3D7D40">
                <a:alpha val="513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0" name="Google Shape;930;p30"/>
            <p:cNvSpPr/>
            <p:nvPr/>
          </p:nvSpPr>
          <p:spPr>
            <a:xfrm>
              <a:off x="6801150" y="2139575"/>
              <a:ext cx="750" cy="350"/>
            </a:xfrm>
            <a:custGeom>
              <a:avLst/>
              <a:gdLst/>
              <a:ahLst/>
              <a:cxnLst/>
              <a:rect l="l" t="t" r="r" b="b"/>
              <a:pathLst>
                <a:path w="30" h="14" extrusionOk="0">
                  <a:moveTo>
                    <a:pt x="1" y="1"/>
                  </a:moveTo>
                  <a:lnTo>
                    <a:pt x="1" y="14"/>
                  </a:lnTo>
                  <a:lnTo>
                    <a:pt x="30" y="14"/>
                  </a:lnTo>
                  <a:lnTo>
                    <a:pt x="30" y="1"/>
                  </a:lnTo>
                  <a:close/>
                </a:path>
              </a:pathLst>
            </a:custGeom>
            <a:solidFill>
              <a:srgbClr val="4415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1" name="Google Shape;931;p30"/>
            <p:cNvSpPr/>
            <p:nvPr/>
          </p:nvSpPr>
          <p:spPr>
            <a:xfrm>
              <a:off x="6746800" y="2117300"/>
              <a:ext cx="10150" cy="21650"/>
            </a:xfrm>
            <a:custGeom>
              <a:avLst/>
              <a:gdLst/>
              <a:ahLst/>
              <a:cxnLst/>
              <a:rect l="l" t="t" r="r" b="b"/>
              <a:pathLst>
                <a:path w="406" h="866" extrusionOk="0">
                  <a:moveTo>
                    <a:pt x="205" y="1"/>
                  </a:moveTo>
                  <a:cubicBezTo>
                    <a:pt x="205" y="1"/>
                    <a:pt x="162" y="95"/>
                    <a:pt x="137" y="218"/>
                  </a:cubicBezTo>
                  <a:lnTo>
                    <a:pt x="179" y="286"/>
                  </a:lnTo>
                  <a:lnTo>
                    <a:pt x="124" y="231"/>
                  </a:lnTo>
                  <a:cubicBezTo>
                    <a:pt x="111" y="286"/>
                    <a:pt x="98" y="338"/>
                    <a:pt x="81" y="393"/>
                  </a:cubicBezTo>
                  <a:lnTo>
                    <a:pt x="124" y="487"/>
                  </a:lnTo>
                  <a:lnTo>
                    <a:pt x="69" y="419"/>
                  </a:lnTo>
                  <a:cubicBezTo>
                    <a:pt x="30" y="542"/>
                    <a:pt x="0" y="649"/>
                    <a:pt x="0" y="675"/>
                  </a:cubicBezTo>
                  <a:cubicBezTo>
                    <a:pt x="0" y="730"/>
                    <a:pt x="150" y="837"/>
                    <a:pt x="150" y="837"/>
                  </a:cubicBezTo>
                  <a:lnTo>
                    <a:pt x="218" y="866"/>
                  </a:lnTo>
                  <a:lnTo>
                    <a:pt x="243" y="837"/>
                  </a:lnTo>
                  <a:cubicBezTo>
                    <a:pt x="243" y="837"/>
                    <a:pt x="405" y="730"/>
                    <a:pt x="405" y="675"/>
                  </a:cubicBezTo>
                  <a:cubicBezTo>
                    <a:pt x="405" y="662"/>
                    <a:pt x="380" y="568"/>
                    <a:pt x="354" y="487"/>
                  </a:cubicBezTo>
                  <a:lnTo>
                    <a:pt x="260" y="610"/>
                  </a:lnTo>
                  <a:lnTo>
                    <a:pt x="341" y="448"/>
                  </a:lnTo>
                  <a:cubicBezTo>
                    <a:pt x="286" y="257"/>
                    <a:pt x="205" y="1"/>
                    <a:pt x="205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2" name="Google Shape;932;p30"/>
            <p:cNvSpPr/>
            <p:nvPr/>
          </p:nvSpPr>
          <p:spPr>
            <a:xfrm>
              <a:off x="6751900" y="2127100"/>
              <a:ext cx="675" cy="12825"/>
            </a:xfrm>
            <a:custGeom>
              <a:avLst/>
              <a:gdLst/>
              <a:ahLst/>
              <a:cxnLst/>
              <a:rect l="l" t="t" r="r" b="b"/>
              <a:pathLst>
                <a:path w="27" h="513" extrusionOk="0">
                  <a:moveTo>
                    <a:pt x="1" y="1"/>
                  </a:moveTo>
                  <a:lnTo>
                    <a:pt x="1" y="513"/>
                  </a:lnTo>
                  <a:lnTo>
                    <a:pt x="27" y="51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3" name="Google Shape;933;p30"/>
            <p:cNvSpPr/>
            <p:nvPr/>
          </p:nvSpPr>
          <p:spPr>
            <a:xfrm>
              <a:off x="6747850" y="2139575"/>
              <a:ext cx="7075" cy="7800"/>
            </a:xfrm>
            <a:custGeom>
              <a:avLst/>
              <a:gdLst/>
              <a:ahLst/>
              <a:cxnLst/>
              <a:rect l="l" t="t" r="r" b="b"/>
              <a:pathLst>
                <a:path w="283" h="312" extrusionOk="0">
                  <a:moveTo>
                    <a:pt x="163" y="1"/>
                  </a:moveTo>
                  <a:cubicBezTo>
                    <a:pt x="137" y="1"/>
                    <a:pt x="69" y="1"/>
                    <a:pt x="56" y="14"/>
                  </a:cubicBezTo>
                  <a:cubicBezTo>
                    <a:pt x="39" y="14"/>
                    <a:pt x="1" y="270"/>
                    <a:pt x="1" y="312"/>
                  </a:cubicBezTo>
                  <a:cubicBezTo>
                    <a:pt x="14" y="312"/>
                    <a:pt x="257" y="82"/>
                    <a:pt x="282" y="56"/>
                  </a:cubicBezTo>
                  <a:cubicBezTo>
                    <a:pt x="270" y="43"/>
                    <a:pt x="218" y="14"/>
                    <a:pt x="189" y="1"/>
                  </a:cubicBezTo>
                  <a:lnTo>
                    <a:pt x="189" y="14"/>
                  </a:lnTo>
                  <a:lnTo>
                    <a:pt x="163" y="14"/>
                  </a:lnTo>
                  <a:lnTo>
                    <a:pt x="163" y="1"/>
                  </a:lnTo>
                  <a:close/>
                </a:path>
              </a:pathLst>
            </a:custGeom>
            <a:solidFill>
              <a:srgbClr val="3D7D40">
                <a:alpha val="513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4" name="Google Shape;934;p30"/>
            <p:cNvSpPr/>
            <p:nvPr/>
          </p:nvSpPr>
          <p:spPr>
            <a:xfrm>
              <a:off x="6751900" y="2139575"/>
              <a:ext cx="675" cy="350"/>
            </a:xfrm>
            <a:custGeom>
              <a:avLst/>
              <a:gdLst/>
              <a:ahLst/>
              <a:cxnLst/>
              <a:rect l="l" t="t" r="r" b="b"/>
              <a:pathLst>
                <a:path w="27" h="14" extrusionOk="0">
                  <a:moveTo>
                    <a:pt x="1" y="1"/>
                  </a:moveTo>
                  <a:lnTo>
                    <a:pt x="1" y="14"/>
                  </a:lnTo>
                  <a:lnTo>
                    <a:pt x="27" y="14"/>
                  </a:lnTo>
                  <a:lnTo>
                    <a:pt x="27" y="1"/>
                  </a:lnTo>
                  <a:close/>
                </a:path>
              </a:pathLst>
            </a:custGeom>
            <a:solidFill>
              <a:srgbClr val="4415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5" name="Google Shape;935;p30"/>
            <p:cNvSpPr/>
            <p:nvPr/>
          </p:nvSpPr>
          <p:spPr>
            <a:xfrm>
              <a:off x="6811275" y="2129125"/>
              <a:ext cx="6100" cy="13575"/>
            </a:xfrm>
            <a:custGeom>
              <a:avLst/>
              <a:gdLst/>
              <a:ahLst/>
              <a:cxnLst/>
              <a:rect l="l" t="t" r="r" b="b"/>
              <a:pathLst>
                <a:path w="244" h="543" extrusionOk="0">
                  <a:moveTo>
                    <a:pt x="124" y="1"/>
                  </a:moveTo>
                  <a:cubicBezTo>
                    <a:pt x="124" y="1"/>
                    <a:pt x="111" y="69"/>
                    <a:pt x="82" y="137"/>
                  </a:cubicBezTo>
                  <a:lnTo>
                    <a:pt x="111" y="189"/>
                  </a:lnTo>
                  <a:lnTo>
                    <a:pt x="82" y="150"/>
                  </a:lnTo>
                  <a:cubicBezTo>
                    <a:pt x="69" y="176"/>
                    <a:pt x="56" y="218"/>
                    <a:pt x="43" y="244"/>
                  </a:cubicBezTo>
                  <a:lnTo>
                    <a:pt x="82" y="299"/>
                  </a:lnTo>
                  <a:lnTo>
                    <a:pt x="43" y="257"/>
                  </a:lnTo>
                  <a:cubicBezTo>
                    <a:pt x="13" y="338"/>
                    <a:pt x="1" y="406"/>
                    <a:pt x="1" y="432"/>
                  </a:cubicBezTo>
                  <a:cubicBezTo>
                    <a:pt x="1" y="461"/>
                    <a:pt x="94" y="526"/>
                    <a:pt x="94" y="526"/>
                  </a:cubicBezTo>
                  <a:lnTo>
                    <a:pt x="137" y="542"/>
                  </a:lnTo>
                  <a:lnTo>
                    <a:pt x="150" y="526"/>
                  </a:lnTo>
                  <a:cubicBezTo>
                    <a:pt x="150" y="526"/>
                    <a:pt x="244" y="461"/>
                    <a:pt x="244" y="432"/>
                  </a:cubicBezTo>
                  <a:cubicBezTo>
                    <a:pt x="244" y="419"/>
                    <a:pt x="231" y="364"/>
                    <a:pt x="218" y="299"/>
                  </a:cubicBezTo>
                  <a:lnTo>
                    <a:pt x="163" y="380"/>
                  </a:lnTo>
                  <a:lnTo>
                    <a:pt x="218" y="283"/>
                  </a:lnTo>
                  <a:cubicBezTo>
                    <a:pt x="175" y="163"/>
                    <a:pt x="124" y="1"/>
                    <a:pt x="124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6" name="Google Shape;936;p30"/>
            <p:cNvSpPr/>
            <p:nvPr/>
          </p:nvSpPr>
          <p:spPr>
            <a:xfrm>
              <a:off x="6814350" y="2135200"/>
              <a:ext cx="350" cy="8125"/>
            </a:xfrm>
            <a:custGeom>
              <a:avLst/>
              <a:gdLst/>
              <a:ahLst/>
              <a:cxnLst/>
              <a:rect l="l" t="t" r="r" b="b"/>
              <a:pathLst>
                <a:path w="14" h="325" extrusionOk="0">
                  <a:moveTo>
                    <a:pt x="1" y="1"/>
                  </a:moveTo>
                  <a:lnTo>
                    <a:pt x="1" y="325"/>
                  </a:lnTo>
                  <a:lnTo>
                    <a:pt x="14" y="32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7" name="Google Shape;937;p30"/>
            <p:cNvSpPr/>
            <p:nvPr/>
          </p:nvSpPr>
          <p:spPr>
            <a:xfrm>
              <a:off x="6812000" y="2142975"/>
              <a:ext cx="4400" cy="5050"/>
            </a:xfrm>
            <a:custGeom>
              <a:avLst/>
              <a:gdLst/>
              <a:ahLst/>
              <a:cxnLst/>
              <a:rect l="l" t="t" r="r" b="b"/>
              <a:pathLst>
                <a:path w="176" h="202" extrusionOk="0">
                  <a:moveTo>
                    <a:pt x="95" y="1"/>
                  </a:moveTo>
                  <a:cubicBezTo>
                    <a:pt x="82" y="1"/>
                    <a:pt x="40" y="14"/>
                    <a:pt x="27" y="14"/>
                  </a:cubicBezTo>
                  <a:cubicBezTo>
                    <a:pt x="27" y="14"/>
                    <a:pt x="1" y="176"/>
                    <a:pt x="1" y="202"/>
                  </a:cubicBezTo>
                  <a:cubicBezTo>
                    <a:pt x="1" y="202"/>
                    <a:pt x="163" y="53"/>
                    <a:pt x="176" y="40"/>
                  </a:cubicBezTo>
                  <a:cubicBezTo>
                    <a:pt x="176" y="27"/>
                    <a:pt x="134" y="14"/>
                    <a:pt x="108" y="14"/>
                  </a:cubicBezTo>
                  <a:lnTo>
                    <a:pt x="95" y="14"/>
                  </a:lnTo>
                  <a:lnTo>
                    <a:pt x="95" y="1"/>
                  </a:lnTo>
                  <a:close/>
                </a:path>
              </a:pathLst>
            </a:custGeom>
            <a:solidFill>
              <a:srgbClr val="3D7D40">
                <a:alpha val="513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8" name="Google Shape;938;p30"/>
            <p:cNvSpPr/>
            <p:nvPr/>
          </p:nvSpPr>
          <p:spPr>
            <a:xfrm>
              <a:off x="6814350" y="2142975"/>
              <a:ext cx="350" cy="350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cubicBezTo>
                    <a:pt x="14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4151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39" name="Google Shape;939;p30"/>
            <p:cNvSpPr/>
            <p:nvPr/>
          </p:nvSpPr>
          <p:spPr>
            <a:xfrm>
              <a:off x="6781625" y="2119000"/>
              <a:ext cx="9750" cy="24650"/>
            </a:xfrm>
            <a:custGeom>
              <a:avLst/>
              <a:gdLst/>
              <a:ahLst/>
              <a:cxnLst/>
              <a:rect l="l" t="t" r="r" b="b"/>
              <a:pathLst>
                <a:path w="390" h="986" extrusionOk="0">
                  <a:moveTo>
                    <a:pt x="1" y="1"/>
                  </a:moveTo>
                  <a:lnTo>
                    <a:pt x="65" y="986"/>
                  </a:lnTo>
                  <a:lnTo>
                    <a:pt x="351" y="811"/>
                  </a:lnTo>
                  <a:lnTo>
                    <a:pt x="389" y="25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0" name="Google Shape;940;p30"/>
            <p:cNvSpPr/>
            <p:nvPr/>
          </p:nvSpPr>
          <p:spPr>
            <a:xfrm>
              <a:off x="6760000" y="2107825"/>
              <a:ext cx="24975" cy="35825"/>
            </a:xfrm>
            <a:custGeom>
              <a:avLst/>
              <a:gdLst/>
              <a:ahLst/>
              <a:cxnLst/>
              <a:rect l="l" t="t" r="r" b="b"/>
              <a:pathLst>
                <a:path w="999" h="1433" extrusionOk="0">
                  <a:moveTo>
                    <a:pt x="513" y="1"/>
                  </a:moveTo>
                  <a:lnTo>
                    <a:pt x="201" y="179"/>
                  </a:lnTo>
                  <a:lnTo>
                    <a:pt x="1" y="691"/>
                  </a:lnTo>
                  <a:lnTo>
                    <a:pt x="108" y="1407"/>
                  </a:lnTo>
                  <a:lnTo>
                    <a:pt x="930" y="1433"/>
                  </a:lnTo>
                  <a:lnTo>
                    <a:pt x="999" y="785"/>
                  </a:lnTo>
                  <a:lnTo>
                    <a:pt x="768" y="192"/>
                  </a:lnTo>
                  <a:lnTo>
                    <a:pt x="513" y="1"/>
                  </a:ln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1" name="Google Shape;941;p30"/>
            <p:cNvSpPr/>
            <p:nvPr/>
          </p:nvSpPr>
          <p:spPr>
            <a:xfrm>
              <a:off x="6771825" y="2104200"/>
              <a:ext cx="22625" cy="25925"/>
            </a:xfrm>
            <a:custGeom>
              <a:avLst/>
              <a:gdLst/>
              <a:ahLst/>
              <a:cxnLst/>
              <a:rect l="l" t="t" r="r" b="b"/>
              <a:pathLst>
                <a:path w="905" h="1037" extrusionOk="0">
                  <a:moveTo>
                    <a:pt x="351" y="0"/>
                  </a:moveTo>
                  <a:lnTo>
                    <a:pt x="1" y="39"/>
                  </a:lnTo>
                  <a:lnTo>
                    <a:pt x="40" y="146"/>
                  </a:lnTo>
                  <a:lnTo>
                    <a:pt x="364" y="418"/>
                  </a:lnTo>
                  <a:lnTo>
                    <a:pt x="581" y="1037"/>
                  </a:lnTo>
                  <a:lnTo>
                    <a:pt x="905" y="891"/>
                  </a:lnTo>
                  <a:lnTo>
                    <a:pt x="636" y="188"/>
                  </a:lnTo>
                  <a:lnTo>
                    <a:pt x="351" y="0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2" name="Google Shape;942;p30"/>
            <p:cNvSpPr/>
            <p:nvPr/>
          </p:nvSpPr>
          <p:spPr>
            <a:xfrm>
              <a:off x="6760000" y="2107825"/>
              <a:ext cx="24975" cy="22300"/>
            </a:xfrm>
            <a:custGeom>
              <a:avLst/>
              <a:gdLst/>
              <a:ahLst/>
              <a:cxnLst/>
              <a:rect l="l" t="t" r="r" b="b"/>
              <a:pathLst>
                <a:path w="999" h="892" extrusionOk="0">
                  <a:moveTo>
                    <a:pt x="513" y="1"/>
                  </a:moveTo>
                  <a:lnTo>
                    <a:pt x="201" y="179"/>
                  </a:lnTo>
                  <a:lnTo>
                    <a:pt x="1" y="691"/>
                  </a:lnTo>
                  <a:lnTo>
                    <a:pt x="27" y="892"/>
                  </a:lnTo>
                  <a:lnTo>
                    <a:pt x="282" y="273"/>
                  </a:lnTo>
                  <a:lnTo>
                    <a:pt x="513" y="124"/>
                  </a:lnTo>
                  <a:lnTo>
                    <a:pt x="743" y="231"/>
                  </a:lnTo>
                  <a:lnTo>
                    <a:pt x="999" y="785"/>
                  </a:lnTo>
                  <a:lnTo>
                    <a:pt x="768" y="192"/>
                  </a:lnTo>
                  <a:lnTo>
                    <a:pt x="513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3" name="Google Shape;943;p30"/>
            <p:cNvSpPr/>
            <p:nvPr/>
          </p:nvSpPr>
          <p:spPr>
            <a:xfrm>
              <a:off x="6764050" y="2112300"/>
              <a:ext cx="1725" cy="15475"/>
            </a:xfrm>
            <a:custGeom>
              <a:avLst/>
              <a:gdLst/>
              <a:ahLst/>
              <a:cxnLst/>
              <a:rect l="l" t="t" r="r" b="b"/>
              <a:pathLst>
                <a:path w="69" h="619" extrusionOk="0">
                  <a:moveTo>
                    <a:pt x="39" y="0"/>
                  </a:moveTo>
                  <a:lnTo>
                    <a:pt x="1" y="13"/>
                  </a:lnTo>
                  <a:cubicBezTo>
                    <a:pt x="1" y="39"/>
                    <a:pt x="39" y="619"/>
                    <a:pt x="39" y="619"/>
                  </a:cubicBezTo>
                  <a:lnTo>
                    <a:pt x="69" y="619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4" name="Google Shape;944;p30"/>
            <p:cNvSpPr/>
            <p:nvPr/>
          </p:nvSpPr>
          <p:spPr>
            <a:xfrm>
              <a:off x="6779925" y="2112300"/>
              <a:ext cx="2050" cy="15475"/>
            </a:xfrm>
            <a:custGeom>
              <a:avLst/>
              <a:gdLst/>
              <a:ahLst/>
              <a:cxnLst/>
              <a:rect l="l" t="t" r="r" b="b"/>
              <a:pathLst>
                <a:path w="82" h="619" extrusionOk="0">
                  <a:moveTo>
                    <a:pt x="27" y="0"/>
                  </a:moveTo>
                  <a:lnTo>
                    <a:pt x="1" y="619"/>
                  </a:lnTo>
                  <a:lnTo>
                    <a:pt x="27" y="619"/>
                  </a:lnTo>
                  <a:cubicBezTo>
                    <a:pt x="27" y="619"/>
                    <a:pt x="82" y="39"/>
                    <a:pt x="82" y="13"/>
                  </a:cubicBezTo>
                  <a:lnTo>
                    <a:pt x="27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5" name="Google Shape;945;p30"/>
            <p:cNvSpPr/>
            <p:nvPr/>
          </p:nvSpPr>
          <p:spPr>
            <a:xfrm>
              <a:off x="6769800" y="2109200"/>
              <a:ext cx="675" cy="18250"/>
            </a:xfrm>
            <a:custGeom>
              <a:avLst/>
              <a:gdLst/>
              <a:ahLst/>
              <a:cxnLst/>
              <a:rect l="l" t="t" r="r" b="b"/>
              <a:pathLst>
                <a:path w="27" h="730" extrusionOk="0">
                  <a:moveTo>
                    <a:pt x="27" y="1"/>
                  </a:moveTo>
                  <a:lnTo>
                    <a:pt x="14" y="56"/>
                  </a:lnTo>
                  <a:lnTo>
                    <a:pt x="1" y="717"/>
                  </a:lnTo>
                  <a:lnTo>
                    <a:pt x="27" y="730"/>
                  </a:lnTo>
                  <a:lnTo>
                    <a:pt x="2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6" name="Google Shape;946;p30"/>
            <p:cNvSpPr/>
            <p:nvPr/>
          </p:nvSpPr>
          <p:spPr>
            <a:xfrm>
              <a:off x="6775550" y="2109525"/>
              <a:ext cx="1000" cy="18250"/>
            </a:xfrm>
            <a:custGeom>
              <a:avLst/>
              <a:gdLst/>
              <a:ahLst/>
              <a:cxnLst/>
              <a:rect l="l" t="t" r="r" b="b"/>
              <a:pathLst>
                <a:path w="40" h="730" extrusionOk="0">
                  <a:moveTo>
                    <a:pt x="40" y="1"/>
                  </a:moveTo>
                  <a:lnTo>
                    <a:pt x="27" y="56"/>
                  </a:lnTo>
                  <a:lnTo>
                    <a:pt x="1" y="717"/>
                  </a:lnTo>
                  <a:lnTo>
                    <a:pt x="40" y="730"/>
                  </a:lnTo>
                  <a:lnTo>
                    <a:pt x="40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7" name="Google Shape;947;p30"/>
            <p:cNvSpPr/>
            <p:nvPr/>
          </p:nvSpPr>
          <p:spPr>
            <a:xfrm>
              <a:off x="6764375" y="2126775"/>
              <a:ext cx="16875" cy="16875"/>
            </a:xfrm>
            <a:custGeom>
              <a:avLst/>
              <a:gdLst/>
              <a:ahLst/>
              <a:cxnLst/>
              <a:rect l="l" t="t" r="r" b="b"/>
              <a:pathLst>
                <a:path w="675" h="675" extrusionOk="0">
                  <a:moveTo>
                    <a:pt x="1" y="1"/>
                  </a:moveTo>
                  <a:cubicBezTo>
                    <a:pt x="1" y="1"/>
                    <a:pt x="56" y="620"/>
                    <a:pt x="56" y="662"/>
                  </a:cubicBezTo>
                  <a:lnTo>
                    <a:pt x="623" y="675"/>
                  </a:lnTo>
                  <a:lnTo>
                    <a:pt x="674" y="1"/>
                  </a:lnTo>
                  <a:close/>
                </a:path>
              </a:pathLst>
            </a:custGeom>
            <a:solidFill>
              <a:srgbClr val="EADAD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8" name="Google Shape;948;p30"/>
            <p:cNvSpPr/>
            <p:nvPr/>
          </p:nvSpPr>
          <p:spPr>
            <a:xfrm>
              <a:off x="6766075" y="2128075"/>
              <a:ext cx="13550" cy="15575"/>
            </a:xfrm>
            <a:custGeom>
              <a:avLst/>
              <a:gdLst/>
              <a:ahLst/>
              <a:cxnLst/>
              <a:rect l="l" t="t" r="r" b="b"/>
              <a:pathLst>
                <a:path w="542" h="623" extrusionOk="0">
                  <a:moveTo>
                    <a:pt x="1" y="1"/>
                  </a:moveTo>
                  <a:cubicBezTo>
                    <a:pt x="1" y="1"/>
                    <a:pt x="39" y="584"/>
                    <a:pt x="39" y="610"/>
                  </a:cubicBezTo>
                  <a:lnTo>
                    <a:pt x="487" y="623"/>
                  </a:lnTo>
                  <a:lnTo>
                    <a:pt x="542" y="1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49" name="Google Shape;949;p30"/>
            <p:cNvSpPr/>
            <p:nvPr/>
          </p:nvSpPr>
          <p:spPr>
            <a:xfrm>
              <a:off x="6775550" y="2106850"/>
              <a:ext cx="9750" cy="3750"/>
            </a:xfrm>
            <a:custGeom>
              <a:avLst/>
              <a:gdLst/>
              <a:ahLst/>
              <a:cxnLst/>
              <a:rect l="l" t="t" r="r" b="b"/>
              <a:pathLst>
                <a:path w="390" h="150" extrusionOk="0">
                  <a:moveTo>
                    <a:pt x="351" y="1"/>
                  </a:moveTo>
                  <a:lnTo>
                    <a:pt x="1" y="137"/>
                  </a:lnTo>
                  <a:lnTo>
                    <a:pt x="27" y="150"/>
                  </a:lnTo>
                  <a:lnTo>
                    <a:pt x="389" y="14"/>
                  </a:lnTo>
                  <a:lnTo>
                    <a:pt x="351" y="1"/>
                  </a:lnTo>
                  <a:close/>
                </a:path>
              </a:pathLst>
            </a:custGeom>
            <a:solidFill>
              <a:srgbClr val="41AAA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0" name="Google Shape;950;p30"/>
            <p:cNvSpPr/>
            <p:nvPr/>
          </p:nvSpPr>
          <p:spPr>
            <a:xfrm>
              <a:off x="6780900" y="2111225"/>
              <a:ext cx="8125" cy="4075"/>
            </a:xfrm>
            <a:custGeom>
              <a:avLst/>
              <a:gdLst/>
              <a:ahLst/>
              <a:cxnLst/>
              <a:rect l="l" t="t" r="r" b="b"/>
              <a:pathLst>
                <a:path w="325" h="163" extrusionOk="0">
                  <a:moveTo>
                    <a:pt x="312" y="1"/>
                  </a:moveTo>
                  <a:lnTo>
                    <a:pt x="1" y="124"/>
                  </a:lnTo>
                  <a:lnTo>
                    <a:pt x="1" y="137"/>
                  </a:lnTo>
                  <a:lnTo>
                    <a:pt x="13" y="163"/>
                  </a:lnTo>
                  <a:lnTo>
                    <a:pt x="325" y="43"/>
                  </a:lnTo>
                  <a:lnTo>
                    <a:pt x="312" y="1"/>
                  </a:lnTo>
                  <a:close/>
                </a:path>
              </a:pathLst>
            </a:custGeom>
            <a:solidFill>
              <a:srgbClr val="41AAA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1" name="Google Shape;951;p30"/>
            <p:cNvSpPr/>
            <p:nvPr/>
          </p:nvSpPr>
          <p:spPr>
            <a:xfrm>
              <a:off x="6782925" y="2116975"/>
              <a:ext cx="8450" cy="4075"/>
            </a:xfrm>
            <a:custGeom>
              <a:avLst/>
              <a:gdLst/>
              <a:ahLst/>
              <a:cxnLst/>
              <a:rect l="l" t="t" r="r" b="b"/>
              <a:pathLst>
                <a:path w="338" h="163" extrusionOk="0">
                  <a:moveTo>
                    <a:pt x="325" y="1"/>
                  </a:moveTo>
                  <a:lnTo>
                    <a:pt x="1" y="137"/>
                  </a:lnTo>
                  <a:lnTo>
                    <a:pt x="13" y="163"/>
                  </a:lnTo>
                  <a:lnTo>
                    <a:pt x="337" y="40"/>
                  </a:lnTo>
                  <a:lnTo>
                    <a:pt x="325" y="1"/>
                  </a:lnTo>
                  <a:close/>
                </a:path>
              </a:pathLst>
            </a:custGeom>
            <a:solidFill>
              <a:srgbClr val="41AAA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2" name="Google Shape;952;p30"/>
            <p:cNvSpPr/>
            <p:nvPr/>
          </p:nvSpPr>
          <p:spPr>
            <a:xfrm>
              <a:off x="6784625" y="2122425"/>
              <a:ext cx="8775" cy="4075"/>
            </a:xfrm>
            <a:custGeom>
              <a:avLst/>
              <a:gdLst/>
              <a:ahLst/>
              <a:cxnLst/>
              <a:rect l="l" t="t" r="r" b="b"/>
              <a:pathLst>
                <a:path w="351" h="163" extrusionOk="0">
                  <a:moveTo>
                    <a:pt x="338" y="0"/>
                  </a:moveTo>
                  <a:lnTo>
                    <a:pt x="1" y="133"/>
                  </a:lnTo>
                  <a:lnTo>
                    <a:pt x="14" y="162"/>
                  </a:lnTo>
                  <a:lnTo>
                    <a:pt x="350" y="39"/>
                  </a:lnTo>
                  <a:lnTo>
                    <a:pt x="338" y="0"/>
                  </a:lnTo>
                  <a:close/>
                </a:path>
              </a:pathLst>
            </a:custGeom>
            <a:solidFill>
              <a:srgbClr val="41AAA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3" name="Google Shape;953;p30"/>
            <p:cNvSpPr/>
            <p:nvPr/>
          </p:nvSpPr>
          <p:spPr>
            <a:xfrm>
              <a:off x="6756925" y="2105150"/>
              <a:ext cx="31125" cy="24975"/>
            </a:xfrm>
            <a:custGeom>
              <a:avLst/>
              <a:gdLst/>
              <a:ahLst/>
              <a:cxnLst/>
              <a:rect l="l" t="t" r="r" b="b"/>
              <a:pathLst>
                <a:path w="1245" h="999" extrusionOk="0">
                  <a:moveTo>
                    <a:pt x="597" y="1"/>
                  </a:moveTo>
                  <a:lnTo>
                    <a:pt x="243" y="244"/>
                  </a:lnTo>
                  <a:lnTo>
                    <a:pt x="0" y="879"/>
                  </a:lnTo>
                  <a:cubicBezTo>
                    <a:pt x="17" y="879"/>
                    <a:pt x="81" y="905"/>
                    <a:pt x="81" y="905"/>
                  </a:cubicBezTo>
                  <a:lnTo>
                    <a:pt x="324" y="286"/>
                  </a:lnTo>
                  <a:lnTo>
                    <a:pt x="636" y="108"/>
                  </a:lnTo>
                  <a:lnTo>
                    <a:pt x="891" y="299"/>
                  </a:lnTo>
                  <a:lnTo>
                    <a:pt x="1177" y="999"/>
                  </a:lnTo>
                  <a:lnTo>
                    <a:pt x="1245" y="973"/>
                  </a:lnTo>
                  <a:lnTo>
                    <a:pt x="989" y="257"/>
                  </a:lnTo>
                  <a:lnTo>
                    <a:pt x="597" y="1"/>
                  </a:lnTo>
                  <a:close/>
                </a:path>
              </a:pathLst>
            </a:custGeom>
            <a:solidFill>
              <a:srgbClr val="41AAA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4" name="Google Shape;954;p30"/>
            <p:cNvSpPr/>
            <p:nvPr/>
          </p:nvSpPr>
          <p:spPr>
            <a:xfrm>
              <a:off x="6765025" y="2127100"/>
              <a:ext cx="14200" cy="16225"/>
            </a:xfrm>
            <a:custGeom>
              <a:avLst/>
              <a:gdLst/>
              <a:ahLst/>
              <a:cxnLst/>
              <a:rect l="l" t="t" r="r" b="b"/>
              <a:pathLst>
                <a:path w="568" h="649" extrusionOk="0">
                  <a:moveTo>
                    <a:pt x="81" y="1"/>
                  </a:moveTo>
                  <a:lnTo>
                    <a:pt x="0" y="27"/>
                  </a:lnTo>
                  <a:lnTo>
                    <a:pt x="555" y="649"/>
                  </a:lnTo>
                  <a:lnTo>
                    <a:pt x="567" y="581"/>
                  </a:lnTo>
                  <a:lnTo>
                    <a:pt x="81" y="1"/>
                  </a:lnTo>
                  <a:close/>
                </a:path>
              </a:pathLst>
            </a:custGeom>
            <a:solidFill>
              <a:srgbClr val="EADAD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55" name="Google Shape;955;p30"/>
            <p:cNvSpPr/>
            <p:nvPr/>
          </p:nvSpPr>
          <p:spPr>
            <a:xfrm>
              <a:off x="6766075" y="2127425"/>
              <a:ext cx="14525" cy="15900"/>
            </a:xfrm>
            <a:custGeom>
              <a:avLst/>
              <a:gdLst/>
              <a:ahLst/>
              <a:cxnLst/>
              <a:rect l="l" t="t" r="r" b="b"/>
              <a:pathLst>
                <a:path w="581" h="636" extrusionOk="0">
                  <a:moveTo>
                    <a:pt x="513" y="1"/>
                  </a:moveTo>
                  <a:lnTo>
                    <a:pt x="1" y="568"/>
                  </a:lnTo>
                  <a:lnTo>
                    <a:pt x="39" y="636"/>
                  </a:lnTo>
                  <a:lnTo>
                    <a:pt x="581" y="14"/>
                  </a:lnTo>
                  <a:lnTo>
                    <a:pt x="513" y="1"/>
                  </a:lnTo>
                  <a:close/>
                </a:path>
              </a:pathLst>
            </a:custGeom>
            <a:solidFill>
              <a:srgbClr val="EADAD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956" name="Google Shape;956;p30"/>
          <p:cNvSpPr txBox="1">
            <a:spLocks noGrp="1"/>
          </p:cNvSpPr>
          <p:nvPr>
            <p:ph type="title"/>
          </p:nvPr>
        </p:nvSpPr>
        <p:spPr>
          <a:xfrm>
            <a:off x="950967" y="2318651"/>
            <a:ext cx="4566000" cy="70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57" name="Google Shape;957;p30"/>
          <p:cNvSpPr txBox="1">
            <a:spLocks noGrp="1"/>
          </p:cNvSpPr>
          <p:nvPr>
            <p:ph type="subTitle" idx="1"/>
          </p:nvPr>
        </p:nvSpPr>
        <p:spPr>
          <a:xfrm>
            <a:off x="950967" y="3037741"/>
            <a:ext cx="4566000" cy="151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30157754"/>
      </p:ext>
    </p:extLst>
  </p:cSld>
  <p:clrMapOvr>
    <a:masterClrMapping/>
  </p:clrMapOvr>
  <p:transition spd="slow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" name="Google Shape;959;p31"/>
          <p:cNvSpPr/>
          <p:nvPr/>
        </p:nvSpPr>
        <p:spPr>
          <a:xfrm>
            <a:off x="5120476" y="5840075"/>
            <a:ext cx="69539" cy="3304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0" name="Google Shape;960;p31"/>
          <p:cNvSpPr/>
          <p:nvPr/>
        </p:nvSpPr>
        <p:spPr>
          <a:xfrm>
            <a:off x="-67" y="5012699"/>
            <a:ext cx="12192064" cy="1814668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1" name="Google Shape;961;p31"/>
          <p:cNvSpPr/>
          <p:nvPr/>
        </p:nvSpPr>
        <p:spPr>
          <a:xfrm>
            <a:off x="4999801" y="5540001"/>
            <a:ext cx="7192180" cy="1317995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2" name="Google Shape;962;p31"/>
          <p:cNvSpPr/>
          <p:nvPr/>
        </p:nvSpPr>
        <p:spPr>
          <a:xfrm>
            <a:off x="-75" y="5504090"/>
            <a:ext cx="12192064" cy="1353911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3" name="Google Shape;963;p31"/>
          <p:cNvSpPr txBox="1">
            <a:spLocks noGrp="1"/>
          </p:cNvSpPr>
          <p:nvPr>
            <p:ph type="title"/>
          </p:nvPr>
        </p:nvSpPr>
        <p:spPr>
          <a:xfrm>
            <a:off x="950967" y="2301051"/>
            <a:ext cx="4030800" cy="69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64" name="Google Shape;964;p31"/>
          <p:cNvSpPr txBox="1">
            <a:spLocks noGrp="1"/>
          </p:cNvSpPr>
          <p:nvPr>
            <p:ph type="subTitle" idx="1"/>
          </p:nvPr>
        </p:nvSpPr>
        <p:spPr>
          <a:xfrm>
            <a:off x="950967" y="3020141"/>
            <a:ext cx="4666800" cy="15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47022027"/>
      </p:ext>
    </p:extLst>
  </p:cSld>
  <p:clrMapOvr>
    <a:masterClrMapping/>
  </p:clrMapOvr>
  <p:transition spd="slow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3">
  <p:cSld name="Title and text 3">
    <p:spTree>
      <p:nvGrpSpPr>
        <p:cNvPr id="1" name="Shape 9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" name="Google Shape;966;p32"/>
          <p:cNvSpPr/>
          <p:nvPr/>
        </p:nvSpPr>
        <p:spPr>
          <a:xfrm flipH="1">
            <a:off x="7144167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7" name="Google Shape;967;p32"/>
          <p:cNvSpPr/>
          <p:nvPr/>
        </p:nvSpPr>
        <p:spPr>
          <a:xfrm flipH="1">
            <a:off x="1990286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8" name="Google Shape;968;p32"/>
          <p:cNvSpPr/>
          <p:nvPr/>
        </p:nvSpPr>
        <p:spPr>
          <a:xfrm flipH="1">
            <a:off x="-16" y="5321402"/>
            <a:ext cx="12192016" cy="826665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9" name="Google Shape;969;p32"/>
          <p:cNvSpPr/>
          <p:nvPr/>
        </p:nvSpPr>
        <p:spPr>
          <a:xfrm flipH="1">
            <a:off x="17" y="5669032"/>
            <a:ext cx="12192016" cy="826673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70" name="Google Shape;970;p32"/>
          <p:cNvSpPr/>
          <p:nvPr/>
        </p:nvSpPr>
        <p:spPr>
          <a:xfrm flipH="1">
            <a:off x="25" y="5500935"/>
            <a:ext cx="7338209" cy="164847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71" name="Google Shape;971;p32"/>
          <p:cNvSpPr/>
          <p:nvPr/>
        </p:nvSpPr>
        <p:spPr>
          <a:xfrm flipH="1">
            <a:off x="242833" y="6092424"/>
            <a:ext cx="11949201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72" name="Google Shape;972;p32"/>
          <p:cNvSpPr/>
          <p:nvPr/>
        </p:nvSpPr>
        <p:spPr>
          <a:xfrm flipH="1">
            <a:off x="17" y="6392956"/>
            <a:ext cx="12192016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973" name="Google Shape;973;p32"/>
          <p:cNvGrpSpPr/>
          <p:nvPr/>
        </p:nvGrpSpPr>
        <p:grpSpPr>
          <a:xfrm>
            <a:off x="826834" y="4774934"/>
            <a:ext cx="1110233" cy="1362900"/>
            <a:chOff x="620125" y="3581200"/>
            <a:chExt cx="832675" cy="1022175"/>
          </a:xfrm>
        </p:grpSpPr>
        <p:sp>
          <p:nvSpPr>
            <p:cNvPr id="974" name="Google Shape;974;p32"/>
            <p:cNvSpPr/>
            <p:nvPr/>
          </p:nvSpPr>
          <p:spPr>
            <a:xfrm>
              <a:off x="1277069" y="4458809"/>
              <a:ext cx="78159" cy="144566"/>
            </a:xfrm>
            <a:custGeom>
              <a:avLst/>
              <a:gdLst/>
              <a:ahLst/>
              <a:cxnLst/>
              <a:rect l="l" t="t" r="r" b="b"/>
              <a:pathLst>
                <a:path w="306" h="566" extrusionOk="0">
                  <a:moveTo>
                    <a:pt x="166" y="1"/>
                  </a:moveTo>
                  <a:cubicBezTo>
                    <a:pt x="82" y="1"/>
                    <a:pt x="0" y="58"/>
                    <a:pt x="47" y="119"/>
                  </a:cubicBezTo>
                  <a:cubicBezTo>
                    <a:pt x="144" y="242"/>
                    <a:pt x="115" y="566"/>
                    <a:pt x="115" y="566"/>
                  </a:cubicBezTo>
                  <a:lnTo>
                    <a:pt x="238" y="566"/>
                  </a:lnTo>
                  <a:cubicBezTo>
                    <a:pt x="209" y="226"/>
                    <a:pt x="306" y="119"/>
                    <a:pt x="306" y="119"/>
                  </a:cubicBezTo>
                  <a:cubicBezTo>
                    <a:pt x="293" y="33"/>
                    <a:pt x="229" y="1"/>
                    <a:pt x="166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5" name="Google Shape;975;p32"/>
            <p:cNvSpPr/>
            <p:nvPr/>
          </p:nvSpPr>
          <p:spPr>
            <a:xfrm>
              <a:off x="1189460" y="3581455"/>
              <a:ext cx="263341" cy="958326"/>
            </a:xfrm>
            <a:custGeom>
              <a:avLst/>
              <a:gdLst/>
              <a:ahLst/>
              <a:cxnLst/>
              <a:rect l="l" t="t" r="r" b="b"/>
              <a:pathLst>
                <a:path w="1031" h="3752" extrusionOk="0">
                  <a:moveTo>
                    <a:pt x="524" y="0"/>
                  </a:moveTo>
                  <a:cubicBezTo>
                    <a:pt x="469" y="0"/>
                    <a:pt x="415" y="113"/>
                    <a:pt x="364" y="382"/>
                  </a:cubicBezTo>
                  <a:cubicBezTo>
                    <a:pt x="364" y="382"/>
                    <a:pt x="1" y="3418"/>
                    <a:pt x="257" y="3635"/>
                  </a:cubicBezTo>
                  <a:cubicBezTo>
                    <a:pt x="328" y="3702"/>
                    <a:pt x="437" y="3751"/>
                    <a:pt x="549" y="3751"/>
                  </a:cubicBezTo>
                  <a:cubicBezTo>
                    <a:pt x="754" y="3751"/>
                    <a:pt x="972" y="3586"/>
                    <a:pt x="999" y="3055"/>
                  </a:cubicBezTo>
                  <a:cubicBezTo>
                    <a:pt x="1031" y="2379"/>
                    <a:pt x="774" y="0"/>
                    <a:pt x="524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6" name="Google Shape;976;p32"/>
            <p:cNvSpPr/>
            <p:nvPr/>
          </p:nvSpPr>
          <p:spPr>
            <a:xfrm>
              <a:off x="1175412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8" y="0"/>
                  </a:moveTo>
                  <a:cubicBezTo>
                    <a:pt x="525" y="0"/>
                    <a:pt x="468" y="116"/>
                    <a:pt x="419" y="383"/>
                  </a:cubicBezTo>
                  <a:cubicBezTo>
                    <a:pt x="419" y="383"/>
                    <a:pt x="1" y="3218"/>
                    <a:pt x="312" y="3636"/>
                  </a:cubicBezTo>
                  <a:cubicBezTo>
                    <a:pt x="325" y="3662"/>
                    <a:pt x="364" y="3691"/>
                    <a:pt x="393" y="3704"/>
                  </a:cubicBezTo>
                  <a:cubicBezTo>
                    <a:pt x="244" y="3095"/>
                    <a:pt x="500" y="370"/>
                    <a:pt x="500" y="370"/>
                  </a:cubicBezTo>
                  <a:cubicBezTo>
                    <a:pt x="526" y="33"/>
                    <a:pt x="607" y="114"/>
                    <a:pt x="636" y="46"/>
                  </a:cubicBezTo>
                  <a:cubicBezTo>
                    <a:pt x="617" y="16"/>
                    <a:pt x="598" y="0"/>
                    <a:pt x="578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7" name="Google Shape;977;p32"/>
            <p:cNvSpPr/>
            <p:nvPr/>
          </p:nvSpPr>
          <p:spPr>
            <a:xfrm>
              <a:off x="1018838" y="4458809"/>
              <a:ext cx="77393" cy="144566"/>
            </a:xfrm>
            <a:custGeom>
              <a:avLst/>
              <a:gdLst/>
              <a:ahLst/>
              <a:cxnLst/>
              <a:rect l="l" t="t" r="r" b="b"/>
              <a:pathLst>
                <a:path w="303" h="566" extrusionOk="0">
                  <a:moveTo>
                    <a:pt x="166" y="1"/>
                  </a:moveTo>
                  <a:cubicBezTo>
                    <a:pt x="82" y="1"/>
                    <a:pt x="1" y="58"/>
                    <a:pt x="47" y="119"/>
                  </a:cubicBezTo>
                  <a:cubicBezTo>
                    <a:pt x="141" y="242"/>
                    <a:pt x="115" y="566"/>
                    <a:pt x="115" y="566"/>
                  </a:cubicBezTo>
                  <a:lnTo>
                    <a:pt x="235" y="566"/>
                  </a:lnTo>
                  <a:cubicBezTo>
                    <a:pt x="209" y="226"/>
                    <a:pt x="303" y="119"/>
                    <a:pt x="303" y="119"/>
                  </a:cubicBezTo>
                  <a:cubicBezTo>
                    <a:pt x="292" y="33"/>
                    <a:pt x="228" y="1"/>
                    <a:pt x="166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8" name="Google Shape;978;p32"/>
            <p:cNvSpPr/>
            <p:nvPr/>
          </p:nvSpPr>
          <p:spPr>
            <a:xfrm>
              <a:off x="927142" y="3581455"/>
              <a:ext cx="267427" cy="958326"/>
            </a:xfrm>
            <a:custGeom>
              <a:avLst/>
              <a:gdLst/>
              <a:ahLst/>
              <a:cxnLst/>
              <a:rect l="l" t="t" r="r" b="b"/>
              <a:pathLst>
                <a:path w="1047" h="3752" extrusionOk="0">
                  <a:moveTo>
                    <a:pt x="530" y="0"/>
                  </a:moveTo>
                  <a:cubicBezTo>
                    <a:pt x="473" y="0"/>
                    <a:pt x="417" y="113"/>
                    <a:pt x="364" y="382"/>
                  </a:cubicBezTo>
                  <a:cubicBezTo>
                    <a:pt x="364" y="382"/>
                    <a:pt x="1" y="3418"/>
                    <a:pt x="257" y="3635"/>
                  </a:cubicBezTo>
                  <a:cubicBezTo>
                    <a:pt x="334" y="3702"/>
                    <a:pt x="446" y="3751"/>
                    <a:pt x="561" y="3751"/>
                  </a:cubicBezTo>
                  <a:cubicBezTo>
                    <a:pt x="770" y="3751"/>
                    <a:pt x="987" y="3586"/>
                    <a:pt x="1012" y="3055"/>
                  </a:cubicBezTo>
                  <a:cubicBezTo>
                    <a:pt x="1046" y="2379"/>
                    <a:pt x="788" y="0"/>
                    <a:pt x="530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79" name="Google Shape;979;p32"/>
            <p:cNvSpPr/>
            <p:nvPr/>
          </p:nvSpPr>
          <p:spPr>
            <a:xfrm>
              <a:off x="916414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2" y="0"/>
                  </a:moveTo>
                  <a:cubicBezTo>
                    <a:pt x="517" y="0"/>
                    <a:pt x="465" y="116"/>
                    <a:pt x="406" y="383"/>
                  </a:cubicBezTo>
                  <a:cubicBezTo>
                    <a:pt x="406" y="383"/>
                    <a:pt x="1" y="3218"/>
                    <a:pt x="299" y="3636"/>
                  </a:cubicBezTo>
                  <a:cubicBezTo>
                    <a:pt x="325" y="3662"/>
                    <a:pt x="367" y="3691"/>
                    <a:pt x="393" y="3704"/>
                  </a:cubicBezTo>
                  <a:cubicBezTo>
                    <a:pt x="244" y="3095"/>
                    <a:pt x="487" y="370"/>
                    <a:pt x="487" y="370"/>
                  </a:cubicBezTo>
                  <a:cubicBezTo>
                    <a:pt x="529" y="33"/>
                    <a:pt x="610" y="114"/>
                    <a:pt x="636" y="46"/>
                  </a:cubicBezTo>
                  <a:cubicBezTo>
                    <a:pt x="614" y="16"/>
                    <a:pt x="593" y="0"/>
                    <a:pt x="572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0" name="Google Shape;980;p32"/>
            <p:cNvSpPr/>
            <p:nvPr/>
          </p:nvSpPr>
          <p:spPr>
            <a:xfrm>
              <a:off x="722549" y="4458809"/>
              <a:ext cx="77393" cy="144566"/>
            </a:xfrm>
            <a:custGeom>
              <a:avLst/>
              <a:gdLst/>
              <a:ahLst/>
              <a:cxnLst/>
              <a:rect l="l" t="t" r="r" b="b"/>
              <a:pathLst>
                <a:path w="303" h="566" extrusionOk="0">
                  <a:moveTo>
                    <a:pt x="164" y="1"/>
                  </a:moveTo>
                  <a:cubicBezTo>
                    <a:pt x="81" y="1"/>
                    <a:pt x="1" y="58"/>
                    <a:pt x="47" y="119"/>
                  </a:cubicBezTo>
                  <a:cubicBezTo>
                    <a:pt x="141" y="242"/>
                    <a:pt x="112" y="566"/>
                    <a:pt x="112" y="566"/>
                  </a:cubicBezTo>
                  <a:lnTo>
                    <a:pt x="235" y="566"/>
                  </a:lnTo>
                  <a:cubicBezTo>
                    <a:pt x="209" y="226"/>
                    <a:pt x="303" y="119"/>
                    <a:pt x="303" y="119"/>
                  </a:cubicBezTo>
                  <a:cubicBezTo>
                    <a:pt x="290" y="33"/>
                    <a:pt x="227" y="1"/>
                    <a:pt x="164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1" name="Google Shape;981;p32"/>
            <p:cNvSpPr/>
            <p:nvPr/>
          </p:nvSpPr>
          <p:spPr>
            <a:xfrm>
              <a:off x="630853" y="3581455"/>
              <a:ext cx="267427" cy="958326"/>
            </a:xfrm>
            <a:custGeom>
              <a:avLst/>
              <a:gdLst/>
              <a:ahLst/>
              <a:cxnLst/>
              <a:rect l="l" t="t" r="r" b="b"/>
              <a:pathLst>
                <a:path w="1047" h="3752" extrusionOk="0">
                  <a:moveTo>
                    <a:pt x="537" y="0"/>
                  </a:moveTo>
                  <a:cubicBezTo>
                    <a:pt x="482" y="0"/>
                    <a:pt x="428" y="113"/>
                    <a:pt x="377" y="382"/>
                  </a:cubicBezTo>
                  <a:cubicBezTo>
                    <a:pt x="377" y="382"/>
                    <a:pt x="1" y="3418"/>
                    <a:pt x="257" y="3635"/>
                  </a:cubicBezTo>
                  <a:cubicBezTo>
                    <a:pt x="333" y="3702"/>
                    <a:pt x="445" y="3751"/>
                    <a:pt x="560" y="3751"/>
                  </a:cubicBezTo>
                  <a:cubicBezTo>
                    <a:pt x="769" y="3751"/>
                    <a:pt x="987" y="3586"/>
                    <a:pt x="1012" y="3055"/>
                  </a:cubicBezTo>
                  <a:cubicBezTo>
                    <a:pt x="1046" y="2379"/>
                    <a:pt x="788" y="0"/>
                    <a:pt x="537" y="0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82" name="Google Shape;982;p32"/>
            <p:cNvSpPr/>
            <p:nvPr/>
          </p:nvSpPr>
          <p:spPr>
            <a:xfrm>
              <a:off x="620125" y="3581200"/>
              <a:ext cx="162449" cy="946066"/>
            </a:xfrm>
            <a:custGeom>
              <a:avLst/>
              <a:gdLst/>
              <a:ahLst/>
              <a:cxnLst/>
              <a:rect l="l" t="t" r="r" b="b"/>
              <a:pathLst>
                <a:path w="636" h="3704" extrusionOk="0">
                  <a:moveTo>
                    <a:pt x="573" y="0"/>
                  </a:moveTo>
                  <a:cubicBezTo>
                    <a:pt x="518" y="0"/>
                    <a:pt x="468" y="116"/>
                    <a:pt x="419" y="383"/>
                  </a:cubicBezTo>
                  <a:cubicBezTo>
                    <a:pt x="419" y="383"/>
                    <a:pt x="1" y="3218"/>
                    <a:pt x="299" y="3636"/>
                  </a:cubicBezTo>
                  <a:cubicBezTo>
                    <a:pt x="325" y="3662"/>
                    <a:pt x="367" y="3691"/>
                    <a:pt x="393" y="3704"/>
                  </a:cubicBezTo>
                  <a:cubicBezTo>
                    <a:pt x="244" y="3095"/>
                    <a:pt x="500" y="370"/>
                    <a:pt x="500" y="370"/>
                  </a:cubicBezTo>
                  <a:cubicBezTo>
                    <a:pt x="529" y="33"/>
                    <a:pt x="610" y="114"/>
                    <a:pt x="636" y="46"/>
                  </a:cubicBezTo>
                  <a:cubicBezTo>
                    <a:pt x="614" y="16"/>
                    <a:pt x="593" y="0"/>
                    <a:pt x="573" y="0"/>
                  </a:cubicBezTo>
                  <a:close/>
                </a:path>
              </a:pathLst>
            </a:custGeom>
            <a:solidFill>
              <a:srgbClr val="A590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983" name="Google Shape;983;p32"/>
          <p:cNvSpPr txBox="1">
            <a:spLocks noGrp="1"/>
          </p:cNvSpPr>
          <p:nvPr>
            <p:ph type="title"/>
          </p:nvPr>
        </p:nvSpPr>
        <p:spPr>
          <a:xfrm>
            <a:off x="7210067" y="2268051"/>
            <a:ext cx="4030800" cy="69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84" name="Google Shape;984;p32"/>
          <p:cNvSpPr txBox="1">
            <a:spLocks noGrp="1"/>
          </p:cNvSpPr>
          <p:nvPr>
            <p:ph type="subTitle" idx="1"/>
          </p:nvPr>
        </p:nvSpPr>
        <p:spPr>
          <a:xfrm>
            <a:off x="6756233" y="2987141"/>
            <a:ext cx="4484800" cy="161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57596771"/>
      </p:ext>
    </p:extLst>
  </p:cSld>
  <p:clrMapOvr>
    <a:masterClrMapping/>
  </p:clrMapOvr>
  <p:transition spd="slow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3">
  <p:cSld name="1_Title and text 3">
    <p:spTree>
      <p:nvGrpSpPr>
        <p:cNvPr id="1" name="Shape 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" name="Google Shape;986;p33"/>
          <p:cNvSpPr/>
          <p:nvPr/>
        </p:nvSpPr>
        <p:spPr>
          <a:xfrm>
            <a:off x="781" y="3074325"/>
            <a:ext cx="12220029" cy="1679225"/>
          </a:xfrm>
          <a:custGeom>
            <a:avLst/>
            <a:gdLst/>
            <a:ahLst/>
            <a:cxnLst/>
            <a:rect l="l" t="t" r="r" b="b"/>
            <a:pathLst>
              <a:path w="51070" h="8953" extrusionOk="0">
                <a:moveTo>
                  <a:pt x="51070" y="1"/>
                </a:moveTo>
                <a:cubicBezTo>
                  <a:pt x="49881" y="56"/>
                  <a:pt x="49100" y="432"/>
                  <a:pt x="48371" y="513"/>
                </a:cubicBezTo>
                <a:cubicBezTo>
                  <a:pt x="47629" y="594"/>
                  <a:pt x="46547" y="756"/>
                  <a:pt x="45941" y="879"/>
                </a:cubicBezTo>
                <a:cubicBezTo>
                  <a:pt x="45332" y="986"/>
                  <a:pt x="46952" y="1744"/>
                  <a:pt x="46223" y="1932"/>
                </a:cubicBezTo>
                <a:cubicBezTo>
                  <a:pt x="45494" y="2107"/>
                  <a:pt x="44914" y="2512"/>
                  <a:pt x="44334" y="2878"/>
                </a:cubicBezTo>
                <a:cubicBezTo>
                  <a:pt x="44159" y="2985"/>
                  <a:pt x="44010" y="3024"/>
                  <a:pt x="43822" y="3024"/>
                </a:cubicBezTo>
                <a:cubicBezTo>
                  <a:pt x="43631" y="3024"/>
                  <a:pt x="43388" y="2985"/>
                  <a:pt x="42996" y="2959"/>
                </a:cubicBezTo>
                <a:cubicBezTo>
                  <a:pt x="42607" y="2917"/>
                  <a:pt x="42066" y="2878"/>
                  <a:pt x="41295" y="2878"/>
                </a:cubicBezTo>
                <a:lnTo>
                  <a:pt x="40945" y="2878"/>
                </a:lnTo>
                <a:cubicBezTo>
                  <a:pt x="38314" y="2917"/>
                  <a:pt x="39610" y="3983"/>
                  <a:pt x="39056" y="4038"/>
                </a:cubicBezTo>
                <a:cubicBezTo>
                  <a:pt x="38557" y="4093"/>
                  <a:pt x="38408" y="4537"/>
                  <a:pt x="37828" y="4537"/>
                </a:cubicBezTo>
                <a:cubicBezTo>
                  <a:pt x="37773" y="4537"/>
                  <a:pt x="37705" y="4537"/>
                  <a:pt x="37637" y="4524"/>
                </a:cubicBezTo>
                <a:cubicBezTo>
                  <a:pt x="37488" y="4511"/>
                  <a:pt x="37326" y="4498"/>
                  <a:pt x="37138" y="4498"/>
                </a:cubicBezTo>
                <a:cubicBezTo>
                  <a:pt x="36422" y="4498"/>
                  <a:pt x="35531" y="4673"/>
                  <a:pt x="35194" y="4997"/>
                </a:cubicBezTo>
                <a:cubicBezTo>
                  <a:pt x="35045" y="5146"/>
                  <a:pt x="34925" y="5185"/>
                  <a:pt x="34750" y="5185"/>
                </a:cubicBezTo>
                <a:cubicBezTo>
                  <a:pt x="34426" y="5185"/>
                  <a:pt x="33940" y="5010"/>
                  <a:pt x="32858" y="4997"/>
                </a:cubicBezTo>
                <a:lnTo>
                  <a:pt x="32832" y="4997"/>
                </a:lnTo>
                <a:cubicBezTo>
                  <a:pt x="32048" y="4997"/>
                  <a:pt x="31549" y="5308"/>
                  <a:pt x="31076" y="5616"/>
                </a:cubicBezTo>
                <a:cubicBezTo>
                  <a:pt x="30603" y="5927"/>
                  <a:pt x="30133" y="6238"/>
                  <a:pt x="29417" y="6238"/>
                </a:cubicBezTo>
                <a:lnTo>
                  <a:pt x="29307" y="6238"/>
                </a:lnTo>
                <a:cubicBezTo>
                  <a:pt x="27768" y="6170"/>
                  <a:pt x="25623" y="6225"/>
                  <a:pt x="24583" y="5940"/>
                </a:cubicBezTo>
                <a:cubicBezTo>
                  <a:pt x="23556" y="5671"/>
                  <a:pt x="23880" y="5240"/>
                  <a:pt x="23491" y="4997"/>
                </a:cubicBezTo>
                <a:cubicBezTo>
                  <a:pt x="23394" y="4942"/>
                  <a:pt x="23287" y="4929"/>
                  <a:pt x="23167" y="4929"/>
                </a:cubicBezTo>
                <a:cubicBezTo>
                  <a:pt x="23018" y="4929"/>
                  <a:pt x="22843" y="4955"/>
                  <a:pt x="22652" y="4984"/>
                </a:cubicBezTo>
                <a:cubicBezTo>
                  <a:pt x="22464" y="5023"/>
                  <a:pt x="22234" y="5049"/>
                  <a:pt x="21991" y="5049"/>
                </a:cubicBezTo>
                <a:cubicBezTo>
                  <a:pt x="21829" y="5049"/>
                  <a:pt x="21667" y="5036"/>
                  <a:pt x="21479" y="4997"/>
                </a:cubicBezTo>
                <a:cubicBezTo>
                  <a:pt x="20494" y="4822"/>
                  <a:pt x="18777" y="5130"/>
                  <a:pt x="18278" y="4469"/>
                </a:cubicBezTo>
                <a:cubicBezTo>
                  <a:pt x="17779" y="3821"/>
                  <a:pt x="14500" y="2836"/>
                  <a:pt x="12974" y="2619"/>
                </a:cubicBezTo>
                <a:cubicBezTo>
                  <a:pt x="11448" y="2405"/>
                  <a:pt x="11785" y="2593"/>
                  <a:pt x="11448" y="2405"/>
                </a:cubicBezTo>
                <a:cubicBezTo>
                  <a:pt x="11150" y="2214"/>
                  <a:pt x="11043" y="1919"/>
                  <a:pt x="9948" y="1919"/>
                </a:cubicBezTo>
                <a:cubicBezTo>
                  <a:pt x="9841" y="1919"/>
                  <a:pt x="9721" y="1919"/>
                  <a:pt x="9585" y="1932"/>
                </a:cubicBezTo>
                <a:lnTo>
                  <a:pt x="9397" y="1932"/>
                </a:lnTo>
                <a:cubicBezTo>
                  <a:pt x="8004" y="1932"/>
                  <a:pt x="6465" y="1122"/>
                  <a:pt x="4913" y="704"/>
                </a:cubicBezTo>
                <a:cubicBezTo>
                  <a:pt x="4375" y="568"/>
                  <a:pt x="3646" y="513"/>
                  <a:pt x="2930" y="513"/>
                </a:cubicBezTo>
                <a:cubicBezTo>
                  <a:pt x="1472" y="513"/>
                  <a:pt x="1" y="704"/>
                  <a:pt x="1" y="704"/>
                </a:cubicBezTo>
                <a:lnTo>
                  <a:pt x="14" y="3335"/>
                </a:lnTo>
                <a:cubicBezTo>
                  <a:pt x="121" y="3309"/>
                  <a:pt x="1012" y="3066"/>
                  <a:pt x="1524" y="3066"/>
                </a:cubicBezTo>
                <a:cubicBezTo>
                  <a:pt x="1647" y="3066"/>
                  <a:pt x="1741" y="3079"/>
                  <a:pt x="1809" y="3105"/>
                </a:cubicBezTo>
                <a:cubicBezTo>
                  <a:pt x="2201" y="3267"/>
                  <a:pt x="3105" y="3471"/>
                  <a:pt x="4213" y="3471"/>
                </a:cubicBezTo>
                <a:lnTo>
                  <a:pt x="4359" y="3471"/>
                </a:lnTo>
                <a:cubicBezTo>
                  <a:pt x="5143" y="3458"/>
                  <a:pt x="5467" y="3322"/>
                  <a:pt x="5710" y="3322"/>
                </a:cubicBezTo>
                <a:cubicBezTo>
                  <a:pt x="5846" y="3322"/>
                  <a:pt x="5953" y="3348"/>
                  <a:pt x="6089" y="3471"/>
                </a:cubicBezTo>
                <a:cubicBezTo>
                  <a:pt x="6452" y="3740"/>
                  <a:pt x="6507" y="3944"/>
                  <a:pt x="6967" y="3944"/>
                </a:cubicBezTo>
                <a:cubicBezTo>
                  <a:pt x="7032" y="3944"/>
                  <a:pt x="7100" y="3931"/>
                  <a:pt x="7194" y="3931"/>
                </a:cubicBezTo>
                <a:cubicBezTo>
                  <a:pt x="7871" y="3863"/>
                  <a:pt x="7453" y="3889"/>
                  <a:pt x="7871" y="3863"/>
                </a:cubicBezTo>
                <a:lnTo>
                  <a:pt x="7910" y="3863"/>
                </a:lnTo>
                <a:cubicBezTo>
                  <a:pt x="8302" y="3863"/>
                  <a:pt x="8613" y="4200"/>
                  <a:pt x="8613" y="4200"/>
                </a:cubicBezTo>
                <a:cubicBezTo>
                  <a:pt x="8613" y="4200"/>
                  <a:pt x="8963" y="4174"/>
                  <a:pt x="9287" y="4174"/>
                </a:cubicBezTo>
                <a:cubicBezTo>
                  <a:pt x="9449" y="4174"/>
                  <a:pt x="9611" y="4174"/>
                  <a:pt x="9721" y="4200"/>
                </a:cubicBezTo>
                <a:cubicBezTo>
                  <a:pt x="10045" y="4268"/>
                  <a:pt x="9436" y="4401"/>
                  <a:pt x="10314" y="4550"/>
                </a:cubicBezTo>
                <a:cubicBezTo>
                  <a:pt x="10476" y="4563"/>
                  <a:pt x="10612" y="4579"/>
                  <a:pt x="10732" y="4579"/>
                </a:cubicBezTo>
                <a:cubicBezTo>
                  <a:pt x="10949" y="4579"/>
                  <a:pt x="11124" y="4550"/>
                  <a:pt x="11286" y="4524"/>
                </a:cubicBezTo>
                <a:cubicBezTo>
                  <a:pt x="11435" y="4498"/>
                  <a:pt x="11568" y="4482"/>
                  <a:pt x="11691" y="4482"/>
                </a:cubicBezTo>
                <a:cubicBezTo>
                  <a:pt x="11798" y="4482"/>
                  <a:pt x="11908" y="4498"/>
                  <a:pt x="12002" y="4550"/>
                </a:cubicBezTo>
                <a:cubicBezTo>
                  <a:pt x="12420" y="4754"/>
                  <a:pt x="12770" y="5198"/>
                  <a:pt x="13512" y="5227"/>
                </a:cubicBezTo>
                <a:cubicBezTo>
                  <a:pt x="14270" y="5266"/>
                  <a:pt x="16052" y="5373"/>
                  <a:pt x="16010" y="5778"/>
                </a:cubicBezTo>
                <a:cubicBezTo>
                  <a:pt x="15984" y="6008"/>
                  <a:pt x="16295" y="6021"/>
                  <a:pt x="16645" y="6021"/>
                </a:cubicBezTo>
                <a:lnTo>
                  <a:pt x="16875" y="6021"/>
                </a:lnTo>
                <a:cubicBezTo>
                  <a:pt x="17092" y="6021"/>
                  <a:pt x="17280" y="6037"/>
                  <a:pt x="17400" y="6089"/>
                </a:cubicBezTo>
                <a:cubicBezTo>
                  <a:pt x="17740" y="6264"/>
                  <a:pt x="17860" y="6264"/>
                  <a:pt x="18482" y="6400"/>
                </a:cubicBezTo>
                <a:cubicBezTo>
                  <a:pt x="19101" y="6536"/>
                  <a:pt x="21709" y="6494"/>
                  <a:pt x="21450" y="6669"/>
                </a:cubicBezTo>
                <a:cubicBezTo>
                  <a:pt x="21207" y="6847"/>
                  <a:pt x="19506" y="6847"/>
                  <a:pt x="20426" y="6941"/>
                </a:cubicBezTo>
                <a:cubicBezTo>
                  <a:pt x="21343" y="7048"/>
                  <a:pt x="24029" y="7116"/>
                  <a:pt x="24016" y="7252"/>
                </a:cubicBezTo>
                <a:cubicBezTo>
                  <a:pt x="24003" y="7398"/>
                  <a:pt x="20533" y="7427"/>
                  <a:pt x="20426" y="7738"/>
                </a:cubicBezTo>
                <a:cubicBezTo>
                  <a:pt x="20332" y="8046"/>
                  <a:pt x="18333" y="8830"/>
                  <a:pt x="18482" y="8937"/>
                </a:cubicBezTo>
                <a:cubicBezTo>
                  <a:pt x="18482" y="8937"/>
                  <a:pt x="18495" y="8937"/>
                  <a:pt x="18508" y="8953"/>
                </a:cubicBezTo>
                <a:lnTo>
                  <a:pt x="28335" y="8953"/>
                </a:lnTo>
                <a:cubicBezTo>
                  <a:pt x="28445" y="8898"/>
                  <a:pt x="28565" y="8856"/>
                  <a:pt x="28675" y="8856"/>
                </a:cubicBezTo>
                <a:cubicBezTo>
                  <a:pt x="28889" y="8856"/>
                  <a:pt x="29485" y="8749"/>
                  <a:pt x="29997" y="8642"/>
                </a:cubicBezTo>
                <a:cubicBezTo>
                  <a:pt x="30509" y="8532"/>
                  <a:pt x="29942" y="8519"/>
                  <a:pt x="29997" y="8451"/>
                </a:cubicBezTo>
                <a:cubicBezTo>
                  <a:pt x="30052" y="8399"/>
                  <a:pt x="30658" y="8386"/>
                  <a:pt x="31131" y="8344"/>
                </a:cubicBezTo>
                <a:cubicBezTo>
                  <a:pt x="31591" y="8305"/>
                  <a:pt x="31429" y="8127"/>
                  <a:pt x="31468" y="8007"/>
                </a:cubicBezTo>
                <a:cubicBezTo>
                  <a:pt x="31481" y="7926"/>
                  <a:pt x="31818" y="7913"/>
                  <a:pt x="32184" y="7913"/>
                </a:cubicBezTo>
                <a:lnTo>
                  <a:pt x="32858" y="7913"/>
                </a:lnTo>
                <a:cubicBezTo>
                  <a:pt x="33305" y="7913"/>
                  <a:pt x="33263" y="7466"/>
                  <a:pt x="33454" y="7278"/>
                </a:cubicBezTo>
                <a:cubicBezTo>
                  <a:pt x="33506" y="7223"/>
                  <a:pt x="33600" y="7197"/>
                  <a:pt x="33697" y="7197"/>
                </a:cubicBezTo>
                <a:cubicBezTo>
                  <a:pt x="33791" y="7197"/>
                  <a:pt x="33911" y="7223"/>
                  <a:pt x="34034" y="7236"/>
                </a:cubicBezTo>
                <a:cubicBezTo>
                  <a:pt x="34154" y="7265"/>
                  <a:pt x="34277" y="7278"/>
                  <a:pt x="34384" y="7278"/>
                </a:cubicBezTo>
                <a:lnTo>
                  <a:pt x="34478" y="7278"/>
                </a:lnTo>
                <a:cubicBezTo>
                  <a:pt x="34844" y="7236"/>
                  <a:pt x="34951" y="7048"/>
                  <a:pt x="35450" y="6873"/>
                </a:cubicBezTo>
                <a:cubicBezTo>
                  <a:pt x="35573" y="6831"/>
                  <a:pt x="35693" y="6818"/>
                  <a:pt x="35816" y="6818"/>
                </a:cubicBezTo>
                <a:cubicBezTo>
                  <a:pt x="35949" y="6818"/>
                  <a:pt x="36098" y="6831"/>
                  <a:pt x="36234" y="6860"/>
                </a:cubicBezTo>
                <a:cubicBezTo>
                  <a:pt x="36354" y="6873"/>
                  <a:pt x="36490" y="6899"/>
                  <a:pt x="36613" y="6899"/>
                </a:cubicBezTo>
                <a:cubicBezTo>
                  <a:pt x="36678" y="6899"/>
                  <a:pt x="36746" y="6886"/>
                  <a:pt x="36814" y="6873"/>
                </a:cubicBezTo>
                <a:cubicBezTo>
                  <a:pt x="37206" y="6766"/>
                  <a:pt x="37812" y="6468"/>
                  <a:pt x="38204" y="6319"/>
                </a:cubicBezTo>
                <a:cubicBezTo>
                  <a:pt x="38314" y="6280"/>
                  <a:pt x="38421" y="6264"/>
                  <a:pt x="38515" y="6264"/>
                </a:cubicBezTo>
                <a:cubicBezTo>
                  <a:pt x="38622" y="6264"/>
                  <a:pt x="38719" y="6280"/>
                  <a:pt x="38826" y="6293"/>
                </a:cubicBezTo>
                <a:cubicBezTo>
                  <a:pt x="38933" y="6319"/>
                  <a:pt x="39056" y="6332"/>
                  <a:pt x="39176" y="6332"/>
                </a:cubicBezTo>
                <a:cubicBezTo>
                  <a:pt x="39244" y="6332"/>
                  <a:pt x="39299" y="6332"/>
                  <a:pt x="39367" y="6319"/>
                </a:cubicBezTo>
                <a:cubicBezTo>
                  <a:pt x="39853" y="6251"/>
                  <a:pt x="39960" y="6021"/>
                  <a:pt x="40258" y="5875"/>
                </a:cubicBezTo>
                <a:cubicBezTo>
                  <a:pt x="40352" y="5833"/>
                  <a:pt x="40433" y="5807"/>
                  <a:pt x="40527" y="5807"/>
                </a:cubicBezTo>
                <a:cubicBezTo>
                  <a:pt x="40608" y="5807"/>
                  <a:pt x="40702" y="5833"/>
                  <a:pt x="40809" y="5846"/>
                </a:cubicBezTo>
                <a:cubicBezTo>
                  <a:pt x="40919" y="5859"/>
                  <a:pt x="41039" y="5875"/>
                  <a:pt x="41175" y="5875"/>
                </a:cubicBezTo>
                <a:lnTo>
                  <a:pt x="41337" y="5875"/>
                </a:lnTo>
                <a:cubicBezTo>
                  <a:pt x="41849" y="5833"/>
                  <a:pt x="41891" y="5483"/>
                  <a:pt x="41972" y="5373"/>
                </a:cubicBezTo>
                <a:cubicBezTo>
                  <a:pt x="41998" y="5334"/>
                  <a:pt x="42186" y="5321"/>
                  <a:pt x="42429" y="5321"/>
                </a:cubicBezTo>
                <a:cubicBezTo>
                  <a:pt x="42795" y="5321"/>
                  <a:pt x="43255" y="5360"/>
                  <a:pt x="43511" y="5402"/>
                </a:cubicBezTo>
                <a:cubicBezTo>
                  <a:pt x="43550" y="5415"/>
                  <a:pt x="43579" y="5415"/>
                  <a:pt x="43618" y="5415"/>
                </a:cubicBezTo>
                <a:cubicBezTo>
                  <a:pt x="43955" y="5415"/>
                  <a:pt x="44240" y="5091"/>
                  <a:pt x="44360" y="5078"/>
                </a:cubicBezTo>
                <a:cubicBezTo>
                  <a:pt x="45144" y="4968"/>
                  <a:pt x="45102" y="4942"/>
                  <a:pt x="45455" y="4903"/>
                </a:cubicBezTo>
                <a:cubicBezTo>
                  <a:pt x="45805" y="4861"/>
                  <a:pt x="45264" y="4511"/>
                  <a:pt x="45455" y="4375"/>
                </a:cubicBezTo>
                <a:cubicBezTo>
                  <a:pt x="45643" y="4255"/>
                  <a:pt x="46495" y="4268"/>
                  <a:pt x="46819" y="4187"/>
                </a:cubicBezTo>
                <a:cubicBezTo>
                  <a:pt x="47143" y="4106"/>
                  <a:pt x="47412" y="3996"/>
                  <a:pt x="47561" y="3902"/>
                </a:cubicBezTo>
                <a:cubicBezTo>
                  <a:pt x="47613" y="3876"/>
                  <a:pt x="47668" y="3876"/>
                  <a:pt x="47749" y="3876"/>
                </a:cubicBezTo>
                <a:cubicBezTo>
                  <a:pt x="47830" y="3876"/>
                  <a:pt x="47924" y="3889"/>
                  <a:pt x="48034" y="3889"/>
                </a:cubicBezTo>
                <a:cubicBezTo>
                  <a:pt x="48128" y="3902"/>
                  <a:pt x="48248" y="3915"/>
                  <a:pt x="48371" y="3915"/>
                </a:cubicBezTo>
                <a:cubicBezTo>
                  <a:pt x="48410" y="3915"/>
                  <a:pt x="48452" y="3915"/>
                  <a:pt x="48478" y="3902"/>
                </a:cubicBezTo>
                <a:cubicBezTo>
                  <a:pt x="48896" y="3889"/>
                  <a:pt x="49045" y="3701"/>
                  <a:pt x="49518" y="3539"/>
                </a:cubicBezTo>
                <a:cubicBezTo>
                  <a:pt x="49829" y="3445"/>
                  <a:pt x="50367" y="3429"/>
                  <a:pt x="50733" y="3429"/>
                </a:cubicBezTo>
                <a:cubicBezTo>
                  <a:pt x="50934" y="3429"/>
                  <a:pt x="51070" y="3445"/>
                  <a:pt x="51070" y="3445"/>
                </a:cubicBezTo>
                <a:lnTo>
                  <a:pt x="51070" y="1"/>
                </a:ln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87" name="Google Shape;987;p33"/>
          <p:cNvSpPr/>
          <p:nvPr/>
        </p:nvSpPr>
        <p:spPr>
          <a:xfrm>
            <a:off x="782" y="3492305"/>
            <a:ext cx="5042569" cy="1086731"/>
          </a:xfrm>
          <a:custGeom>
            <a:avLst/>
            <a:gdLst/>
            <a:ahLst/>
            <a:cxnLst/>
            <a:rect l="l" t="t" r="r" b="b"/>
            <a:pathLst>
              <a:path w="21074" h="5794" extrusionOk="0">
                <a:moveTo>
                  <a:pt x="14" y="1"/>
                </a:moveTo>
                <a:cubicBezTo>
                  <a:pt x="1" y="1"/>
                  <a:pt x="1" y="14"/>
                  <a:pt x="1" y="14"/>
                </a:cubicBezTo>
                <a:lnTo>
                  <a:pt x="1" y="5794"/>
                </a:lnTo>
                <a:lnTo>
                  <a:pt x="21074" y="5794"/>
                </a:lnTo>
                <a:cubicBezTo>
                  <a:pt x="20721" y="5564"/>
                  <a:pt x="18793" y="5700"/>
                  <a:pt x="18508" y="5619"/>
                </a:cubicBezTo>
                <a:lnTo>
                  <a:pt x="27" y="5619"/>
                </a:lnTo>
                <a:lnTo>
                  <a:pt x="14" y="1"/>
                </a:lnTo>
                <a:close/>
              </a:path>
            </a:pathLst>
          </a:custGeom>
          <a:solidFill>
            <a:srgbClr val="ADF0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88" name="Google Shape;988;p33"/>
          <p:cNvSpPr/>
          <p:nvPr/>
        </p:nvSpPr>
        <p:spPr>
          <a:xfrm>
            <a:off x="3893" y="3649202"/>
            <a:ext cx="5746548" cy="1104353"/>
          </a:xfrm>
          <a:custGeom>
            <a:avLst/>
            <a:gdLst/>
            <a:ahLst/>
            <a:cxnLst/>
            <a:rect l="l" t="t" r="r" b="b"/>
            <a:pathLst>
              <a:path w="24016" h="5888" extrusionOk="0">
                <a:moveTo>
                  <a:pt x="1511" y="1"/>
                </a:moveTo>
                <a:cubicBezTo>
                  <a:pt x="999" y="1"/>
                  <a:pt x="108" y="244"/>
                  <a:pt x="1" y="270"/>
                </a:cubicBezTo>
                <a:lnTo>
                  <a:pt x="14" y="5888"/>
                </a:lnTo>
                <a:lnTo>
                  <a:pt x="18495" y="5888"/>
                </a:lnTo>
                <a:cubicBezTo>
                  <a:pt x="18482" y="5872"/>
                  <a:pt x="18469" y="5872"/>
                  <a:pt x="18469" y="5872"/>
                </a:cubicBezTo>
                <a:cubicBezTo>
                  <a:pt x="18320" y="5765"/>
                  <a:pt x="20319" y="4981"/>
                  <a:pt x="20413" y="4673"/>
                </a:cubicBezTo>
                <a:cubicBezTo>
                  <a:pt x="20520" y="4362"/>
                  <a:pt x="23990" y="4333"/>
                  <a:pt x="24003" y="4187"/>
                </a:cubicBezTo>
                <a:cubicBezTo>
                  <a:pt x="24016" y="4051"/>
                  <a:pt x="21330" y="3983"/>
                  <a:pt x="20413" y="3876"/>
                </a:cubicBezTo>
                <a:cubicBezTo>
                  <a:pt x="19493" y="3782"/>
                  <a:pt x="21194" y="3782"/>
                  <a:pt x="21437" y="3604"/>
                </a:cubicBezTo>
                <a:cubicBezTo>
                  <a:pt x="21696" y="3429"/>
                  <a:pt x="19088" y="3471"/>
                  <a:pt x="18469" y="3335"/>
                </a:cubicBezTo>
                <a:cubicBezTo>
                  <a:pt x="17847" y="3199"/>
                  <a:pt x="17727" y="3199"/>
                  <a:pt x="17387" y="3024"/>
                </a:cubicBezTo>
                <a:cubicBezTo>
                  <a:pt x="17267" y="2972"/>
                  <a:pt x="17079" y="2956"/>
                  <a:pt x="16862" y="2956"/>
                </a:cubicBezTo>
                <a:lnTo>
                  <a:pt x="16632" y="2956"/>
                </a:lnTo>
                <a:cubicBezTo>
                  <a:pt x="16282" y="2956"/>
                  <a:pt x="15971" y="2943"/>
                  <a:pt x="15997" y="2713"/>
                </a:cubicBezTo>
                <a:cubicBezTo>
                  <a:pt x="16039" y="2308"/>
                  <a:pt x="14257" y="2201"/>
                  <a:pt x="13499" y="2162"/>
                </a:cubicBezTo>
                <a:cubicBezTo>
                  <a:pt x="12757" y="2133"/>
                  <a:pt x="12407" y="1689"/>
                  <a:pt x="11989" y="1485"/>
                </a:cubicBezTo>
                <a:cubicBezTo>
                  <a:pt x="11895" y="1433"/>
                  <a:pt x="11785" y="1417"/>
                  <a:pt x="11678" y="1417"/>
                </a:cubicBezTo>
                <a:cubicBezTo>
                  <a:pt x="11555" y="1417"/>
                  <a:pt x="11422" y="1433"/>
                  <a:pt x="11273" y="1459"/>
                </a:cubicBezTo>
                <a:cubicBezTo>
                  <a:pt x="11111" y="1485"/>
                  <a:pt x="10936" y="1514"/>
                  <a:pt x="10719" y="1514"/>
                </a:cubicBezTo>
                <a:cubicBezTo>
                  <a:pt x="10599" y="1514"/>
                  <a:pt x="10463" y="1498"/>
                  <a:pt x="10301" y="1485"/>
                </a:cubicBezTo>
                <a:cubicBezTo>
                  <a:pt x="9423" y="1336"/>
                  <a:pt x="10032" y="1203"/>
                  <a:pt x="9708" y="1135"/>
                </a:cubicBezTo>
                <a:cubicBezTo>
                  <a:pt x="9598" y="1109"/>
                  <a:pt x="9436" y="1109"/>
                  <a:pt x="9274" y="1109"/>
                </a:cubicBezTo>
                <a:cubicBezTo>
                  <a:pt x="8950" y="1109"/>
                  <a:pt x="8600" y="1135"/>
                  <a:pt x="8600" y="1135"/>
                </a:cubicBezTo>
                <a:cubicBezTo>
                  <a:pt x="8600" y="1135"/>
                  <a:pt x="8289" y="798"/>
                  <a:pt x="7897" y="798"/>
                </a:cubicBezTo>
                <a:lnTo>
                  <a:pt x="7858" y="798"/>
                </a:lnTo>
                <a:cubicBezTo>
                  <a:pt x="7440" y="824"/>
                  <a:pt x="7858" y="798"/>
                  <a:pt x="7181" y="866"/>
                </a:cubicBezTo>
                <a:cubicBezTo>
                  <a:pt x="7087" y="866"/>
                  <a:pt x="7019" y="879"/>
                  <a:pt x="6954" y="879"/>
                </a:cubicBezTo>
                <a:cubicBezTo>
                  <a:pt x="6494" y="879"/>
                  <a:pt x="6439" y="675"/>
                  <a:pt x="6076" y="406"/>
                </a:cubicBezTo>
                <a:cubicBezTo>
                  <a:pt x="5940" y="283"/>
                  <a:pt x="5833" y="257"/>
                  <a:pt x="5697" y="257"/>
                </a:cubicBezTo>
                <a:cubicBezTo>
                  <a:pt x="5454" y="257"/>
                  <a:pt x="5130" y="393"/>
                  <a:pt x="4346" y="406"/>
                </a:cubicBezTo>
                <a:lnTo>
                  <a:pt x="4200" y="406"/>
                </a:lnTo>
                <a:cubicBezTo>
                  <a:pt x="3092" y="406"/>
                  <a:pt x="2188" y="202"/>
                  <a:pt x="1796" y="40"/>
                </a:cubicBezTo>
                <a:cubicBezTo>
                  <a:pt x="1728" y="14"/>
                  <a:pt x="1634" y="1"/>
                  <a:pt x="1511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89" name="Google Shape;989;p33"/>
          <p:cNvSpPr/>
          <p:nvPr/>
        </p:nvSpPr>
        <p:spPr>
          <a:xfrm>
            <a:off x="6719284" y="4546216"/>
            <a:ext cx="5501507" cy="20069"/>
          </a:xfrm>
          <a:custGeom>
            <a:avLst/>
            <a:gdLst/>
            <a:ahLst/>
            <a:cxnLst/>
            <a:rect l="l" t="t" r="r" b="b"/>
            <a:pathLst>
              <a:path w="22992" h="107" extrusionOk="0">
                <a:moveTo>
                  <a:pt x="257" y="0"/>
                </a:moveTo>
                <a:cubicBezTo>
                  <a:pt x="111" y="52"/>
                  <a:pt x="1" y="107"/>
                  <a:pt x="1" y="107"/>
                </a:cubicBezTo>
                <a:lnTo>
                  <a:pt x="22992" y="107"/>
                </a:lnTo>
                <a:lnTo>
                  <a:pt x="22992" y="0"/>
                </a:lnTo>
                <a:close/>
              </a:path>
            </a:pathLst>
          </a:custGeom>
          <a:solidFill>
            <a:srgbClr val="ADF0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0" name="Google Shape;990;p33"/>
          <p:cNvSpPr/>
          <p:nvPr/>
        </p:nvSpPr>
        <p:spPr>
          <a:xfrm>
            <a:off x="6780541" y="3717287"/>
            <a:ext cx="5440271" cy="1036269"/>
          </a:xfrm>
          <a:custGeom>
            <a:avLst/>
            <a:gdLst/>
            <a:ahLst/>
            <a:cxnLst/>
            <a:rect l="l" t="t" r="r" b="b"/>
            <a:pathLst>
              <a:path w="22736" h="5525" extrusionOk="0">
                <a:moveTo>
                  <a:pt x="22399" y="1"/>
                </a:moveTo>
                <a:cubicBezTo>
                  <a:pt x="22033" y="1"/>
                  <a:pt x="21495" y="17"/>
                  <a:pt x="21184" y="111"/>
                </a:cubicBezTo>
                <a:cubicBezTo>
                  <a:pt x="20711" y="273"/>
                  <a:pt x="20562" y="461"/>
                  <a:pt x="20144" y="474"/>
                </a:cubicBezTo>
                <a:cubicBezTo>
                  <a:pt x="20118" y="487"/>
                  <a:pt x="20076" y="487"/>
                  <a:pt x="20037" y="487"/>
                </a:cubicBezTo>
                <a:cubicBezTo>
                  <a:pt x="19914" y="487"/>
                  <a:pt x="19794" y="474"/>
                  <a:pt x="19700" y="461"/>
                </a:cubicBezTo>
                <a:cubicBezTo>
                  <a:pt x="19590" y="461"/>
                  <a:pt x="19496" y="448"/>
                  <a:pt x="19415" y="448"/>
                </a:cubicBezTo>
                <a:cubicBezTo>
                  <a:pt x="19334" y="448"/>
                  <a:pt x="19279" y="448"/>
                  <a:pt x="19227" y="474"/>
                </a:cubicBezTo>
                <a:cubicBezTo>
                  <a:pt x="19078" y="568"/>
                  <a:pt x="18809" y="678"/>
                  <a:pt x="18485" y="759"/>
                </a:cubicBezTo>
                <a:cubicBezTo>
                  <a:pt x="18161" y="840"/>
                  <a:pt x="17309" y="827"/>
                  <a:pt x="17121" y="947"/>
                </a:cubicBezTo>
                <a:cubicBezTo>
                  <a:pt x="16930" y="1083"/>
                  <a:pt x="17471" y="1433"/>
                  <a:pt x="17121" y="1475"/>
                </a:cubicBezTo>
                <a:cubicBezTo>
                  <a:pt x="16768" y="1514"/>
                  <a:pt x="16810" y="1540"/>
                  <a:pt x="16026" y="1650"/>
                </a:cubicBezTo>
                <a:cubicBezTo>
                  <a:pt x="15906" y="1663"/>
                  <a:pt x="15621" y="1987"/>
                  <a:pt x="15284" y="1987"/>
                </a:cubicBezTo>
                <a:cubicBezTo>
                  <a:pt x="15245" y="1987"/>
                  <a:pt x="15216" y="1987"/>
                  <a:pt x="15177" y="1974"/>
                </a:cubicBezTo>
                <a:cubicBezTo>
                  <a:pt x="14921" y="1932"/>
                  <a:pt x="14461" y="1893"/>
                  <a:pt x="14095" y="1893"/>
                </a:cubicBezTo>
                <a:cubicBezTo>
                  <a:pt x="13852" y="1893"/>
                  <a:pt x="13664" y="1906"/>
                  <a:pt x="13638" y="1945"/>
                </a:cubicBezTo>
                <a:cubicBezTo>
                  <a:pt x="13557" y="2055"/>
                  <a:pt x="13515" y="2405"/>
                  <a:pt x="13003" y="2447"/>
                </a:cubicBezTo>
                <a:lnTo>
                  <a:pt x="12841" y="2447"/>
                </a:lnTo>
                <a:cubicBezTo>
                  <a:pt x="12705" y="2447"/>
                  <a:pt x="12585" y="2431"/>
                  <a:pt x="12475" y="2418"/>
                </a:cubicBezTo>
                <a:cubicBezTo>
                  <a:pt x="12368" y="2405"/>
                  <a:pt x="12274" y="2379"/>
                  <a:pt x="12193" y="2379"/>
                </a:cubicBezTo>
                <a:cubicBezTo>
                  <a:pt x="12099" y="2379"/>
                  <a:pt x="12018" y="2405"/>
                  <a:pt x="11924" y="2447"/>
                </a:cubicBezTo>
                <a:cubicBezTo>
                  <a:pt x="11626" y="2593"/>
                  <a:pt x="11519" y="2823"/>
                  <a:pt x="11033" y="2891"/>
                </a:cubicBezTo>
                <a:cubicBezTo>
                  <a:pt x="10965" y="2904"/>
                  <a:pt x="10910" y="2904"/>
                  <a:pt x="10842" y="2904"/>
                </a:cubicBezTo>
                <a:cubicBezTo>
                  <a:pt x="10722" y="2904"/>
                  <a:pt x="10599" y="2891"/>
                  <a:pt x="10492" y="2865"/>
                </a:cubicBezTo>
                <a:cubicBezTo>
                  <a:pt x="10385" y="2852"/>
                  <a:pt x="10288" y="2836"/>
                  <a:pt x="10181" y="2836"/>
                </a:cubicBezTo>
                <a:cubicBezTo>
                  <a:pt x="10087" y="2836"/>
                  <a:pt x="9980" y="2852"/>
                  <a:pt x="9870" y="2891"/>
                </a:cubicBezTo>
                <a:cubicBezTo>
                  <a:pt x="9478" y="3040"/>
                  <a:pt x="8872" y="3338"/>
                  <a:pt x="8480" y="3445"/>
                </a:cubicBezTo>
                <a:cubicBezTo>
                  <a:pt x="8412" y="3458"/>
                  <a:pt x="8344" y="3471"/>
                  <a:pt x="8279" y="3471"/>
                </a:cubicBezTo>
                <a:cubicBezTo>
                  <a:pt x="8156" y="3471"/>
                  <a:pt x="8020" y="3445"/>
                  <a:pt x="7900" y="3432"/>
                </a:cubicBezTo>
                <a:cubicBezTo>
                  <a:pt x="7764" y="3403"/>
                  <a:pt x="7615" y="3390"/>
                  <a:pt x="7482" y="3390"/>
                </a:cubicBezTo>
                <a:cubicBezTo>
                  <a:pt x="7359" y="3390"/>
                  <a:pt x="7239" y="3403"/>
                  <a:pt x="7116" y="3445"/>
                </a:cubicBezTo>
                <a:cubicBezTo>
                  <a:pt x="6617" y="3620"/>
                  <a:pt x="6510" y="3808"/>
                  <a:pt x="6144" y="3850"/>
                </a:cubicBezTo>
                <a:lnTo>
                  <a:pt x="6050" y="3850"/>
                </a:lnTo>
                <a:cubicBezTo>
                  <a:pt x="5943" y="3850"/>
                  <a:pt x="5820" y="3837"/>
                  <a:pt x="5700" y="3808"/>
                </a:cubicBezTo>
                <a:cubicBezTo>
                  <a:pt x="5577" y="3795"/>
                  <a:pt x="5457" y="3769"/>
                  <a:pt x="5363" y="3769"/>
                </a:cubicBezTo>
                <a:cubicBezTo>
                  <a:pt x="5266" y="3769"/>
                  <a:pt x="5172" y="3795"/>
                  <a:pt x="5120" y="3850"/>
                </a:cubicBezTo>
                <a:cubicBezTo>
                  <a:pt x="4929" y="4038"/>
                  <a:pt x="4971" y="4485"/>
                  <a:pt x="4524" y="4485"/>
                </a:cubicBezTo>
                <a:lnTo>
                  <a:pt x="3850" y="4485"/>
                </a:lnTo>
                <a:cubicBezTo>
                  <a:pt x="3484" y="4485"/>
                  <a:pt x="3147" y="4498"/>
                  <a:pt x="3134" y="4579"/>
                </a:cubicBezTo>
                <a:cubicBezTo>
                  <a:pt x="3095" y="4699"/>
                  <a:pt x="3257" y="4877"/>
                  <a:pt x="2797" y="4916"/>
                </a:cubicBezTo>
                <a:cubicBezTo>
                  <a:pt x="2324" y="4958"/>
                  <a:pt x="1718" y="4971"/>
                  <a:pt x="1663" y="5023"/>
                </a:cubicBezTo>
                <a:cubicBezTo>
                  <a:pt x="1608" y="5091"/>
                  <a:pt x="2175" y="5104"/>
                  <a:pt x="1663" y="5214"/>
                </a:cubicBezTo>
                <a:cubicBezTo>
                  <a:pt x="1151" y="5321"/>
                  <a:pt x="555" y="5428"/>
                  <a:pt x="341" y="5428"/>
                </a:cubicBezTo>
                <a:cubicBezTo>
                  <a:pt x="231" y="5428"/>
                  <a:pt x="111" y="5470"/>
                  <a:pt x="1" y="5525"/>
                </a:cubicBezTo>
                <a:lnTo>
                  <a:pt x="22736" y="5525"/>
                </a:lnTo>
                <a:lnTo>
                  <a:pt x="22736" y="17"/>
                </a:lnTo>
                <a:cubicBezTo>
                  <a:pt x="22736" y="17"/>
                  <a:pt x="22600" y="1"/>
                  <a:pt x="22399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1" name="Google Shape;991;p33"/>
          <p:cNvSpPr/>
          <p:nvPr/>
        </p:nvSpPr>
        <p:spPr>
          <a:xfrm>
            <a:off x="-1420751" y="1658449"/>
            <a:ext cx="5100732" cy="919044"/>
          </a:xfrm>
          <a:custGeom>
            <a:avLst/>
            <a:gdLst/>
            <a:ahLst/>
            <a:cxnLst/>
            <a:rect l="l" t="t" r="r" b="b"/>
            <a:pathLst>
              <a:path w="21317" h="4900" extrusionOk="0">
                <a:moveTo>
                  <a:pt x="1" y="1"/>
                </a:moveTo>
                <a:lnTo>
                  <a:pt x="1" y="4900"/>
                </a:lnTo>
                <a:cubicBezTo>
                  <a:pt x="876" y="4806"/>
                  <a:pt x="3225" y="4712"/>
                  <a:pt x="3889" y="4469"/>
                </a:cubicBezTo>
                <a:cubicBezTo>
                  <a:pt x="4550" y="4226"/>
                  <a:pt x="5995" y="4375"/>
                  <a:pt x="7194" y="4281"/>
                </a:cubicBezTo>
                <a:cubicBezTo>
                  <a:pt x="8396" y="4171"/>
                  <a:pt x="9504" y="3795"/>
                  <a:pt x="10327" y="3740"/>
                </a:cubicBezTo>
                <a:lnTo>
                  <a:pt x="10596" y="3740"/>
                </a:lnTo>
                <a:cubicBezTo>
                  <a:pt x="10813" y="3740"/>
                  <a:pt x="11001" y="3753"/>
                  <a:pt x="11205" y="3766"/>
                </a:cubicBezTo>
                <a:cubicBezTo>
                  <a:pt x="11406" y="3782"/>
                  <a:pt x="11636" y="3795"/>
                  <a:pt x="11921" y="3795"/>
                </a:cubicBezTo>
                <a:cubicBezTo>
                  <a:pt x="12190" y="3795"/>
                  <a:pt x="12514" y="3782"/>
                  <a:pt x="12945" y="3740"/>
                </a:cubicBezTo>
                <a:cubicBezTo>
                  <a:pt x="14458" y="3604"/>
                  <a:pt x="18129" y="3552"/>
                  <a:pt x="19049" y="3552"/>
                </a:cubicBezTo>
                <a:cubicBezTo>
                  <a:pt x="19979" y="3552"/>
                  <a:pt x="21317" y="3024"/>
                  <a:pt x="20303" y="2972"/>
                </a:cubicBezTo>
                <a:cubicBezTo>
                  <a:pt x="19305" y="2930"/>
                  <a:pt x="19305" y="2972"/>
                  <a:pt x="18482" y="2742"/>
                </a:cubicBezTo>
                <a:cubicBezTo>
                  <a:pt x="18226" y="2661"/>
                  <a:pt x="17886" y="2632"/>
                  <a:pt x="17523" y="2632"/>
                </a:cubicBezTo>
                <a:cubicBezTo>
                  <a:pt x="17131" y="2632"/>
                  <a:pt x="16713" y="2661"/>
                  <a:pt x="16308" y="2687"/>
                </a:cubicBezTo>
                <a:cubicBezTo>
                  <a:pt x="15903" y="2713"/>
                  <a:pt x="15511" y="2742"/>
                  <a:pt x="15187" y="2742"/>
                </a:cubicBezTo>
                <a:lnTo>
                  <a:pt x="14944" y="2742"/>
                </a:lnTo>
                <a:cubicBezTo>
                  <a:pt x="14014" y="2687"/>
                  <a:pt x="13447" y="2350"/>
                  <a:pt x="13690" y="2175"/>
                </a:cubicBezTo>
                <a:cubicBezTo>
                  <a:pt x="13946" y="1984"/>
                  <a:pt x="16538" y="1822"/>
                  <a:pt x="17549" y="1770"/>
                </a:cubicBezTo>
                <a:cubicBezTo>
                  <a:pt x="18550" y="1728"/>
                  <a:pt x="19386" y="1242"/>
                  <a:pt x="19911" y="1148"/>
                </a:cubicBezTo>
                <a:cubicBezTo>
                  <a:pt x="20141" y="1109"/>
                  <a:pt x="19927" y="1093"/>
                  <a:pt x="19603" y="1093"/>
                </a:cubicBezTo>
                <a:cubicBezTo>
                  <a:pt x="19182" y="1093"/>
                  <a:pt x="18563" y="1122"/>
                  <a:pt x="18482" y="1148"/>
                </a:cubicBezTo>
                <a:lnTo>
                  <a:pt x="18440" y="1148"/>
                </a:lnTo>
                <a:cubicBezTo>
                  <a:pt x="18184" y="1148"/>
                  <a:pt x="16833" y="717"/>
                  <a:pt x="16010" y="704"/>
                </a:cubicBezTo>
                <a:lnTo>
                  <a:pt x="15971" y="704"/>
                </a:lnTo>
                <a:cubicBezTo>
                  <a:pt x="15579" y="704"/>
                  <a:pt x="15323" y="769"/>
                  <a:pt x="15012" y="837"/>
                </a:cubicBezTo>
                <a:cubicBezTo>
                  <a:pt x="14701" y="905"/>
                  <a:pt x="14322" y="960"/>
                  <a:pt x="13690" y="960"/>
                </a:cubicBezTo>
                <a:lnTo>
                  <a:pt x="13366" y="960"/>
                </a:lnTo>
                <a:cubicBezTo>
                  <a:pt x="11772" y="905"/>
                  <a:pt x="12433" y="866"/>
                  <a:pt x="11772" y="730"/>
                </a:cubicBezTo>
                <a:cubicBezTo>
                  <a:pt x="11422" y="649"/>
                  <a:pt x="10962" y="623"/>
                  <a:pt x="10489" y="623"/>
                </a:cubicBezTo>
                <a:cubicBezTo>
                  <a:pt x="10084" y="623"/>
                  <a:pt x="9653" y="649"/>
                  <a:pt x="9261" y="704"/>
                </a:cubicBezTo>
                <a:cubicBezTo>
                  <a:pt x="9193" y="717"/>
                  <a:pt x="9112" y="730"/>
                  <a:pt x="9031" y="730"/>
                </a:cubicBezTo>
                <a:cubicBezTo>
                  <a:pt x="8315" y="730"/>
                  <a:pt x="7696" y="189"/>
                  <a:pt x="6345" y="189"/>
                </a:cubicBezTo>
                <a:cubicBezTo>
                  <a:pt x="4861" y="189"/>
                  <a:pt x="1" y="1"/>
                  <a:pt x="1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2" name="Google Shape;992;p33"/>
          <p:cNvSpPr/>
          <p:nvPr/>
        </p:nvSpPr>
        <p:spPr>
          <a:xfrm>
            <a:off x="781" y="4236551"/>
            <a:ext cx="7568400" cy="425764"/>
          </a:xfrm>
          <a:custGeom>
            <a:avLst/>
            <a:gdLst/>
            <a:ahLst/>
            <a:cxnLst/>
            <a:rect l="l" t="t" r="r" b="b"/>
            <a:pathLst>
              <a:path w="31630" h="2270" extrusionOk="0">
                <a:moveTo>
                  <a:pt x="15211" y="0"/>
                </a:moveTo>
                <a:cubicBezTo>
                  <a:pt x="9192" y="0"/>
                  <a:pt x="1" y="2270"/>
                  <a:pt x="1" y="2270"/>
                </a:cubicBezTo>
                <a:lnTo>
                  <a:pt x="31523" y="2270"/>
                </a:lnTo>
                <a:cubicBezTo>
                  <a:pt x="31630" y="2121"/>
                  <a:pt x="21641" y="70"/>
                  <a:pt x="15472" y="2"/>
                </a:cubicBezTo>
                <a:cubicBezTo>
                  <a:pt x="15386" y="1"/>
                  <a:pt x="15299" y="0"/>
                  <a:pt x="15211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3" name="Google Shape;993;p33"/>
          <p:cNvSpPr/>
          <p:nvPr/>
        </p:nvSpPr>
        <p:spPr>
          <a:xfrm>
            <a:off x="5259438" y="4236551"/>
            <a:ext cx="7006333" cy="425764"/>
          </a:xfrm>
          <a:custGeom>
            <a:avLst/>
            <a:gdLst/>
            <a:ahLst/>
            <a:cxnLst/>
            <a:rect l="l" t="t" r="r" b="b"/>
            <a:pathLst>
              <a:path w="29281" h="2270" extrusionOk="0">
                <a:moveTo>
                  <a:pt x="14071" y="0"/>
                </a:moveTo>
                <a:cubicBezTo>
                  <a:pt x="8512" y="0"/>
                  <a:pt x="1" y="2270"/>
                  <a:pt x="1" y="2270"/>
                </a:cubicBezTo>
                <a:lnTo>
                  <a:pt x="29187" y="2270"/>
                </a:lnTo>
                <a:cubicBezTo>
                  <a:pt x="29281" y="2121"/>
                  <a:pt x="20034" y="70"/>
                  <a:pt x="14312" y="2"/>
                </a:cubicBezTo>
                <a:cubicBezTo>
                  <a:pt x="14232" y="1"/>
                  <a:pt x="14152" y="0"/>
                  <a:pt x="14071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4" name="Google Shape;994;p33"/>
          <p:cNvSpPr/>
          <p:nvPr/>
        </p:nvSpPr>
        <p:spPr>
          <a:xfrm>
            <a:off x="1047392" y="4436681"/>
            <a:ext cx="11195872" cy="691727"/>
          </a:xfrm>
          <a:custGeom>
            <a:avLst/>
            <a:gdLst/>
            <a:ahLst/>
            <a:cxnLst/>
            <a:rect l="l" t="t" r="r" b="b"/>
            <a:pathLst>
              <a:path w="46790" h="3688" extrusionOk="0">
                <a:moveTo>
                  <a:pt x="24123" y="1"/>
                </a:moveTo>
                <a:cubicBezTo>
                  <a:pt x="12297" y="1"/>
                  <a:pt x="1" y="1838"/>
                  <a:pt x="1" y="1838"/>
                </a:cubicBezTo>
                <a:lnTo>
                  <a:pt x="1" y="3688"/>
                </a:lnTo>
                <a:lnTo>
                  <a:pt x="46790" y="3688"/>
                </a:lnTo>
                <a:lnTo>
                  <a:pt x="46790" y="2528"/>
                </a:lnTo>
                <a:cubicBezTo>
                  <a:pt x="46790" y="2528"/>
                  <a:pt x="35949" y="1"/>
                  <a:pt x="24123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5" name="Google Shape;995;p33"/>
          <p:cNvSpPr/>
          <p:nvPr/>
        </p:nvSpPr>
        <p:spPr>
          <a:xfrm>
            <a:off x="1047392" y="4485446"/>
            <a:ext cx="11195872" cy="653276"/>
          </a:xfrm>
          <a:custGeom>
            <a:avLst/>
            <a:gdLst/>
            <a:ahLst/>
            <a:cxnLst/>
            <a:rect l="l" t="t" r="r" b="b"/>
            <a:pathLst>
              <a:path w="46790" h="3483" extrusionOk="0">
                <a:moveTo>
                  <a:pt x="24123" y="0"/>
                </a:moveTo>
                <a:cubicBezTo>
                  <a:pt x="12297" y="0"/>
                  <a:pt x="1" y="1740"/>
                  <a:pt x="1" y="1740"/>
                </a:cubicBezTo>
                <a:lnTo>
                  <a:pt x="1" y="3483"/>
                </a:lnTo>
                <a:lnTo>
                  <a:pt x="46790" y="3483"/>
                </a:lnTo>
                <a:lnTo>
                  <a:pt x="46790" y="2388"/>
                </a:lnTo>
                <a:cubicBezTo>
                  <a:pt x="46790" y="2388"/>
                  <a:pt x="35949" y="0"/>
                  <a:pt x="24123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6" name="Google Shape;996;p33"/>
          <p:cNvSpPr/>
          <p:nvPr/>
        </p:nvSpPr>
        <p:spPr>
          <a:xfrm>
            <a:off x="781" y="4459375"/>
            <a:ext cx="10895816" cy="1658981"/>
          </a:xfrm>
          <a:custGeom>
            <a:avLst/>
            <a:gdLst/>
            <a:ahLst/>
            <a:cxnLst/>
            <a:rect l="l" t="t" r="r" b="b"/>
            <a:pathLst>
              <a:path w="45536" h="8845" extrusionOk="0">
                <a:moveTo>
                  <a:pt x="10609" y="1"/>
                </a:moveTo>
                <a:cubicBezTo>
                  <a:pt x="2565" y="1"/>
                  <a:pt x="1" y="719"/>
                  <a:pt x="1" y="719"/>
                </a:cubicBezTo>
                <a:lnTo>
                  <a:pt x="1" y="8845"/>
                </a:lnTo>
                <a:lnTo>
                  <a:pt x="45536" y="8845"/>
                </a:lnTo>
                <a:lnTo>
                  <a:pt x="45536" y="3230"/>
                </a:lnTo>
                <a:cubicBezTo>
                  <a:pt x="44954" y="3336"/>
                  <a:pt x="44228" y="3384"/>
                  <a:pt x="43384" y="3384"/>
                </a:cubicBezTo>
                <a:cubicBezTo>
                  <a:pt x="36402" y="3384"/>
                  <a:pt x="21312" y="137"/>
                  <a:pt x="12676" y="16"/>
                </a:cubicBezTo>
                <a:cubicBezTo>
                  <a:pt x="11950" y="6"/>
                  <a:pt x="11262" y="1"/>
                  <a:pt x="106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7" name="Google Shape;997;p33"/>
          <p:cNvSpPr/>
          <p:nvPr/>
        </p:nvSpPr>
        <p:spPr>
          <a:xfrm>
            <a:off x="782" y="4459750"/>
            <a:ext cx="2341585" cy="678972"/>
          </a:xfrm>
          <a:custGeom>
            <a:avLst/>
            <a:gdLst/>
            <a:ahLst/>
            <a:cxnLst/>
            <a:rect l="l" t="t" r="r" b="b"/>
            <a:pathLst>
              <a:path w="9786" h="3620" extrusionOk="0">
                <a:moveTo>
                  <a:pt x="9786" y="1"/>
                </a:moveTo>
                <a:cubicBezTo>
                  <a:pt x="8937" y="1"/>
                  <a:pt x="6789" y="56"/>
                  <a:pt x="6789" y="56"/>
                </a:cubicBezTo>
                <a:cubicBezTo>
                  <a:pt x="3455" y="986"/>
                  <a:pt x="1" y="3620"/>
                  <a:pt x="1" y="3620"/>
                </a:cubicBezTo>
                <a:lnTo>
                  <a:pt x="3403" y="3620"/>
                </a:lnTo>
                <a:cubicBezTo>
                  <a:pt x="6993" y="798"/>
                  <a:pt x="9786" y="1"/>
                  <a:pt x="9786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8" name="Google Shape;998;p33"/>
          <p:cNvSpPr/>
          <p:nvPr/>
        </p:nvSpPr>
        <p:spPr>
          <a:xfrm>
            <a:off x="1521885" y="4464627"/>
            <a:ext cx="2209743" cy="674096"/>
          </a:xfrm>
          <a:custGeom>
            <a:avLst/>
            <a:gdLst/>
            <a:ahLst/>
            <a:cxnLst/>
            <a:rect l="l" t="t" r="r" b="b"/>
            <a:pathLst>
              <a:path w="9235" h="3594" extrusionOk="0">
                <a:moveTo>
                  <a:pt x="7048" y="1"/>
                </a:moveTo>
                <a:cubicBezTo>
                  <a:pt x="3957" y="678"/>
                  <a:pt x="1" y="3594"/>
                  <a:pt x="1" y="3594"/>
                </a:cubicBezTo>
                <a:lnTo>
                  <a:pt x="3416" y="3594"/>
                </a:lnTo>
                <a:cubicBezTo>
                  <a:pt x="6131" y="1135"/>
                  <a:pt x="9235" y="124"/>
                  <a:pt x="9235" y="124"/>
                </a:cubicBezTo>
                <a:cubicBezTo>
                  <a:pt x="8723" y="82"/>
                  <a:pt x="7048" y="1"/>
                  <a:pt x="7048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9" name="Google Shape;999;p33"/>
          <p:cNvSpPr/>
          <p:nvPr/>
        </p:nvSpPr>
        <p:spPr>
          <a:xfrm>
            <a:off x="3104960" y="4546216"/>
            <a:ext cx="1944621" cy="592507"/>
          </a:xfrm>
          <a:custGeom>
            <a:avLst/>
            <a:gdLst/>
            <a:ahLst/>
            <a:cxnLst/>
            <a:rect l="l" t="t" r="r" b="b"/>
            <a:pathLst>
              <a:path w="8127" h="3159" extrusionOk="0">
                <a:moveTo>
                  <a:pt x="6047" y="0"/>
                </a:moveTo>
                <a:cubicBezTo>
                  <a:pt x="2969" y="823"/>
                  <a:pt x="1" y="3159"/>
                  <a:pt x="1" y="3159"/>
                </a:cubicBezTo>
                <a:lnTo>
                  <a:pt x="3092" y="3159"/>
                </a:lnTo>
                <a:cubicBezTo>
                  <a:pt x="5927" y="875"/>
                  <a:pt x="8127" y="243"/>
                  <a:pt x="8127" y="243"/>
                </a:cubicBezTo>
                <a:cubicBezTo>
                  <a:pt x="7359" y="146"/>
                  <a:pt x="6047" y="0"/>
                  <a:pt x="604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0" name="Google Shape;1000;p33"/>
          <p:cNvSpPr/>
          <p:nvPr/>
        </p:nvSpPr>
        <p:spPr>
          <a:xfrm>
            <a:off x="4897407" y="4677322"/>
            <a:ext cx="1541436" cy="461401"/>
          </a:xfrm>
          <a:custGeom>
            <a:avLst/>
            <a:gdLst/>
            <a:ahLst/>
            <a:cxnLst/>
            <a:rect l="l" t="t" r="r" b="b"/>
            <a:pathLst>
              <a:path w="6442" h="2460" extrusionOk="0">
                <a:moveTo>
                  <a:pt x="4281" y="1"/>
                </a:moveTo>
                <a:cubicBezTo>
                  <a:pt x="1501" y="1164"/>
                  <a:pt x="1" y="2460"/>
                  <a:pt x="1" y="2460"/>
                </a:cubicBezTo>
                <a:lnTo>
                  <a:pt x="3416" y="2460"/>
                </a:lnTo>
                <a:cubicBezTo>
                  <a:pt x="5496" y="662"/>
                  <a:pt x="6442" y="325"/>
                  <a:pt x="6442" y="325"/>
                </a:cubicBezTo>
                <a:cubicBezTo>
                  <a:pt x="5402" y="137"/>
                  <a:pt x="4281" y="1"/>
                  <a:pt x="428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1" name="Google Shape;1001;p33"/>
          <p:cNvSpPr/>
          <p:nvPr/>
        </p:nvSpPr>
        <p:spPr>
          <a:xfrm>
            <a:off x="781" y="4457311"/>
            <a:ext cx="7419568" cy="410384"/>
          </a:xfrm>
          <a:custGeom>
            <a:avLst/>
            <a:gdLst/>
            <a:ahLst/>
            <a:cxnLst/>
            <a:rect l="l" t="t" r="r" b="b"/>
            <a:pathLst>
              <a:path w="31008" h="2188" extrusionOk="0">
                <a:moveTo>
                  <a:pt x="10056" y="1"/>
                </a:moveTo>
                <a:cubicBezTo>
                  <a:pt x="6796" y="1"/>
                  <a:pt x="3184" y="185"/>
                  <a:pt x="1" y="730"/>
                </a:cubicBezTo>
                <a:lnTo>
                  <a:pt x="1" y="960"/>
                </a:lnTo>
                <a:cubicBezTo>
                  <a:pt x="1" y="960"/>
                  <a:pt x="3199" y="257"/>
                  <a:pt x="10476" y="150"/>
                </a:cubicBezTo>
                <a:cubicBezTo>
                  <a:pt x="10657" y="147"/>
                  <a:pt x="10842" y="146"/>
                  <a:pt x="11031" y="146"/>
                </a:cubicBezTo>
                <a:cubicBezTo>
                  <a:pt x="18370" y="146"/>
                  <a:pt x="30496" y="2188"/>
                  <a:pt x="30496" y="2188"/>
                </a:cubicBezTo>
                <a:lnTo>
                  <a:pt x="31008" y="2094"/>
                </a:lnTo>
                <a:cubicBezTo>
                  <a:pt x="31008" y="2094"/>
                  <a:pt x="20938" y="620"/>
                  <a:pt x="17037" y="283"/>
                </a:cubicBezTo>
                <a:cubicBezTo>
                  <a:pt x="15260" y="129"/>
                  <a:pt x="12781" y="1"/>
                  <a:pt x="10056" y="1"/>
                </a:cubicBezTo>
                <a:close/>
              </a:path>
            </a:pathLst>
          </a:custGeom>
          <a:solidFill>
            <a:srgbClr val="FFFAE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2" name="Google Shape;1002;p33"/>
          <p:cNvSpPr/>
          <p:nvPr/>
        </p:nvSpPr>
        <p:spPr>
          <a:xfrm>
            <a:off x="781" y="4879326"/>
            <a:ext cx="10895816" cy="730364"/>
          </a:xfrm>
          <a:custGeom>
            <a:avLst/>
            <a:gdLst/>
            <a:ahLst/>
            <a:cxnLst/>
            <a:rect l="l" t="t" r="r" b="b"/>
            <a:pathLst>
              <a:path w="45536" h="3894" extrusionOk="0">
                <a:moveTo>
                  <a:pt x="10726" y="0"/>
                </a:moveTo>
                <a:cubicBezTo>
                  <a:pt x="2590" y="0"/>
                  <a:pt x="1" y="314"/>
                  <a:pt x="1" y="314"/>
                </a:cubicBezTo>
                <a:lnTo>
                  <a:pt x="1" y="3894"/>
                </a:lnTo>
                <a:lnTo>
                  <a:pt x="45536" y="3894"/>
                </a:lnTo>
                <a:lnTo>
                  <a:pt x="45536" y="1422"/>
                </a:lnTo>
                <a:cubicBezTo>
                  <a:pt x="44956" y="1468"/>
                  <a:pt x="44232" y="1489"/>
                  <a:pt x="43390" y="1489"/>
                </a:cubicBezTo>
                <a:cubicBezTo>
                  <a:pt x="36411" y="1489"/>
                  <a:pt x="21315" y="64"/>
                  <a:pt x="12676" y="6"/>
                </a:cubicBezTo>
                <a:cubicBezTo>
                  <a:pt x="11993" y="2"/>
                  <a:pt x="11344" y="0"/>
                  <a:pt x="10726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3" name="Google Shape;1003;p33"/>
          <p:cNvSpPr/>
          <p:nvPr/>
        </p:nvSpPr>
        <p:spPr>
          <a:xfrm>
            <a:off x="5595147" y="4485446"/>
            <a:ext cx="6648132" cy="673345"/>
          </a:xfrm>
          <a:custGeom>
            <a:avLst/>
            <a:gdLst/>
            <a:ahLst/>
            <a:cxnLst/>
            <a:rect l="l" t="t" r="r" b="b"/>
            <a:pathLst>
              <a:path w="27784" h="3590" extrusionOk="0">
                <a:moveTo>
                  <a:pt x="27784" y="0"/>
                </a:moveTo>
                <a:cubicBezTo>
                  <a:pt x="13745" y="201"/>
                  <a:pt x="1" y="3415"/>
                  <a:pt x="1" y="3415"/>
                </a:cubicBezTo>
                <a:lnTo>
                  <a:pt x="21061" y="3548"/>
                </a:lnTo>
                <a:lnTo>
                  <a:pt x="27784" y="3590"/>
                </a:lnTo>
                <a:lnTo>
                  <a:pt x="27784" y="0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4" name="Google Shape;1004;p33"/>
          <p:cNvSpPr/>
          <p:nvPr/>
        </p:nvSpPr>
        <p:spPr>
          <a:xfrm>
            <a:off x="5595147" y="4662129"/>
            <a:ext cx="6648132" cy="674096"/>
          </a:xfrm>
          <a:custGeom>
            <a:avLst/>
            <a:gdLst/>
            <a:ahLst/>
            <a:cxnLst/>
            <a:rect l="l" t="t" r="r" b="b"/>
            <a:pathLst>
              <a:path w="27784" h="3594" extrusionOk="0">
                <a:moveTo>
                  <a:pt x="27784" y="1"/>
                </a:moveTo>
                <a:cubicBezTo>
                  <a:pt x="13745" y="218"/>
                  <a:pt x="1" y="3432"/>
                  <a:pt x="1" y="3432"/>
                </a:cubicBezTo>
                <a:lnTo>
                  <a:pt x="21061" y="3552"/>
                </a:lnTo>
                <a:lnTo>
                  <a:pt x="27784" y="3594"/>
                </a:lnTo>
                <a:lnTo>
                  <a:pt x="27784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5" name="Google Shape;1005;p33"/>
          <p:cNvSpPr/>
          <p:nvPr/>
        </p:nvSpPr>
        <p:spPr>
          <a:xfrm>
            <a:off x="781" y="5102525"/>
            <a:ext cx="12242480" cy="1755388"/>
          </a:xfrm>
          <a:custGeom>
            <a:avLst/>
            <a:gdLst/>
            <a:ahLst/>
            <a:cxnLst/>
            <a:rect l="l" t="t" r="r" b="b"/>
            <a:pathLst>
              <a:path w="51164" h="9359" extrusionOk="0">
                <a:moveTo>
                  <a:pt x="28954" y="0"/>
                </a:moveTo>
                <a:cubicBezTo>
                  <a:pt x="13795" y="0"/>
                  <a:pt x="1" y="193"/>
                  <a:pt x="1" y="193"/>
                </a:cubicBezTo>
                <a:lnTo>
                  <a:pt x="1" y="9359"/>
                </a:lnTo>
                <a:lnTo>
                  <a:pt x="51164" y="9359"/>
                </a:lnTo>
                <a:lnTo>
                  <a:pt x="51164" y="193"/>
                </a:lnTo>
                <a:cubicBezTo>
                  <a:pt x="44455" y="48"/>
                  <a:pt x="36534" y="0"/>
                  <a:pt x="28954" y="0"/>
                </a:cubicBezTo>
                <a:close/>
              </a:path>
            </a:pathLst>
          </a:custGeom>
          <a:solidFill>
            <a:srgbClr val="FFC6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6" name="Google Shape;1006;p33"/>
          <p:cNvSpPr/>
          <p:nvPr/>
        </p:nvSpPr>
        <p:spPr>
          <a:xfrm>
            <a:off x="781" y="5196681"/>
            <a:ext cx="12242480" cy="561935"/>
          </a:xfrm>
          <a:custGeom>
            <a:avLst/>
            <a:gdLst/>
            <a:ahLst/>
            <a:cxnLst/>
            <a:rect l="l" t="t" r="r" b="b"/>
            <a:pathLst>
              <a:path w="51164" h="2996" extrusionOk="0">
                <a:moveTo>
                  <a:pt x="28954" y="1"/>
                </a:moveTo>
                <a:cubicBezTo>
                  <a:pt x="13795" y="1"/>
                  <a:pt x="1" y="67"/>
                  <a:pt x="1" y="67"/>
                </a:cubicBezTo>
                <a:lnTo>
                  <a:pt x="1" y="2996"/>
                </a:lnTo>
                <a:lnTo>
                  <a:pt x="51164" y="2996"/>
                </a:lnTo>
                <a:lnTo>
                  <a:pt x="51164" y="67"/>
                </a:lnTo>
                <a:cubicBezTo>
                  <a:pt x="44455" y="17"/>
                  <a:pt x="36534" y="1"/>
                  <a:pt x="28954" y="1"/>
                </a:cubicBezTo>
                <a:close/>
              </a:path>
            </a:pathLst>
          </a:custGeom>
          <a:solidFill>
            <a:srgbClr val="FF8C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7" name="Google Shape;1007;p33"/>
          <p:cNvSpPr/>
          <p:nvPr/>
        </p:nvSpPr>
        <p:spPr>
          <a:xfrm>
            <a:off x="781" y="5285021"/>
            <a:ext cx="12242480" cy="1572891"/>
          </a:xfrm>
          <a:custGeom>
            <a:avLst/>
            <a:gdLst/>
            <a:ahLst/>
            <a:cxnLst/>
            <a:rect l="l" t="t" r="r" b="b"/>
            <a:pathLst>
              <a:path w="51164" h="8386" extrusionOk="0">
                <a:moveTo>
                  <a:pt x="51164" y="1"/>
                </a:moveTo>
                <a:cubicBezTo>
                  <a:pt x="51164" y="1"/>
                  <a:pt x="12488" y="1783"/>
                  <a:pt x="1" y="4579"/>
                </a:cubicBezTo>
                <a:lnTo>
                  <a:pt x="1" y="8386"/>
                </a:lnTo>
                <a:lnTo>
                  <a:pt x="51164" y="8386"/>
                </a:lnTo>
                <a:lnTo>
                  <a:pt x="51164" y="1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8" name="Google Shape;1008;p33"/>
          <p:cNvSpPr/>
          <p:nvPr/>
        </p:nvSpPr>
        <p:spPr>
          <a:xfrm>
            <a:off x="10563795" y="5013246"/>
            <a:ext cx="659215" cy="140671"/>
          </a:xfrm>
          <a:custGeom>
            <a:avLst/>
            <a:gdLst/>
            <a:ahLst/>
            <a:cxnLst/>
            <a:rect l="l" t="t" r="r" b="b"/>
            <a:pathLst>
              <a:path w="2755" h="750" extrusionOk="0">
                <a:moveTo>
                  <a:pt x="1395" y="1"/>
                </a:moveTo>
                <a:cubicBezTo>
                  <a:pt x="598" y="1"/>
                  <a:pt x="1" y="734"/>
                  <a:pt x="1" y="734"/>
                </a:cubicBezTo>
                <a:lnTo>
                  <a:pt x="2755" y="750"/>
                </a:lnTo>
                <a:cubicBezTo>
                  <a:pt x="2755" y="750"/>
                  <a:pt x="2525" y="167"/>
                  <a:pt x="1621" y="21"/>
                </a:cubicBezTo>
                <a:cubicBezTo>
                  <a:pt x="1544" y="7"/>
                  <a:pt x="1468" y="1"/>
                  <a:pt x="1395" y="1"/>
                </a:cubicBezTo>
                <a:close/>
              </a:path>
            </a:pathLst>
          </a:custGeom>
          <a:solidFill>
            <a:srgbClr val="FBB11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9" name="Google Shape;1009;p33"/>
          <p:cNvSpPr/>
          <p:nvPr/>
        </p:nvSpPr>
        <p:spPr>
          <a:xfrm>
            <a:off x="11080161" y="4960166"/>
            <a:ext cx="875523" cy="193751"/>
          </a:xfrm>
          <a:custGeom>
            <a:avLst/>
            <a:gdLst/>
            <a:ahLst/>
            <a:cxnLst/>
            <a:rect l="l" t="t" r="r" b="b"/>
            <a:pathLst>
              <a:path w="3659" h="1033" extrusionOk="0">
                <a:moveTo>
                  <a:pt x="1939" y="0"/>
                </a:moveTo>
                <a:cubicBezTo>
                  <a:pt x="757" y="0"/>
                  <a:pt x="1" y="1004"/>
                  <a:pt x="1" y="1004"/>
                </a:cubicBezTo>
                <a:lnTo>
                  <a:pt x="3659" y="1033"/>
                </a:lnTo>
                <a:cubicBezTo>
                  <a:pt x="3659" y="1033"/>
                  <a:pt x="3390" y="87"/>
                  <a:pt x="2094" y="6"/>
                </a:cubicBezTo>
                <a:cubicBezTo>
                  <a:pt x="2041" y="2"/>
                  <a:pt x="1990" y="0"/>
                  <a:pt x="1939" y="0"/>
                </a:cubicBezTo>
                <a:close/>
              </a:path>
            </a:pathLst>
          </a:custGeom>
          <a:solidFill>
            <a:srgbClr val="FBB11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0" name="Google Shape;1010;p33"/>
          <p:cNvSpPr/>
          <p:nvPr/>
        </p:nvSpPr>
        <p:spPr>
          <a:xfrm>
            <a:off x="11154578" y="5016246"/>
            <a:ext cx="717359" cy="137671"/>
          </a:xfrm>
          <a:custGeom>
            <a:avLst/>
            <a:gdLst/>
            <a:ahLst/>
            <a:cxnLst/>
            <a:rect l="l" t="t" r="r" b="b"/>
            <a:pathLst>
              <a:path w="2998" h="734" extrusionOk="0">
                <a:moveTo>
                  <a:pt x="1586" y="1"/>
                </a:moveTo>
                <a:cubicBezTo>
                  <a:pt x="619" y="1"/>
                  <a:pt x="1" y="718"/>
                  <a:pt x="1" y="718"/>
                </a:cubicBezTo>
                <a:lnTo>
                  <a:pt x="2998" y="734"/>
                </a:lnTo>
                <a:cubicBezTo>
                  <a:pt x="2998" y="734"/>
                  <a:pt x="2781" y="57"/>
                  <a:pt x="1715" y="5"/>
                </a:cubicBezTo>
                <a:cubicBezTo>
                  <a:pt x="1671" y="2"/>
                  <a:pt x="1628" y="1"/>
                  <a:pt x="1586" y="1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1" name="Google Shape;1011;p33"/>
          <p:cNvSpPr/>
          <p:nvPr/>
        </p:nvSpPr>
        <p:spPr>
          <a:xfrm>
            <a:off x="6215361" y="4999366"/>
            <a:ext cx="859969" cy="154551"/>
          </a:xfrm>
          <a:custGeom>
            <a:avLst/>
            <a:gdLst/>
            <a:ahLst/>
            <a:cxnLst/>
            <a:rect l="l" t="t" r="r" b="b"/>
            <a:pathLst>
              <a:path w="3594" h="824" extrusionOk="0">
                <a:moveTo>
                  <a:pt x="1950" y="0"/>
                </a:moveTo>
                <a:cubicBezTo>
                  <a:pt x="881" y="0"/>
                  <a:pt x="1" y="808"/>
                  <a:pt x="1" y="808"/>
                </a:cubicBezTo>
                <a:lnTo>
                  <a:pt x="3594" y="824"/>
                </a:lnTo>
                <a:cubicBezTo>
                  <a:pt x="3594" y="824"/>
                  <a:pt x="3377" y="147"/>
                  <a:pt x="2188" y="14"/>
                </a:cubicBezTo>
                <a:cubicBezTo>
                  <a:pt x="2108" y="5"/>
                  <a:pt x="2028" y="0"/>
                  <a:pt x="1950" y="0"/>
                </a:cubicBezTo>
                <a:close/>
              </a:path>
            </a:pathLst>
          </a:custGeom>
          <a:solidFill>
            <a:srgbClr val="FBB11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2" name="Google Shape;1012;p33"/>
          <p:cNvSpPr/>
          <p:nvPr/>
        </p:nvSpPr>
        <p:spPr>
          <a:xfrm>
            <a:off x="6932483" y="4948348"/>
            <a:ext cx="943717" cy="205568"/>
          </a:xfrm>
          <a:custGeom>
            <a:avLst/>
            <a:gdLst/>
            <a:ahLst/>
            <a:cxnLst/>
            <a:rect l="l" t="t" r="r" b="b"/>
            <a:pathLst>
              <a:path w="3944" h="1096" extrusionOk="0">
                <a:moveTo>
                  <a:pt x="2071" y="1"/>
                </a:moveTo>
                <a:cubicBezTo>
                  <a:pt x="814" y="1"/>
                  <a:pt x="1" y="1067"/>
                  <a:pt x="1" y="1067"/>
                </a:cubicBezTo>
                <a:lnTo>
                  <a:pt x="3944" y="1096"/>
                </a:lnTo>
                <a:cubicBezTo>
                  <a:pt x="3944" y="1096"/>
                  <a:pt x="3471" y="14"/>
                  <a:pt x="2094" y="1"/>
                </a:cubicBezTo>
                <a:cubicBezTo>
                  <a:pt x="2086" y="1"/>
                  <a:pt x="2079" y="1"/>
                  <a:pt x="2071" y="1"/>
                </a:cubicBezTo>
                <a:close/>
              </a:path>
            </a:pathLst>
          </a:custGeom>
          <a:solidFill>
            <a:srgbClr val="FBB11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3" name="Google Shape;1013;p33"/>
          <p:cNvSpPr/>
          <p:nvPr/>
        </p:nvSpPr>
        <p:spPr>
          <a:xfrm>
            <a:off x="9797860" y="5209623"/>
            <a:ext cx="875523" cy="123603"/>
          </a:xfrm>
          <a:custGeom>
            <a:avLst/>
            <a:gdLst/>
            <a:ahLst/>
            <a:cxnLst/>
            <a:rect l="l" t="t" r="r" b="b"/>
            <a:pathLst>
              <a:path w="3659" h="659" extrusionOk="0">
                <a:moveTo>
                  <a:pt x="1994" y="0"/>
                </a:moveTo>
                <a:cubicBezTo>
                  <a:pt x="896" y="0"/>
                  <a:pt x="1" y="659"/>
                  <a:pt x="1" y="659"/>
                </a:cubicBezTo>
                <a:lnTo>
                  <a:pt x="3659" y="659"/>
                </a:lnTo>
                <a:cubicBezTo>
                  <a:pt x="3659" y="659"/>
                  <a:pt x="3445" y="121"/>
                  <a:pt x="2230" y="11"/>
                </a:cubicBezTo>
                <a:cubicBezTo>
                  <a:pt x="2150" y="4"/>
                  <a:pt x="2072" y="0"/>
                  <a:pt x="1994" y="0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4" name="Google Shape;1014;p33"/>
          <p:cNvSpPr/>
          <p:nvPr/>
        </p:nvSpPr>
        <p:spPr>
          <a:xfrm>
            <a:off x="7103807" y="5037816"/>
            <a:ext cx="717359" cy="105784"/>
          </a:xfrm>
          <a:custGeom>
            <a:avLst/>
            <a:gdLst/>
            <a:ahLst/>
            <a:cxnLst/>
            <a:rect l="l" t="t" r="r" b="b"/>
            <a:pathLst>
              <a:path w="2998" h="564" extrusionOk="0">
                <a:moveTo>
                  <a:pt x="1640" y="1"/>
                </a:moveTo>
                <a:cubicBezTo>
                  <a:pt x="742" y="1"/>
                  <a:pt x="1" y="564"/>
                  <a:pt x="1" y="564"/>
                </a:cubicBezTo>
                <a:lnTo>
                  <a:pt x="2998" y="564"/>
                </a:lnTo>
                <a:cubicBezTo>
                  <a:pt x="2998" y="564"/>
                  <a:pt x="2823" y="104"/>
                  <a:pt x="1838" y="10"/>
                </a:cubicBezTo>
                <a:cubicBezTo>
                  <a:pt x="1771" y="4"/>
                  <a:pt x="1705" y="1"/>
                  <a:pt x="1640" y="1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5" name="Google Shape;1015;p33"/>
          <p:cNvSpPr/>
          <p:nvPr/>
        </p:nvSpPr>
        <p:spPr>
          <a:xfrm>
            <a:off x="6477372" y="5055634"/>
            <a:ext cx="507272" cy="87967"/>
          </a:xfrm>
          <a:custGeom>
            <a:avLst/>
            <a:gdLst/>
            <a:ahLst/>
            <a:cxnLst/>
            <a:rect l="l" t="t" r="r" b="b"/>
            <a:pathLst>
              <a:path w="2120" h="469" extrusionOk="0">
                <a:moveTo>
                  <a:pt x="1152" y="1"/>
                </a:moveTo>
                <a:cubicBezTo>
                  <a:pt x="514" y="1"/>
                  <a:pt x="1" y="469"/>
                  <a:pt x="1" y="469"/>
                </a:cubicBezTo>
                <a:lnTo>
                  <a:pt x="2120" y="469"/>
                </a:lnTo>
                <a:cubicBezTo>
                  <a:pt x="2120" y="469"/>
                  <a:pt x="1997" y="90"/>
                  <a:pt x="1297" y="9"/>
                </a:cubicBezTo>
                <a:cubicBezTo>
                  <a:pt x="1248" y="3"/>
                  <a:pt x="1199" y="1"/>
                  <a:pt x="1152" y="1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6" name="Google Shape;1016;p33"/>
          <p:cNvSpPr/>
          <p:nvPr/>
        </p:nvSpPr>
        <p:spPr>
          <a:xfrm>
            <a:off x="7543364" y="5032751"/>
            <a:ext cx="875523" cy="123603"/>
          </a:xfrm>
          <a:custGeom>
            <a:avLst/>
            <a:gdLst/>
            <a:ahLst/>
            <a:cxnLst/>
            <a:rect l="l" t="t" r="r" b="b"/>
            <a:pathLst>
              <a:path w="3659" h="659" extrusionOk="0">
                <a:moveTo>
                  <a:pt x="1996" y="0"/>
                </a:moveTo>
                <a:cubicBezTo>
                  <a:pt x="891" y="0"/>
                  <a:pt x="1" y="659"/>
                  <a:pt x="1" y="659"/>
                </a:cubicBezTo>
                <a:lnTo>
                  <a:pt x="3659" y="659"/>
                </a:lnTo>
                <a:cubicBezTo>
                  <a:pt x="3659" y="659"/>
                  <a:pt x="3442" y="118"/>
                  <a:pt x="2240" y="11"/>
                </a:cubicBezTo>
                <a:cubicBezTo>
                  <a:pt x="2157" y="3"/>
                  <a:pt x="2076" y="0"/>
                  <a:pt x="1996" y="0"/>
                </a:cubicBezTo>
                <a:close/>
              </a:path>
            </a:pathLst>
          </a:custGeom>
          <a:solidFill>
            <a:srgbClr val="FBB11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7" name="Google Shape;1017;p33"/>
          <p:cNvSpPr/>
          <p:nvPr/>
        </p:nvSpPr>
        <p:spPr>
          <a:xfrm>
            <a:off x="7775944" y="5439385"/>
            <a:ext cx="3074976" cy="869160"/>
          </a:xfrm>
          <a:custGeom>
            <a:avLst/>
            <a:gdLst/>
            <a:ahLst/>
            <a:cxnLst/>
            <a:rect l="l" t="t" r="r" b="b"/>
            <a:pathLst>
              <a:path w="12851" h="4634" extrusionOk="0">
                <a:moveTo>
                  <a:pt x="4009" y="1"/>
                </a:moveTo>
                <a:cubicBezTo>
                  <a:pt x="4009" y="1"/>
                  <a:pt x="2512" y="56"/>
                  <a:pt x="1" y="260"/>
                </a:cubicBezTo>
                <a:cubicBezTo>
                  <a:pt x="1" y="260"/>
                  <a:pt x="6170" y="1893"/>
                  <a:pt x="10045" y="4634"/>
                </a:cubicBezTo>
                <a:cubicBezTo>
                  <a:pt x="10045" y="4634"/>
                  <a:pt x="12339" y="4213"/>
                  <a:pt x="12851" y="4119"/>
                </a:cubicBezTo>
                <a:cubicBezTo>
                  <a:pt x="12851" y="4119"/>
                  <a:pt x="9815" y="1556"/>
                  <a:pt x="40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8" name="Google Shape;1018;p33"/>
          <p:cNvSpPr/>
          <p:nvPr/>
        </p:nvSpPr>
        <p:spPr>
          <a:xfrm>
            <a:off x="5869601" y="5545734"/>
            <a:ext cx="3178824" cy="826021"/>
          </a:xfrm>
          <a:custGeom>
            <a:avLst/>
            <a:gdLst/>
            <a:ahLst/>
            <a:cxnLst/>
            <a:rect l="l" t="t" r="r" b="b"/>
            <a:pathLst>
              <a:path w="13285" h="4404" extrusionOk="0">
                <a:moveTo>
                  <a:pt x="3662" y="1"/>
                </a:moveTo>
                <a:cubicBezTo>
                  <a:pt x="3662" y="1"/>
                  <a:pt x="785" y="163"/>
                  <a:pt x="1" y="286"/>
                </a:cubicBezTo>
                <a:cubicBezTo>
                  <a:pt x="1" y="286"/>
                  <a:pt x="7197" y="2123"/>
                  <a:pt x="10249" y="4404"/>
                </a:cubicBezTo>
                <a:cubicBezTo>
                  <a:pt x="10249" y="4404"/>
                  <a:pt x="12773" y="4229"/>
                  <a:pt x="13285" y="4132"/>
                </a:cubicBezTo>
                <a:cubicBezTo>
                  <a:pt x="13285" y="4132"/>
                  <a:pt x="9465" y="1556"/>
                  <a:pt x="3662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9" name="Google Shape;1019;p33"/>
          <p:cNvSpPr/>
          <p:nvPr/>
        </p:nvSpPr>
        <p:spPr>
          <a:xfrm>
            <a:off x="9742825" y="5343354"/>
            <a:ext cx="2500467" cy="982823"/>
          </a:xfrm>
          <a:custGeom>
            <a:avLst/>
            <a:gdLst/>
            <a:ahLst/>
            <a:cxnLst/>
            <a:rect l="l" t="t" r="r" b="b"/>
            <a:pathLst>
              <a:path w="10450" h="5240" extrusionOk="0">
                <a:moveTo>
                  <a:pt x="4566" y="1"/>
                </a:moveTo>
                <a:cubicBezTo>
                  <a:pt x="4566" y="1"/>
                  <a:pt x="2661" y="43"/>
                  <a:pt x="1" y="257"/>
                </a:cubicBezTo>
                <a:cubicBezTo>
                  <a:pt x="1" y="257"/>
                  <a:pt x="5227" y="1323"/>
                  <a:pt x="10450" y="5240"/>
                </a:cubicBezTo>
                <a:lnTo>
                  <a:pt x="9248" y="4307"/>
                </a:lnTo>
                <a:lnTo>
                  <a:pt x="10450" y="4443"/>
                </a:lnTo>
                <a:lnTo>
                  <a:pt x="10450" y="2593"/>
                </a:lnTo>
                <a:cubicBezTo>
                  <a:pt x="7482" y="743"/>
                  <a:pt x="4566" y="1"/>
                  <a:pt x="456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0" name="Google Shape;1020;p33"/>
          <p:cNvSpPr/>
          <p:nvPr/>
        </p:nvSpPr>
        <p:spPr>
          <a:xfrm>
            <a:off x="5385059" y="5285022"/>
            <a:ext cx="6858220" cy="385439"/>
          </a:xfrm>
          <a:custGeom>
            <a:avLst/>
            <a:gdLst/>
            <a:ahLst/>
            <a:cxnLst/>
            <a:rect l="l" t="t" r="r" b="b"/>
            <a:pathLst>
              <a:path w="28662" h="2055" extrusionOk="0">
                <a:moveTo>
                  <a:pt x="28662" y="1"/>
                </a:moveTo>
                <a:cubicBezTo>
                  <a:pt x="28662" y="1"/>
                  <a:pt x="21589" y="354"/>
                  <a:pt x="16486" y="678"/>
                </a:cubicBezTo>
                <a:cubicBezTo>
                  <a:pt x="11383" y="1002"/>
                  <a:pt x="908" y="1689"/>
                  <a:pt x="1" y="1838"/>
                </a:cubicBezTo>
                <a:cubicBezTo>
                  <a:pt x="1" y="1838"/>
                  <a:pt x="1122" y="2000"/>
                  <a:pt x="1488" y="2055"/>
                </a:cubicBezTo>
                <a:cubicBezTo>
                  <a:pt x="1488" y="2055"/>
                  <a:pt x="8360" y="1595"/>
                  <a:pt x="13071" y="1216"/>
                </a:cubicBezTo>
                <a:cubicBezTo>
                  <a:pt x="17782" y="840"/>
                  <a:pt x="28662" y="393"/>
                  <a:pt x="28662" y="393"/>
                </a:cubicBezTo>
                <a:lnTo>
                  <a:pt x="28662" y="1"/>
                </a:ln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1" name="Google Shape;1021;p33"/>
          <p:cNvSpPr/>
          <p:nvPr/>
        </p:nvSpPr>
        <p:spPr>
          <a:xfrm>
            <a:off x="781" y="5440885"/>
            <a:ext cx="12242480" cy="1417027"/>
          </a:xfrm>
          <a:custGeom>
            <a:avLst/>
            <a:gdLst/>
            <a:ahLst/>
            <a:cxnLst/>
            <a:rect l="l" t="t" r="r" b="b"/>
            <a:pathLst>
              <a:path w="51164" h="7555" extrusionOk="0">
                <a:moveTo>
                  <a:pt x="7656" y="1"/>
                </a:moveTo>
                <a:cubicBezTo>
                  <a:pt x="2876" y="1"/>
                  <a:pt x="1" y="385"/>
                  <a:pt x="1" y="385"/>
                </a:cubicBezTo>
                <a:lnTo>
                  <a:pt x="1" y="7555"/>
                </a:lnTo>
                <a:lnTo>
                  <a:pt x="51164" y="7555"/>
                </a:lnTo>
                <a:lnTo>
                  <a:pt x="51164" y="3249"/>
                </a:lnTo>
                <a:cubicBezTo>
                  <a:pt x="49225" y="3578"/>
                  <a:pt x="47012" y="3826"/>
                  <a:pt x="44108" y="3826"/>
                </a:cubicBezTo>
                <a:cubicBezTo>
                  <a:pt x="39852" y="3826"/>
                  <a:pt x="34112" y="3292"/>
                  <a:pt x="25581" y="1694"/>
                </a:cubicBezTo>
                <a:cubicBezTo>
                  <a:pt x="18442" y="347"/>
                  <a:pt x="12191" y="1"/>
                  <a:pt x="7656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2" name="Google Shape;1022;p33"/>
          <p:cNvSpPr/>
          <p:nvPr/>
        </p:nvSpPr>
        <p:spPr>
          <a:xfrm>
            <a:off x="781" y="5412190"/>
            <a:ext cx="12242480" cy="784569"/>
          </a:xfrm>
          <a:custGeom>
            <a:avLst/>
            <a:gdLst/>
            <a:ahLst/>
            <a:cxnLst/>
            <a:rect l="l" t="t" r="r" b="b"/>
            <a:pathLst>
              <a:path w="51164" h="4183" extrusionOk="0">
                <a:moveTo>
                  <a:pt x="7629" y="0"/>
                </a:moveTo>
                <a:cubicBezTo>
                  <a:pt x="4994" y="0"/>
                  <a:pt x="2508" y="145"/>
                  <a:pt x="1" y="431"/>
                </a:cubicBezTo>
                <a:lnTo>
                  <a:pt x="1" y="1105"/>
                </a:lnTo>
                <a:cubicBezTo>
                  <a:pt x="1" y="1105"/>
                  <a:pt x="4651" y="656"/>
                  <a:pt x="10046" y="656"/>
                </a:cubicBezTo>
                <a:cubicBezTo>
                  <a:pt x="12743" y="656"/>
                  <a:pt x="15627" y="768"/>
                  <a:pt x="18210" y="1105"/>
                </a:cubicBezTo>
                <a:cubicBezTo>
                  <a:pt x="24431" y="1920"/>
                  <a:pt x="37415" y="4183"/>
                  <a:pt x="45913" y="4183"/>
                </a:cubicBezTo>
                <a:cubicBezTo>
                  <a:pt x="47984" y="4183"/>
                  <a:pt x="49788" y="4049"/>
                  <a:pt x="51164" y="3726"/>
                </a:cubicBezTo>
                <a:lnTo>
                  <a:pt x="51164" y="3402"/>
                </a:lnTo>
                <a:cubicBezTo>
                  <a:pt x="51164" y="3402"/>
                  <a:pt x="49472" y="3778"/>
                  <a:pt x="45715" y="3778"/>
                </a:cubicBezTo>
                <a:cubicBezTo>
                  <a:pt x="42433" y="3778"/>
                  <a:pt x="37573" y="3491"/>
                  <a:pt x="30888" y="2414"/>
                </a:cubicBezTo>
                <a:cubicBezTo>
                  <a:pt x="20832" y="796"/>
                  <a:pt x="13818" y="0"/>
                  <a:pt x="7629" y="0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3" name="Google Shape;1023;p33"/>
          <p:cNvSpPr/>
          <p:nvPr/>
        </p:nvSpPr>
        <p:spPr>
          <a:xfrm>
            <a:off x="782" y="5452140"/>
            <a:ext cx="4661159" cy="1405773"/>
          </a:xfrm>
          <a:custGeom>
            <a:avLst/>
            <a:gdLst/>
            <a:ahLst/>
            <a:cxnLst/>
            <a:rect l="l" t="t" r="r" b="b"/>
            <a:pathLst>
              <a:path w="19480" h="7495" extrusionOk="0">
                <a:moveTo>
                  <a:pt x="13405" y="1"/>
                </a:moveTo>
                <a:cubicBezTo>
                  <a:pt x="4589" y="2282"/>
                  <a:pt x="1" y="7495"/>
                  <a:pt x="1" y="7495"/>
                </a:cubicBezTo>
                <a:lnTo>
                  <a:pt x="10058" y="7495"/>
                </a:lnTo>
                <a:cubicBezTo>
                  <a:pt x="13674" y="3121"/>
                  <a:pt x="19480" y="581"/>
                  <a:pt x="19480" y="581"/>
                </a:cubicBezTo>
                <a:cubicBezTo>
                  <a:pt x="17118" y="299"/>
                  <a:pt x="13405" y="1"/>
                  <a:pt x="13405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4" name="Google Shape;1024;p33"/>
          <p:cNvSpPr/>
          <p:nvPr/>
        </p:nvSpPr>
        <p:spPr>
          <a:xfrm>
            <a:off x="4429137" y="5761430"/>
            <a:ext cx="3750940" cy="1096484"/>
          </a:xfrm>
          <a:custGeom>
            <a:avLst/>
            <a:gdLst/>
            <a:ahLst/>
            <a:cxnLst/>
            <a:rect l="l" t="t" r="r" b="b"/>
            <a:pathLst>
              <a:path w="15676" h="5846" extrusionOk="0">
                <a:moveTo>
                  <a:pt x="8843" y="1"/>
                </a:moveTo>
                <a:cubicBezTo>
                  <a:pt x="2849" y="2321"/>
                  <a:pt x="1" y="5846"/>
                  <a:pt x="1" y="5846"/>
                </a:cubicBezTo>
                <a:lnTo>
                  <a:pt x="10071" y="5846"/>
                </a:lnTo>
                <a:cubicBezTo>
                  <a:pt x="13677" y="1472"/>
                  <a:pt x="15676" y="1025"/>
                  <a:pt x="15676" y="1025"/>
                </a:cubicBezTo>
                <a:cubicBezTo>
                  <a:pt x="13327" y="756"/>
                  <a:pt x="8843" y="1"/>
                  <a:pt x="8843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5" name="Google Shape;1025;p33"/>
          <p:cNvSpPr/>
          <p:nvPr/>
        </p:nvSpPr>
        <p:spPr>
          <a:xfrm>
            <a:off x="8512448" y="6082911"/>
            <a:ext cx="3443227" cy="775004"/>
          </a:xfrm>
          <a:custGeom>
            <a:avLst/>
            <a:gdLst/>
            <a:ahLst/>
            <a:cxnLst/>
            <a:rect l="l" t="t" r="r" b="b"/>
            <a:pathLst>
              <a:path w="14390" h="4132" extrusionOk="0">
                <a:moveTo>
                  <a:pt x="14390" y="1"/>
                </a:moveTo>
                <a:lnTo>
                  <a:pt x="14390" y="1"/>
                </a:lnTo>
                <a:cubicBezTo>
                  <a:pt x="13070" y="161"/>
                  <a:pt x="11559" y="209"/>
                  <a:pt x="10213" y="209"/>
                </a:cubicBezTo>
                <a:cubicBezTo>
                  <a:pt x="8146" y="209"/>
                  <a:pt x="6468" y="95"/>
                  <a:pt x="6468" y="95"/>
                </a:cubicBezTo>
                <a:cubicBezTo>
                  <a:pt x="2418" y="1647"/>
                  <a:pt x="1" y="4132"/>
                  <a:pt x="1" y="4132"/>
                </a:cubicBezTo>
                <a:lnTo>
                  <a:pt x="10058" y="4132"/>
                </a:lnTo>
                <a:cubicBezTo>
                  <a:pt x="12501" y="811"/>
                  <a:pt x="14389" y="1"/>
                  <a:pt x="14390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6" name="Google Shape;1026;p33"/>
          <p:cNvSpPr/>
          <p:nvPr/>
        </p:nvSpPr>
        <p:spPr>
          <a:xfrm>
            <a:off x="8784991" y="1703500"/>
            <a:ext cx="4416152" cy="749489"/>
          </a:xfrm>
          <a:custGeom>
            <a:avLst/>
            <a:gdLst/>
            <a:ahLst/>
            <a:cxnLst/>
            <a:rect l="l" t="t" r="r" b="b"/>
            <a:pathLst>
              <a:path w="18456" h="3996" extrusionOk="0">
                <a:moveTo>
                  <a:pt x="18456" y="1"/>
                </a:moveTo>
                <a:cubicBezTo>
                  <a:pt x="18456" y="1"/>
                  <a:pt x="17944" y="202"/>
                  <a:pt x="17607" y="202"/>
                </a:cubicBezTo>
                <a:lnTo>
                  <a:pt x="17241" y="202"/>
                </a:lnTo>
                <a:cubicBezTo>
                  <a:pt x="16324" y="202"/>
                  <a:pt x="13907" y="215"/>
                  <a:pt x="12828" y="474"/>
                </a:cubicBezTo>
                <a:cubicBezTo>
                  <a:pt x="11477" y="782"/>
                  <a:pt x="12543" y="701"/>
                  <a:pt x="11221" y="905"/>
                </a:cubicBezTo>
                <a:cubicBezTo>
                  <a:pt x="9912" y="1093"/>
                  <a:pt x="10019" y="1135"/>
                  <a:pt x="9358" y="1297"/>
                </a:cubicBezTo>
                <a:cubicBezTo>
                  <a:pt x="8681" y="1446"/>
                  <a:pt x="7926" y="1365"/>
                  <a:pt x="7184" y="1446"/>
                </a:cubicBezTo>
                <a:cubicBezTo>
                  <a:pt x="6442" y="1527"/>
                  <a:pt x="6562" y="1608"/>
                  <a:pt x="5888" y="1689"/>
                </a:cubicBezTo>
                <a:cubicBezTo>
                  <a:pt x="5279" y="1754"/>
                  <a:pt x="4793" y="1890"/>
                  <a:pt x="4200" y="1890"/>
                </a:cubicBezTo>
                <a:cubicBezTo>
                  <a:pt x="4132" y="1890"/>
                  <a:pt x="4064" y="1877"/>
                  <a:pt x="3983" y="1877"/>
                </a:cubicBezTo>
                <a:cubicBezTo>
                  <a:pt x="3782" y="1864"/>
                  <a:pt x="3432" y="1864"/>
                  <a:pt x="3027" y="1864"/>
                </a:cubicBezTo>
                <a:cubicBezTo>
                  <a:pt x="2094" y="1864"/>
                  <a:pt x="947" y="1890"/>
                  <a:pt x="947" y="1890"/>
                </a:cubicBezTo>
                <a:cubicBezTo>
                  <a:pt x="947" y="1890"/>
                  <a:pt x="1" y="2078"/>
                  <a:pt x="163" y="2078"/>
                </a:cubicBezTo>
                <a:lnTo>
                  <a:pt x="244" y="2078"/>
                </a:lnTo>
                <a:cubicBezTo>
                  <a:pt x="273" y="2065"/>
                  <a:pt x="312" y="2065"/>
                  <a:pt x="367" y="2065"/>
                </a:cubicBezTo>
                <a:cubicBezTo>
                  <a:pt x="853" y="2065"/>
                  <a:pt x="1906" y="2240"/>
                  <a:pt x="3228" y="2350"/>
                </a:cubicBezTo>
                <a:cubicBezTo>
                  <a:pt x="4673" y="2457"/>
                  <a:pt x="5010" y="2389"/>
                  <a:pt x="6306" y="2538"/>
                </a:cubicBezTo>
                <a:cubicBezTo>
                  <a:pt x="6468" y="2564"/>
                  <a:pt x="6643" y="2564"/>
                  <a:pt x="6818" y="2564"/>
                </a:cubicBezTo>
                <a:cubicBezTo>
                  <a:pt x="7210" y="2564"/>
                  <a:pt x="7602" y="2525"/>
                  <a:pt x="7994" y="2483"/>
                </a:cubicBezTo>
                <a:cubicBezTo>
                  <a:pt x="8386" y="2444"/>
                  <a:pt x="8778" y="2402"/>
                  <a:pt x="9128" y="2402"/>
                </a:cubicBezTo>
                <a:cubicBezTo>
                  <a:pt x="9465" y="2402"/>
                  <a:pt x="9789" y="2431"/>
                  <a:pt x="10074" y="2538"/>
                </a:cubicBezTo>
                <a:cubicBezTo>
                  <a:pt x="11140" y="2930"/>
                  <a:pt x="8924" y="2823"/>
                  <a:pt x="8872" y="2969"/>
                </a:cubicBezTo>
                <a:cubicBezTo>
                  <a:pt x="8817" y="3131"/>
                  <a:pt x="9815" y="3131"/>
                  <a:pt x="10680" y="3280"/>
                </a:cubicBezTo>
                <a:cubicBezTo>
                  <a:pt x="11545" y="3442"/>
                  <a:pt x="13703" y="3241"/>
                  <a:pt x="13920" y="3523"/>
                </a:cubicBezTo>
                <a:lnTo>
                  <a:pt x="14137" y="3795"/>
                </a:lnTo>
                <a:cubicBezTo>
                  <a:pt x="14137" y="3795"/>
                  <a:pt x="14461" y="3727"/>
                  <a:pt x="14811" y="3727"/>
                </a:cubicBezTo>
                <a:cubicBezTo>
                  <a:pt x="14986" y="3727"/>
                  <a:pt x="15148" y="3740"/>
                  <a:pt x="15297" y="3795"/>
                </a:cubicBezTo>
                <a:cubicBezTo>
                  <a:pt x="15702" y="3941"/>
                  <a:pt x="15472" y="3941"/>
                  <a:pt x="16162" y="3983"/>
                </a:cubicBezTo>
                <a:cubicBezTo>
                  <a:pt x="16214" y="3996"/>
                  <a:pt x="16269" y="3996"/>
                  <a:pt x="16324" y="3996"/>
                </a:cubicBezTo>
                <a:cubicBezTo>
                  <a:pt x="16619" y="3996"/>
                  <a:pt x="16930" y="3957"/>
                  <a:pt x="17186" y="3915"/>
                </a:cubicBezTo>
                <a:cubicBezTo>
                  <a:pt x="17445" y="3876"/>
                  <a:pt x="17659" y="3821"/>
                  <a:pt x="17769" y="3821"/>
                </a:cubicBezTo>
                <a:cubicBezTo>
                  <a:pt x="17795" y="3821"/>
                  <a:pt x="17808" y="3834"/>
                  <a:pt x="17821" y="3834"/>
                </a:cubicBezTo>
                <a:cubicBezTo>
                  <a:pt x="18012" y="3876"/>
                  <a:pt x="18456" y="3996"/>
                  <a:pt x="18456" y="3996"/>
                </a:cubicBezTo>
                <a:lnTo>
                  <a:pt x="18456" y="1"/>
                </a:ln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7" name="Google Shape;1027;p33"/>
          <p:cNvSpPr txBox="1">
            <a:spLocks noGrp="1"/>
          </p:cNvSpPr>
          <p:nvPr>
            <p:ph type="title"/>
          </p:nvPr>
        </p:nvSpPr>
        <p:spPr>
          <a:xfrm>
            <a:off x="3399200" y="987033"/>
            <a:ext cx="5393600" cy="178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12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1028" name="Google Shape;1028;p33"/>
          <p:cNvSpPr txBox="1">
            <a:spLocks noGrp="1"/>
          </p:cNvSpPr>
          <p:nvPr>
            <p:ph type="subTitle" idx="1"/>
          </p:nvPr>
        </p:nvSpPr>
        <p:spPr>
          <a:xfrm>
            <a:off x="3399200" y="2772233"/>
            <a:ext cx="5393600" cy="126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85829939"/>
      </p:ext>
    </p:extLst>
  </p:cSld>
  <p:clrMapOvr>
    <a:masterClrMapping/>
  </p:clrMapOvr>
  <p:transition spd="slow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1">
  <p:cSld name="Title and two columns 1">
    <p:spTree>
      <p:nvGrpSpPr>
        <p:cNvPr id="1" name="Shape 1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Google Shape;1030;p34"/>
          <p:cNvSpPr/>
          <p:nvPr/>
        </p:nvSpPr>
        <p:spPr>
          <a:xfrm>
            <a:off x="-94033" y="5285095"/>
            <a:ext cx="4435896" cy="678867"/>
          </a:xfrm>
          <a:custGeom>
            <a:avLst/>
            <a:gdLst/>
            <a:ahLst/>
            <a:cxnLst/>
            <a:rect l="l" t="t" r="r" b="b"/>
            <a:pathLst>
              <a:path w="31630" h="2270" extrusionOk="0">
                <a:moveTo>
                  <a:pt x="15211" y="0"/>
                </a:moveTo>
                <a:cubicBezTo>
                  <a:pt x="9192" y="0"/>
                  <a:pt x="1" y="2270"/>
                  <a:pt x="1" y="2270"/>
                </a:cubicBezTo>
                <a:lnTo>
                  <a:pt x="31523" y="2270"/>
                </a:lnTo>
                <a:cubicBezTo>
                  <a:pt x="31630" y="2121"/>
                  <a:pt x="21641" y="70"/>
                  <a:pt x="15472" y="2"/>
                </a:cubicBezTo>
                <a:cubicBezTo>
                  <a:pt x="15386" y="1"/>
                  <a:pt x="15299" y="0"/>
                  <a:pt x="1521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1" name="Google Shape;1031;p34"/>
          <p:cNvSpPr/>
          <p:nvPr/>
        </p:nvSpPr>
        <p:spPr>
          <a:xfrm>
            <a:off x="5928032" y="5271634"/>
            <a:ext cx="6263987" cy="1069404"/>
          </a:xfrm>
          <a:custGeom>
            <a:avLst/>
            <a:gdLst/>
            <a:ahLst/>
            <a:cxnLst/>
            <a:rect l="l" t="t" r="r" b="b"/>
            <a:pathLst>
              <a:path w="29281" h="2270" extrusionOk="0">
                <a:moveTo>
                  <a:pt x="14071" y="0"/>
                </a:moveTo>
                <a:cubicBezTo>
                  <a:pt x="8512" y="0"/>
                  <a:pt x="1" y="2270"/>
                  <a:pt x="1" y="2270"/>
                </a:cubicBezTo>
                <a:lnTo>
                  <a:pt x="29187" y="2270"/>
                </a:lnTo>
                <a:cubicBezTo>
                  <a:pt x="29281" y="2121"/>
                  <a:pt x="20034" y="70"/>
                  <a:pt x="14312" y="2"/>
                </a:cubicBezTo>
                <a:cubicBezTo>
                  <a:pt x="14232" y="1"/>
                  <a:pt x="14152" y="0"/>
                  <a:pt x="1407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2" name="Google Shape;1032;p34"/>
          <p:cNvSpPr/>
          <p:nvPr/>
        </p:nvSpPr>
        <p:spPr>
          <a:xfrm>
            <a:off x="-94033" y="5533637"/>
            <a:ext cx="12357408" cy="636793"/>
          </a:xfrm>
          <a:custGeom>
            <a:avLst/>
            <a:gdLst/>
            <a:ahLst/>
            <a:cxnLst/>
            <a:rect l="l" t="t" r="r" b="b"/>
            <a:pathLst>
              <a:path w="45536" h="8845" extrusionOk="0">
                <a:moveTo>
                  <a:pt x="10609" y="1"/>
                </a:moveTo>
                <a:cubicBezTo>
                  <a:pt x="2565" y="1"/>
                  <a:pt x="1" y="719"/>
                  <a:pt x="1" y="719"/>
                </a:cubicBezTo>
                <a:lnTo>
                  <a:pt x="1" y="8845"/>
                </a:lnTo>
                <a:lnTo>
                  <a:pt x="45536" y="8845"/>
                </a:lnTo>
                <a:lnTo>
                  <a:pt x="45536" y="3230"/>
                </a:lnTo>
                <a:cubicBezTo>
                  <a:pt x="44954" y="3336"/>
                  <a:pt x="44228" y="3384"/>
                  <a:pt x="43384" y="3384"/>
                </a:cubicBezTo>
                <a:cubicBezTo>
                  <a:pt x="36402" y="3384"/>
                  <a:pt x="21312" y="137"/>
                  <a:pt x="12676" y="16"/>
                </a:cubicBezTo>
                <a:cubicBezTo>
                  <a:pt x="11950" y="6"/>
                  <a:pt x="11262" y="1"/>
                  <a:pt x="10609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3" name="Google Shape;1033;p34"/>
          <p:cNvSpPr/>
          <p:nvPr/>
        </p:nvSpPr>
        <p:spPr>
          <a:xfrm>
            <a:off x="5552813" y="5511976"/>
            <a:ext cx="6710484" cy="625859"/>
          </a:xfrm>
          <a:custGeom>
            <a:avLst/>
            <a:gdLst/>
            <a:ahLst/>
            <a:cxnLst/>
            <a:rect l="l" t="t" r="r" b="b"/>
            <a:pathLst>
              <a:path w="27784" h="3590" extrusionOk="0">
                <a:moveTo>
                  <a:pt x="27784" y="0"/>
                </a:moveTo>
                <a:cubicBezTo>
                  <a:pt x="13745" y="201"/>
                  <a:pt x="1" y="3415"/>
                  <a:pt x="1" y="3415"/>
                </a:cubicBezTo>
                <a:lnTo>
                  <a:pt x="21061" y="3548"/>
                </a:lnTo>
                <a:lnTo>
                  <a:pt x="27784" y="3590"/>
                </a:lnTo>
                <a:lnTo>
                  <a:pt x="2778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4" name="Google Shape;1034;p34"/>
          <p:cNvSpPr/>
          <p:nvPr/>
        </p:nvSpPr>
        <p:spPr>
          <a:xfrm>
            <a:off x="-94033" y="5926229"/>
            <a:ext cx="12357300" cy="931604"/>
          </a:xfrm>
          <a:custGeom>
            <a:avLst/>
            <a:gdLst/>
            <a:ahLst/>
            <a:cxnLst/>
            <a:rect l="l" t="t" r="r" b="b"/>
            <a:pathLst>
              <a:path w="51164" h="9359" extrusionOk="0">
                <a:moveTo>
                  <a:pt x="28954" y="0"/>
                </a:moveTo>
                <a:cubicBezTo>
                  <a:pt x="13795" y="0"/>
                  <a:pt x="1" y="193"/>
                  <a:pt x="1" y="193"/>
                </a:cubicBezTo>
                <a:lnTo>
                  <a:pt x="1" y="9359"/>
                </a:lnTo>
                <a:lnTo>
                  <a:pt x="51164" y="9359"/>
                </a:lnTo>
                <a:lnTo>
                  <a:pt x="51164" y="193"/>
                </a:lnTo>
                <a:cubicBezTo>
                  <a:pt x="44455" y="48"/>
                  <a:pt x="36534" y="0"/>
                  <a:pt x="28954" y="0"/>
                </a:cubicBezTo>
                <a:close/>
              </a:path>
            </a:pathLst>
          </a:custGeom>
          <a:solidFill>
            <a:srgbClr val="FFC6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5" name="Google Shape;1035;p34"/>
          <p:cNvSpPr/>
          <p:nvPr/>
        </p:nvSpPr>
        <p:spPr>
          <a:xfrm>
            <a:off x="-94033" y="5926229"/>
            <a:ext cx="12357300" cy="931599"/>
          </a:xfrm>
          <a:custGeom>
            <a:avLst/>
            <a:gdLst/>
            <a:ahLst/>
            <a:cxnLst/>
            <a:rect l="l" t="t" r="r" b="b"/>
            <a:pathLst>
              <a:path w="51164" h="8386" extrusionOk="0">
                <a:moveTo>
                  <a:pt x="51164" y="1"/>
                </a:moveTo>
                <a:cubicBezTo>
                  <a:pt x="51164" y="1"/>
                  <a:pt x="12488" y="1783"/>
                  <a:pt x="1" y="4579"/>
                </a:cubicBezTo>
                <a:lnTo>
                  <a:pt x="1" y="8386"/>
                </a:lnTo>
                <a:lnTo>
                  <a:pt x="51164" y="8386"/>
                </a:lnTo>
                <a:lnTo>
                  <a:pt x="51164" y="1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6" name="Google Shape;1036;p34"/>
          <p:cNvSpPr/>
          <p:nvPr/>
        </p:nvSpPr>
        <p:spPr>
          <a:xfrm>
            <a:off x="-94033" y="5926230"/>
            <a:ext cx="12357300" cy="931607"/>
          </a:xfrm>
          <a:custGeom>
            <a:avLst/>
            <a:gdLst/>
            <a:ahLst/>
            <a:cxnLst/>
            <a:rect l="l" t="t" r="r" b="b"/>
            <a:pathLst>
              <a:path w="51164" h="7555" extrusionOk="0">
                <a:moveTo>
                  <a:pt x="7656" y="1"/>
                </a:moveTo>
                <a:cubicBezTo>
                  <a:pt x="2876" y="1"/>
                  <a:pt x="1" y="385"/>
                  <a:pt x="1" y="385"/>
                </a:cubicBezTo>
                <a:lnTo>
                  <a:pt x="1" y="7555"/>
                </a:lnTo>
                <a:lnTo>
                  <a:pt x="51164" y="7555"/>
                </a:lnTo>
                <a:lnTo>
                  <a:pt x="51164" y="3249"/>
                </a:lnTo>
                <a:cubicBezTo>
                  <a:pt x="49225" y="3578"/>
                  <a:pt x="47012" y="3826"/>
                  <a:pt x="44108" y="3826"/>
                </a:cubicBezTo>
                <a:cubicBezTo>
                  <a:pt x="39852" y="3826"/>
                  <a:pt x="34112" y="3292"/>
                  <a:pt x="25581" y="1694"/>
                </a:cubicBezTo>
                <a:cubicBezTo>
                  <a:pt x="18442" y="347"/>
                  <a:pt x="12191" y="1"/>
                  <a:pt x="765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7" name="Google Shape;1037;p34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38" name="Google Shape;1038;p34"/>
          <p:cNvSpPr txBox="1">
            <a:spLocks noGrp="1"/>
          </p:cNvSpPr>
          <p:nvPr>
            <p:ph type="subTitle" idx="1"/>
          </p:nvPr>
        </p:nvSpPr>
        <p:spPr>
          <a:xfrm>
            <a:off x="960001" y="4200167"/>
            <a:ext cx="3008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39" name="Google Shape;1039;p34"/>
          <p:cNvSpPr txBox="1">
            <a:spLocks noGrp="1"/>
          </p:cNvSpPr>
          <p:nvPr>
            <p:ph type="title" idx="2"/>
          </p:nvPr>
        </p:nvSpPr>
        <p:spPr>
          <a:xfrm>
            <a:off x="960000" y="3587857"/>
            <a:ext cx="3008000" cy="50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1040" name="Google Shape;1040;p34"/>
          <p:cNvSpPr txBox="1">
            <a:spLocks noGrp="1"/>
          </p:cNvSpPr>
          <p:nvPr>
            <p:ph type="subTitle" idx="3"/>
          </p:nvPr>
        </p:nvSpPr>
        <p:spPr>
          <a:xfrm>
            <a:off x="8223801" y="4200167"/>
            <a:ext cx="3008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41" name="Google Shape;1041;p34"/>
          <p:cNvSpPr txBox="1">
            <a:spLocks noGrp="1"/>
          </p:cNvSpPr>
          <p:nvPr>
            <p:ph type="title" idx="4"/>
          </p:nvPr>
        </p:nvSpPr>
        <p:spPr>
          <a:xfrm>
            <a:off x="8223800" y="3587857"/>
            <a:ext cx="3008000" cy="50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1042" name="Google Shape;1042;p34"/>
          <p:cNvSpPr txBox="1">
            <a:spLocks noGrp="1"/>
          </p:cNvSpPr>
          <p:nvPr>
            <p:ph type="subTitle" idx="5"/>
          </p:nvPr>
        </p:nvSpPr>
        <p:spPr>
          <a:xfrm>
            <a:off x="4580668" y="4200167"/>
            <a:ext cx="3008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43" name="Google Shape;1043;p34"/>
          <p:cNvSpPr txBox="1">
            <a:spLocks noGrp="1"/>
          </p:cNvSpPr>
          <p:nvPr>
            <p:ph type="title" idx="6"/>
          </p:nvPr>
        </p:nvSpPr>
        <p:spPr>
          <a:xfrm>
            <a:off x="4580667" y="3587857"/>
            <a:ext cx="3008000" cy="50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1044" name="Google Shape;1044;p34"/>
          <p:cNvSpPr/>
          <p:nvPr/>
        </p:nvSpPr>
        <p:spPr>
          <a:xfrm>
            <a:off x="-1929768" y="-524600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45" name="Google Shape;1045;p34"/>
          <p:cNvSpPr/>
          <p:nvPr/>
        </p:nvSpPr>
        <p:spPr>
          <a:xfrm flipH="1">
            <a:off x="9653933" y="1430800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523855349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08D980B-BE31-45AA-AE42-85B954EC9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3AF63A05-F0F3-4E77-9261-F853EE7D351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9529603-129E-442A-9C50-2A0D9961CD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98A02E2-6771-447E-A340-31BD069DB8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3370DFBB-98A0-41AE-8E05-34F7EB535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32C115C-4BF5-4B16-8C05-EFC7ACC19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86418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 1">
  <p:cSld name="Numbers and text  1">
    <p:spTree>
      <p:nvGrpSpPr>
        <p:cNvPr id="1" name="Shape 10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" name="Google Shape;1047;p35"/>
          <p:cNvSpPr/>
          <p:nvPr/>
        </p:nvSpPr>
        <p:spPr>
          <a:xfrm>
            <a:off x="10575134" y="632664"/>
            <a:ext cx="4209789" cy="2051293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48" name="Google Shape;1048;p35"/>
          <p:cNvSpPr/>
          <p:nvPr/>
        </p:nvSpPr>
        <p:spPr>
          <a:xfrm>
            <a:off x="-101575" y="5425674"/>
            <a:ext cx="12439612" cy="954023"/>
          </a:xfrm>
          <a:custGeom>
            <a:avLst/>
            <a:gdLst/>
            <a:ahLst/>
            <a:cxnLst/>
            <a:rect l="l" t="t" r="r" b="b"/>
            <a:pathLst>
              <a:path w="40501" h="7334" extrusionOk="0">
                <a:moveTo>
                  <a:pt x="24305" y="0"/>
                </a:moveTo>
                <a:cubicBezTo>
                  <a:pt x="24276" y="0"/>
                  <a:pt x="24248" y="1"/>
                  <a:pt x="24220" y="2"/>
                </a:cubicBezTo>
                <a:cubicBezTo>
                  <a:pt x="21521" y="112"/>
                  <a:pt x="16499" y="5296"/>
                  <a:pt x="15203" y="5672"/>
                </a:cubicBezTo>
                <a:cubicBezTo>
                  <a:pt x="15149" y="5687"/>
                  <a:pt x="15084" y="5695"/>
                  <a:pt x="15007" y="5695"/>
                </a:cubicBezTo>
                <a:cubicBezTo>
                  <a:pt x="14617" y="5695"/>
                  <a:pt x="13941" y="5504"/>
                  <a:pt x="13097" y="5199"/>
                </a:cubicBezTo>
                <a:cubicBezTo>
                  <a:pt x="11746" y="4687"/>
                  <a:pt x="9909" y="3903"/>
                  <a:pt x="8195" y="3190"/>
                </a:cubicBezTo>
                <a:cubicBezTo>
                  <a:pt x="6008" y="2244"/>
                  <a:pt x="4051" y="1392"/>
                  <a:pt x="3484" y="1366"/>
                </a:cubicBezTo>
                <a:lnTo>
                  <a:pt x="3429" y="1366"/>
                </a:lnTo>
                <a:cubicBezTo>
                  <a:pt x="2107" y="1379"/>
                  <a:pt x="1" y="4039"/>
                  <a:pt x="1" y="4039"/>
                </a:cubicBezTo>
                <a:lnTo>
                  <a:pt x="1" y="4619"/>
                </a:lnTo>
                <a:lnTo>
                  <a:pt x="1" y="4755"/>
                </a:lnTo>
                <a:lnTo>
                  <a:pt x="1" y="7292"/>
                </a:lnTo>
                <a:lnTo>
                  <a:pt x="529" y="7334"/>
                </a:lnTo>
                <a:lnTo>
                  <a:pt x="581" y="7292"/>
                </a:lnTo>
                <a:lnTo>
                  <a:pt x="40501" y="7292"/>
                </a:lnTo>
                <a:lnTo>
                  <a:pt x="40501" y="1029"/>
                </a:lnTo>
                <a:lnTo>
                  <a:pt x="40501" y="637"/>
                </a:lnTo>
                <a:lnTo>
                  <a:pt x="40501" y="355"/>
                </a:lnTo>
                <a:cubicBezTo>
                  <a:pt x="39069" y="650"/>
                  <a:pt x="39584" y="3971"/>
                  <a:pt x="36020" y="4405"/>
                </a:cubicBezTo>
                <a:cubicBezTo>
                  <a:pt x="35869" y="4423"/>
                  <a:pt x="35714" y="4432"/>
                  <a:pt x="35556" y="4432"/>
                </a:cubicBezTo>
                <a:cubicBezTo>
                  <a:pt x="34107" y="4432"/>
                  <a:pt x="32390" y="3688"/>
                  <a:pt x="30687" y="2811"/>
                </a:cubicBezTo>
                <a:cubicBezTo>
                  <a:pt x="29835" y="2338"/>
                  <a:pt x="28986" y="1865"/>
                  <a:pt x="28163" y="1447"/>
                </a:cubicBezTo>
                <a:cubicBezTo>
                  <a:pt x="26667" y="647"/>
                  <a:pt x="25297" y="0"/>
                  <a:pt x="24305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49" name="Google Shape;1049;p35"/>
          <p:cNvSpPr/>
          <p:nvPr/>
        </p:nvSpPr>
        <p:spPr>
          <a:xfrm>
            <a:off x="5122958" y="6141837"/>
            <a:ext cx="70951" cy="2328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0" name="Google Shape;1050;p35"/>
          <p:cNvSpPr/>
          <p:nvPr/>
        </p:nvSpPr>
        <p:spPr>
          <a:xfrm>
            <a:off x="9750394" y="5839905"/>
            <a:ext cx="597393" cy="15129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1" name="Google Shape;1051;p35"/>
          <p:cNvSpPr/>
          <p:nvPr/>
        </p:nvSpPr>
        <p:spPr>
          <a:xfrm>
            <a:off x="-101566" y="5288268"/>
            <a:ext cx="12439612" cy="954021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2" name="Google Shape;1052;p35"/>
          <p:cNvSpPr/>
          <p:nvPr/>
        </p:nvSpPr>
        <p:spPr>
          <a:xfrm>
            <a:off x="-101575" y="5610445"/>
            <a:ext cx="12439612" cy="953988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3" name="Google Shape;1053;p35"/>
          <p:cNvSpPr/>
          <p:nvPr/>
        </p:nvSpPr>
        <p:spPr>
          <a:xfrm>
            <a:off x="4999834" y="5516334"/>
            <a:ext cx="7338209" cy="136723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4" name="Google Shape;1054;p35"/>
          <p:cNvSpPr/>
          <p:nvPr/>
        </p:nvSpPr>
        <p:spPr>
          <a:xfrm>
            <a:off x="-101566" y="5905091"/>
            <a:ext cx="12439612" cy="954013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5" name="Google Shape;1055;p35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56" name="Google Shape;1056;p35"/>
          <p:cNvSpPr txBox="1">
            <a:spLocks noGrp="1"/>
          </p:cNvSpPr>
          <p:nvPr>
            <p:ph type="subTitle" idx="1"/>
          </p:nvPr>
        </p:nvSpPr>
        <p:spPr>
          <a:xfrm>
            <a:off x="959167" y="4330064"/>
            <a:ext cx="3234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57" name="Google Shape;1057;p35"/>
          <p:cNvSpPr txBox="1">
            <a:spLocks noGrp="1"/>
          </p:cNvSpPr>
          <p:nvPr>
            <p:ph type="title" idx="2"/>
          </p:nvPr>
        </p:nvSpPr>
        <p:spPr>
          <a:xfrm>
            <a:off x="1158300" y="3714767"/>
            <a:ext cx="28356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1058" name="Google Shape;1058;p35"/>
          <p:cNvSpPr txBox="1">
            <a:spLocks noGrp="1"/>
          </p:cNvSpPr>
          <p:nvPr>
            <p:ph type="subTitle" idx="3"/>
          </p:nvPr>
        </p:nvSpPr>
        <p:spPr>
          <a:xfrm>
            <a:off x="7997999" y="4330064"/>
            <a:ext cx="3234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59" name="Google Shape;1059;p35"/>
          <p:cNvSpPr txBox="1">
            <a:spLocks noGrp="1"/>
          </p:cNvSpPr>
          <p:nvPr>
            <p:ph type="title" idx="4"/>
          </p:nvPr>
        </p:nvSpPr>
        <p:spPr>
          <a:xfrm>
            <a:off x="8196999" y="3714767"/>
            <a:ext cx="28360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1060" name="Google Shape;1060;p35"/>
          <p:cNvSpPr txBox="1">
            <a:spLocks noGrp="1"/>
          </p:cNvSpPr>
          <p:nvPr>
            <p:ph type="subTitle" idx="5"/>
          </p:nvPr>
        </p:nvSpPr>
        <p:spPr>
          <a:xfrm>
            <a:off x="4478583" y="4330064"/>
            <a:ext cx="3234000" cy="9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61" name="Google Shape;1061;p35"/>
          <p:cNvSpPr txBox="1">
            <a:spLocks noGrp="1"/>
          </p:cNvSpPr>
          <p:nvPr>
            <p:ph type="title" idx="6"/>
          </p:nvPr>
        </p:nvSpPr>
        <p:spPr>
          <a:xfrm>
            <a:off x="4677449" y="3714767"/>
            <a:ext cx="28360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27386083"/>
      </p:ext>
    </p:extLst>
  </p:cSld>
  <p:clrMapOvr>
    <a:masterClrMapping/>
  </p:clrMapOvr>
  <p:transition spd="slow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10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3" name="Google Shape;1063;p36"/>
          <p:cNvSpPr/>
          <p:nvPr/>
        </p:nvSpPr>
        <p:spPr>
          <a:xfrm flipH="1">
            <a:off x="-1395866" y="2837923"/>
            <a:ext cx="5996052" cy="3487416"/>
          </a:xfrm>
          <a:custGeom>
            <a:avLst/>
            <a:gdLst/>
            <a:ahLst/>
            <a:cxnLst/>
            <a:rect l="l" t="t" r="r" b="b"/>
            <a:pathLst>
              <a:path w="19522" h="11895" extrusionOk="0">
                <a:moveTo>
                  <a:pt x="10693" y="1"/>
                </a:moveTo>
                <a:cubicBezTo>
                  <a:pt x="8668" y="1"/>
                  <a:pt x="6967" y="1310"/>
                  <a:pt x="6361" y="3121"/>
                </a:cubicBezTo>
                <a:cubicBezTo>
                  <a:pt x="6251" y="3079"/>
                  <a:pt x="6144" y="3053"/>
                  <a:pt x="6024" y="3053"/>
                </a:cubicBezTo>
                <a:cubicBezTo>
                  <a:pt x="5807" y="3053"/>
                  <a:pt x="5619" y="3134"/>
                  <a:pt x="5470" y="3283"/>
                </a:cubicBezTo>
                <a:cubicBezTo>
                  <a:pt x="5321" y="3254"/>
                  <a:pt x="5159" y="3241"/>
                  <a:pt x="4984" y="3241"/>
                </a:cubicBezTo>
                <a:cubicBezTo>
                  <a:pt x="3646" y="3241"/>
                  <a:pt x="2567" y="4323"/>
                  <a:pt x="2567" y="5658"/>
                </a:cubicBezTo>
                <a:cubicBezTo>
                  <a:pt x="2567" y="5713"/>
                  <a:pt x="2567" y="5765"/>
                  <a:pt x="2580" y="5807"/>
                </a:cubicBezTo>
                <a:cubicBezTo>
                  <a:pt x="2298" y="5590"/>
                  <a:pt x="1958" y="5457"/>
                  <a:pt x="1569" y="5457"/>
                </a:cubicBezTo>
                <a:cubicBezTo>
                  <a:pt x="704" y="5457"/>
                  <a:pt x="1" y="6157"/>
                  <a:pt x="1" y="7022"/>
                </a:cubicBezTo>
                <a:cubicBezTo>
                  <a:pt x="1" y="7900"/>
                  <a:pt x="704" y="8600"/>
                  <a:pt x="1569" y="8600"/>
                </a:cubicBezTo>
                <a:cubicBezTo>
                  <a:pt x="2068" y="8600"/>
                  <a:pt x="2512" y="8373"/>
                  <a:pt x="2810" y="8007"/>
                </a:cubicBezTo>
                <a:cubicBezTo>
                  <a:pt x="2917" y="8049"/>
                  <a:pt x="3053" y="8075"/>
                  <a:pt x="3189" y="8075"/>
                </a:cubicBezTo>
                <a:cubicBezTo>
                  <a:pt x="3458" y="8075"/>
                  <a:pt x="3701" y="7968"/>
                  <a:pt x="3889" y="7806"/>
                </a:cubicBezTo>
                <a:cubicBezTo>
                  <a:pt x="4226" y="7981"/>
                  <a:pt x="4592" y="8075"/>
                  <a:pt x="4984" y="8075"/>
                </a:cubicBezTo>
                <a:cubicBezTo>
                  <a:pt x="5091" y="8075"/>
                  <a:pt x="5185" y="8062"/>
                  <a:pt x="5279" y="8049"/>
                </a:cubicBezTo>
                <a:lnTo>
                  <a:pt x="5279" y="8049"/>
                </a:lnTo>
                <a:cubicBezTo>
                  <a:pt x="5052" y="8357"/>
                  <a:pt x="4903" y="8736"/>
                  <a:pt x="4903" y="9141"/>
                </a:cubicBezTo>
                <a:cubicBezTo>
                  <a:pt x="4903" y="10113"/>
                  <a:pt x="5684" y="10910"/>
                  <a:pt x="6672" y="10910"/>
                </a:cubicBezTo>
                <a:cubicBezTo>
                  <a:pt x="7644" y="10910"/>
                  <a:pt x="8425" y="10113"/>
                  <a:pt x="8425" y="9141"/>
                </a:cubicBezTo>
                <a:lnTo>
                  <a:pt x="8425" y="9115"/>
                </a:lnTo>
                <a:cubicBezTo>
                  <a:pt x="8600" y="9034"/>
                  <a:pt x="8762" y="8924"/>
                  <a:pt x="8911" y="8791"/>
                </a:cubicBezTo>
                <a:cubicBezTo>
                  <a:pt x="9465" y="9021"/>
                  <a:pt x="10058" y="9141"/>
                  <a:pt x="10693" y="9141"/>
                </a:cubicBezTo>
                <a:cubicBezTo>
                  <a:pt x="10868" y="9141"/>
                  <a:pt x="11046" y="9128"/>
                  <a:pt x="11221" y="9115"/>
                </a:cubicBezTo>
                <a:lnTo>
                  <a:pt x="11221" y="9264"/>
                </a:lnTo>
                <a:cubicBezTo>
                  <a:pt x="11221" y="10722"/>
                  <a:pt x="12394" y="11895"/>
                  <a:pt x="13839" y="11895"/>
                </a:cubicBezTo>
                <a:cubicBezTo>
                  <a:pt x="14542" y="11895"/>
                  <a:pt x="15161" y="11613"/>
                  <a:pt x="15634" y="11179"/>
                </a:cubicBezTo>
                <a:lnTo>
                  <a:pt x="15744" y="11179"/>
                </a:lnTo>
                <a:cubicBezTo>
                  <a:pt x="16363" y="11179"/>
                  <a:pt x="16878" y="10667"/>
                  <a:pt x="16878" y="10032"/>
                </a:cubicBezTo>
                <a:cubicBezTo>
                  <a:pt x="16878" y="9815"/>
                  <a:pt x="16823" y="9614"/>
                  <a:pt x="16716" y="9452"/>
                </a:cubicBezTo>
                <a:cubicBezTo>
                  <a:pt x="18294" y="9290"/>
                  <a:pt x="19522" y="7968"/>
                  <a:pt x="19522" y="6348"/>
                </a:cubicBezTo>
                <a:cubicBezTo>
                  <a:pt x="19522" y="4631"/>
                  <a:pt x="18132" y="3241"/>
                  <a:pt x="16418" y="3241"/>
                </a:cubicBezTo>
                <a:cubicBezTo>
                  <a:pt x="16175" y="3241"/>
                  <a:pt x="15945" y="3270"/>
                  <a:pt x="15728" y="3309"/>
                </a:cubicBezTo>
                <a:cubicBezTo>
                  <a:pt x="15728" y="3254"/>
                  <a:pt x="15744" y="3189"/>
                  <a:pt x="15744" y="3121"/>
                </a:cubicBezTo>
                <a:cubicBezTo>
                  <a:pt x="15744" y="2175"/>
                  <a:pt x="14973" y="1407"/>
                  <a:pt x="14027" y="1407"/>
                </a:cubicBezTo>
                <a:lnTo>
                  <a:pt x="13988" y="1407"/>
                </a:lnTo>
                <a:cubicBezTo>
                  <a:pt x="13165" y="542"/>
                  <a:pt x="11989" y="1"/>
                  <a:pt x="10693" y="1"/>
                </a:cubicBezTo>
                <a:close/>
              </a:path>
            </a:pathLst>
          </a:custGeom>
          <a:solidFill>
            <a:srgbClr val="FFFFFF">
              <a:alpha val="758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4" name="Google Shape;1064;p36"/>
          <p:cNvSpPr/>
          <p:nvPr/>
        </p:nvSpPr>
        <p:spPr>
          <a:xfrm>
            <a:off x="10171595" y="1898393"/>
            <a:ext cx="6000045" cy="3487416"/>
          </a:xfrm>
          <a:custGeom>
            <a:avLst/>
            <a:gdLst/>
            <a:ahLst/>
            <a:cxnLst/>
            <a:rect l="l" t="t" r="r" b="b"/>
            <a:pathLst>
              <a:path w="19535" h="11895" extrusionOk="0">
                <a:moveTo>
                  <a:pt x="10706" y="1"/>
                </a:moveTo>
                <a:cubicBezTo>
                  <a:pt x="8681" y="1"/>
                  <a:pt x="6967" y="1310"/>
                  <a:pt x="6358" y="3121"/>
                </a:cubicBezTo>
                <a:cubicBezTo>
                  <a:pt x="6264" y="3079"/>
                  <a:pt x="6157" y="3053"/>
                  <a:pt x="6034" y="3053"/>
                </a:cubicBezTo>
                <a:cubicBezTo>
                  <a:pt x="5820" y="3053"/>
                  <a:pt x="5616" y="3147"/>
                  <a:pt x="5480" y="3296"/>
                </a:cubicBezTo>
                <a:cubicBezTo>
                  <a:pt x="5318" y="3254"/>
                  <a:pt x="5156" y="3241"/>
                  <a:pt x="4994" y="3241"/>
                </a:cubicBezTo>
                <a:cubicBezTo>
                  <a:pt x="3659" y="3241"/>
                  <a:pt x="2580" y="4323"/>
                  <a:pt x="2580" y="5658"/>
                </a:cubicBezTo>
                <a:lnTo>
                  <a:pt x="2580" y="5820"/>
                </a:lnTo>
                <a:cubicBezTo>
                  <a:pt x="2308" y="5590"/>
                  <a:pt x="1958" y="5457"/>
                  <a:pt x="1579" y="5457"/>
                </a:cubicBezTo>
                <a:cubicBezTo>
                  <a:pt x="717" y="5457"/>
                  <a:pt x="1" y="6157"/>
                  <a:pt x="1" y="7035"/>
                </a:cubicBezTo>
                <a:cubicBezTo>
                  <a:pt x="1" y="7900"/>
                  <a:pt x="717" y="8600"/>
                  <a:pt x="1579" y="8600"/>
                </a:cubicBezTo>
                <a:cubicBezTo>
                  <a:pt x="2078" y="8600"/>
                  <a:pt x="2525" y="8373"/>
                  <a:pt x="2807" y="8007"/>
                </a:cubicBezTo>
                <a:cubicBezTo>
                  <a:pt x="2930" y="8049"/>
                  <a:pt x="3050" y="8075"/>
                  <a:pt x="3186" y="8075"/>
                </a:cubicBezTo>
                <a:cubicBezTo>
                  <a:pt x="3455" y="8075"/>
                  <a:pt x="3714" y="7981"/>
                  <a:pt x="3902" y="7819"/>
                </a:cubicBezTo>
                <a:cubicBezTo>
                  <a:pt x="4226" y="7981"/>
                  <a:pt x="4605" y="8075"/>
                  <a:pt x="4994" y="8075"/>
                </a:cubicBezTo>
                <a:cubicBezTo>
                  <a:pt x="5091" y="8075"/>
                  <a:pt x="5198" y="8062"/>
                  <a:pt x="5292" y="8062"/>
                </a:cubicBezTo>
                <a:cubicBezTo>
                  <a:pt x="5049" y="8357"/>
                  <a:pt x="4913" y="8736"/>
                  <a:pt x="4913" y="9154"/>
                </a:cubicBezTo>
                <a:cubicBezTo>
                  <a:pt x="4913" y="10126"/>
                  <a:pt x="5697" y="10910"/>
                  <a:pt x="6669" y="10910"/>
                </a:cubicBezTo>
                <a:cubicBezTo>
                  <a:pt x="7641" y="10910"/>
                  <a:pt x="8438" y="10126"/>
                  <a:pt x="8438" y="9154"/>
                </a:cubicBezTo>
                <a:lnTo>
                  <a:pt x="8438" y="9128"/>
                </a:lnTo>
                <a:cubicBezTo>
                  <a:pt x="8613" y="9034"/>
                  <a:pt x="8775" y="8924"/>
                  <a:pt x="8924" y="8791"/>
                </a:cubicBezTo>
                <a:cubicBezTo>
                  <a:pt x="9465" y="9021"/>
                  <a:pt x="10071" y="9154"/>
                  <a:pt x="10706" y="9154"/>
                </a:cubicBezTo>
                <a:cubicBezTo>
                  <a:pt x="10881" y="9154"/>
                  <a:pt x="11056" y="9141"/>
                  <a:pt x="11231" y="9115"/>
                </a:cubicBezTo>
                <a:lnTo>
                  <a:pt x="11231" y="9115"/>
                </a:lnTo>
                <a:cubicBezTo>
                  <a:pt x="11231" y="9167"/>
                  <a:pt x="11218" y="9222"/>
                  <a:pt x="11218" y="9277"/>
                </a:cubicBezTo>
                <a:cubicBezTo>
                  <a:pt x="11218" y="10722"/>
                  <a:pt x="12394" y="11895"/>
                  <a:pt x="13852" y="11895"/>
                </a:cubicBezTo>
                <a:cubicBezTo>
                  <a:pt x="14539" y="11895"/>
                  <a:pt x="15174" y="11626"/>
                  <a:pt x="15647" y="11179"/>
                </a:cubicBezTo>
                <a:lnTo>
                  <a:pt x="15741" y="11179"/>
                </a:lnTo>
                <a:cubicBezTo>
                  <a:pt x="16376" y="11179"/>
                  <a:pt x="16888" y="10680"/>
                  <a:pt x="16888" y="10045"/>
                </a:cubicBezTo>
                <a:cubicBezTo>
                  <a:pt x="16888" y="9831"/>
                  <a:pt x="16820" y="9627"/>
                  <a:pt x="16726" y="9452"/>
                </a:cubicBezTo>
                <a:cubicBezTo>
                  <a:pt x="18294" y="9303"/>
                  <a:pt x="19535" y="7968"/>
                  <a:pt x="19535" y="6348"/>
                </a:cubicBezTo>
                <a:cubicBezTo>
                  <a:pt x="19535" y="4631"/>
                  <a:pt x="18145" y="3241"/>
                  <a:pt x="16415" y="3241"/>
                </a:cubicBezTo>
                <a:cubicBezTo>
                  <a:pt x="16188" y="3241"/>
                  <a:pt x="15958" y="3270"/>
                  <a:pt x="15728" y="3322"/>
                </a:cubicBezTo>
                <a:cubicBezTo>
                  <a:pt x="15741" y="3254"/>
                  <a:pt x="15741" y="3189"/>
                  <a:pt x="15741" y="3121"/>
                </a:cubicBezTo>
                <a:cubicBezTo>
                  <a:pt x="15741" y="2175"/>
                  <a:pt x="14973" y="1407"/>
                  <a:pt x="14027" y="1407"/>
                </a:cubicBezTo>
                <a:lnTo>
                  <a:pt x="14001" y="1407"/>
                </a:lnTo>
                <a:cubicBezTo>
                  <a:pt x="13162" y="542"/>
                  <a:pt x="12002" y="1"/>
                  <a:pt x="10706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5" name="Google Shape;1065;p36"/>
          <p:cNvSpPr/>
          <p:nvPr/>
        </p:nvSpPr>
        <p:spPr>
          <a:xfrm>
            <a:off x="1343114" y="833767"/>
            <a:ext cx="2189357" cy="2138397"/>
          </a:xfrm>
          <a:custGeom>
            <a:avLst/>
            <a:gdLst/>
            <a:ahLst/>
            <a:cxnLst/>
            <a:rect l="l" t="t" r="r" b="b"/>
            <a:pathLst>
              <a:path w="8723" h="8706" extrusionOk="0">
                <a:moveTo>
                  <a:pt x="4362" y="0"/>
                </a:moveTo>
                <a:cubicBezTo>
                  <a:pt x="1961" y="0"/>
                  <a:pt x="1" y="1944"/>
                  <a:pt x="1" y="4345"/>
                </a:cubicBezTo>
                <a:cubicBezTo>
                  <a:pt x="1" y="6749"/>
                  <a:pt x="1961" y="8706"/>
                  <a:pt x="4362" y="8706"/>
                </a:cubicBezTo>
                <a:cubicBezTo>
                  <a:pt x="6766" y="8706"/>
                  <a:pt x="8723" y="6749"/>
                  <a:pt x="8723" y="4345"/>
                </a:cubicBezTo>
                <a:cubicBezTo>
                  <a:pt x="8723" y="1944"/>
                  <a:pt x="6766" y="0"/>
                  <a:pt x="4362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6" name="Google Shape;1066;p36"/>
          <p:cNvSpPr/>
          <p:nvPr/>
        </p:nvSpPr>
        <p:spPr>
          <a:xfrm>
            <a:off x="5137994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7" name="Google Shape;1067;p36"/>
          <p:cNvSpPr/>
          <p:nvPr/>
        </p:nvSpPr>
        <p:spPr>
          <a:xfrm>
            <a:off x="9765432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8" name="Google Shape;1068;p36"/>
          <p:cNvSpPr/>
          <p:nvPr/>
        </p:nvSpPr>
        <p:spPr>
          <a:xfrm>
            <a:off x="-838201" y="5054767"/>
            <a:ext cx="13191311" cy="1093308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9" name="Google Shape;1069;p36"/>
          <p:cNvSpPr/>
          <p:nvPr/>
        </p:nvSpPr>
        <p:spPr>
          <a:xfrm>
            <a:off x="-86533" y="5436812"/>
            <a:ext cx="12439612" cy="1058891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0" name="Google Shape;1070;p36"/>
          <p:cNvSpPr/>
          <p:nvPr/>
        </p:nvSpPr>
        <p:spPr>
          <a:xfrm>
            <a:off x="5014868" y="5158999"/>
            <a:ext cx="7338209" cy="1926275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1" name="Google Shape;1071;p36"/>
          <p:cNvSpPr/>
          <p:nvPr/>
        </p:nvSpPr>
        <p:spPr>
          <a:xfrm>
            <a:off x="-86533" y="6092434"/>
            <a:ext cx="12191948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2" name="Google Shape;1072;p36"/>
          <p:cNvSpPr/>
          <p:nvPr/>
        </p:nvSpPr>
        <p:spPr>
          <a:xfrm>
            <a:off x="-86533" y="6392965"/>
            <a:ext cx="12439612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3" name="Google Shape;1073;p36"/>
          <p:cNvSpPr txBox="1">
            <a:spLocks noGrp="1"/>
          </p:cNvSpPr>
          <p:nvPr>
            <p:ph type="subTitle" idx="1"/>
          </p:nvPr>
        </p:nvSpPr>
        <p:spPr>
          <a:xfrm>
            <a:off x="5263033" y="1834000"/>
            <a:ext cx="5136000" cy="14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074" name="Google Shape;1074;p36"/>
          <p:cNvSpPr txBox="1">
            <a:spLocks noGrp="1"/>
          </p:cNvSpPr>
          <p:nvPr>
            <p:ph type="ctrTitle"/>
          </p:nvPr>
        </p:nvSpPr>
        <p:spPr>
          <a:xfrm flipH="1">
            <a:off x="5271500" y="720000"/>
            <a:ext cx="5136000" cy="111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075" name="Google Shape;1075;p36"/>
          <p:cNvSpPr txBox="1"/>
          <p:nvPr/>
        </p:nvSpPr>
        <p:spPr>
          <a:xfrm>
            <a:off x="5365433" y="4695400"/>
            <a:ext cx="4931200" cy="9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400"/>
              </a:spcBef>
              <a:spcAft>
                <a:spcPts val="0"/>
              </a:spcAft>
              <a:buNone/>
            </a:pPr>
            <a:r>
              <a:rPr lang="de"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CREDITS: Diese Präsentationsvorlage wurde von </a:t>
            </a:r>
            <a:r>
              <a:rPr lang="de" sz="1600" b="1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lidesgo</a:t>
            </a:r>
            <a:r>
              <a:rPr lang="de" sz="1600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</a:t>
            </a:r>
            <a:r>
              <a:rPr lang="de"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erstellt, inklusive Icons von </a:t>
            </a:r>
            <a:r>
              <a:rPr lang="de" sz="1600" b="1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laticon</a:t>
            </a:r>
            <a:r>
              <a:rPr lang="de"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 und Infografiken &amp; Bilder von </a:t>
            </a:r>
            <a:r>
              <a:rPr lang="de" sz="1600" b="1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reepik</a:t>
            </a:r>
            <a:r>
              <a:rPr lang="de" sz="1600">
                <a:solidFill>
                  <a:schemeClr val="dk1"/>
                </a:solidFill>
                <a:uFill>
                  <a:noFill/>
                </a:uFill>
                <a:latin typeface="Lato"/>
                <a:ea typeface="Lato"/>
                <a:cs typeface="Lato"/>
                <a:sym typeface="Lato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</a:t>
            </a:r>
            <a:endParaRPr sz="160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  <a:p>
            <a:pPr marL="0" lvl="0" indent="0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67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4064510523"/>
      </p:ext>
    </p:extLst>
  </p:cSld>
  <p:clrMapOvr>
    <a:masterClrMapping/>
  </p:clrMapOvr>
  <p:transition spd="slow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">
  <p:cSld name="Background ">
    <p:bg>
      <p:bgPr>
        <a:solidFill>
          <a:schemeClr val="accent4"/>
        </a:solidFill>
        <a:effectLst/>
      </p:bgPr>
    </p:bg>
    <p:spTree>
      <p:nvGrpSpPr>
        <p:cNvPr id="1" name="Shape 10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2127990"/>
      </p:ext>
    </p:extLst>
  </p:cSld>
  <p:clrMapOvr>
    <a:masterClrMapping/>
  </p:clrMapOvr>
  <p:transition spd="slow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bg>
      <p:bgPr>
        <a:solidFill>
          <a:schemeClr val="dk2"/>
        </a:solidFill>
        <a:effectLst/>
      </p:bgPr>
    </p:bg>
    <p:spTree>
      <p:nvGrpSpPr>
        <p:cNvPr id="1" name="Shape 10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" name="Google Shape;1078;p38"/>
          <p:cNvSpPr/>
          <p:nvPr/>
        </p:nvSpPr>
        <p:spPr>
          <a:xfrm>
            <a:off x="4976902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79" name="Google Shape;1079;p38"/>
          <p:cNvSpPr/>
          <p:nvPr/>
        </p:nvSpPr>
        <p:spPr>
          <a:xfrm>
            <a:off x="9604340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0" name="Google Shape;1080;p38"/>
          <p:cNvSpPr/>
          <p:nvPr/>
        </p:nvSpPr>
        <p:spPr>
          <a:xfrm>
            <a:off x="17" y="5321402"/>
            <a:ext cx="12192016" cy="826665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1" name="Google Shape;1081;p38"/>
          <p:cNvSpPr/>
          <p:nvPr/>
        </p:nvSpPr>
        <p:spPr>
          <a:xfrm>
            <a:off x="-16" y="5669032"/>
            <a:ext cx="12192016" cy="826673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2" name="Google Shape;1082;p38"/>
          <p:cNvSpPr/>
          <p:nvPr/>
        </p:nvSpPr>
        <p:spPr>
          <a:xfrm>
            <a:off x="4853785" y="5500935"/>
            <a:ext cx="7338209" cy="1648471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3" name="Google Shape;1083;p38"/>
          <p:cNvSpPr/>
          <p:nvPr/>
        </p:nvSpPr>
        <p:spPr>
          <a:xfrm>
            <a:off x="-15" y="6092424"/>
            <a:ext cx="11949201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84" name="Google Shape;1084;p38"/>
          <p:cNvSpPr/>
          <p:nvPr/>
        </p:nvSpPr>
        <p:spPr>
          <a:xfrm>
            <a:off x="-16" y="6392956"/>
            <a:ext cx="12192016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085" name="Google Shape;1085;p38"/>
          <p:cNvGrpSpPr/>
          <p:nvPr/>
        </p:nvGrpSpPr>
        <p:grpSpPr>
          <a:xfrm flipH="1">
            <a:off x="776280" y="5185306"/>
            <a:ext cx="3442029" cy="1169041"/>
            <a:chOff x="1260750" y="1341725"/>
            <a:chExt cx="438475" cy="148925"/>
          </a:xfrm>
        </p:grpSpPr>
        <p:sp>
          <p:nvSpPr>
            <p:cNvPr id="1086" name="Google Shape;1086;p38"/>
            <p:cNvSpPr/>
            <p:nvPr/>
          </p:nvSpPr>
          <p:spPr>
            <a:xfrm>
              <a:off x="1644550" y="1363050"/>
              <a:ext cx="33375" cy="121100"/>
            </a:xfrm>
            <a:custGeom>
              <a:avLst/>
              <a:gdLst/>
              <a:ahLst/>
              <a:cxnLst/>
              <a:rect l="l" t="t" r="r" b="b"/>
              <a:pathLst>
                <a:path w="1335" h="4844" extrusionOk="0">
                  <a:moveTo>
                    <a:pt x="0" y="0"/>
                  </a:moveTo>
                  <a:lnTo>
                    <a:pt x="0" y="4698"/>
                  </a:lnTo>
                  <a:lnTo>
                    <a:pt x="1335" y="4844"/>
                  </a:lnTo>
                  <a:lnTo>
                    <a:pt x="1335" y="0"/>
                  </a:ln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7" name="Google Shape;1087;p38"/>
            <p:cNvSpPr/>
            <p:nvPr/>
          </p:nvSpPr>
          <p:spPr>
            <a:xfrm>
              <a:off x="1643150" y="1341725"/>
              <a:ext cx="35825" cy="21350"/>
            </a:xfrm>
            <a:custGeom>
              <a:avLst/>
              <a:gdLst/>
              <a:ahLst/>
              <a:cxnLst/>
              <a:rect l="l" t="t" r="r" b="b"/>
              <a:pathLst>
                <a:path w="1433" h="854" extrusionOk="0">
                  <a:moveTo>
                    <a:pt x="717" y="1"/>
                  </a:moveTo>
                  <a:cubicBezTo>
                    <a:pt x="1" y="1"/>
                    <a:pt x="56" y="853"/>
                    <a:pt x="56" y="853"/>
                  </a:cubicBezTo>
                  <a:lnTo>
                    <a:pt x="1391" y="853"/>
                  </a:lnTo>
                  <a:cubicBezTo>
                    <a:pt x="1391" y="853"/>
                    <a:pt x="1433" y="1"/>
                    <a:pt x="717" y="1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8" name="Google Shape;1088;p38"/>
            <p:cNvSpPr/>
            <p:nvPr/>
          </p:nvSpPr>
          <p:spPr>
            <a:xfrm>
              <a:off x="1663075" y="1424750"/>
              <a:ext cx="6425" cy="3125"/>
            </a:xfrm>
            <a:custGeom>
              <a:avLst/>
              <a:gdLst/>
              <a:ahLst/>
              <a:cxnLst/>
              <a:rect l="l" t="t" r="r" b="b"/>
              <a:pathLst>
                <a:path w="257" h="125" extrusionOk="0">
                  <a:moveTo>
                    <a:pt x="1" y="1"/>
                  </a:moveTo>
                  <a:lnTo>
                    <a:pt x="1" y="124"/>
                  </a:lnTo>
                  <a:lnTo>
                    <a:pt x="257" y="124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9" name="Google Shape;1089;p38"/>
            <p:cNvSpPr/>
            <p:nvPr/>
          </p:nvSpPr>
          <p:spPr>
            <a:xfrm>
              <a:off x="1670875" y="1424750"/>
              <a:ext cx="6400" cy="3125"/>
            </a:xfrm>
            <a:custGeom>
              <a:avLst/>
              <a:gdLst/>
              <a:ahLst/>
              <a:cxnLst/>
              <a:rect l="l" t="t" r="r" b="b"/>
              <a:pathLst>
                <a:path w="256" h="125" extrusionOk="0">
                  <a:moveTo>
                    <a:pt x="0" y="1"/>
                  </a:moveTo>
                  <a:lnTo>
                    <a:pt x="0" y="124"/>
                  </a:lnTo>
                  <a:lnTo>
                    <a:pt x="256" y="124"/>
                  </a:lnTo>
                  <a:lnTo>
                    <a:pt x="256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0" name="Google Shape;1090;p38"/>
            <p:cNvSpPr/>
            <p:nvPr/>
          </p:nvSpPr>
          <p:spPr>
            <a:xfrm>
              <a:off x="1666825" y="1429125"/>
              <a:ext cx="6725" cy="3425"/>
            </a:xfrm>
            <a:custGeom>
              <a:avLst/>
              <a:gdLst/>
              <a:ahLst/>
              <a:cxnLst/>
              <a:rect l="l" t="t" r="r" b="b"/>
              <a:pathLst>
                <a:path w="269" h="137" extrusionOk="0">
                  <a:moveTo>
                    <a:pt x="0" y="1"/>
                  </a:moveTo>
                  <a:lnTo>
                    <a:pt x="0" y="137"/>
                  </a:lnTo>
                  <a:lnTo>
                    <a:pt x="269" y="137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1" name="Google Shape;1091;p38"/>
            <p:cNvSpPr/>
            <p:nvPr/>
          </p:nvSpPr>
          <p:spPr>
            <a:xfrm>
              <a:off x="1648275" y="1369125"/>
              <a:ext cx="6400" cy="3000"/>
            </a:xfrm>
            <a:custGeom>
              <a:avLst/>
              <a:gdLst/>
              <a:ahLst/>
              <a:cxnLst/>
              <a:rect l="l" t="t" r="r" b="b"/>
              <a:pathLst>
                <a:path w="256" h="120" extrusionOk="0">
                  <a:moveTo>
                    <a:pt x="0" y="0"/>
                  </a:moveTo>
                  <a:lnTo>
                    <a:pt x="0" y="120"/>
                  </a:lnTo>
                  <a:lnTo>
                    <a:pt x="256" y="12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655950" y="1369125"/>
              <a:ext cx="6525" cy="3000"/>
            </a:xfrm>
            <a:custGeom>
              <a:avLst/>
              <a:gdLst/>
              <a:ahLst/>
              <a:cxnLst/>
              <a:rect l="l" t="t" r="r" b="b"/>
              <a:pathLst>
                <a:path w="261" h="120" extrusionOk="0">
                  <a:moveTo>
                    <a:pt x="1" y="0"/>
                  </a:moveTo>
                  <a:lnTo>
                    <a:pt x="1" y="120"/>
                  </a:lnTo>
                  <a:lnTo>
                    <a:pt x="260" y="120"/>
                  </a:lnTo>
                  <a:lnTo>
                    <a:pt x="260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3" name="Google Shape;1093;p38"/>
            <p:cNvSpPr/>
            <p:nvPr/>
          </p:nvSpPr>
          <p:spPr>
            <a:xfrm>
              <a:off x="1651900" y="1373500"/>
              <a:ext cx="6525" cy="3325"/>
            </a:xfrm>
            <a:custGeom>
              <a:avLst/>
              <a:gdLst/>
              <a:ahLst/>
              <a:cxnLst/>
              <a:rect l="l" t="t" r="r" b="b"/>
              <a:pathLst>
                <a:path w="261" h="133" extrusionOk="0">
                  <a:moveTo>
                    <a:pt x="1" y="0"/>
                  </a:moveTo>
                  <a:lnTo>
                    <a:pt x="1" y="133"/>
                  </a:lnTo>
                  <a:lnTo>
                    <a:pt x="260" y="133"/>
                  </a:lnTo>
                  <a:lnTo>
                    <a:pt x="260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4" name="Google Shape;1094;p38"/>
            <p:cNvSpPr/>
            <p:nvPr/>
          </p:nvSpPr>
          <p:spPr>
            <a:xfrm>
              <a:off x="1667450" y="1390650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1659675" y="1390650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6" name="Google Shape;1096;p38"/>
            <p:cNvSpPr/>
            <p:nvPr/>
          </p:nvSpPr>
          <p:spPr>
            <a:xfrm>
              <a:off x="1663400" y="1386275"/>
              <a:ext cx="6750" cy="3125"/>
            </a:xfrm>
            <a:custGeom>
              <a:avLst/>
              <a:gdLst/>
              <a:ahLst/>
              <a:cxnLst/>
              <a:rect l="l" t="t" r="r" b="b"/>
              <a:pathLst>
                <a:path w="270" h="125" extrusionOk="0">
                  <a:moveTo>
                    <a:pt x="1" y="1"/>
                  </a:moveTo>
                  <a:lnTo>
                    <a:pt x="1" y="124"/>
                  </a:lnTo>
                  <a:lnTo>
                    <a:pt x="270" y="124"/>
                  </a:lnTo>
                  <a:lnTo>
                    <a:pt x="270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7" name="Google Shape;1097;p38"/>
            <p:cNvSpPr/>
            <p:nvPr/>
          </p:nvSpPr>
          <p:spPr>
            <a:xfrm>
              <a:off x="1663075" y="1433500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1655300" y="1433500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9" name="Google Shape;1099;p38"/>
            <p:cNvSpPr/>
            <p:nvPr/>
          </p:nvSpPr>
          <p:spPr>
            <a:xfrm>
              <a:off x="1659350" y="1429125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0" name="Google Shape;1100;p38"/>
            <p:cNvSpPr/>
            <p:nvPr/>
          </p:nvSpPr>
          <p:spPr>
            <a:xfrm>
              <a:off x="1648900" y="1409200"/>
              <a:ext cx="6425" cy="3425"/>
            </a:xfrm>
            <a:custGeom>
              <a:avLst/>
              <a:gdLst/>
              <a:ahLst/>
              <a:cxnLst/>
              <a:rect l="l" t="t" r="r" b="b"/>
              <a:pathLst>
                <a:path w="257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57" y="137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1656700" y="1409200"/>
              <a:ext cx="6400" cy="3425"/>
            </a:xfrm>
            <a:custGeom>
              <a:avLst/>
              <a:gdLst/>
              <a:ahLst/>
              <a:cxnLst/>
              <a:rect l="l" t="t" r="r" b="b"/>
              <a:pathLst>
                <a:path w="256" h="137" extrusionOk="0">
                  <a:moveTo>
                    <a:pt x="0" y="1"/>
                  </a:moveTo>
                  <a:lnTo>
                    <a:pt x="0" y="137"/>
                  </a:lnTo>
                  <a:lnTo>
                    <a:pt x="256" y="137"/>
                  </a:lnTo>
                  <a:lnTo>
                    <a:pt x="256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2" name="Google Shape;1102;p38"/>
            <p:cNvSpPr/>
            <p:nvPr/>
          </p:nvSpPr>
          <p:spPr>
            <a:xfrm>
              <a:off x="1664050" y="1409200"/>
              <a:ext cx="6525" cy="3425"/>
            </a:xfrm>
            <a:custGeom>
              <a:avLst/>
              <a:gdLst/>
              <a:ahLst/>
              <a:cxnLst/>
              <a:rect l="l" t="t" r="r" b="b"/>
              <a:pathLst>
                <a:path w="261" h="137" extrusionOk="0">
                  <a:moveTo>
                    <a:pt x="1" y="1"/>
                  </a:moveTo>
                  <a:lnTo>
                    <a:pt x="1" y="137"/>
                  </a:lnTo>
                  <a:lnTo>
                    <a:pt x="260" y="137"/>
                  </a:lnTo>
                  <a:lnTo>
                    <a:pt x="260" y="1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3" name="Google Shape;1103;p38"/>
            <p:cNvSpPr/>
            <p:nvPr/>
          </p:nvSpPr>
          <p:spPr>
            <a:xfrm>
              <a:off x="1652650" y="1413675"/>
              <a:ext cx="6400" cy="3325"/>
            </a:xfrm>
            <a:custGeom>
              <a:avLst/>
              <a:gdLst/>
              <a:ahLst/>
              <a:cxnLst/>
              <a:rect l="l" t="t" r="r" b="b"/>
              <a:pathLst>
                <a:path w="256" h="133" extrusionOk="0">
                  <a:moveTo>
                    <a:pt x="0" y="0"/>
                  </a:moveTo>
                  <a:lnTo>
                    <a:pt x="0" y="133"/>
                  </a:lnTo>
                  <a:lnTo>
                    <a:pt x="256" y="133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4" name="Google Shape;1104;p38"/>
            <p:cNvSpPr/>
            <p:nvPr/>
          </p:nvSpPr>
          <p:spPr>
            <a:xfrm>
              <a:off x="1660000" y="1413675"/>
              <a:ext cx="6825" cy="3325"/>
            </a:xfrm>
            <a:custGeom>
              <a:avLst/>
              <a:gdLst/>
              <a:ahLst/>
              <a:cxnLst/>
              <a:rect l="l" t="t" r="r" b="b"/>
              <a:pathLst>
                <a:path w="273" h="133" extrusionOk="0">
                  <a:moveTo>
                    <a:pt x="1" y="0"/>
                  </a:moveTo>
                  <a:lnTo>
                    <a:pt x="1" y="133"/>
                  </a:lnTo>
                  <a:lnTo>
                    <a:pt x="273" y="13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rgbClr val="C456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5" name="Google Shape;1105;p38"/>
            <p:cNvSpPr/>
            <p:nvPr/>
          </p:nvSpPr>
          <p:spPr>
            <a:xfrm>
              <a:off x="1569300" y="1378825"/>
              <a:ext cx="34450" cy="102325"/>
            </a:xfrm>
            <a:custGeom>
              <a:avLst/>
              <a:gdLst/>
              <a:ahLst/>
              <a:cxnLst/>
              <a:rect l="l" t="t" r="r" b="b"/>
              <a:pathLst>
                <a:path w="1378" h="4093" extrusionOk="0">
                  <a:moveTo>
                    <a:pt x="606" y="367"/>
                  </a:moveTo>
                  <a:lnTo>
                    <a:pt x="606" y="1002"/>
                  </a:lnTo>
                  <a:lnTo>
                    <a:pt x="512" y="1002"/>
                  </a:lnTo>
                  <a:lnTo>
                    <a:pt x="606" y="367"/>
                  </a:lnTo>
                  <a:close/>
                  <a:moveTo>
                    <a:pt x="661" y="312"/>
                  </a:moveTo>
                  <a:lnTo>
                    <a:pt x="794" y="1002"/>
                  </a:lnTo>
                  <a:lnTo>
                    <a:pt x="661" y="1002"/>
                  </a:lnTo>
                  <a:lnTo>
                    <a:pt x="661" y="312"/>
                  </a:lnTo>
                  <a:close/>
                  <a:moveTo>
                    <a:pt x="606" y="1054"/>
                  </a:moveTo>
                  <a:lnTo>
                    <a:pt x="606" y="1663"/>
                  </a:lnTo>
                  <a:lnTo>
                    <a:pt x="418" y="1663"/>
                  </a:lnTo>
                  <a:lnTo>
                    <a:pt x="512" y="1054"/>
                  </a:lnTo>
                  <a:close/>
                  <a:moveTo>
                    <a:pt x="794" y="1054"/>
                  </a:moveTo>
                  <a:lnTo>
                    <a:pt x="904" y="1663"/>
                  </a:lnTo>
                  <a:lnTo>
                    <a:pt x="661" y="1663"/>
                  </a:lnTo>
                  <a:lnTo>
                    <a:pt x="661" y="1054"/>
                  </a:lnTo>
                  <a:close/>
                  <a:moveTo>
                    <a:pt x="606" y="1718"/>
                  </a:moveTo>
                  <a:lnTo>
                    <a:pt x="606" y="2499"/>
                  </a:lnTo>
                  <a:lnTo>
                    <a:pt x="282" y="2499"/>
                  </a:lnTo>
                  <a:lnTo>
                    <a:pt x="405" y="1718"/>
                  </a:lnTo>
                  <a:close/>
                  <a:moveTo>
                    <a:pt x="917" y="1718"/>
                  </a:moveTo>
                  <a:lnTo>
                    <a:pt x="1066" y="2499"/>
                  </a:lnTo>
                  <a:lnTo>
                    <a:pt x="661" y="2499"/>
                  </a:lnTo>
                  <a:lnTo>
                    <a:pt x="661" y="1718"/>
                  </a:lnTo>
                  <a:close/>
                  <a:moveTo>
                    <a:pt x="606" y="2554"/>
                  </a:moveTo>
                  <a:lnTo>
                    <a:pt x="606" y="4038"/>
                  </a:lnTo>
                  <a:lnTo>
                    <a:pt x="52" y="4038"/>
                  </a:lnTo>
                  <a:lnTo>
                    <a:pt x="282" y="2554"/>
                  </a:lnTo>
                  <a:close/>
                  <a:moveTo>
                    <a:pt x="606" y="1"/>
                  </a:moveTo>
                  <a:lnTo>
                    <a:pt x="0" y="4093"/>
                  </a:lnTo>
                  <a:lnTo>
                    <a:pt x="661" y="4093"/>
                  </a:lnTo>
                  <a:lnTo>
                    <a:pt x="661" y="2554"/>
                  </a:lnTo>
                  <a:lnTo>
                    <a:pt x="1066" y="2554"/>
                  </a:lnTo>
                  <a:lnTo>
                    <a:pt x="1322" y="3931"/>
                  </a:lnTo>
                  <a:lnTo>
                    <a:pt x="1377" y="3918"/>
                  </a:lnTo>
                  <a:lnTo>
                    <a:pt x="661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6" name="Google Shape;1106;p38"/>
            <p:cNvSpPr/>
            <p:nvPr/>
          </p:nvSpPr>
          <p:spPr>
            <a:xfrm>
              <a:off x="1573975" y="1380525"/>
              <a:ext cx="10475" cy="10475"/>
            </a:xfrm>
            <a:custGeom>
              <a:avLst/>
              <a:gdLst/>
              <a:ahLst/>
              <a:cxnLst/>
              <a:rect l="l" t="t" r="r" b="b"/>
              <a:pathLst>
                <a:path w="419" h="419" extrusionOk="0">
                  <a:moveTo>
                    <a:pt x="364" y="1"/>
                  </a:moveTo>
                  <a:lnTo>
                    <a:pt x="1" y="205"/>
                  </a:lnTo>
                  <a:lnTo>
                    <a:pt x="69" y="312"/>
                  </a:lnTo>
                  <a:lnTo>
                    <a:pt x="299" y="124"/>
                  </a:lnTo>
                  <a:lnTo>
                    <a:pt x="95" y="338"/>
                  </a:lnTo>
                  <a:lnTo>
                    <a:pt x="202" y="419"/>
                  </a:lnTo>
                  <a:lnTo>
                    <a:pt x="419" y="56"/>
                  </a:lnTo>
                  <a:cubicBezTo>
                    <a:pt x="393" y="43"/>
                    <a:pt x="380" y="30"/>
                    <a:pt x="364" y="1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7" name="Google Shape;1107;p38"/>
            <p:cNvSpPr/>
            <p:nvPr/>
          </p:nvSpPr>
          <p:spPr>
            <a:xfrm>
              <a:off x="1572275" y="1366675"/>
              <a:ext cx="26350" cy="24750"/>
            </a:xfrm>
            <a:custGeom>
              <a:avLst/>
              <a:gdLst/>
              <a:ahLst/>
              <a:cxnLst/>
              <a:rect l="l" t="t" r="r" b="b"/>
              <a:pathLst>
                <a:path w="1054" h="990" extrusionOk="0">
                  <a:moveTo>
                    <a:pt x="529" y="419"/>
                  </a:moveTo>
                  <a:lnTo>
                    <a:pt x="529" y="422"/>
                  </a:lnTo>
                  <a:lnTo>
                    <a:pt x="529" y="419"/>
                  </a:lnTo>
                  <a:lnTo>
                    <a:pt x="529" y="419"/>
                  </a:lnTo>
                  <a:cubicBezTo>
                    <a:pt x="529" y="419"/>
                    <a:pt x="529" y="419"/>
                    <a:pt x="529" y="419"/>
                  </a:cubicBezTo>
                  <a:close/>
                  <a:moveTo>
                    <a:pt x="487" y="1"/>
                  </a:moveTo>
                  <a:lnTo>
                    <a:pt x="380" y="17"/>
                  </a:lnTo>
                  <a:lnTo>
                    <a:pt x="474" y="380"/>
                  </a:lnTo>
                  <a:lnTo>
                    <a:pt x="286" y="56"/>
                  </a:lnTo>
                  <a:lnTo>
                    <a:pt x="189" y="124"/>
                  </a:lnTo>
                  <a:lnTo>
                    <a:pt x="432" y="422"/>
                  </a:lnTo>
                  <a:lnTo>
                    <a:pt x="137" y="163"/>
                  </a:lnTo>
                  <a:lnTo>
                    <a:pt x="69" y="260"/>
                  </a:lnTo>
                  <a:lnTo>
                    <a:pt x="419" y="474"/>
                  </a:lnTo>
                  <a:lnTo>
                    <a:pt x="419" y="474"/>
                  </a:lnTo>
                  <a:lnTo>
                    <a:pt x="27" y="367"/>
                  </a:lnTo>
                  <a:lnTo>
                    <a:pt x="14" y="474"/>
                  </a:lnTo>
                  <a:lnTo>
                    <a:pt x="338" y="516"/>
                  </a:lnTo>
                  <a:lnTo>
                    <a:pt x="1" y="542"/>
                  </a:lnTo>
                  <a:lnTo>
                    <a:pt x="14" y="665"/>
                  </a:lnTo>
                  <a:lnTo>
                    <a:pt x="432" y="555"/>
                  </a:lnTo>
                  <a:cubicBezTo>
                    <a:pt x="432" y="542"/>
                    <a:pt x="419" y="542"/>
                    <a:pt x="419" y="529"/>
                  </a:cubicBezTo>
                  <a:cubicBezTo>
                    <a:pt x="419" y="474"/>
                    <a:pt x="448" y="422"/>
                    <a:pt x="500" y="422"/>
                  </a:cubicBezTo>
                  <a:cubicBezTo>
                    <a:pt x="508" y="420"/>
                    <a:pt x="516" y="419"/>
                    <a:pt x="524" y="419"/>
                  </a:cubicBezTo>
                  <a:cubicBezTo>
                    <a:pt x="526" y="419"/>
                    <a:pt x="527" y="419"/>
                    <a:pt x="529" y="419"/>
                  </a:cubicBezTo>
                  <a:lnTo>
                    <a:pt x="529" y="419"/>
                  </a:lnTo>
                  <a:lnTo>
                    <a:pt x="487" y="1"/>
                  </a:lnTo>
                  <a:close/>
                  <a:moveTo>
                    <a:pt x="568" y="1"/>
                  </a:moveTo>
                  <a:lnTo>
                    <a:pt x="529" y="419"/>
                  </a:lnTo>
                  <a:lnTo>
                    <a:pt x="529" y="419"/>
                  </a:lnTo>
                  <a:cubicBezTo>
                    <a:pt x="573" y="421"/>
                    <a:pt x="610" y="458"/>
                    <a:pt x="610" y="503"/>
                  </a:cubicBezTo>
                  <a:cubicBezTo>
                    <a:pt x="623" y="542"/>
                    <a:pt x="594" y="584"/>
                    <a:pt x="555" y="610"/>
                  </a:cubicBezTo>
                  <a:lnTo>
                    <a:pt x="772" y="989"/>
                  </a:lnTo>
                  <a:lnTo>
                    <a:pt x="866" y="921"/>
                  </a:lnTo>
                  <a:lnTo>
                    <a:pt x="649" y="649"/>
                  </a:lnTo>
                  <a:lnTo>
                    <a:pt x="905" y="866"/>
                  </a:lnTo>
                  <a:lnTo>
                    <a:pt x="973" y="772"/>
                  </a:lnTo>
                  <a:lnTo>
                    <a:pt x="636" y="568"/>
                  </a:lnTo>
                  <a:lnTo>
                    <a:pt x="1028" y="678"/>
                  </a:lnTo>
                  <a:lnTo>
                    <a:pt x="1054" y="555"/>
                  </a:lnTo>
                  <a:lnTo>
                    <a:pt x="649" y="516"/>
                  </a:lnTo>
                  <a:lnTo>
                    <a:pt x="1041" y="487"/>
                  </a:lnTo>
                  <a:lnTo>
                    <a:pt x="1015" y="367"/>
                  </a:lnTo>
                  <a:lnTo>
                    <a:pt x="662" y="461"/>
                  </a:lnTo>
                  <a:lnTo>
                    <a:pt x="662" y="461"/>
                  </a:lnTo>
                  <a:lnTo>
                    <a:pt x="986" y="286"/>
                  </a:lnTo>
                  <a:lnTo>
                    <a:pt x="918" y="179"/>
                  </a:lnTo>
                  <a:lnTo>
                    <a:pt x="594" y="448"/>
                  </a:lnTo>
                  <a:lnTo>
                    <a:pt x="866" y="137"/>
                  </a:lnTo>
                  <a:lnTo>
                    <a:pt x="772" y="56"/>
                  </a:lnTo>
                  <a:lnTo>
                    <a:pt x="581" y="367"/>
                  </a:lnTo>
                  <a:lnTo>
                    <a:pt x="691" y="30"/>
                  </a:lnTo>
                  <a:lnTo>
                    <a:pt x="568" y="1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8" name="Google Shape;1108;p38"/>
            <p:cNvSpPr/>
            <p:nvPr/>
          </p:nvSpPr>
          <p:spPr>
            <a:xfrm>
              <a:off x="1581775" y="1381900"/>
              <a:ext cx="7050" cy="10800"/>
            </a:xfrm>
            <a:custGeom>
              <a:avLst/>
              <a:gdLst/>
              <a:ahLst/>
              <a:cxnLst/>
              <a:rect l="l" t="t" r="r" b="b"/>
              <a:pathLst>
                <a:path w="282" h="432" extrusionOk="0">
                  <a:moveTo>
                    <a:pt x="107" y="1"/>
                  </a:moveTo>
                  <a:lnTo>
                    <a:pt x="0" y="406"/>
                  </a:lnTo>
                  <a:lnTo>
                    <a:pt x="107" y="432"/>
                  </a:lnTo>
                  <a:lnTo>
                    <a:pt x="133" y="121"/>
                  </a:lnTo>
                  <a:lnTo>
                    <a:pt x="162" y="419"/>
                  </a:lnTo>
                  <a:lnTo>
                    <a:pt x="282" y="406"/>
                  </a:lnTo>
                  <a:lnTo>
                    <a:pt x="175" y="1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9" name="Google Shape;1109;p38"/>
            <p:cNvSpPr/>
            <p:nvPr/>
          </p:nvSpPr>
          <p:spPr>
            <a:xfrm>
              <a:off x="1586125" y="1381600"/>
              <a:ext cx="25" cy="325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3"/>
                  </a:moveTo>
                  <a:lnTo>
                    <a:pt x="1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0" name="Google Shape;1110;p38"/>
            <p:cNvSpPr/>
            <p:nvPr/>
          </p:nvSpPr>
          <p:spPr>
            <a:xfrm>
              <a:off x="1619925" y="1424750"/>
              <a:ext cx="325" cy="1425"/>
            </a:xfrm>
            <a:custGeom>
              <a:avLst/>
              <a:gdLst/>
              <a:ahLst/>
              <a:cxnLst/>
              <a:rect l="l" t="t" r="r" b="b"/>
              <a:pathLst>
                <a:path w="13" h="57" extrusionOk="0">
                  <a:moveTo>
                    <a:pt x="0" y="56"/>
                  </a:moveTo>
                  <a:cubicBezTo>
                    <a:pt x="0" y="56"/>
                    <a:pt x="0" y="27"/>
                    <a:pt x="13" y="1"/>
                  </a:cubicBezTo>
                  <a:cubicBezTo>
                    <a:pt x="0" y="27"/>
                    <a:pt x="0" y="56"/>
                    <a:pt x="0" y="56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1" name="Google Shape;1111;p38"/>
            <p:cNvSpPr/>
            <p:nvPr/>
          </p:nvSpPr>
          <p:spPr>
            <a:xfrm>
              <a:off x="1608825" y="1417725"/>
              <a:ext cx="23150" cy="17575"/>
            </a:xfrm>
            <a:custGeom>
              <a:avLst/>
              <a:gdLst/>
              <a:ahLst/>
              <a:cxnLst/>
              <a:rect l="l" t="t" r="r" b="b"/>
              <a:pathLst>
                <a:path w="926" h="703" extrusionOk="0">
                  <a:moveTo>
                    <a:pt x="347" y="175"/>
                  </a:moveTo>
                  <a:cubicBezTo>
                    <a:pt x="336" y="186"/>
                    <a:pt x="325" y="197"/>
                    <a:pt x="313" y="200"/>
                  </a:cubicBezTo>
                  <a:lnTo>
                    <a:pt x="313" y="200"/>
                  </a:lnTo>
                  <a:cubicBezTo>
                    <a:pt x="323" y="192"/>
                    <a:pt x="333" y="182"/>
                    <a:pt x="347" y="175"/>
                  </a:cubicBezTo>
                  <a:close/>
                  <a:moveTo>
                    <a:pt x="509" y="146"/>
                  </a:moveTo>
                  <a:cubicBezTo>
                    <a:pt x="537" y="186"/>
                    <a:pt x="586" y="251"/>
                    <a:pt x="615" y="279"/>
                  </a:cubicBezTo>
                  <a:lnTo>
                    <a:pt x="615" y="279"/>
                  </a:lnTo>
                  <a:cubicBezTo>
                    <a:pt x="573" y="240"/>
                    <a:pt x="508" y="188"/>
                    <a:pt x="483" y="175"/>
                  </a:cubicBezTo>
                  <a:lnTo>
                    <a:pt x="483" y="162"/>
                  </a:lnTo>
                  <a:cubicBezTo>
                    <a:pt x="496" y="175"/>
                    <a:pt x="525" y="175"/>
                    <a:pt x="525" y="188"/>
                  </a:cubicBezTo>
                  <a:cubicBezTo>
                    <a:pt x="527" y="190"/>
                    <a:pt x="529" y="191"/>
                    <a:pt x="530" y="191"/>
                  </a:cubicBezTo>
                  <a:cubicBezTo>
                    <a:pt x="533" y="191"/>
                    <a:pt x="522" y="170"/>
                    <a:pt x="509" y="146"/>
                  </a:cubicBezTo>
                  <a:close/>
                  <a:moveTo>
                    <a:pt x="428" y="162"/>
                  </a:moveTo>
                  <a:lnTo>
                    <a:pt x="428" y="162"/>
                  </a:lnTo>
                  <a:cubicBezTo>
                    <a:pt x="407" y="183"/>
                    <a:pt x="394" y="204"/>
                    <a:pt x="397" y="204"/>
                  </a:cubicBezTo>
                  <a:cubicBezTo>
                    <a:pt x="398" y="204"/>
                    <a:pt x="400" y="203"/>
                    <a:pt x="402" y="201"/>
                  </a:cubicBezTo>
                  <a:cubicBezTo>
                    <a:pt x="415" y="188"/>
                    <a:pt x="428" y="188"/>
                    <a:pt x="444" y="175"/>
                  </a:cubicBezTo>
                  <a:lnTo>
                    <a:pt x="444" y="188"/>
                  </a:lnTo>
                  <a:cubicBezTo>
                    <a:pt x="415" y="201"/>
                    <a:pt x="347" y="256"/>
                    <a:pt x="321" y="295"/>
                  </a:cubicBezTo>
                  <a:cubicBezTo>
                    <a:pt x="347" y="256"/>
                    <a:pt x="389" y="201"/>
                    <a:pt x="428" y="162"/>
                  </a:cubicBezTo>
                  <a:close/>
                  <a:moveTo>
                    <a:pt x="496" y="0"/>
                  </a:moveTo>
                  <a:cubicBezTo>
                    <a:pt x="496" y="0"/>
                    <a:pt x="201" y="146"/>
                    <a:pt x="240" y="146"/>
                  </a:cubicBezTo>
                  <a:cubicBezTo>
                    <a:pt x="244" y="146"/>
                    <a:pt x="247" y="146"/>
                    <a:pt x="249" y="145"/>
                  </a:cubicBezTo>
                  <a:lnTo>
                    <a:pt x="249" y="145"/>
                  </a:lnTo>
                  <a:cubicBezTo>
                    <a:pt x="194" y="185"/>
                    <a:pt x="107" y="227"/>
                    <a:pt x="133" y="227"/>
                  </a:cubicBezTo>
                  <a:cubicBezTo>
                    <a:pt x="185" y="214"/>
                    <a:pt x="214" y="201"/>
                    <a:pt x="214" y="201"/>
                  </a:cubicBezTo>
                  <a:lnTo>
                    <a:pt x="214" y="201"/>
                  </a:lnTo>
                  <a:cubicBezTo>
                    <a:pt x="214" y="201"/>
                    <a:pt x="52" y="308"/>
                    <a:pt x="78" y="308"/>
                  </a:cubicBezTo>
                  <a:cubicBezTo>
                    <a:pt x="104" y="295"/>
                    <a:pt x="308" y="146"/>
                    <a:pt x="308" y="146"/>
                  </a:cubicBezTo>
                  <a:lnTo>
                    <a:pt x="308" y="146"/>
                  </a:lnTo>
                  <a:cubicBezTo>
                    <a:pt x="308" y="146"/>
                    <a:pt x="257" y="219"/>
                    <a:pt x="271" y="219"/>
                  </a:cubicBezTo>
                  <a:cubicBezTo>
                    <a:pt x="273" y="219"/>
                    <a:pt x="277" y="218"/>
                    <a:pt x="282" y="214"/>
                  </a:cubicBezTo>
                  <a:cubicBezTo>
                    <a:pt x="287" y="214"/>
                    <a:pt x="291" y="213"/>
                    <a:pt x="294" y="212"/>
                  </a:cubicBezTo>
                  <a:lnTo>
                    <a:pt x="294" y="212"/>
                  </a:lnTo>
                  <a:cubicBezTo>
                    <a:pt x="228" y="265"/>
                    <a:pt x="148" y="324"/>
                    <a:pt x="172" y="324"/>
                  </a:cubicBezTo>
                  <a:cubicBezTo>
                    <a:pt x="198" y="314"/>
                    <a:pt x="223" y="300"/>
                    <a:pt x="241" y="288"/>
                  </a:cubicBezTo>
                  <a:lnTo>
                    <a:pt x="241" y="288"/>
                  </a:lnTo>
                  <a:cubicBezTo>
                    <a:pt x="173" y="346"/>
                    <a:pt x="1" y="512"/>
                    <a:pt x="20" y="512"/>
                  </a:cubicBezTo>
                  <a:cubicBezTo>
                    <a:pt x="21" y="512"/>
                    <a:pt x="22" y="512"/>
                    <a:pt x="23" y="512"/>
                  </a:cubicBezTo>
                  <a:cubicBezTo>
                    <a:pt x="52" y="499"/>
                    <a:pt x="253" y="308"/>
                    <a:pt x="253" y="308"/>
                  </a:cubicBezTo>
                  <a:lnTo>
                    <a:pt x="253" y="308"/>
                  </a:lnTo>
                  <a:cubicBezTo>
                    <a:pt x="253" y="308"/>
                    <a:pt x="167" y="445"/>
                    <a:pt x="182" y="445"/>
                  </a:cubicBezTo>
                  <a:cubicBezTo>
                    <a:pt x="183" y="445"/>
                    <a:pt x="184" y="444"/>
                    <a:pt x="185" y="444"/>
                  </a:cubicBezTo>
                  <a:cubicBezTo>
                    <a:pt x="201" y="418"/>
                    <a:pt x="266" y="337"/>
                    <a:pt x="295" y="295"/>
                  </a:cubicBezTo>
                  <a:lnTo>
                    <a:pt x="295" y="295"/>
                  </a:lnTo>
                  <a:cubicBezTo>
                    <a:pt x="295" y="308"/>
                    <a:pt x="282" y="324"/>
                    <a:pt x="282" y="324"/>
                  </a:cubicBezTo>
                  <a:lnTo>
                    <a:pt x="295" y="324"/>
                  </a:lnTo>
                  <a:cubicBezTo>
                    <a:pt x="308" y="324"/>
                    <a:pt x="363" y="269"/>
                    <a:pt x="363" y="269"/>
                  </a:cubicBezTo>
                  <a:lnTo>
                    <a:pt x="363" y="269"/>
                  </a:lnTo>
                  <a:cubicBezTo>
                    <a:pt x="363" y="269"/>
                    <a:pt x="208" y="538"/>
                    <a:pt x="238" y="538"/>
                  </a:cubicBezTo>
                  <a:cubicBezTo>
                    <a:pt x="238" y="538"/>
                    <a:pt x="239" y="538"/>
                    <a:pt x="240" y="538"/>
                  </a:cubicBezTo>
                  <a:cubicBezTo>
                    <a:pt x="253" y="512"/>
                    <a:pt x="295" y="457"/>
                    <a:pt x="321" y="418"/>
                  </a:cubicBezTo>
                  <a:lnTo>
                    <a:pt x="321" y="418"/>
                  </a:lnTo>
                  <a:cubicBezTo>
                    <a:pt x="269" y="506"/>
                    <a:pt x="161" y="703"/>
                    <a:pt x="169" y="703"/>
                  </a:cubicBezTo>
                  <a:cubicBezTo>
                    <a:pt x="169" y="703"/>
                    <a:pt x="170" y="702"/>
                    <a:pt x="172" y="700"/>
                  </a:cubicBezTo>
                  <a:cubicBezTo>
                    <a:pt x="214" y="661"/>
                    <a:pt x="402" y="308"/>
                    <a:pt x="402" y="308"/>
                  </a:cubicBezTo>
                  <a:lnTo>
                    <a:pt x="402" y="308"/>
                  </a:lnTo>
                  <a:cubicBezTo>
                    <a:pt x="402" y="308"/>
                    <a:pt x="367" y="406"/>
                    <a:pt x="374" y="406"/>
                  </a:cubicBezTo>
                  <a:cubicBezTo>
                    <a:pt x="375" y="406"/>
                    <a:pt x="375" y="406"/>
                    <a:pt x="376" y="405"/>
                  </a:cubicBezTo>
                  <a:cubicBezTo>
                    <a:pt x="389" y="389"/>
                    <a:pt x="428" y="308"/>
                    <a:pt x="457" y="269"/>
                  </a:cubicBezTo>
                  <a:lnTo>
                    <a:pt x="457" y="243"/>
                  </a:lnTo>
                  <a:lnTo>
                    <a:pt x="470" y="243"/>
                  </a:lnTo>
                  <a:lnTo>
                    <a:pt x="457" y="227"/>
                  </a:lnTo>
                  <a:cubicBezTo>
                    <a:pt x="470" y="227"/>
                    <a:pt x="470" y="227"/>
                    <a:pt x="470" y="214"/>
                  </a:cubicBezTo>
                  <a:lnTo>
                    <a:pt x="470" y="243"/>
                  </a:lnTo>
                  <a:cubicBezTo>
                    <a:pt x="470" y="256"/>
                    <a:pt x="457" y="256"/>
                    <a:pt x="457" y="269"/>
                  </a:cubicBezTo>
                  <a:lnTo>
                    <a:pt x="457" y="282"/>
                  </a:lnTo>
                  <a:cubicBezTo>
                    <a:pt x="457" y="269"/>
                    <a:pt x="457" y="256"/>
                    <a:pt x="470" y="256"/>
                  </a:cubicBezTo>
                  <a:cubicBezTo>
                    <a:pt x="496" y="295"/>
                    <a:pt x="538" y="376"/>
                    <a:pt x="551" y="389"/>
                  </a:cubicBezTo>
                  <a:cubicBezTo>
                    <a:pt x="552" y="390"/>
                    <a:pt x="552" y="390"/>
                    <a:pt x="553" y="390"/>
                  </a:cubicBezTo>
                  <a:cubicBezTo>
                    <a:pt x="559" y="390"/>
                    <a:pt x="525" y="295"/>
                    <a:pt x="525" y="295"/>
                  </a:cubicBezTo>
                  <a:lnTo>
                    <a:pt x="525" y="295"/>
                  </a:lnTo>
                  <a:cubicBezTo>
                    <a:pt x="525" y="295"/>
                    <a:pt x="713" y="648"/>
                    <a:pt x="752" y="687"/>
                  </a:cubicBezTo>
                  <a:cubicBezTo>
                    <a:pt x="753" y="688"/>
                    <a:pt x="755" y="689"/>
                    <a:pt x="755" y="689"/>
                  </a:cubicBezTo>
                  <a:cubicBezTo>
                    <a:pt x="767" y="689"/>
                    <a:pt x="655" y="494"/>
                    <a:pt x="606" y="405"/>
                  </a:cubicBezTo>
                  <a:lnTo>
                    <a:pt x="606" y="405"/>
                  </a:lnTo>
                  <a:cubicBezTo>
                    <a:pt x="632" y="444"/>
                    <a:pt x="671" y="512"/>
                    <a:pt x="700" y="525"/>
                  </a:cubicBezTo>
                  <a:cubicBezTo>
                    <a:pt x="701" y="526"/>
                    <a:pt x="702" y="527"/>
                    <a:pt x="702" y="527"/>
                  </a:cubicBezTo>
                  <a:cubicBezTo>
                    <a:pt x="713" y="527"/>
                    <a:pt x="564" y="256"/>
                    <a:pt x="564" y="256"/>
                  </a:cubicBezTo>
                  <a:lnTo>
                    <a:pt x="564" y="256"/>
                  </a:lnTo>
                  <a:cubicBezTo>
                    <a:pt x="564" y="256"/>
                    <a:pt x="619" y="308"/>
                    <a:pt x="645" y="324"/>
                  </a:cubicBezTo>
                  <a:lnTo>
                    <a:pt x="645" y="308"/>
                  </a:lnTo>
                  <a:cubicBezTo>
                    <a:pt x="645" y="308"/>
                    <a:pt x="645" y="304"/>
                    <a:pt x="643" y="299"/>
                  </a:cubicBezTo>
                  <a:lnTo>
                    <a:pt x="643" y="299"/>
                  </a:lnTo>
                  <a:cubicBezTo>
                    <a:pt x="674" y="346"/>
                    <a:pt x="729" y="420"/>
                    <a:pt x="752" y="431"/>
                  </a:cubicBezTo>
                  <a:cubicBezTo>
                    <a:pt x="753" y="432"/>
                    <a:pt x="753" y="432"/>
                    <a:pt x="753" y="432"/>
                  </a:cubicBezTo>
                  <a:cubicBezTo>
                    <a:pt x="759" y="432"/>
                    <a:pt x="671" y="308"/>
                    <a:pt x="671" y="308"/>
                  </a:cubicBezTo>
                  <a:lnTo>
                    <a:pt x="671" y="308"/>
                  </a:lnTo>
                  <a:cubicBezTo>
                    <a:pt x="671" y="308"/>
                    <a:pt x="875" y="486"/>
                    <a:pt x="901" y="499"/>
                  </a:cubicBezTo>
                  <a:cubicBezTo>
                    <a:pt x="902" y="499"/>
                    <a:pt x="903" y="500"/>
                    <a:pt x="904" y="500"/>
                  </a:cubicBezTo>
                  <a:cubicBezTo>
                    <a:pt x="926" y="500"/>
                    <a:pt x="751" y="339"/>
                    <a:pt x="690" y="278"/>
                  </a:cubicBezTo>
                  <a:lnTo>
                    <a:pt x="690" y="278"/>
                  </a:lnTo>
                  <a:cubicBezTo>
                    <a:pt x="706" y="289"/>
                    <a:pt x="729" y="300"/>
                    <a:pt x="752" y="308"/>
                  </a:cubicBezTo>
                  <a:cubicBezTo>
                    <a:pt x="756" y="309"/>
                    <a:pt x="758" y="310"/>
                    <a:pt x="760" y="310"/>
                  </a:cubicBezTo>
                  <a:cubicBezTo>
                    <a:pt x="775" y="310"/>
                    <a:pt x="681" y="239"/>
                    <a:pt x="619" y="201"/>
                  </a:cubicBezTo>
                  <a:lnTo>
                    <a:pt x="619" y="188"/>
                  </a:lnTo>
                  <a:cubicBezTo>
                    <a:pt x="619" y="201"/>
                    <a:pt x="632" y="201"/>
                    <a:pt x="645" y="201"/>
                  </a:cubicBezTo>
                  <a:cubicBezTo>
                    <a:pt x="652" y="204"/>
                    <a:pt x="656" y="205"/>
                    <a:pt x="659" y="205"/>
                  </a:cubicBezTo>
                  <a:cubicBezTo>
                    <a:pt x="682" y="205"/>
                    <a:pt x="619" y="133"/>
                    <a:pt x="619" y="133"/>
                  </a:cubicBezTo>
                  <a:lnTo>
                    <a:pt x="619" y="133"/>
                  </a:lnTo>
                  <a:cubicBezTo>
                    <a:pt x="619" y="133"/>
                    <a:pt x="820" y="282"/>
                    <a:pt x="849" y="295"/>
                  </a:cubicBezTo>
                  <a:cubicBezTo>
                    <a:pt x="875" y="295"/>
                    <a:pt x="713" y="188"/>
                    <a:pt x="713" y="188"/>
                  </a:cubicBezTo>
                  <a:lnTo>
                    <a:pt x="713" y="188"/>
                  </a:lnTo>
                  <a:lnTo>
                    <a:pt x="794" y="214"/>
                  </a:lnTo>
                  <a:cubicBezTo>
                    <a:pt x="820" y="214"/>
                    <a:pt x="713" y="162"/>
                    <a:pt x="658" y="133"/>
                  </a:cubicBezTo>
                  <a:lnTo>
                    <a:pt x="687" y="133"/>
                  </a:lnTo>
                  <a:cubicBezTo>
                    <a:pt x="726" y="133"/>
                    <a:pt x="496" y="0"/>
                    <a:pt x="496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2" name="Google Shape;1112;p38"/>
            <p:cNvSpPr/>
            <p:nvPr/>
          </p:nvSpPr>
          <p:spPr>
            <a:xfrm>
              <a:off x="1620550" y="1424750"/>
              <a:ext cx="675" cy="1100"/>
            </a:xfrm>
            <a:custGeom>
              <a:avLst/>
              <a:gdLst/>
              <a:ahLst/>
              <a:cxnLst/>
              <a:rect l="l" t="t" r="r" b="b"/>
              <a:pathLst>
                <a:path w="27" h="44" extrusionOk="0">
                  <a:moveTo>
                    <a:pt x="1" y="1"/>
                  </a:moveTo>
                  <a:lnTo>
                    <a:pt x="1" y="1"/>
                  </a:lnTo>
                  <a:cubicBezTo>
                    <a:pt x="14" y="27"/>
                    <a:pt x="14" y="43"/>
                    <a:pt x="14" y="43"/>
                  </a:cubicBezTo>
                  <a:cubicBezTo>
                    <a:pt x="27" y="43"/>
                    <a:pt x="14" y="14"/>
                    <a:pt x="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3" name="Google Shape;1113;p38"/>
            <p:cNvSpPr/>
            <p:nvPr/>
          </p:nvSpPr>
          <p:spPr>
            <a:xfrm>
              <a:off x="1619500" y="1429450"/>
              <a:ext cx="750" cy="1400"/>
            </a:xfrm>
            <a:custGeom>
              <a:avLst/>
              <a:gdLst/>
              <a:ahLst/>
              <a:cxnLst/>
              <a:rect l="l" t="t" r="r" b="b"/>
              <a:pathLst>
                <a:path w="30" h="56" extrusionOk="0">
                  <a:moveTo>
                    <a:pt x="30" y="1"/>
                  </a:moveTo>
                  <a:cubicBezTo>
                    <a:pt x="17" y="30"/>
                    <a:pt x="1" y="56"/>
                    <a:pt x="1" y="56"/>
                  </a:cubicBezTo>
                  <a:cubicBezTo>
                    <a:pt x="17" y="56"/>
                    <a:pt x="17" y="30"/>
                    <a:pt x="3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4" name="Google Shape;1114;p38"/>
            <p:cNvSpPr/>
            <p:nvPr/>
          </p:nvSpPr>
          <p:spPr>
            <a:xfrm>
              <a:off x="1605700" y="1420375"/>
              <a:ext cx="29300" cy="22075"/>
            </a:xfrm>
            <a:custGeom>
              <a:avLst/>
              <a:gdLst/>
              <a:ahLst/>
              <a:cxnLst/>
              <a:rect l="l" t="t" r="r" b="b"/>
              <a:pathLst>
                <a:path w="1172" h="883" extrusionOk="0">
                  <a:moveTo>
                    <a:pt x="406" y="250"/>
                  </a:moveTo>
                  <a:cubicBezTo>
                    <a:pt x="403" y="252"/>
                    <a:pt x="401" y="254"/>
                    <a:pt x="398" y="255"/>
                  </a:cubicBezTo>
                  <a:lnTo>
                    <a:pt x="398" y="255"/>
                  </a:lnTo>
                  <a:cubicBezTo>
                    <a:pt x="401" y="254"/>
                    <a:pt x="403" y="252"/>
                    <a:pt x="406" y="250"/>
                  </a:cubicBezTo>
                  <a:close/>
                  <a:moveTo>
                    <a:pt x="595" y="312"/>
                  </a:moveTo>
                  <a:cubicBezTo>
                    <a:pt x="595" y="325"/>
                    <a:pt x="595" y="338"/>
                    <a:pt x="608" y="351"/>
                  </a:cubicBezTo>
                  <a:cubicBezTo>
                    <a:pt x="608" y="338"/>
                    <a:pt x="595" y="325"/>
                    <a:pt x="595" y="312"/>
                  </a:cubicBezTo>
                  <a:close/>
                  <a:moveTo>
                    <a:pt x="634" y="189"/>
                  </a:moveTo>
                  <a:lnTo>
                    <a:pt x="634" y="189"/>
                  </a:lnTo>
                  <a:cubicBezTo>
                    <a:pt x="689" y="244"/>
                    <a:pt x="744" y="312"/>
                    <a:pt x="783" y="351"/>
                  </a:cubicBezTo>
                  <a:cubicBezTo>
                    <a:pt x="731" y="312"/>
                    <a:pt x="650" y="231"/>
                    <a:pt x="621" y="218"/>
                  </a:cubicBezTo>
                  <a:lnTo>
                    <a:pt x="621" y="202"/>
                  </a:lnTo>
                  <a:cubicBezTo>
                    <a:pt x="634" y="218"/>
                    <a:pt x="663" y="231"/>
                    <a:pt x="676" y="244"/>
                  </a:cubicBezTo>
                  <a:cubicBezTo>
                    <a:pt x="676" y="244"/>
                    <a:pt x="663" y="218"/>
                    <a:pt x="634" y="189"/>
                  </a:cubicBezTo>
                  <a:close/>
                  <a:moveTo>
                    <a:pt x="540" y="202"/>
                  </a:moveTo>
                  <a:cubicBezTo>
                    <a:pt x="514" y="244"/>
                    <a:pt x="501" y="257"/>
                    <a:pt x="514" y="257"/>
                  </a:cubicBezTo>
                  <a:cubicBezTo>
                    <a:pt x="527" y="244"/>
                    <a:pt x="540" y="231"/>
                    <a:pt x="553" y="231"/>
                  </a:cubicBezTo>
                  <a:cubicBezTo>
                    <a:pt x="527" y="257"/>
                    <a:pt x="446" y="325"/>
                    <a:pt x="407" y="364"/>
                  </a:cubicBezTo>
                  <a:cubicBezTo>
                    <a:pt x="433" y="325"/>
                    <a:pt x="501" y="257"/>
                    <a:pt x="540" y="202"/>
                  </a:cubicBezTo>
                  <a:close/>
                  <a:moveTo>
                    <a:pt x="595" y="312"/>
                  </a:moveTo>
                  <a:lnTo>
                    <a:pt x="582" y="325"/>
                  </a:lnTo>
                  <a:lnTo>
                    <a:pt x="582" y="364"/>
                  </a:lnTo>
                  <a:cubicBezTo>
                    <a:pt x="582" y="338"/>
                    <a:pt x="582" y="325"/>
                    <a:pt x="595" y="312"/>
                  </a:cubicBezTo>
                  <a:close/>
                  <a:moveTo>
                    <a:pt x="621" y="1"/>
                  </a:moveTo>
                  <a:cubicBezTo>
                    <a:pt x="621" y="1"/>
                    <a:pt x="282" y="177"/>
                    <a:pt x="306" y="177"/>
                  </a:cubicBezTo>
                  <a:cubicBezTo>
                    <a:pt x="307" y="177"/>
                    <a:pt x="308" y="176"/>
                    <a:pt x="310" y="176"/>
                  </a:cubicBezTo>
                  <a:lnTo>
                    <a:pt x="339" y="176"/>
                  </a:lnTo>
                  <a:cubicBezTo>
                    <a:pt x="271" y="218"/>
                    <a:pt x="135" y="283"/>
                    <a:pt x="177" y="283"/>
                  </a:cubicBezTo>
                  <a:cubicBezTo>
                    <a:pt x="229" y="270"/>
                    <a:pt x="271" y="257"/>
                    <a:pt x="271" y="257"/>
                  </a:cubicBezTo>
                  <a:lnTo>
                    <a:pt x="271" y="257"/>
                  </a:lnTo>
                  <a:cubicBezTo>
                    <a:pt x="271" y="257"/>
                    <a:pt x="85" y="381"/>
                    <a:pt x="105" y="381"/>
                  </a:cubicBezTo>
                  <a:cubicBezTo>
                    <a:pt x="106" y="381"/>
                    <a:pt x="107" y="381"/>
                    <a:pt x="109" y="380"/>
                  </a:cubicBezTo>
                  <a:cubicBezTo>
                    <a:pt x="135" y="380"/>
                    <a:pt x="391" y="189"/>
                    <a:pt x="391" y="189"/>
                  </a:cubicBezTo>
                  <a:lnTo>
                    <a:pt x="391" y="189"/>
                  </a:lnTo>
                  <a:cubicBezTo>
                    <a:pt x="391" y="189"/>
                    <a:pt x="322" y="279"/>
                    <a:pt x="345" y="279"/>
                  </a:cubicBezTo>
                  <a:cubicBezTo>
                    <a:pt x="349" y="279"/>
                    <a:pt x="355" y="276"/>
                    <a:pt x="365" y="270"/>
                  </a:cubicBezTo>
                  <a:cubicBezTo>
                    <a:pt x="369" y="270"/>
                    <a:pt x="375" y="268"/>
                    <a:pt x="382" y="264"/>
                  </a:cubicBezTo>
                  <a:lnTo>
                    <a:pt x="382" y="264"/>
                  </a:lnTo>
                  <a:cubicBezTo>
                    <a:pt x="306" y="327"/>
                    <a:pt x="194" y="407"/>
                    <a:pt x="211" y="407"/>
                  </a:cubicBezTo>
                  <a:cubicBezTo>
                    <a:pt x="212" y="407"/>
                    <a:pt x="213" y="407"/>
                    <a:pt x="216" y="406"/>
                  </a:cubicBezTo>
                  <a:cubicBezTo>
                    <a:pt x="264" y="395"/>
                    <a:pt x="312" y="362"/>
                    <a:pt x="332" y="344"/>
                  </a:cubicBezTo>
                  <a:lnTo>
                    <a:pt x="332" y="344"/>
                  </a:lnTo>
                  <a:cubicBezTo>
                    <a:pt x="277" y="394"/>
                    <a:pt x="1" y="649"/>
                    <a:pt x="26" y="649"/>
                  </a:cubicBezTo>
                  <a:cubicBezTo>
                    <a:pt x="26" y="649"/>
                    <a:pt x="27" y="649"/>
                    <a:pt x="28" y="649"/>
                  </a:cubicBezTo>
                  <a:cubicBezTo>
                    <a:pt x="67" y="623"/>
                    <a:pt x="326" y="393"/>
                    <a:pt x="326" y="393"/>
                  </a:cubicBezTo>
                  <a:lnTo>
                    <a:pt x="326" y="393"/>
                  </a:lnTo>
                  <a:cubicBezTo>
                    <a:pt x="326" y="393"/>
                    <a:pt x="218" y="557"/>
                    <a:pt x="226" y="557"/>
                  </a:cubicBezTo>
                  <a:cubicBezTo>
                    <a:pt x="226" y="557"/>
                    <a:pt x="227" y="557"/>
                    <a:pt x="229" y="555"/>
                  </a:cubicBezTo>
                  <a:cubicBezTo>
                    <a:pt x="257" y="527"/>
                    <a:pt x="335" y="424"/>
                    <a:pt x="375" y="368"/>
                  </a:cubicBezTo>
                  <a:lnTo>
                    <a:pt x="375" y="368"/>
                  </a:lnTo>
                  <a:cubicBezTo>
                    <a:pt x="365" y="384"/>
                    <a:pt x="365" y="406"/>
                    <a:pt x="365" y="406"/>
                  </a:cubicBezTo>
                  <a:lnTo>
                    <a:pt x="365" y="419"/>
                  </a:lnTo>
                  <a:cubicBezTo>
                    <a:pt x="391" y="406"/>
                    <a:pt x="459" y="338"/>
                    <a:pt x="459" y="338"/>
                  </a:cubicBezTo>
                  <a:lnTo>
                    <a:pt x="459" y="338"/>
                  </a:lnTo>
                  <a:cubicBezTo>
                    <a:pt x="459" y="338"/>
                    <a:pt x="273" y="677"/>
                    <a:pt x="293" y="677"/>
                  </a:cubicBezTo>
                  <a:cubicBezTo>
                    <a:pt x="294" y="677"/>
                    <a:pt x="295" y="676"/>
                    <a:pt x="297" y="675"/>
                  </a:cubicBezTo>
                  <a:cubicBezTo>
                    <a:pt x="318" y="656"/>
                    <a:pt x="352" y="614"/>
                    <a:pt x="380" y="571"/>
                  </a:cubicBezTo>
                  <a:lnTo>
                    <a:pt x="380" y="571"/>
                  </a:lnTo>
                  <a:cubicBezTo>
                    <a:pt x="312" y="689"/>
                    <a:pt x="211" y="883"/>
                    <a:pt x="224" y="883"/>
                  </a:cubicBezTo>
                  <a:cubicBezTo>
                    <a:pt x="225" y="883"/>
                    <a:pt x="226" y="882"/>
                    <a:pt x="229" y="879"/>
                  </a:cubicBezTo>
                  <a:cubicBezTo>
                    <a:pt x="284" y="824"/>
                    <a:pt x="514" y="380"/>
                    <a:pt x="514" y="380"/>
                  </a:cubicBezTo>
                  <a:lnTo>
                    <a:pt x="514" y="380"/>
                  </a:lnTo>
                  <a:cubicBezTo>
                    <a:pt x="514" y="380"/>
                    <a:pt x="464" y="501"/>
                    <a:pt x="470" y="501"/>
                  </a:cubicBezTo>
                  <a:cubicBezTo>
                    <a:pt x="471" y="501"/>
                    <a:pt x="471" y="501"/>
                    <a:pt x="472" y="500"/>
                  </a:cubicBezTo>
                  <a:cubicBezTo>
                    <a:pt x="501" y="487"/>
                    <a:pt x="553" y="393"/>
                    <a:pt x="582" y="325"/>
                  </a:cubicBezTo>
                  <a:lnTo>
                    <a:pt x="582" y="299"/>
                  </a:lnTo>
                  <a:cubicBezTo>
                    <a:pt x="595" y="283"/>
                    <a:pt x="595" y="283"/>
                    <a:pt x="595" y="270"/>
                  </a:cubicBezTo>
                  <a:lnTo>
                    <a:pt x="595" y="299"/>
                  </a:lnTo>
                  <a:lnTo>
                    <a:pt x="595" y="312"/>
                  </a:lnTo>
                  <a:cubicBezTo>
                    <a:pt x="621" y="380"/>
                    <a:pt x="689" y="474"/>
                    <a:pt x="702" y="487"/>
                  </a:cubicBezTo>
                  <a:cubicBezTo>
                    <a:pt x="703" y="488"/>
                    <a:pt x="704" y="488"/>
                    <a:pt x="705" y="488"/>
                  </a:cubicBezTo>
                  <a:cubicBezTo>
                    <a:pt x="725" y="488"/>
                    <a:pt x="663" y="364"/>
                    <a:pt x="663" y="364"/>
                  </a:cubicBezTo>
                  <a:lnTo>
                    <a:pt x="663" y="364"/>
                  </a:lnTo>
                  <a:cubicBezTo>
                    <a:pt x="663" y="364"/>
                    <a:pt x="906" y="811"/>
                    <a:pt x="958" y="866"/>
                  </a:cubicBezTo>
                  <a:cubicBezTo>
                    <a:pt x="961" y="869"/>
                    <a:pt x="962" y="870"/>
                    <a:pt x="963" y="870"/>
                  </a:cubicBezTo>
                  <a:cubicBezTo>
                    <a:pt x="977" y="870"/>
                    <a:pt x="882" y="701"/>
                    <a:pt x="812" y="583"/>
                  </a:cubicBezTo>
                  <a:lnTo>
                    <a:pt x="812" y="583"/>
                  </a:lnTo>
                  <a:cubicBezTo>
                    <a:pt x="836" y="616"/>
                    <a:pt x="861" y="647"/>
                    <a:pt x="877" y="662"/>
                  </a:cubicBezTo>
                  <a:cubicBezTo>
                    <a:pt x="878" y="663"/>
                    <a:pt x="879" y="663"/>
                    <a:pt x="880" y="663"/>
                  </a:cubicBezTo>
                  <a:cubicBezTo>
                    <a:pt x="905" y="663"/>
                    <a:pt x="715" y="325"/>
                    <a:pt x="715" y="325"/>
                  </a:cubicBezTo>
                  <a:lnTo>
                    <a:pt x="715" y="325"/>
                  </a:lnTo>
                  <a:cubicBezTo>
                    <a:pt x="715" y="325"/>
                    <a:pt x="783" y="393"/>
                    <a:pt x="812" y="406"/>
                  </a:cubicBezTo>
                  <a:lnTo>
                    <a:pt x="812" y="393"/>
                  </a:lnTo>
                  <a:cubicBezTo>
                    <a:pt x="825" y="393"/>
                    <a:pt x="812" y="364"/>
                    <a:pt x="812" y="351"/>
                  </a:cubicBezTo>
                  <a:lnTo>
                    <a:pt x="812" y="351"/>
                  </a:lnTo>
                  <a:cubicBezTo>
                    <a:pt x="838" y="406"/>
                    <a:pt x="932" y="513"/>
                    <a:pt x="945" y="542"/>
                  </a:cubicBezTo>
                  <a:cubicBezTo>
                    <a:pt x="947" y="544"/>
                    <a:pt x="948" y="545"/>
                    <a:pt x="949" y="545"/>
                  </a:cubicBezTo>
                  <a:cubicBezTo>
                    <a:pt x="959" y="545"/>
                    <a:pt x="851" y="380"/>
                    <a:pt x="851" y="380"/>
                  </a:cubicBezTo>
                  <a:lnTo>
                    <a:pt x="851" y="380"/>
                  </a:lnTo>
                  <a:cubicBezTo>
                    <a:pt x="851" y="380"/>
                    <a:pt x="1107" y="607"/>
                    <a:pt x="1149" y="636"/>
                  </a:cubicBezTo>
                  <a:cubicBezTo>
                    <a:pt x="1150" y="636"/>
                    <a:pt x="1150" y="636"/>
                    <a:pt x="1151" y="636"/>
                  </a:cubicBezTo>
                  <a:cubicBezTo>
                    <a:pt x="1172" y="636"/>
                    <a:pt x="944" y="416"/>
                    <a:pt x="862" y="345"/>
                  </a:cubicBezTo>
                  <a:lnTo>
                    <a:pt x="862" y="345"/>
                  </a:lnTo>
                  <a:cubicBezTo>
                    <a:pt x="886" y="362"/>
                    <a:pt x="923" y="384"/>
                    <a:pt x="958" y="393"/>
                  </a:cubicBezTo>
                  <a:cubicBezTo>
                    <a:pt x="960" y="394"/>
                    <a:pt x="962" y="394"/>
                    <a:pt x="964" y="394"/>
                  </a:cubicBezTo>
                  <a:cubicBezTo>
                    <a:pt x="985" y="394"/>
                    <a:pt x="871" y="308"/>
                    <a:pt x="783" y="244"/>
                  </a:cubicBezTo>
                  <a:lnTo>
                    <a:pt x="783" y="231"/>
                  </a:lnTo>
                  <a:lnTo>
                    <a:pt x="812" y="257"/>
                  </a:lnTo>
                  <a:cubicBezTo>
                    <a:pt x="822" y="263"/>
                    <a:pt x="828" y="266"/>
                    <a:pt x="831" y="266"/>
                  </a:cubicBezTo>
                  <a:cubicBezTo>
                    <a:pt x="851" y="266"/>
                    <a:pt x="783" y="176"/>
                    <a:pt x="783" y="176"/>
                  </a:cubicBezTo>
                  <a:lnTo>
                    <a:pt x="783" y="176"/>
                  </a:lnTo>
                  <a:cubicBezTo>
                    <a:pt x="783" y="176"/>
                    <a:pt x="1039" y="364"/>
                    <a:pt x="1081" y="364"/>
                  </a:cubicBezTo>
                  <a:cubicBezTo>
                    <a:pt x="1082" y="365"/>
                    <a:pt x="1083" y="365"/>
                    <a:pt x="1083" y="365"/>
                  </a:cubicBezTo>
                  <a:cubicBezTo>
                    <a:pt x="1085" y="365"/>
                    <a:pt x="906" y="244"/>
                    <a:pt x="906" y="244"/>
                  </a:cubicBezTo>
                  <a:lnTo>
                    <a:pt x="906" y="244"/>
                  </a:lnTo>
                  <a:cubicBezTo>
                    <a:pt x="906" y="244"/>
                    <a:pt x="945" y="257"/>
                    <a:pt x="1000" y="270"/>
                  </a:cubicBezTo>
                  <a:cubicBezTo>
                    <a:pt x="1039" y="270"/>
                    <a:pt x="906" y="202"/>
                    <a:pt x="838" y="163"/>
                  </a:cubicBezTo>
                  <a:lnTo>
                    <a:pt x="877" y="163"/>
                  </a:lnTo>
                  <a:cubicBezTo>
                    <a:pt x="879" y="163"/>
                    <a:pt x="880" y="164"/>
                    <a:pt x="881" y="164"/>
                  </a:cubicBezTo>
                  <a:cubicBezTo>
                    <a:pt x="910" y="164"/>
                    <a:pt x="621" y="1"/>
                    <a:pt x="62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5" name="Google Shape;1115;p38"/>
            <p:cNvSpPr/>
            <p:nvPr/>
          </p:nvSpPr>
          <p:spPr>
            <a:xfrm>
              <a:off x="1620875" y="1429125"/>
              <a:ext cx="350" cy="1400"/>
            </a:xfrm>
            <a:custGeom>
              <a:avLst/>
              <a:gdLst/>
              <a:ahLst/>
              <a:cxnLst/>
              <a:rect l="l" t="t" r="r" b="b"/>
              <a:pathLst>
                <a:path w="14" h="56" extrusionOk="0">
                  <a:moveTo>
                    <a:pt x="1" y="1"/>
                  </a:moveTo>
                  <a:cubicBezTo>
                    <a:pt x="1" y="30"/>
                    <a:pt x="14" y="56"/>
                    <a:pt x="14" y="56"/>
                  </a:cubicBezTo>
                  <a:cubicBezTo>
                    <a:pt x="14" y="56"/>
                    <a:pt x="1" y="30"/>
                    <a:pt x="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6" name="Google Shape;1116;p38"/>
            <p:cNvSpPr/>
            <p:nvPr/>
          </p:nvSpPr>
          <p:spPr>
            <a:xfrm>
              <a:off x="1619275" y="1436925"/>
              <a:ext cx="675" cy="1775"/>
            </a:xfrm>
            <a:custGeom>
              <a:avLst/>
              <a:gdLst/>
              <a:ahLst/>
              <a:cxnLst/>
              <a:rect l="l" t="t" r="r" b="b"/>
              <a:pathLst>
                <a:path w="27" h="71" extrusionOk="0">
                  <a:moveTo>
                    <a:pt x="26" y="0"/>
                  </a:moveTo>
                  <a:cubicBezTo>
                    <a:pt x="12" y="36"/>
                    <a:pt x="0" y="71"/>
                    <a:pt x="6" y="71"/>
                  </a:cubicBezTo>
                  <a:cubicBezTo>
                    <a:pt x="7" y="71"/>
                    <a:pt x="8" y="70"/>
                    <a:pt x="10" y="68"/>
                  </a:cubicBezTo>
                  <a:cubicBezTo>
                    <a:pt x="10" y="68"/>
                    <a:pt x="10" y="42"/>
                    <a:pt x="26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7" name="Google Shape;1117;p38"/>
            <p:cNvSpPr/>
            <p:nvPr/>
          </p:nvSpPr>
          <p:spPr>
            <a:xfrm>
              <a:off x="1602425" y="1425825"/>
              <a:ext cx="35950" cy="27450"/>
            </a:xfrm>
            <a:custGeom>
              <a:avLst/>
              <a:gdLst/>
              <a:ahLst/>
              <a:cxnLst/>
              <a:rect l="l" t="t" r="r" b="b"/>
              <a:pathLst>
                <a:path w="1438" h="1098" extrusionOk="0">
                  <a:moveTo>
                    <a:pt x="713" y="363"/>
                  </a:moveTo>
                  <a:cubicBezTo>
                    <a:pt x="713" y="363"/>
                    <a:pt x="713" y="376"/>
                    <a:pt x="726" y="376"/>
                  </a:cubicBezTo>
                  <a:cubicBezTo>
                    <a:pt x="726" y="363"/>
                    <a:pt x="713" y="363"/>
                    <a:pt x="713" y="363"/>
                  </a:cubicBezTo>
                  <a:close/>
                  <a:moveTo>
                    <a:pt x="731" y="408"/>
                  </a:moveTo>
                  <a:cubicBezTo>
                    <a:pt x="733" y="411"/>
                    <a:pt x="736" y="415"/>
                    <a:pt x="739" y="418"/>
                  </a:cubicBezTo>
                  <a:lnTo>
                    <a:pt x="739" y="418"/>
                  </a:lnTo>
                  <a:cubicBezTo>
                    <a:pt x="739" y="418"/>
                    <a:pt x="735" y="414"/>
                    <a:pt x="731" y="408"/>
                  </a:cubicBezTo>
                  <a:close/>
                  <a:moveTo>
                    <a:pt x="781" y="227"/>
                  </a:moveTo>
                  <a:cubicBezTo>
                    <a:pt x="833" y="295"/>
                    <a:pt x="914" y="376"/>
                    <a:pt x="956" y="431"/>
                  </a:cubicBezTo>
                  <a:cubicBezTo>
                    <a:pt x="888" y="376"/>
                    <a:pt x="781" y="282"/>
                    <a:pt x="752" y="256"/>
                  </a:cubicBezTo>
                  <a:cubicBezTo>
                    <a:pt x="765" y="256"/>
                    <a:pt x="807" y="269"/>
                    <a:pt x="820" y="295"/>
                  </a:cubicBezTo>
                  <a:cubicBezTo>
                    <a:pt x="833" y="295"/>
                    <a:pt x="807" y="269"/>
                    <a:pt x="781" y="227"/>
                  </a:cubicBezTo>
                  <a:close/>
                  <a:moveTo>
                    <a:pt x="658" y="243"/>
                  </a:moveTo>
                  <a:lnTo>
                    <a:pt x="658" y="243"/>
                  </a:lnTo>
                  <a:cubicBezTo>
                    <a:pt x="636" y="276"/>
                    <a:pt x="612" y="311"/>
                    <a:pt x="615" y="311"/>
                  </a:cubicBezTo>
                  <a:cubicBezTo>
                    <a:pt x="615" y="311"/>
                    <a:pt x="617" y="310"/>
                    <a:pt x="619" y="308"/>
                  </a:cubicBezTo>
                  <a:cubicBezTo>
                    <a:pt x="632" y="295"/>
                    <a:pt x="658" y="282"/>
                    <a:pt x="671" y="269"/>
                  </a:cubicBezTo>
                  <a:lnTo>
                    <a:pt x="684" y="269"/>
                  </a:lnTo>
                  <a:cubicBezTo>
                    <a:pt x="645" y="308"/>
                    <a:pt x="538" y="389"/>
                    <a:pt x="483" y="457"/>
                  </a:cubicBezTo>
                  <a:cubicBezTo>
                    <a:pt x="522" y="405"/>
                    <a:pt x="590" y="308"/>
                    <a:pt x="658" y="243"/>
                  </a:cubicBezTo>
                  <a:close/>
                  <a:moveTo>
                    <a:pt x="765" y="0"/>
                  </a:moveTo>
                  <a:cubicBezTo>
                    <a:pt x="765" y="0"/>
                    <a:pt x="295" y="214"/>
                    <a:pt x="360" y="214"/>
                  </a:cubicBezTo>
                  <a:cubicBezTo>
                    <a:pt x="370" y="214"/>
                    <a:pt x="379" y="214"/>
                    <a:pt x="388" y="211"/>
                  </a:cubicBezTo>
                  <a:lnTo>
                    <a:pt x="388" y="211"/>
                  </a:lnTo>
                  <a:cubicBezTo>
                    <a:pt x="303" y="266"/>
                    <a:pt x="161" y="350"/>
                    <a:pt x="198" y="350"/>
                  </a:cubicBezTo>
                  <a:cubicBezTo>
                    <a:pt x="266" y="337"/>
                    <a:pt x="321" y="308"/>
                    <a:pt x="321" y="308"/>
                  </a:cubicBezTo>
                  <a:lnTo>
                    <a:pt x="321" y="308"/>
                  </a:lnTo>
                  <a:cubicBezTo>
                    <a:pt x="321" y="308"/>
                    <a:pt x="87" y="471"/>
                    <a:pt x="100" y="471"/>
                  </a:cubicBezTo>
                  <a:cubicBezTo>
                    <a:pt x="101" y="471"/>
                    <a:pt x="102" y="471"/>
                    <a:pt x="104" y="470"/>
                  </a:cubicBezTo>
                  <a:cubicBezTo>
                    <a:pt x="146" y="457"/>
                    <a:pt x="483" y="227"/>
                    <a:pt x="483" y="227"/>
                  </a:cubicBezTo>
                  <a:lnTo>
                    <a:pt x="483" y="227"/>
                  </a:lnTo>
                  <a:cubicBezTo>
                    <a:pt x="483" y="227"/>
                    <a:pt x="387" y="343"/>
                    <a:pt x="411" y="343"/>
                  </a:cubicBezTo>
                  <a:cubicBezTo>
                    <a:pt x="415" y="343"/>
                    <a:pt x="420" y="342"/>
                    <a:pt x="428" y="337"/>
                  </a:cubicBezTo>
                  <a:cubicBezTo>
                    <a:pt x="457" y="324"/>
                    <a:pt x="496" y="282"/>
                    <a:pt x="522" y="256"/>
                  </a:cubicBezTo>
                  <a:lnTo>
                    <a:pt x="522" y="256"/>
                  </a:lnTo>
                  <a:cubicBezTo>
                    <a:pt x="509" y="282"/>
                    <a:pt x="483" y="308"/>
                    <a:pt x="483" y="308"/>
                  </a:cubicBezTo>
                  <a:cubicBezTo>
                    <a:pt x="366" y="385"/>
                    <a:pt x="214" y="500"/>
                    <a:pt x="246" y="500"/>
                  </a:cubicBezTo>
                  <a:cubicBezTo>
                    <a:pt x="248" y="500"/>
                    <a:pt x="250" y="500"/>
                    <a:pt x="253" y="499"/>
                  </a:cubicBezTo>
                  <a:cubicBezTo>
                    <a:pt x="298" y="491"/>
                    <a:pt x="342" y="464"/>
                    <a:pt x="371" y="443"/>
                  </a:cubicBezTo>
                  <a:lnTo>
                    <a:pt x="371" y="443"/>
                  </a:lnTo>
                  <a:cubicBezTo>
                    <a:pt x="274" y="529"/>
                    <a:pt x="0" y="795"/>
                    <a:pt x="7" y="795"/>
                  </a:cubicBezTo>
                  <a:cubicBezTo>
                    <a:pt x="8" y="795"/>
                    <a:pt x="8" y="795"/>
                    <a:pt x="10" y="794"/>
                  </a:cubicBezTo>
                  <a:cubicBezTo>
                    <a:pt x="65" y="781"/>
                    <a:pt x="376" y="486"/>
                    <a:pt x="376" y="486"/>
                  </a:cubicBezTo>
                  <a:lnTo>
                    <a:pt x="376" y="486"/>
                  </a:lnTo>
                  <a:cubicBezTo>
                    <a:pt x="376" y="486"/>
                    <a:pt x="254" y="689"/>
                    <a:pt x="263" y="689"/>
                  </a:cubicBezTo>
                  <a:cubicBezTo>
                    <a:pt x="264" y="689"/>
                    <a:pt x="264" y="688"/>
                    <a:pt x="266" y="687"/>
                  </a:cubicBezTo>
                  <a:cubicBezTo>
                    <a:pt x="295" y="661"/>
                    <a:pt x="402" y="512"/>
                    <a:pt x="441" y="444"/>
                  </a:cubicBezTo>
                  <a:lnTo>
                    <a:pt x="441" y="444"/>
                  </a:lnTo>
                  <a:cubicBezTo>
                    <a:pt x="441" y="470"/>
                    <a:pt x="428" y="499"/>
                    <a:pt x="441" y="499"/>
                  </a:cubicBezTo>
                  <a:lnTo>
                    <a:pt x="441" y="512"/>
                  </a:lnTo>
                  <a:cubicBezTo>
                    <a:pt x="470" y="499"/>
                    <a:pt x="564" y="418"/>
                    <a:pt x="564" y="418"/>
                  </a:cubicBezTo>
                  <a:lnTo>
                    <a:pt x="564" y="418"/>
                  </a:lnTo>
                  <a:cubicBezTo>
                    <a:pt x="564" y="418"/>
                    <a:pt x="328" y="838"/>
                    <a:pt x="355" y="838"/>
                  </a:cubicBezTo>
                  <a:cubicBezTo>
                    <a:pt x="356" y="838"/>
                    <a:pt x="358" y="838"/>
                    <a:pt x="360" y="836"/>
                  </a:cubicBezTo>
                  <a:cubicBezTo>
                    <a:pt x="389" y="810"/>
                    <a:pt x="441" y="713"/>
                    <a:pt x="483" y="648"/>
                  </a:cubicBezTo>
                  <a:lnTo>
                    <a:pt x="483" y="648"/>
                  </a:lnTo>
                  <a:cubicBezTo>
                    <a:pt x="408" y="783"/>
                    <a:pt x="240" y="1098"/>
                    <a:pt x="258" y="1098"/>
                  </a:cubicBezTo>
                  <a:cubicBezTo>
                    <a:pt x="260" y="1098"/>
                    <a:pt x="262" y="1096"/>
                    <a:pt x="266" y="1092"/>
                  </a:cubicBezTo>
                  <a:cubicBezTo>
                    <a:pt x="321" y="1037"/>
                    <a:pt x="632" y="470"/>
                    <a:pt x="632" y="470"/>
                  </a:cubicBezTo>
                  <a:lnTo>
                    <a:pt x="632" y="470"/>
                  </a:lnTo>
                  <a:cubicBezTo>
                    <a:pt x="632" y="470"/>
                    <a:pt x="557" y="620"/>
                    <a:pt x="574" y="620"/>
                  </a:cubicBezTo>
                  <a:cubicBezTo>
                    <a:pt x="575" y="620"/>
                    <a:pt x="576" y="619"/>
                    <a:pt x="577" y="619"/>
                  </a:cubicBezTo>
                  <a:cubicBezTo>
                    <a:pt x="601" y="607"/>
                    <a:pt x="660" y="491"/>
                    <a:pt x="702" y="422"/>
                  </a:cubicBezTo>
                  <a:lnTo>
                    <a:pt x="702" y="422"/>
                  </a:lnTo>
                  <a:cubicBezTo>
                    <a:pt x="700" y="429"/>
                    <a:pt x="700" y="437"/>
                    <a:pt x="700" y="444"/>
                  </a:cubicBezTo>
                  <a:cubicBezTo>
                    <a:pt x="713" y="418"/>
                    <a:pt x="713" y="405"/>
                    <a:pt x="726" y="376"/>
                  </a:cubicBezTo>
                  <a:lnTo>
                    <a:pt x="726" y="376"/>
                  </a:lnTo>
                  <a:cubicBezTo>
                    <a:pt x="713" y="389"/>
                    <a:pt x="713" y="389"/>
                    <a:pt x="713" y="405"/>
                  </a:cubicBezTo>
                  <a:lnTo>
                    <a:pt x="713" y="363"/>
                  </a:lnTo>
                  <a:cubicBezTo>
                    <a:pt x="713" y="350"/>
                    <a:pt x="713" y="337"/>
                    <a:pt x="726" y="337"/>
                  </a:cubicBezTo>
                  <a:lnTo>
                    <a:pt x="726" y="363"/>
                  </a:lnTo>
                  <a:lnTo>
                    <a:pt x="726" y="376"/>
                  </a:lnTo>
                  <a:cubicBezTo>
                    <a:pt x="726" y="380"/>
                    <a:pt x="726" y="385"/>
                    <a:pt x="726" y="390"/>
                  </a:cubicBezTo>
                  <a:lnTo>
                    <a:pt x="726" y="390"/>
                  </a:lnTo>
                  <a:cubicBezTo>
                    <a:pt x="726" y="389"/>
                    <a:pt x="726" y="389"/>
                    <a:pt x="726" y="389"/>
                  </a:cubicBezTo>
                  <a:lnTo>
                    <a:pt x="726" y="389"/>
                  </a:lnTo>
                  <a:cubicBezTo>
                    <a:pt x="726" y="396"/>
                    <a:pt x="729" y="403"/>
                    <a:pt x="731" y="408"/>
                  </a:cubicBezTo>
                  <a:lnTo>
                    <a:pt x="731" y="408"/>
                  </a:lnTo>
                  <a:cubicBezTo>
                    <a:pt x="728" y="402"/>
                    <a:pt x="727" y="396"/>
                    <a:pt x="726" y="390"/>
                  </a:cubicBezTo>
                  <a:lnTo>
                    <a:pt x="726" y="390"/>
                  </a:lnTo>
                  <a:cubicBezTo>
                    <a:pt x="765" y="458"/>
                    <a:pt x="833" y="593"/>
                    <a:pt x="862" y="606"/>
                  </a:cubicBezTo>
                  <a:cubicBezTo>
                    <a:pt x="863" y="606"/>
                    <a:pt x="864" y="607"/>
                    <a:pt x="865" y="607"/>
                  </a:cubicBezTo>
                  <a:cubicBezTo>
                    <a:pt x="882" y="607"/>
                    <a:pt x="807" y="457"/>
                    <a:pt x="807" y="457"/>
                  </a:cubicBezTo>
                  <a:lnTo>
                    <a:pt x="807" y="457"/>
                  </a:lnTo>
                  <a:cubicBezTo>
                    <a:pt x="807" y="457"/>
                    <a:pt x="1105" y="1011"/>
                    <a:pt x="1170" y="1079"/>
                  </a:cubicBezTo>
                  <a:cubicBezTo>
                    <a:pt x="1173" y="1081"/>
                    <a:pt x="1175" y="1082"/>
                    <a:pt x="1177" y="1082"/>
                  </a:cubicBezTo>
                  <a:cubicBezTo>
                    <a:pt x="1200" y="1082"/>
                    <a:pt x="1095" y="880"/>
                    <a:pt x="1013" y="732"/>
                  </a:cubicBezTo>
                  <a:lnTo>
                    <a:pt x="1013" y="732"/>
                  </a:lnTo>
                  <a:cubicBezTo>
                    <a:pt x="1038" y="766"/>
                    <a:pt x="1062" y="795"/>
                    <a:pt x="1076" y="810"/>
                  </a:cubicBezTo>
                  <a:cubicBezTo>
                    <a:pt x="1078" y="812"/>
                    <a:pt x="1080" y="812"/>
                    <a:pt x="1081" y="812"/>
                  </a:cubicBezTo>
                  <a:cubicBezTo>
                    <a:pt x="1110" y="812"/>
                    <a:pt x="875" y="405"/>
                    <a:pt x="875" y="405"/>
                  </a:cubicBezTo>
                  <a:lnTo>
                    <a:pt x="875" y="405"/>
                  </a:lnTo>
                  <a:cubicBezTo>
                    <a:pt x="875" y="405"/>
                    <a:pt x="956" y="486"/>
                    <a:pt x="995" y="486"/>
                  </a:cubicBezTo>
                  <a:cubicBezTo>
                    <a:pt x="1008" y="486"/>
                    <a:pt x="995" y="457"/>
                    <a:pt x="995" y="431"/>
                  </a:cubicBezTo>
                  <a:lnTo>
                    <a:pt x="995" y="431"/>
                  </a:lnTo>
                  <a:cubicBezTo>
                    <a:pt x="1037" y="499"/>
                    <a:pt x="1144" y="632"/>
                    <a:pt x="1170" y="661"/>
                  </a:cubicBezTo>
                  <a:cubicBezTo>
                    <a:pt x="1171" y="662"/>
                    <a:pt x="1173" y="663"/>
                    <a:pt x="1173" y="663"/>
                  </a:cubicBezTo>
                  <a:cubicBezTo>
                    <a:pt x="1183" y="663"/>
                    <a:pt x="1050" y="470"/>
                    <a:pt x="1050" y="470"/>
                  </a:cubicBezTo>
                  <a:lnTo>
                    <a:pt x="1050" y="470"/>
                  </a:lnTo>
                  <a:cubicBezTo>
                    <a:pt x="1050" y="470"/>
                    <a:pt x="1374" y="755"/>
                    <a:pt x="1413" y="781"/>
                  </a:cubicBezTo>
                  <a:cubicBezTo>
                    <a:pt x="1415" y="782"/>
                    <a:pt x="1416" y="783"/>
                    <a:pt x="1417" y="783"/>
                  </a:cubicBezTo>
                  <a:cubicBezTo>
                    <a:pt x="1437" y="783"/>
                    <a:pt x="1142" y="495"/>
                    <a:pt x="1057" y="409"/>
                  </a:cubicBezTo>
                  <a:lnTo>
                    <a:pt x="1057" y="409"/>
                  </a:lnTo>
                  <a:cubicBezTo>
                    <a:pt x="1084" y="435"/>
                    <a:pt x="1135" y="474"/>
                    <a:pt x="1186" y="486"/>
                  </a:cubicBezTo>
                  <a:cubicBezTo>
                    <a:pt x="1225" y="486"/>
                    <a:pt x="1076" y="376"/>
                    <a:pt x="969" y="295"/>
                  </a:cubicBezTo>
                  <a:cubicBezTo>
                    <a:pt x="969" y="295"/>
                    <a:pt x="956" y="295"/>
                    <a:pt x="956" y="282"/>
                  </a:cubicBezTo>
                  <a:lnTo>
                    <a:pt x="956" y="282"/>
                  </a:lnTo>
                  <a:cubicBezTo>
                    <a:pt x="969" y="295"/>
                    <a:pt x="995" y="308"/>
                    <a:pt x="1008" y="308"/>
                  </a:cubicBezTo>
                  <a:cubicBezTo>
                    <a:pt x="1016" y="313"/>
                    <a:pt x="1022" y="315"/>
                    <a:pt x="1025" y="315"/>
                  </a:cubicBezTo>
                  <a:cubicBezTo>
                    <a:pt x="1048" y="315"/>
                    <a:pt x="956" y="201"/>
                    <a:pt x="956" y="201"/>
                  </a:cubicBezTo>
                  <a:lnTo>
                    <a:pt x="956" y="201"/>
                  </a:lnTo>
                  <a:cubicBezTo>
                    <a:pt x="956" y="201"/>
                    <a:pt x="1293" y="444"/>
                    <a:pt x="1332" y="457"/>
                  </a:cubicBezTo>
                  <a:cubicBezTo>
                    <a:pt x="1368" y="457"/>
                    <a:pt x="1187" y="330"/>
                    <a:pt x="1133" y="292"/>
                  </a:cubicBezTo>
                  <a:lnTo>
                    <a:pt x="1133" y="292"/>
                  </a:lnTo>
                  <a:cubicBezTo>
                    <a:pt x="1153" y="305"/>
                    <a:pt x="1192" y="324"/>
                    <a:pt x="1238" y="324"/>
                  </a:cubicBezTo>
                  <a:cubicBezTo>
                    <a:pt x="1241" y="325"/>
                    <a:pt x="1242" y="325"/>
                    <a:pt x="1244" y="325"/>
                  </a:cubicBezTo>
                  <a:cubicBezTo>
                    <a:pt x="1260" y="325"/>
                    <a:pt x="1113" y="240"/>
                    <a:pt x="1037" y="188"/>
                  </a:cubicBezTo>
                  <a:lnTo>
                    <a:pt x="1037" y="188"/>
                  </a:lnTo>
                  <a:cubicBezTo>
                    <a:pt x="1037" y="188"/>
                    <a:pt x="1063" y="201"/>
                    <a:pt x="1076" y="201"/>
                  </a:cubicBezTo>
                  <a:cubicBezTo>
                    <a:pt x="1144" y="201"/>
                    <a:pt x="765" y="0"/>
                    <a:pt x="765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8" name="Google Shape;1118;p38"/>
            <p:cNvSpPr/>
            <p:nvPr/>
          </p:nvSpPr>
          <p:spPr>
            <a:xfrm>
              <a:off x="1620875" y="1436275"/>
              <a:ext cx="675" cy="2050"/>
            </a:xfrm>
            <a:custGeom>
              <a:avLst/>
              <a:gdLst/>
              <a:ahLst/>
              <a:cxnLst/>
              <a:rect l="l" t="t" r="r" b="b"/>
              <a:pathLst>
                <a:path w="27" h="82" extrusionOk="0">
                  <a:moveTo>
                    <a:pt x="1" y="0"/>
                  </a:moveTo>
                  <a:cubicBezTo>
                    <a:pt x="1" y="52"/>
                    <a:pt x="14" y="81"/>
                    <a:pt x="14" y="81"/>
                  </a:cubicBezTo>
                  <a:cubicBezTo>
                    <a:pt x="27" y="81"/>
                    <a:pt x="14" y="39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9" name="Google Shape;1119;p38"/>
            <p:cNvSpPr/>
            <p:nvPr/>
          </p:nvSpPr>
          <p:spPr>
            <a:xfrm>
              <a:off x="1619175" y="1441600"/>
              <a:ext cx="775" cy="2125"/>
            </a:xfrm>
            <a:custGeom>
              <a:avLst/>
              <a:gdLst/>
              <a:ahLst/>
              <a:cxnLst/>
              <a:rect l="l" t="t" r="r" b="b"/>
              <a:pathLst>
                <a:path w="31" h="85" extrusionOk="0">
                  <a:moveTo>
                    <a:pt x="30" y="1"/>
                  </a:moveTo>
                  <a:cubicBezTo>
                    <a:pt x="18" y="32"/>
                    <a:pt x="8" y="70"/>
                    <a:pt x="3" y="81"/>
                  </a:cubicBezTo>
                  <a:lnTo>
                    <a:pt x="3" y="81"/>
                  </a:lnTo>
                  <a:cubicBezTo>
                    <a:pt x="14" y="76"/>
                    <a:pt x="15" y="40"/>
                    <a:pt x="30" y="1"/>
                  </a:cubicBezTo>
                  <a:close/>
                  <a:moveTo>
                    <a:pt x="3" y="81"/>
                  </a:moveTo>
                  <a:cubicBezTo>
                    <a:pt x="3" y="82"/>
                    <a:pt x="2" y="82"/>
                    <a:pt x="1" y="82"/>
                  </a:cubicBezTo>
                  <a:cubicBezTo>
                    <a:pt x="1" y="84"/>
                    <a:pt x="1" y="85"/>
                    <a:pt x="1" y="85"/>
                  </a:cubicBezTo>
                  <a:cubicBezTo>
                    <a:pt x="2" y="85"/>
                    <a:pt x="3" y="84"/>
                    <a:pt x="3" y="8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0" name="Google Shape;1120;p38"/>
            <p:cNvSpPr/>
            <p:nvPr/>
          </p:nvSpPr>
          <p:spPr>
            <a:xfrm>
              <a:off x="1599350" y="1428475"/>
              <a:ext cx="42125" cy="32225"/>
            </a:xfrm>
            <a:custGeom>
              <a:avLst/>
              <a:gdLst/>
              <a:ahLst/>
              <a:cxnLst/>
              <a:rect l="l" t="t" r="r" b="b"/>
              <a:pathLst>
                <a:path w="1685" h="1289" extrusionOk="0">
                  <a:moveTo>
                    <a:pt x="836" y="432"/>
                  </a:moveTo>
                  <a:cubicBezTo>
                    <a:pt x="836" y="432"/>
                    <a:pt x="836" y="445"/>
                    <a:pt x="849" y="445"/>
                  </a:cubicBezTo>
                  <a:cubicBezTo>
                    <a:pt x="849" y="432"/>
                    <a:pt x="836" y="432"/>
                    <a:pt x="836" y="432"/>
                  </a:cubicBezTo>
                  <a:close/>
                  <a:moveTo>
                    <a:pt x="849" y="406"/>
                  </a:moveTo>
                  <a:lnTo>
                    <a:pt x="849" y="432"/>
                  </a:lnTo>
                  <a:lnTo>
                    <a:pt x="849" y="445"/>
                  </a:lnTo>
                  <a:cubicBezTo>
                    <a:pt x="836" y="461"/>
                    <a:pt x="836" y="474"/>
                    <a:pt x="836" y="487"/>
                  </a:cubicBezTo>
                  <a:lnTo>
                    <a:pt x="836" y="432"/>
                  </a:lnTo>
                  <a:cubicBezTo>
                    <a:pt x="836" y="419"/>
                    <a:pt x="836" y="406"/>
                    <a:pt x="849" y="406"/>
                  </a:cubicBezTo>
                  <a:close/>
                  <a:moveTo>
                    <a:pt x="917" y="270"/>
                  </a:moveTo>
                  <a:lnTo>
                    <a:pt x="917" y="270"/>
                  </a:lnTo>
                  <a:cubicBezTo>
                    <a:pt x="985" y="351"/>
                    <a:pt x="1066" y="461"/>
                    <a:pt x="1118" y="513"/>
                  </a:cubicBezTo>
                  <a:cubicBezTo>
                    <a:pt x="1037" y="445"/>
                    <a:pt x="917" y="338"/>
                    <a:pt x="875" y="312"/>
                  </a:cubicBezTo>
                  <a:lnTo>
                    <a:pt x="888" y="299"/>
                  </a:lnTo>
                  <a:cubicBezTo>
                    <a:pt x="904" y="312"/>
                    <a:pt x="943" y="325"/>
                    <a:pt x="956" y="351"/>
                  </a:cubicBezTo>
                  <a:cubicBezTo>
                    <a:pt x="958" y="353"/>
                    <a:pt x="959" y="353"/>
                    <a:pt x="959" y="353"/>
                  </a:cubicBezTo>
                  <a:cubicBezTo>
                    <a:pt x="962" y="353"/>
                    <a:pt x="940" y="318"/>
                    <a:pt x="917" y="270"/>
                  </a:cubicBezTo>
                  <a:close/>
                  <a:moveTo>
                    <a:pt x="768" y="299"/>
                  </a:moveTo>
                  <a:lnTo>
                    <a:pt x="768" y="299"/>
                  </a:lnTo>
                  <a:cubicBezTo>
                    <a:pt x="746" y="332"/>
                    <a:pt x="722" y="367"/>
                    <a:pt x="723" y="367"/>
                  </a:cubicBezTo>
                  <a:cubicBezTo>
                    <a:pt x="723" y="367"/>
                    <a:pt x="724" y="366"/>
                    <a:pt x="726" y="364"/>
                  </a:cubicBezTo>
                  <a:cubicBezTo>
                    <a:pt x="742" y="351"/>
                    <a:pt x="768" y="338"/>
                    <a:pt x="794" y="325"/>
                  </a:cubicBezTo>
                  <a:lnTo>
                    <a:pt x="794" y="325"/>
                  </a:lnTo>
                  <a:cubicBezTo>
                    <a:pt x="755" y="364"/>
                    <a:pt x="632" y="474"/>
                    <a:pt x="564" y="542"/>
                  </a:cubicBezTo>
                  <a:cubicBezTo>
                    <a:pt x="619" y="474"/>
                    <a:pt x="700" y="380"/>
                    <a:pt x="768" y="299"/>
                  </a:cubicBezTo>
                  <a:close/>
                  <a:moveTo>
                    <a:pt x="888" y="1"/>
                  </a:moveTo>
                  <a:cubicBezTo>
                    <a:pt x="888" y="1"/>
                    <a:pt x="375" y="257"/>
                    <a:pt x="426" y="257"/>
                  </a:cubicBezTo>
                  <a:cubicBezTo>
                    <a:pt x="428" y="257"/>
                    <a:pt x="429" y="257"/>
                    <a:pt x="431" y="257"/>
                  </a:cubicBezTo>
                  <a:lnTo>
                    <a:pt x="483" y="257"/>
                  </a:lnTo>
                  <a:cubicBezTo>
                    <a:pt x="382" y="309"/>
                    <a:pt x="209" y="407"/>
                    <a:pt x="233" y="407"/>
                  </a:cubicBezTo>
                  <a:cubicBezTo>
                    <a:pt x="235" y="407"/>
                    <a:pt x="237" y="407"/>
                    <a:pt x="240" y="406"/>
                  </a:cubicBezTo>
                  <a:cubicBezTo>
                    <a:pt x="321" y="406"/>
                    <a:pt x="389" y="364"/>
                    <a:pt x="389" y="364"/>
                  </a:cubicBezTo>
                  <a:lnTo>
                    <a:pt x="389" y="364"/>
                  </a:lnTo>
                  <a:cubicBezTo>
                    <a:pt x="389" y="364"/>
                    <a:pt x="97" y="556"/>
                    <a:pt x="129" y="556"/>
                  </a:cubicBezTo>
                  <a:cubicBezTo>
                    <a:pt x="130" y="556"/>
                    <a:pt x="131" y="555"/>
                    <a:pt x="133" y="555"/>
                  </a:cubicBezTo>
                  <a:cubicBezTo>
                    <a:pt x="188" y="542"/>
                    <a:pt x="564" y="270"/>
                    <a:pt x="564" y="270"/>
                  </a:cubicBezTo>
                  <a:lnTo>
                    <a:pt x="564" y="270"/>
                  </a:lnTo>
                  <a:cubicBezTo>
                    <a:pt x="564" y="270"/>
                    <a:pt x="446" y="412"/>
                    <a:pt x="491" y="412"/>
                  </a:cubicBezTo>
                  <a:cubicBezTo>
                    <a:pt x="496" y="412"/>
                    <a:pt x="503" y="410"/>
                    <a:pt x="512" y="406"/>
                  </a:cubicBezTo>
                  <a:cubicBezTo>
                    <a:pt x="538" y="380"/>
                    <a:pt x="580" y="351"/>
                    <a:pt x="619" y="312"/>
                  </a:cubicBezTo>
                  <a:lnTo>
                    <a:pt x="619" y="312"/>
                  </a:lnTo>
                  <a:cubicBezTo>
                    <a:pt x="593" y="338"/>
                    <a:pt x="580" y="364"/>
                    <a:pt x="564" y="380"/>
                  </a:cubicBezTo>
                  <a:cubicBezTo>
                    <a:pt x="431" y="461"/>
                    <a:pt x="240" y="594"/>
                    <a:pt x="308" y="594"/>
                  </a:cubicBezTo>
                  <a:cubicBezTo>
                    <a:pt x="376" y="568"/>
                    <a:pt x="457" y="500"/>
                    <a:pt x="470" y="487"/>
                  </a:cubicBezTo>
                  <a:lnTo>
                    <a:pt x="470" y="487"/>
                  </a:lnTo>
                  <a:cubicBezTo>
                    <a:pt x="432" y="525"/>
                    <a:pt x="0" y="932"/>
                    <a:pt x="22" y="932"/>
                  </a:cubicBezTo>
                  <a:cubicBezTo>
                    <a:pt x="23" y="932"/>
                    <a:pt x="24" y="932"/>
                    <a:pt x="26" y="931"/>
                  </a:cubicBezTo>
                  <a:cubicBezTo>
                    <a:pt x="94" y="905"/>
                    <a:pt x="457" y="568"/>
                    <a:pt x="457" y="568"/>
                  </a:cubicBezTo>
                  <a:lnTo>
                    <a:pt x="457" y="568"/>
                  </a:lnTo>
                  <a:cubicBezTo>
                    <a:pt x="457" y="568"/>
                    <a:pt x="305" y="802"/>
                    <a:pt x="316" y="802"/>
                  </a:cubicBezTo>
                  <a:cubicBezTo>
                    <a:pt x="317" y="802"/>
                    <a:pt x="318" y="801"/>
                    <a:pt x="321" y="798"/>
                  </a:cubicBezTo>
                  <a:cubicBezTo>
                    <a:pt x="350" y="769"/>
                    <a:pt x="483" y="607"/>
                    <a:pt x="525" y="526"/>
                  </a:cubicBezTo>
                  <a:lnTo>
                    <a:pt x="525" y="526"/>
                  </a:lnTo>
                  <a:cubicBezTo>
                    <a:pt x="512" y="555"/>
                    <a:pt x="512" y="594"/>
                    <a:pt x="512" y="594"/>
                  </a:cubicBezTo>
                  <a:cubicBezTo>
                    <a:pt x="564" y="594"/>
                    <a:pt x="661" y="500"/>
                    <a:pt x="661" y="500"/>
                  </a:cubicBezTo>
                  <a:lnTo>
                    <a:pt x="661" y="500"/>
                  </a:lnTo>
                  <a:cubicBezTo>
                    <a:pt x="661" y="500"/>
                    <a:pt x="384" y="975"/>
                    <a:pt x="413" y="975"/>
                  </a:cubicBezTo>
                  <a:cubicBezTo>
                    <a:pt x="414" y="975"/>
                    <a:pt x="416" y="974"/>
                    <a:pt x="418" y="973"/>
                  </a:cubicBezTo>
                  <a:cubicBezTo>
                    <a:pt x="457" y="947"/>
                    <a:pt x="525" y="837"/>
                    <a:pt x="580" y="769"/>
                  </a:cubicBezTo>
                  <a:lnTo>
                    <a:pt x="580" y="769"/>
                  </a:lnTo>
                  <a:cubicBezTo>
                    <a:pt x="489" y="921"/>
                    <a:pt x="283" y="1289"/>
                    <a:pt x="302" y="1289"/>
                  </a:cubicBezTo>
                  <a:cubicBezTo>
                    <a:pt x="303" y="1289"/>
                    <a:pt x="305" y="1287"/>
                    <a:pt x="308" y="1284"/>
                  </a:cubicBezTo>
                  <a:cubicBezTo>
                    <a:pt x="389" y="1203"/>
                    <a:pt x="742" y="555"/>
                    <a:pt x="742" y="555"/>
                  </a:cubicBezTo>
                  <a:lnTo>
                    <a:pt x="742" y="555"/>
                  </a:lnTo>
                  <a:cubicBezTo>
                    <a:pt x="742" y="555"/>
                    <a:pt x="656" y="732"/>
                    <a:pt x="670" y="732"/>
                  </a:cubicBezTo>
                  <a:cubicBezTo>
                    <a:pt x="671" y="732"/>
                    <a:pt x="672" y="732"/>
                    <a:pt x="674" y="730"/>
                  </a:cubicBezTo>
                  <a:cubicBezTo>
                    <a:pt x="698" y="718"/>
                    <a:pt x="772" y="585"/>
                    <a:pt x="826" y="502"/>
                  </a:cubicBezTo>
                  <a:lnTo>
                    <a:pt x="826" y="502"/>
                  </a:lnTo>
                  <a:cubicBezTo>
                    <a:pt x="823" y="510"/>
                    <a:pt x="823" y="518"/>
                    <a:pt x="823" y="526"/>
                  </a:cubicBezTo>
                  <a:cubicBezTo>
                    <a:pt x="836" y="500"/>
                    <a:pt x="836" y="474"/>
                    <a:pt x="849" y="461"/>
                  </a:cubicBezTo>
                  <a:cubicBezTo>
                    <a:pt x="849" y="461"/>
                    <a:pt x="849" y="461"/>
                    <a:pt x="849" y="461"/>
                  </a:cubicBezTo>
                  <a:lnTo>
                    <a:pt x="849" y="461"/>
                  </a:lnTo>
                  <a:cubicBezTo>
                    <a:pt x="849" y="474"/>
                    <a:pt x="862" y="487"/>
                    <a:pt x="862" y="500"/>
                  </a:cubicBezTo>
                  <a:cubicBezTo>
                    <a:pt x="862" y="495"/>
                    <a:pt x="862" y="490"/>
                    <a:pt x="861" y="485"/>
                  </a:cubicBezTo>
                  <a:lnTo>
                    <a:pt x="861" y="485"/>
                  </a:lnTo>
                  <a:cubicBezTo>
                    <a:pt x="905" y="568"/>
                    <a:pt x="986" y="691"/>
                    <a:pt x="998" y="717"/>
                  </a:cubicBezTo>
                  <a:cubicBezTo>
                    <a:pt x="999" y="717"/>
                    <a:pt x="1000" y="718"/>
                    <a:pt x="1001" y="718"/>
                  </a:cubicBezTo>
                  <a:cubicBezTo>
                    <a:pt x="1031" y="718"/>
                    <a:pt x="943" y="542"/>
                    <a:pt x="943" y="542"/>
                  </a:cubicBezTo>
                  <a:lnTo>
                    <a:pt x="943" y="542"/>
                  </a:lnTo>
                  <a:cubicBezTo>
                    <a:pt x="943" y="542"/>
                    <a:pt x="1293" y="1190"/>
                    <a:pt x="1374" y="1255"/>
                  </a:cubicBezTo>
                  <a:cubicBezTo>
                    <a:pt x="1377" y="1258"/>
                    <a:pt x="1380" y="1260"/>
                    <a:pt x="1381" y="1260"/>
                  </a:cubicBezTo>
                  <a:cubicBezTo>
                    <a:pt x="1401" y="1260"/>
                    <a:pt x="1193" y="895"/>
                    <a:pt x="1105" y="743"/>
                  </a:cubicBezTo>
                  <a:lnTo>
                    <a:pt x="1105" y="743"/>
                  </a:lnTo>
                  <a:cubicBezTo>
                    <a:pt x="1147" y="811"/>
                    <a:pt x="1212" y="918"/>
                    <a:pt x="1254" y="960"/>
                  </a:cubicBezTo>
                  <a:cubicBezTo>
                    <a:pt x="1256" y="961"/>
                    <a:pt x="1258" y="962"/>
                    <a:pt x="1260" y="962"/>
                  </a:cubicBezTo>
                  <a:cubicBezTo>
                    <a:pt x="1301" y="962"/>
                    <a:pt x="1024" y="474"/>
                    <a:pt x="1024" y="474"/>
                  </a:cubicBezTo>
                  <a:lnTo>
                    <a:pt x="1024" y="474"/>
                  </a:lnTo>
                  <a:cubicBezTo>
                    <a:pt x="1024" y="474"/>
                    <a:pt x="1118" y="568"/>
                    <a:pt x="1160" y="581"/>
                  </a:cubicBezTo>
                  <a:lnTo>
                    <a:pt x="1173" y="568"/>
                  </a:lnTo>
                  <a:cubicBezTo>
                    <a:pt x="1173" y="568"/>
                    <a:pt x="1160" y="542"/>
                    <a:pt x="1160" y="513"/>
                  </a:cubicBezTo>
                  <a:lnTo>
                    <a:pt x="1160" y="513"/>
                  </a:lnTo>
                  <a:cubicBezTo>
                    <a:pt x="1199" y="581"/>
                    <a:pt x="1335" y="756"/>
                    <a:pt x="1361" y="785"/>
                  </a:cubicBezTo>
                  <a:cubicBezTo>
                    <a:pt x="1363" y="786"/>
                    <a:pt x="1364" y="787"/>
                    <a:pt x="1366" y="787"/>
                  </a:cubicBezTo>
                  <a:cubicBezTo>
                    <a:pt x="1387" y="787"/>
                    <a:pt x="1228" y="555"/>
                    <a:pt x="1228" y="555"/>
                  </a:cubicBezTo>
                  <a:lnTo>
                    <a:pt x="1228" y="555"/>
                  </a:lnTo>
                  <a:cubicBezTo>
                    <a:pt x="1228" y="555"/>
                    <a:pt x="1591" y="892"/>
                    <a:pt x="1659" y="918"/>
                  </a:cubicBezTo>
                  <a:cubicBezTo>
                    <a:pt x="1661" y="919"/>
                    <a:pt x="1662" y="919"/>
                    <a:pt x="1663" y="919"/>
                  </a:cubicBezTo>
                  <a:cubicBezTo>
                    <a:pt x="1685" y="919"/>
                    <a:pt x="1253" y="512"/>
                    <a:pt x="1212" y="474"/>
                  </a:cubicBezTo>
                  <a:lnTo>
                    <a:pt x="1212" y="474"/>
                  </a:lnTo>
                  <a:cubicBezTo>
                    <a:pt x="1228" y="487"/>
                    <a:pt x="1309" y="555"/>
                    <a:pt x="1374" y="568"/>
                  </a:cubicBezTo>
                  <a:cubicBezTo>
                    <a:pt x="1376" y="569"/>
                    <a:pt x="1378" y="569"/>
                    <a:pt x="1380" y="569"/>
                  </a:cubicBezTo>
                  <a:cubicBezTo>
                    <a:pt x="1413" y="569"/>
                    <a:pt x="1248" y="441"/>
                    <a:pt x="1131" y="364"/>
                  </a:cubicBezTo>
                  <a:cubicBezTo>
                    <a:pt x="1118" y="351"/>
                    <a:pt x="1118" y="351"/>
                    <a:pt x="1118" y="338"/>
                  </a:cubicBezTo>
                  <a:lnTo>
                    <a:pt x="1118" y="338"/>
                  </a:lnTo>
                  <a:cubicBezTo>
                    <a:pt x="1131" y="351"/>
                    <a:pt x="1160" y="364"/>
                    <a:pt x="1173" y="380"/>
                  </a:cubicBezTo>
                  <a:cubicBezTo>
                    <a:pt x="1182" y="384"/>
                    <a:pt x="1188" y="386"/>
                    <a:pt x="1192" y="386"/>
                  </a:cubicBezTo>
                  <a:cubicBezTo>
                    <a:pt x="1226" y="386"/>
                    <a:pt x="1118" y="257"/>
                    <a:pt x="1118" y="257"/>
                  </a:cubicBezTo>
                  <a:lnTo>
                    <a:pt x="1118" y="257"/>
                  </a:lnTo>
                  <a:cubicBezTo>
                    <a:pt x="1118" y="257"/>
                    <a:pt x="1497" y="526"/>
                    <a:pt x="1552" y="542"/>
                  </a:cubicBezTo>
                  <a:cubicBezTo>
                    <a:pt x="1553" y="542"/>
                    <a:pt x="1554" y="543"/>
                    <a:pt x="1555" y="543"/>
                  </a:cubicBezTo>
                  <a:cubicBezTo>
                    <a:pt x="1573" y="543"/>
                    <a:pt x="1293" y="351"/>
                    <a:pt x="1293" y="351"/>
                  </a:cubicBezTo>
                  <a:lnTo>
                    <a:pt x="1293" y="351"/>
                  </a:lnTo>
                  <a:cubicBezTo>
                    <a:pt x="1293" y="351"/>
                    <a:pt x="1361" y="380"/>
                    <a:pt x="1442" y="393"/>
                  </a:cubicBezTo>
                  <a:cubicBezTo>
                    <a:pt x="1445" y="394"/>
                    <a:pt x="1447" y="394"/>
                    <a:pt x="1449" y="394"/>
                  </a:cubicBezTo>
                  <a:cubicBezTo>
                    <a:pt x="1475" y="394"/>
                    <a:pt x="1319" y="305"/>
                    <a:pt x="1214" y="241"/>
                  </a:cubicBezTo>
                  <a:lnTo>
                    <a:pt x="1214" y="241"/>
                  </a:lnTo>
                  <a:cubicBezTo>
                    <a:pt x="1225" y="244"/>
                    <a:pt x="1237" y="244"/>
                    <a:pt x="1254" y="244"/>
                  </a:cubicBezTo>
                  <a:cubicBezTo>
                    <a:pt x="1335" y="244"/>
                    <a:pt x="888" y="1"/>
                    <a:pt x="888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1" name="Google Shape;1121;p38"/>
            <p:cNvSpPr/>
            <p:nvPr/>
          </p:nvSpPr>
          <p:spPr>
            <a:xfrm>
              <a:off x="1620875" y="1440975"/>
              <a:ext cx="675" cy="2350"/>
            </a:xfrm>
            <a:custGeom>
              <a:avLst/>
              <a:gdLst/>
              <a:ahLst/>
              <a:cxnLst/>
              <a:rect l="l" t="t" r="r" b="b"/>
              <a:pathLst>
                <a:path w="27" h="94" extrusionOk="0">
                  <a:moveTo>
                    <a:pt x="1" y="0"/>
                  </a:moveTo>
                  <a:cubicBezTo>
                    <a:pt x="14" y="55"/>
                    <a:pt x="14" y="94"/>
                    <a:pt x="27" y="94"/>
                  </a:cubicBezTo>
                  <a:cubicBezTo>
                    <a:pt x="27" y="94"/>
                    <a:pt x="14" y="55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2" name="Google Shape;1122;p38"/>
            <p:cNvSpPr/>
            <p:nvPr/>
          </p:nvSpPr>
          <p:spPr>
            <a:xfrm>
              <a:off x="1613425" y="1432525"/>
              <a:ext cx="16225" cy="30225"/>
            </a:xfrm>
            <a:custGeom>
              <a:avLst/>
              <a:gdLst/>
              <a:ahLst/>
              <a:cxnLst/>
              <a:rect l="l" t="t" r="r" b="b"/>
              <a:pathLst>
                <a:path w="649" h="1209" extrusionOk="0">
                  <a:moveTo>
                    <a:pt x="299" y="487"/>
                  </a:moveTo>
                  <a:cubicBezTo>
                    <a:pt x="299" y="487"/>
                    <a:pt x="299" y="487"/>
                    <a:pt x="299" y="487"/>
                  </a:cubicBezTo>
                  <a:cubicBezTo>
                    <a:pt x="299" y="487"/>
                    <a:pt x="299" y="487"/>
                    <a:pt x="298" y="487"/>
                  </a:cubicBezTo>
                  <a:lnTo>
                    <a:pt x="298" y="487"/>
                  </a:lnTo>
                  <a:cubicBezTo>
                    <a:pt x="299" y="487"/>
                    <a:pt x="299" y="487"/>
                    <a:pt x="299" y="487"/>
                  </a:cubicBezTo>
                  <a:close/>
                  <a:moveTo>
                    <a:pt x="260" y="1"/>
                  </a:moveTo>
                  <a:lnTo>
                    <a:pt x="163" y="338"/>
                  </a:lnTo>
                  <a:lnTo>
                    <a:pt x="1" y="1041"/>
                  </a:lnTo>
                  <a:lnTo>
                    <a:pt x="231" y="445"/>
                  </a:lnTo>
                  <a:lnTo>
                    <a:pt x="231" y="445"/>
                  </a:lnTo>
                  <a:cubicBezTo>
                    <a:pt x="231" y="445"/>
                    <a:pt x="150" y="730"/>
                    <a:pt x="150" y="850"/>
                  </a:cubicBezTo>
                  <a:cubicBezTo>
                    <a:pt x="150" y="863"/>
                    <a:pt x="152" y="869"/>
                    <a:pt x="155" y="869"/>
                  </a:cubicBezTo>
                  <a:cubicBezTo>
                    <a:pt x="179" y="869"/>
                    <a:pt x="282" y="530"/>
                    <a:pt x="297" y="490"/>
                  </a:cubicBezTo>
                  <a:lnTo>
                    <a:pt x="297" y="490"/>
                  </a:lnTo>
                  <a:cubicBezTo>
                    <a:pt x="282" y="544"/>
                    <a:pt x="225" y="1209"/>
                    <a:pt x="241" y="1209"/>
                  </a:cubicBezTo>
                  <a:cubicBezTo>
                    <a:pt x="242" y="1209"/>
                    <a:pt x="243" y="1207"/>
                    <a:pt x="244" y="1203"/>
                  </a:cubicBezTo>
                  <a:cubicBezTo>
                    <a:pt x="260" y="1122"/>
                    <a:pt x="312" y="542"/>
                    <a:pt x="312" y="542"/>
                  </a:cubicBezTo>
                  <a:cubicBezTo>
                    <a:pt x="312" y="542"/>
                    <a:pt x="422" y="905"/>
                    <a:pt x="448" y="931"/>
                  </a:cubicBezTo>
                  <a:cubicBezTo>
                    <a:pt x="449" y="932"/>
                    <a:pt x="450" y="932"/>
                    <a:pt x="450" y="932"/>
                  </a:cubicBezTo>
                  <a:cubicBezTo>
                    <a:pt x="468" y="932"/>
                    <a:pt x="380" y="526"/>
                    <a:pt x="380" y="526"/>
                  </a:cubicBezTo>
                  <a:lnTo>
                    <a:pt x="380" y="526"/>
                  </a:lnTo>
                  <a:cubicBezTo>
                    <a:pt x="380" y="526"/>
                    <a:pt x="610" y="1028"/>
                    <a:pt x="623" y="1028"/>
                  </a:cubicBezTo>
                  <a:cubicBezTo>
                    <a:pt x="649" y="1028"/>
                    <a:pt x="260" y="1"/>
                    <a:pt x="26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3" name="Google Shape;1123;p38"/>
            <p:cNvSpPr/>
            <p:nvPr/>
          </p:nvSpPr>
          <p:spPr>
            <a:xfrm>
              <a:off x="1615325" y="1414950"/>
              <a:ext cx="9950" cy="5625"/>
            </a:xfrm>
            <a:custGeom>
              <a:avLst/>
              <a:gdLst/>
              <a:ahLst/>
              <a:cxnLst/>
              <a:rect l="l" t="t" r="r" b="b"/>
              <a:pathLst>
                <a:path w="398" h="225" extrusionOk="0">
                  <a:moveTo>
                    <a:pt x="89" y="82"/>
                  </a:moveTo>
                  <a:cubicBezTo>
                    <a:pt x="88" y="82"/>
                    <a:pt x="87" y="82"/>
                    <a:pt x="87" y="82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7" y="83"/>
                    <a:pt x="89" y="82"/>
                  </a:cubicBezTo>
                  <a:close/>
                  <a:moveTo>
                    <a:pt x="210" y="1"/>
                  </a:moveTo>
                  <a:cubicBezTo>
                    <a:pt x="210" y="1"/>
                    <a:pt x="108" y="71"/>
                    <a:pt x="89" y="82"/>
                  </a:cubicBezTo>
                  <a:lnTo>
                    <a:pt x="89" y="82"/>
                  </a:lnTo>
                  <a:cubicBezTo>
                    <a:pt x="109" y="80"/>
                    <a:pt x="184" y="56"/>
                    <a:pt x="184" y="56"/>
                  </a:cubicBezTo>
                  <a:lnTo>
                    <a:pt x="184" y="56"/>
                  </a:lnTo>
                  <a:cubicBezTo>
                    <a:pt x="184" y="56"/>
                    <a:pt x="0" y="164"/>
                    <a:pt x="17" y="164"/>
                  </a:cubicBezTo>
                  <a:cubicBezTo>
                    <a:pt x="18" y="164"/>
                    <a:pt x="20" y="164"/>
                    <a:pt x="22" y="163"/>
                  </a:cubicBezTo>
                  <a:cubicBezTo>
                    <a:pt x="48" y="150"/>
                    <a:pt x="168" y="111"/>
                    <a:pt x="168" y="111"/>
                  </a:cubicBezTo>
                  <a:lnTo>
                    <a:pt x="168" y="111"/>
                  </a:lnTo>
                  <a:cubicBezTo>
                    <a:pt x="168" y="111"/>
                    <a:pt x="1" y="225"/>
                    <a:pt x="18" y="225"/>
                  </a:cubicBezTo>
                  <a:cubicBezTo>
                    <a:pt x="20" y="225"/>
                    <a:pt x="25" y="223"/>
                    <a:pt x="35" y="218"/>
                  </a:cubicBezTo>
                  <a:cubicBezTo>
                    <a:pt x="103" y="192"/>
                    <a:pt x="223" y="111"/>
                    <a:pt x="223" y="111"/>
                  </a:cubicBezTo>
                  <a:cubicBezTo>
                    <a:pt x="223" y="111"/>
                    <a:pt x="367" y="206"/>
                    <a:pt x="383" y="206"/>
                  </a:cubicBezTo>
                  <a:cubicBezTo>
                    <a:pt x="384" y="206"/>
                    <a:pt x="385" y="206"/>
                    <a:pt x="385" y="205"/>
                  </a:cubicBezTo>
                  <a:cubicBezTo>
                    <a:pt x="398" y="205"/>
                    <a:pt x="249" y="95"/>
                    <a:pt x="249" y="95"/>
                  </a:cubicBezTo>
                  <a:lnTo>
                    <a:pt x="249" y="95"/>
                  </a:lnTo>
                  <a:cubicBezTo>
                    <a:pt x="249" y="95"/>
                    <a:pt x="341" y="127"/>
                    <a:pt x="366" y="127"/>
                  </a:cubicBezTo>
                  <a:cubicBezTo>
                    <a:pt x="370" y="127"/>
                    <a:pt x="372" y="126"/>
                    <a:pt x="372" y="124"/>
                  </a:cubicBezTo>
                  <a:cubicBezTo>
                    <a:pt x="372" y="114"/>
                    <a:pt x="317" y="95"/>
                    <a:pt x="291" y="86"/>
                  </a:cubicBezTo>
                  <a:lnTo>
                    <a:pt x="291" y="86"/>
                  </a:lnTo>
                  <a:cubicBezTo>
                    <a:pt x="304" y="90"/>
                    <a:pt x="323" y="95"/>
                    <a:pt x="338" y="95"/>
                  </a:cubicBezTo>
                  <a:cubicBezTo>
                    <a:pt x="350" y="95"/>
                    <a:pt x="359" y="92"/>
                    <a:pt x="359" y="82"/>
                  </a:cubicBezTo>
                  <a:cubicBezTo>
                    <a:pt x="346" y="69"/>
                    <a:pt x="210" y="1"/>
                    <a:pt x="21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4" name="Google Shape;1124;p38"/>
            <p:cNvSpPr/>
            <p:nvPr/>
          </p:nvSpPr>
          <p:spPr>
            <a:xfrm>
              <a:off x="1588475" y="1442025"/>
              <a:ext cx="350" cy="1300"/>
            </a:xfrm>
            <a:custGeom>
              <a:avLst/>
              <a:gdLst/>
              <a:ahLst/>
              <a:cxnLst/>
              <a:rect l="l" t="t" r="r" b="b"/>
              <a:pathLst>
                <a:path w="14" h="52" extrusionOk="0">
                  <a:moveTo>
                    <a:pt x="1" y="52"/>
                  </a:moveTo>
                  <a:cubicBezTo>
                    <a:pt x="1" y="52"/>
                    <a:pt x="1" y="26"/>
                    <a:pt x="14" y="0"/>
                  </a:cubicBezTo>
                  <a:cubicBezTo>
                    <a:pt x="1" y="26"/>
                    <a:pt x="1" y="52"/>
                    <a:pt x="1" y="52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5" name="Google Shape;1125;p38"/>
            <p:cNvSpPr/>
            <p:nvPr/>
          </p:nvSpPr>
          <p:spPr>
            <a:xfrm>
              <a:off x="1577800" y="1434875"/>
              <a:ext cx="22725" cy="17675"/>
            </a:xfrm>
            <a:custGeom>
              <a:avLst/>
              <a:gdLst/>
              <a:ahLst/>
              <a:cxnLst/>
              <a:rect l="l" t="t" r="r" b="b"/>
              <a:pathLst>
                <a:path w="909" h="707" extrusionOk="0">
                  <a:moveTo>
                    <a:pt x="334" y="176"/>
                  </a:moveTo>
                  <a:lnTo>
                    <a:pt x="334" y="176"/>
                  </a:lnTo>
                  <a:cubicBezTo>
                    <a:pt x="322" y="188"/>
                    <a:pt x="311" y="202"/>
                    <a:pt x="297" y="205"/>
                  </a:cubicBezTo>
                  <a:lnTo>
                    <a:pt x="297" y="205"/>
                  </a:lnTo>
                  <a:cubicBezTo>
                    <a:pt x="308" y="195"/>
                    <a:pt x="320" y="183"/>
                    <a:pt x="334" y="176"/>
                  </a:cubicBezTo>
                  <a:close/>
                  <a:moveTo>
                    <a:pt x="496" y="150"/>
                  </a:moveTo>
                  <a:cubicBezTo>
                    <a:pt x="522" y="189"/>
                    <a:pt x="577" y="257"/>
                    <a:pt x="603" y="286"/>
                  </a:cubicBezTo>
                  <a:cubicBezTo>
                    <a:pt x="564" y="244"/>
                    <a:pt x="496" y="189"/>
                    <a:pt x="470" y="176"/>
                  </a:cubicBezTo>
                  <a:lnTo>
                    <a:pt x="470" y="163"/>
                  </a:lnTo>
                  <a:cubicBezTo>
                    <a:pt x="483" y="176"/>
                    <a:pt x="509" y="176"/>
                    <a:pt x="509" y="189"/>
                  </a:cubicBezTo>
                  <a:cubicBezTo>
                    <a:pt x="512" y="192"/>
                    <a:pt x="513" y="194"/>
                    <a:pt x="514" y="194"/>
                  </a:cubicBezTo>
                  <a:cubicBezTo>
                    <a:pt x="517" y="194"/>
                    <a:pt x="506" y="171"/>
                    <a:pt x="496" y="150"/>
                  </a:cubicBezTo>
                  <a:close/>
                  <a:moveTo>
                    <a:pt x="415" y="163"/>
                  </a:moveTo>
                  <a:lnTo>
                    <a:pt x="415" y="163"/>
                  </a:lnTo>
                  <a:cubicBezTo>
                    <a:pt x="393" y="185"/>
                    <a:pt x="379" y="208"/>
                    <a:pt x="383" y="208"/>
                  </a:cubicBezTo>
                  <a:cubicBezTo>
                    <a:pt x="384" y="208"/>
                    <a:pt x="386" y="207"/>
                    <a:pt x="389" y="205"/>
                  </a:cubicBezTo>
                  <a:cubicBezTo>
                    <a:pt x="402" y="189"/>
                    <a:pt x="415" y="189"/>
                    <a:pt x="428" y="176"/>
                  </a:cubicBezTo>
                  <a:lnTo>
                    <a:pt x="428" y="189"/>
                  </a:lnTo>
                  <a:cubicBezTo>
                    <a:pt x="402" y="205"/>
                    <a:pt x="334" y="257"/>
                    <a:pt x="308" y="299"/>
                  </a:cubicBezTo>
                  <a:cubicBezTo>
                    <a:pt x="334" y="257"/>
                    <a:pt x="373" y="205"/>
                    <a:pt x="415" y="163"/>
                  </a:cubicBezTo>
                  <a:close/>
                  <a:moveTo>
                    <a:pt x="483" y="1"/>
                  </a:moveTo>
                  <a:cubicBezTo>
                    <a:pt x="483" y="1"/>
                    <a:pt x="185" y="150"/>
                    <a:pt x="227" y="150"/>
                  </a:cubicBezTo>
                  <a:cubicBezTo>
                    <a:pt x="230" y="150"/>
                    <a:pt x="232" y="150"/>
                    <a:pt x="234" y="150"/>
                  </a:cubicBezTo>
                  <a:lnTo>
                    <a:pt x="234" y="150"/>
                  </a:lnTo>
                  <a:cubicBezTo>
                    <a:pt x="177" y="187"/>
                    <a:pt x="95" y="231"/>
                    <a:pt x="130" y="231"/>
                  </a:cubicBezTo>
                  <a:cubicBezTo>
                    <a:pt x="172" y="218"/>
                    <a:pt x="198" y="205"/>
                    <a:pt x="198" y="205"/>
                  </a:cubicBezTo>
                  <a:lnTo>
                    <a:pt x="198" y="205"/>
                  </a:lnTo>
                  <a:cubicBezTo>
                    <a:pt x="198" y="205"/>
                    <a:pt x="36" y="312"/>
                    <a:pt x="65" y="312"/>
                  </a:cubicBezTo>
                  <a:cubicBezTo>
                    <a:pt x="91" y="299"/>
                    <a:pt x="292" y="150"/>
                    <a:pt x="292" y="150"/>
                  </a:cubicBezTo>
                  <a:lnTo>
                    <a:pt x="292" y="150"/>
                  </a:lnTo>
                  <a:cubicBezTo>
                    <a:pt x="292" y="150"/>
                    <a:pt x="242" y="223"/>
                    <a:pt x="256" y="223"/>
                  </a:cubicBezTo>
                  <a:cubicBezTo>
                    <a:pt x="258" y="223"/>
                    <a:pt x="261" y="221"/>
                    <a:pt x="266" y="218"/>
                  </a:cubicBezTo>
                  <a:cubicBezTo>
                    <a:pt x="270" y="218"/>
                    <a:pt x="274" y="217"/>
                    <a:pt x="278" y="216"/>
                  </a:cubicBezTo>
                  <a:lnTo>
                    <a:pt x="278" y="216"/>
                  </a:lnTo>
                  <a:cubicBezTo>
                    <a:pt x="215" y="266"/>
                    <a:pt x="132" y="325"/>
                    <a:pt x="159" y="325"/>
                  </a:cubicBezTo>
                  <a:cubicBezTo>
                    <a:pt x="194" y="313"/>
                    <a:pt x="231" y="292"/>
                    <a:pt x="248" y="276"/>
                  </a:cubicBezTo>
                  <a:lnTo>
                    <a:pt x="248" y="276"/>
                  </a:lnTo>
                  <a:cubicBezTo>
                    <a:pt x="205" y="320"/>
                    <a:pt x="1" y="514"/>
                    <a:pt x="8" y="514"/>
                  </a:cubicBezTo>
                  <a:cubicBezTo>
                    <a:pt x="9" y="514"/>
                    <a:pt x="9" y="513"/>
                    <a:pt x="10" y="513"/>
                  </a:cubicBezTo>
                  <a:cubicBezTo>
                    <a:pt x="36" y="500"/>
                    <a:pt x="240" y="312"/>
                    <a:pt x="240" y="312"/>
                  </a:cubicBezTo>
                  <a:lnTo>
                    <a:pt x="240" y="312"/>
                  </a:lnTo>
                  <a:cubicBezTo>
                    <a:pt x="240" y="312"/>
                    <a:pt x="154" y="449"/>
                    <a:pt x="169" y="449"/>
                  </a:cubicBezTo>
                  <a:cubicBezTo>
                    <a:pt x="170" y="449"/>
                    <a:pt x="171" y="449"/>
                    <a:pt x="172" y="448"/>
                  </a:cubicBezTo>
                  <a:cubicBezTo>
                    <a:pt x="185" y="419"/>
                    <a:pt x="253" y="338"/>
                    <a:pt x="279" y="299"/>
                  </a:cubicBezTo>
                  <a:lnTo>
                    <a:pt x="279" y="299"/>
                  </a:lnTo>
                  <a:cubicBezTo>
                    <a:pt x="279" y="312"/>
                    <a:pt x="266" y="325"/>
                    <a:pt x="266" y="325"/>
                  </a:cubicBezTo>
                  <a:lnTo>
                    <a:pt x="279" y="325"/>
                  </a:lnTo>
                  <a:cubicBezTo>
                    <a:pt x="292" y="325"/>
                    <a:pt x="347" y="270"/>
                    <a:pt x="347" y="270"/>
                  </a:cubicBezTo>
                  <a:lnTo>
                    <a:pt x="347" y="270"/>
                  </a:lnTo>
                  <a:cubicBezTo>
                    <a:pt x="347" y="270"/>
                    <a:pt x="192" y="542"/>
                    <a:pt x="225" y="542"/>
                  </a:cubicBezTo>
                  <a:cubicBezTo>
                    <a:pt x="225" y="542"/>
                    <a:pt x="226" y="542"/>
                    <a:pt x="227" y="542"/>
                  </a:cubicBezTo>
                  <a:cubicBezTo>
                    <a:pt x="240" y="513"/>
                    <a:pt x="279" y="461"/>
                    <a:pt x="308" y="419"/>
                  </a:cubicBezTo>
                  <a:lnTo>
                    <a:pt x="308" y="419"/>
                  </a:lnTo>
                  <a:cubicBezTo>
                    <a:pt x="256" y="508"/>
                    <a:pt x="143" y="706"/>
                    <a:pt x="156" y="706"/>
                  </a:cubicBezTo>
                  <a:cubicBezTo>
                    <a:pt x="156" y="706"/>
                    <a:pt x="157" y="705"/>
                    <a:pt x="159" y="704"/>
                  </a:cubicBezTo>
                  <a:cubicBezTo>
                    <a:pt x="198" y="662"/>
                    <a:pt x="389" y="312"/>
                    <a:pt x="389" y="312"/>
                  </a:cubicBezTo>
                  <a:lnTo>
                    <a:pt x="389" y="312"/>
                  </a:lnTo>
                  <a:cubicBezTo>
                    <a:pt x="389" y="312"/>
                    <a:pt x="352" y="407"/>
                    <a:pt x="358" y="407"/>
                  </a:cubicBezTo>
                  <a:cubicBezTo>
                    <a:pt x="359" y="407"/>
                    <a:pt x="359" y="407"/>
                    <a:pt x="360" y="406"/>
                  </a:cubicBezTo>
                  <a:cubicBezTo>
                    <a:pt x="373" y="393"/>
                    <a:pt x="415" y="312"/>
                    <a:pt x="441" y="270"/>
                  </a:cubicBezTo>
                  <a:lnTo>
                    <a:pt x="441" y="244"/>
                  </a:lnTo>
                  <a:cubicBezTo>
                    <a:pt x="454" y="231"/>
                    <a:pt x="454" y="231"/>
                    <a:pt x="454" y="218"/>
                  </a:cubicBezTo>
                  <a:lnTo>
                    <a:pt x="454" y="244"/>
                  </a:lnTo>
                  <a:cubicBezTo>
                    <a:pt x="454" y="257"/>
                    <a:pt x="441" y="257"/>
                    <a:pt x="441" y="270"/>
                  </a:cubicBezTo>
                  <a:lnTo>
                    <a:pt x="441" y="286"/>
                  </a:lnTo>
                  <a:cubicBezTo>
                    <a:pt x="441" y="270"/>
                    <a:pt x="454" y="257"/>
                    <a:pt x="454" y="257"/>
                  </a:cubicBezTo>
                  <a:cubicBezTo>
                    <a:pt x="483" y="299"/>
                    <a:pt x="522" y="380"/>
                    <a:pt x="535" y="393"/>
                  </a:cubicBezTo>
                  <a:cubicBezTo>
                    <a:pt x="536" y="394"/>
                    <a:pt x="537" y="394"/>
                    <a:pt x="537" y="394"/>
                  </a:cubicBezTo>
                  <a:cubicBezTo>
                    <a:pt x="546" y="394"/>
                    <a:pt x="509" y="299"/>
                    <a:pt x="509" y="299"/>
                  </a:cubicBezTo>
                  <a:lnTo>
                    <a:pt x="509" y="299"/>
                  </a:lnTo>
                  <a:cubicBezTo>
                    <a:pt x="509" y="299"/>
                    <a:pt x="697" y="649"/>
                    <a:pt x="739" y="691"/>
                  </a:cubicBezTo>
                  <a:cubicBezTo>
                    <a:pt x="740" y="693"/>
                    <a:pt x="741" y="693"/>
                    <a:pt x="742" y="693"/>
                  </a:cubicBezTo>
                  <a:cubicBezTo>
                    <a:pt x="750" y="693"/>
                    <a:pt x="680" y="564"/>
                    <a:pt x="632" y="468"/>
                  </a:cubicBezTo>
                  <a:lnTo>
                    <a:pt x="632" y="468"/>
                  </a:lnTo>
                  <a:cubicBezTo>
                    <a:pt x="649" y="495"/>
                    <a:pt x="669" y="520"/>
                    <a:pt x="684" y="529"/>
                  </a:cubicBezTo>
                  <a:cubicBezTo>
                    <a:pt x="685" y="530"/>
                    <a:pt x="686" y="531"/>
                    <a:pt x="687" y="531"/>
                  </a:cubicBezTo>
                  <a:cubicBezTo>
                    <a:pt x="700" y="531"/>
                    <a:pt x="551" y="257"/>
                    <a:pt x="551" y="257"/>
                  </a:cubicBezTo>
                  <a:lnTo>
                    <a:pt x="551" y="257"/>
                  </a:lnTo>
                  <a:cubicBezTo>
                    <a:pt x="551" y="257"/>
                    <a:pt x="603" y="312"/>
                    <a:pt x="632" y="325"/>
                  </a:cubicBezTo>
                  <a:lnTo>
                    <a:pt x="632" y="312"/>
                  </a:lnTo>
                  <a:cubicBezTo>
                    <a:pt x="632" y="312"/>
                    <a:pt x="632" y="310"/>
                    <a:pt x="631" y="306"/>
                  </a:cubicBezTo>
                  <a:lnTo>
                    <a:pt x="631" y="306"/>
                  </a:lnTo>
                  <a:cubicBezTo>
                    <a:pt x="664" y="351"/>
                    <a:pt x="717" y="421"/>
                    <a:pt x="739" y="432"/>
                  </a:cubicBezTo>
                  <a:cubicBezTo>
                    <a:pt x="740" y="433"/>
                    <a:pt x="740" y="433"/>
                    <a:pt x="740" y="433"/>
                  </a:cubicBezTo>
                  <a:cubicBezTo>
                    <a:pt x="742" y="433"/>
                    <a:pt x="658" y="312"/>
                    <a:pt x="658" y="312"/>
                  </a:cubicBezTo>
                  <a:lnTo>
                    <a:pt x="658" y="312"/>
                  </a:lnTo>
                  <a:cubicBezTo>
                    <a:pt x="658" y="312"/>
                    <a:pt x="859" y="487"/>
                    <a:pt x="888" y="500"/>
                  </a:cubicBezTo>
                  <a:cubicBezTo>
                    <a:pt x="889" y="500"/>
                    <a:pt x="890" y="500"/>
                    <a:pt x="891" y="500"/>
                  </a:cubicBezTo>
                  <a:cubicBezTo>
                    <a:pt x="908" y="500"/>
                    <a:pt x="761" y="367"/>
                    <a:pt x="692" y="296"/>
                  </a:cubicBezTo>
                  <a:lnTo>
                    <a:pt x="692" y="296"/>
                  </a:lnTo>
                  <a:cubicBezTo>
                    <a:pt x="706" y="305"/>
                    <a:pt x="722" y="312"/>
                    <a:pt x="739" y="312"/>
                  </a:cubicBezTo>
                  <a:cubicBezTo>
                    <a:pt x="742" y="313"/>
                    <a:pt x="744" y="313"/>
                    <a:pt x="745" y="313"/>
                  </a:cubicBezTo>
                  <a:cubicBezTo>
                    <a:pt x="762" y="313"/>
                    <a:pt x="666" y="241"/>
                    <a:pt x="603" y="205"/>
                  </a:cubicBezTo>
                  <a:lnTo>
                    <a:pt x="603" y="189"/>
                  </a:lnTo>
                  <a:cubicBezTo>
                    <a:pt x="603" y="205"/>
                    <a:pt x="616" y="205"/>
                    <a:pt x="632" y="218"/>
                  </a:cubicBezTo>
                  <a:cubicBezTo>
                    <a:pt x="635" y="219"/>
                    <a:pt x="638" y="219"/>
                    <a:pt x="640" y="219"/>
                  </a:cubicBezTo>
                  <a:cubicBezTo>
                    <a:pt x="674" y="219"/>
                    <a:pt x="603" y="137"/>
                    <a:pt x="603" y="137"/>
                  </a:cubicBezTo>
                  <a:lnTo>
                    <a:pt x="603" y="137"/>
                  </a:lnTo>
                  <a:cubicBezTo>
                    <a:pt x="603" y="137"/>
                    <a:pt x="807" y="286"/>
                    <a:pt x="833" y="299"/>
                  </a:cubicBezTo>
                  <a:cubicBezTo>
                    <a:pt x="858" y="299"/>
                    <a:pt x="705" y="195"/>
                    <a:pt x="697" y="189"/>
                  </a:cubicBezTo>
                  <a:lnTo>
                    <a:pt x="697" y="189"/>
                  </a:lnTo>
                  <a:cubicBezTo>
                    <a:pt x="701" y="192"/>
                    <a:pt x="741" y="218"/>
                    <a:pt x="778" y="218"/>
                  </a:cubicBezTo>
                  <a:cubicBezTo>
                    <a:pt x="807" y="218"/>
                    <a:pt x="697" y="163"/>
                    <a:pt x="645" y="137"/>
                  </a:cubicBezTo>
                  <a:lnTo>
                    <a:pt x="671" y="137"/>
                  </a:lnTo>
                  <a:cubicBezTo>
                    <a:pt x="713" y="137"/>
                    <a:pt x="483" y="1"/>
                    <a:pt x="483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6" name="Google Shape;1126;p38"/>
            <p:cNvSpPr/>
            <p:nvPr/>
          </p:nvSpPr>
          <p:spPr>
            <a:xfrm>
              <a:off x="1589125" y="1442025"/>
              <a:ext cx="775" cy="975"/>
            </a:xfrm>
            <a:custGeom>
              <a:avLst/>
              <a:gdLst/>
              <a:ahLst/>
              <a:cxnLst/>
              <a:rect l="l" t="t" r="r" b="b"/>
              <a:pathLst>
                <a:path w="31" h="39" extrusionOk="0">
                  <a:moveTo>
                    <a:pt x="1" y="0"/>
                  </a:moveTo>
                  <a:lnTo>
                    <a:pt x="1" y="0"/>
                  </a:lnTo>
                  <a:cubicBezTo>
                    <a:pt x="17" y="26"/>
                    <a:pt x="17" y="39"/>
                    <a:pt x="17" y="39"/>
                  </a:cubicBezTo>
                  <a:cubicBezTo>
                    <a:pt x="30" y="39"/>
                    <a:pt x="17" y="13"/>
                    <a:pt x="1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7" name="Google Shape;1127;p38"/>
            <p:cNvSpPr/>
            <p:nvPr/>
          </p:nvSpPr>
          <p:spPr>
            <a:xfrm>
              <a:off x="1588150" y="1446725"/>
              <a:ext cx="675" cy="1400"/>
            </a:xfrm>
            <a:custGeom>
              <a:avLst/>
              <a:gdLst/>
              <a:ahLst/>
              <a:cxnLst/>
              <a:rect l="l" t="t" r="r" b="b"/>
              <a:pathLst>
                <a:path w="27" h="56" extrusionOk="0">
                  <a:moveTo>
                    <a:pt x="27" y="0"/>
                  </a:moveTo>
                  <a:lnTo>
                    <a:pt x="27" y="0"/>
                  </a:lnTo>
                  <a:cubicBezTo>
                    <a:pt x="14" y="26"/>
                    <a:pt x="1" y="55"/>
                    <a:pt x="1" y="55"/>
                  </a:cubicBezTo>
                  <a:cubicBezTo>
                    <a:pt x="14" y="55"/>
                    <a:pt x="14" y="26"/>
                    <a:pt x="27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8" name="Google Shape;1128;p38"/>
            <p:cNvSpPr/>
            <p:nvPr/>
          </p:nvSpPr>
          <p:spPr>
            <a:xfrm>
              <a:off x="1574400" y="1437550"/>
              <a:ext cx="29250" cy="22100"/>
            </a:xfrm>
            <a:custGeom>
              <a:avLst/>
              <a:gdLst/>
              <a:ahLst/>
              <a:cxnLst/>
              <a:rect l="l" t="t" r="r" b="b"/>
              <a:pathLst>
                <a:path w="1170" h="884" extrusionOk="0">
                  <a:moveTo>
                    <a:pt x="404" y="250"/>
                  </a:moveTo>
                  <a:lnTo>
                    <a:pt x="404" y="250"/>
                  </a:lnTo>
                  <a:cubicBezTo>
                    <a:pt x="399" y="255"/>
                    <a:pt x="395" y="259"/>
                    <a:pt x="391" y="260"/>
                  </a:cubicBezTo>
                  <a:lnTo>
                    <a:pt x="391" y="260"/>
                  </a:lnTo>
                  <a:cubicBezTo>
                    <a:pt x="395" y="257"/>
                    <a:pt x="399" y="254"/>
                    <a:pt x="404" y="250"/>
                  </a:cubicBezTo>
                  <a:close/>
                  <a:moveTo>
                    <a:pt x="590" y="312"/>
                  </a:moveTo>
                  <a:lnTo>
                    <a:pt x="590" y="312"/>
                  </a:lnTo>
                  <a:cubicBezTo>
                    <a:pt x="587" y="315"/>
                    <a:pt x="585" y="317"/>
                    <a:pt x="583" y="321"/>
                  </a:cubicBezTo>
                  <a:lnTo>
                    <a:pt x="583" y="321"/>
                  </a:lnTo>
                  <a:cubicBezTo>
                    <a:pt x="587" y="315"/>
                    <a:pt x="590" y="312"/>
                    <a:pt x="590" y="312"/>
                  </a:cubicBezTo>
                  <a:close/>
                  <a:moveTo>
                    <a:pt x="590" y="312"/>
                  </a:moveTo>
                  <a:cubicBezTo>
                    <a:pt x="590" y="325"/>
                    <a:pt x="590" y="341"/>
                    <a:pt x="606" y="354"/>
                  </a:cubicBezTo>
                  <a:cubicBezTo>
                    <a:pt x="606" y="341"/>
                    <a:pt x="590" y="325"/>
                    <a:pt x="590" y="312"/>
                  </a:cubicBezTo>
                  <a:close/>
                  <a:moveTo>
                    <a:pt x="632" y="192"/>
                  </a:moveTo>
                  <a:cubicBezTo>
                    <a:pt x="687" y="244"/>
                    <a:pt x="739" y="312"/>
                    <a:pt x="781" y="354"/>
                  </a:cubicBezTo>
                  <a:cubicBezTo>
                    <a:pt x="726" y="312"/>
                    <a:pt x="645" y="231"/>
                    <a:pt x="619" y="218"/>
                  </a:cubicBezTo>
                  <a:lnTo>
                    <a:pt x="619" y="205"/>
                  </a:lnTo>
                  <a:cubicBezTo>
                    <a:pt x="632" y="218"/>
                    <a:pt x="658" y="231"/>
                    <a:pt x="671" y="244"/>
                  </a:cubicBezTo>
                  <a:cubicBezTo>
                    <a:pt x="671" y="244"/>
                    <a:pt x="658" y="218"/>
                    <a:pt x="632" y="192"/>
                  </a:cubicBezTo>
                  <a:close/>
                  <a:moveTo>
                    <a:pt x="538" y="205"/>
                  </a:moveTo>
                  <a:cubicBezTo>
                    <a:pt x="509" y="244"/>
                    <a:pt x="496" y="260"/>
                    <a:pt x="509" y="260"/>
                  </a:cubicBezTo>
                  <a:cubicBezTo>
                    <a:pt x="525" y="244"/>
                    <a:pt x="538" y="231"/>
                    <a:pt x="551" y="231"/>
                  </a:cubicBezTo>
                  <a:cubicBezTo>
                    <a:pt x="525" y="260"/>
                    <a:pt x="444" y="325"/>
                    <a:pt x="402" y="367"/>
                  </a:cubicBezTo>
                  <a:cubicBezTo>
                    <a:pt x="428" y="325"/>
                    <a:pt x="496" y="260"/>
                    <a:pt x="538" y="205"/>
                  </a:cubicBezTo>
                  <a:close/>
                  <a:moveTo>
                    <a:pt x="583" y="321"/>
                  </a:moveTo>
                  <a:cubicBezTo>
                    <a:pt x="580" y="326"/>
                    <a:pt x="577" y="333"/>
                    <a:pt x="577" y="341"/>
                  </a:cubicBezTo>
                  <a:lnTo>
                    <a:pt x="577" y="367"/>
                  </a:lnTo>
                  <a:cubicBezTo>
                    <a:pt x="577" y="347"/>
                    <a:pt x="577" y="332"/>
                    <a:pt x="583" y="321"/>
                  </a:cubicBezTo>
                  <a:close/>
                  <a:moveTo>
                    <a:pt x="619" y="1"/>
                  </a:moveTo>
                  <a:cubicBezTo>
                    <a:pt x="619" y="1"/>
                    <a:pt x="277" y="180"/>
                    <a:pt x="304" y="180"/>
                  </a:cubicBezTo>
                  <a:cubicBezTo>
                    <a:pt x="305" y="180"/>
                    <a:pt x="306" y="179"/>
                    <a:pt x="308" y="179"/>
                  </a:cubicBezTo>
                  <a:lnTo>
                    <a:pt x="334" y="179"/>
                  </a:lnTo>
                  <a:cubicBezTo>
                    <a:pt x="266" y="218"/>
                    <a:pt x="133" y="286"/>
                    <a:pt x="172" y="286"/>
                  </a:cubicBezTo>
                  <a:cubicBezTo>
                    <a:pt x="227" y="273"/>
                    <a:pt x="266" y="260"/>
                    <a:pt x="266" y="260"/>
                  </a:cubicBezTo>
                  <a:lnTo>
                    <a:pt x="266" y="260"/>
                  </a:lnTo>
                  <a:cubicBezTo>
                    <a:pt x="266" y="260"/>
                    <a:pt x="83" y="381"/>
                    <a:pt x="100" y="381"/>
                  </a:cubicBezTo>
                  <a:cubicBezTo>
                    <a:pt x="101" y="381"/>
                    <a:pt x="102" y="381"/>
                    <a:pt x="104" y="380"/>
                  </a:cubicBezTo>
                  <a:cubicBezTo>
                    <a:pt x="133" y="380"/>
                    <a:pt x="389" y="192"/>
                    <a:pt x="389" y="192"/>
                  </a:cubicBezTo>
                  <a:lnTo>
                    <a:pt x="389" y="192"/>
                  </a:lnTo>
                  <a:cubicBezTo>
                    <a:pt x="389" y="192"/>
                    <a:pt x="319" y="281"/>
                    <a:pt x="343" y="281"/>
                  </a:cubicBezTo>
                  <a:cubicBezTo>
                    <a:pt x="347" y="281"/>
                    <a:pt x="354" y="278"/>
                    <a:pt x="363" y="273"/>
                  </a:cubicBezTo>
                  <a:cubicBezTo>
                    <a:pt x="367" y="273"/>
                    <a:pt x="375" y="270"/>
                    <a:pt x="384" y="264"/>
                  </a:cubicBezTo>
                  <a:lnTo>
                    <a:pt x="384" y="264"/>
                  </a:lnTo>
                  <a:cubicBezTo>
                    <a:pt x="308" y="324"/>
                    <a:pt x="192" y="408"/>
                    <a:pt x="207" y="408"/>
                  </a:cubicBezTo>
                  <a:cubicBezTo>
                    <a:pt x="209" y="408"/>
                    <a:pt x="211" y="407"/>
                    <a:pt x="214" y="406"/>
                  </a:cubicBezTo>
                  <a:cubicBezTo>
                    <a:pt x="266" y="393"/>
                    <a:pt x="321" y="354"/>
                    <a:pt x="334" y="341"/>
                  </a:cubicBezTo>
                  <a:lnTo>
                    <a:pt x="334" y="341"/>
                  </a:lnTo>
                  <a:cubicBezTo>
                    <a:pt x="309" y="366"/>
                    <a:pt x="1" y="650"/>
                    <a:pt x="21" y="650"/>
                  </a:cubicBezTo>
                  <a:cubicBezTo>
                    <a:pt x="21" y="650"/>
                    <a:pt x="22" y="649"/>
                    <a:pt x="23" y="649"/>
                  </a:cubicBezTo>
                  <a:cubicBezTo>
                    <a:pt x="65" y="623"/>
                    <a:pt x="321" y="393"/>
                    <a:pt x="321" y="393"/>
                  </a:cubicBezTo>
                  <a:lnTo>
                    <a:pt x="321" y="393"/>
                  </a:lnTo>
                  <a:cubicBezTo>
                    <a:pt x="321" y="393"/>
                    <a:pt x="217" y="558"/>
                    <a:pt x="224" y="558"/>
                  </a:cubicBezTo>
                  <a:cubicBezTo>
                    <a:pt x="224" y="558"/>
                    <a:pt x="225" y="557"/>
                    <a:pt x="227" y="555"/>
                  </a:cubicBezTo>
                  <a:cubicBezTo>
                    <a:pt x="252" y="530"/>
                    <a:pt x="328" y="430"/>
                    <a:pt x="371" y="373"/>
                  </a:cubicBezTo>
                  <a:lnTo>
                    <a:pt x="371" y="373"/>
                  </a:lnTo>
                  <a:cubicBezTo>
                    <a:pt x="363" y="387"/>
                    <a:pt x="363" y="406"/>
                    <a:pt x="363" y="406"/>
                  </a:cubicBezTo>
                  <a:lnTo>
                    <a:pt x="363" y="422"/>
                  </a:lnTo>
                  <a:cubicBezTo>
                    <a:pt x="389" y="406"/>
                    <a:pt x="457" y="341"/>
                    <a:pt x="457" y="341"/>
                  </a:cubicBezTo>
                  <a:lnTo>
                    <a:pt x="457" y="341"/>
                  </a:lnTo>
                  <a:cubicBezTo>
                    <a:pt x="457" y="341"/>
                    <a:pt x="267" y="679"/>
                    <a:pt x="292" y="679"/>
                  </a:cubicBezTo>
                  <a:cubicBezTo>
                    <a:pt x="292" y="679"/>
                    <a:pt x="294" y="679"/>
                    <a:pt x="295" y="678"/>
                  </a:cubicBezTo>
                  <a:cubicBezTo>
                    <a:pt x="311" y="660"/>
                    <a:pt x="340" y="627"/>
                    <a:pt x="365" y="591"/>
                  </a:cubicBezTo>
                  <a:lnTo>
                    <a:pt x="365" y="591"/>
                  </a:lnTo>
                  <a:cubicBezTo>
                    <a:pt x="297" y="708"/>
                    <a:pt x="207" y="883"/>
                    <a:pt x="221" y="883"/>
                  </a:cubicBezTo>
                  <a:cubicBezTo>
                    <a:pt x="222" y="883"/>
                    <a:pt x="224" y="882"/>
                    <a:pt x="227" y="879"/>
                  </a:cubicBezTo>
                  <a:cubicBezTo>
                    <a:pt x="282" y="827"/>
                    <a:pt x="509" y="380"/>
                    <a:pt x="509" y="380"/>
                  </a:cubicBezTo>
                  <a:lnTo>
                    <a:pt x="509" y="380"/>
                  </a:lnTo>
                  <a:cubicBezTo>
                    <a:pt x="509" y="380"/>
                    <a:pt x="462" y="504"/>
                    <a:pt x="469" y="504"/>
                  </a:cubicBezTo>
                  <a:cubicBezTo>
                    <a:pt x="469" y="504"/>
                    <a:pt x="469" y="504"/>
                    <a:pt x="470" y="503"/>
                  </a:cubicBezTo>
                  <a:cubicBezTo>
                    <a:pt x="496" y="503"/>
                    <a:pt x="551" y="393"/>
                    <a:pt x="577" y="341"/>
                  </a:cubicBezTo>
                  <a:lnTo>
                    <a:pt x="577" y="299"/>
                  </a:lnTo>
                  <a:cubicBezTo>
                    <a:pt x="590" y="286"/>
                    <a:pt x="590" y="286"/>
                    <a:pt x="590" y="273"/>
                  </a:cubicBezTo>
                  <a:lnTo>
                    <a:pt x="590" y="299"/>
                  </a:lnTo>
                  <a:lnTo>
                    <a:pt x="590" y="312"/>
                  </a:lnTo>
                  <a:cubicBezTo>
                    <a:pt x="619" y="380"/>
                    <a:pt x="687" y="474"/>
                    <a:pt x="700" y="487"/>
                  </a:cubicBezTo>
                  <a:cubicBezTo>
                    <a:pt x="701" y="488"/>
                    <a:pt x="703" y="488"/>
                    <a:pt x="704" y="488"/>
                  </a:cubicBezTo>
                  <a:cubicBezTo>
                    <a:pt x="718" y="488"/>
                    <a:pt x="658" y="367"/>
                    <a:pt x="658" y="367"/>
                  </a:cubicBezTo>
                  <a:lnTo>
                    <a:pt x="658" y="367"/>
                  </a:lnTo>
                  <a:cubicBezTo>
                    <a:pt x="658" y="367"/>
                    <a:pt x="901" y="811"/>
                    <a:pt x="956" y="866"/>
                  </a:cubicBezTo>
                  <a:cubicBezTo>
                    <a:pt x="959" y="869"/>
                    <a:pt x="960" y="870"/>
                    <a:pt x="961" y="870"/>
                  </a:cubicBezTo>
                  <a:cubicBezTo>
                    <a:pt x="972" y="870"/>
                    <a:pt x="865" y="680"/>
                    <a:pt x="797" y="564"/>
                  </a:cubicBezTo>
                  <a:lnTo>
                    <a:pt x="797" y="564"/>
                  </a:lnTo>
                  <a:cubicBezTo>
                    <a:pt x="824" y="604"/>
                    <a:pt x="857" y="644"/>
                    <a:pt x="875" y="665"/>
                  </a:cubicBezTo>
                  <a:cubicBezTo>
                    <a:pt x="876" y="666"/>
                    <a:pt x="877" y="666"/>
                    <a:pt x="878" y="666"/>
                  </a:cubicBezTo>
                  <a:cubicBezTo>
                    <a:pt x="900" y="666"/>
                    <a:pt x="713" y="325"/>
                    <a:pt x="713" y="325"/>
                  </a:cubicBezTo>
                  <a:lnTo>
                    <a:pt x="713" y="325"/>
                  </a:lnTo>
                  <a:cubicBezTo>
                    <a:pt x="713" y="325"/>
                    <a:pt x="781" y="393"/>
                    <a:pt x="807" y="406"/>
                  </a:cubicBezTo>
                  <a:lnTo>
                    <a:pt x="807" y="393"/>
                  </a:lnTo>
                  <a:cubicBezTo>
                    <a:pt x="820" y="393"/>
                    <a:pt x="807" y="367"/>
                    <a:pt x="807" y="354"/>
                  </a:cubicBezTo>
                  <a:lnTo>
                    <a:pt x="807" y="354"/>
                  </a:lnTo>
                  <a:cubicBezTo>
                    <a:pt x="833" y="406"/>
                    <a:pt x="930" y="516"/>
                    <a:pt x="943" y="542"/>
                  </a:cubicBezTo>
                  <a:cubicBezTo>
                    <a:pt x="945" y="544"/>
                    <a:pt x="946" y="544"/>
                    <a:pt x="946" y="544"/>
                  </a:cubicBezTo>
                  <a:cubicBezTo>
                    <a:pt x="954" y="544"/>
                    <a:pt x="849" y="380"/>
                    <a:pt x="849" y="380"/>
                  </a:cubicBezTo>
                  <a:lnTo>
                    <a:pt x="849" y="380"/>
                  </a:lnTo>
                  <a:cubicBezTo>
                    <a:pt x="849" y="380"/>
                    <a:pt x="1105" y="610"/>
                    <a:pt x="1144" y="636"/>
                  </a:cubicBezTo>
                  <a:cubicBezTo>
                    <a:pt x="1145" y="636"/>
                    <a:pt x="1146" y="636"/>
                    <a:pt x="1146" y="636"/>
                  </a:cubicBezTo>
                  <a:cubicBezTo>
                    <a:pt x="1169" y="636"/>
                    <a:pt x="944" y="420"/>
                    <a:pt x="859" y="347"/>
                  </a:cubicBezTo>
                  <a:lnTo>
                    <a:pt x="859" y="347"/>
                  </a:lnTo>
                  <a:cubicBezTo>
                    <a:pt x="884" y="364"/>
                    <a:pt x="919" y="384"/>
                    <a:pt x="956" y="393"/>
                  </a:cubicBezTo>
                  <a:cubicBezTo>
                    <a:pt x="958" y="394"/>
                    <a:pt x="960" y="394"/>
                    <a:pt x="961" y="394"/>
                  </a:cubicBezTo>
                  <a:cubicBezTo>
                    <a:pt x="980" y="394"/>
                    <a:pt x="869" y="308"/>
                    <a:pt x="781" y="244"/>
                  </a:cubicBezTo>
                  <a:lnTo>
                    <a:pt x="781" y="231"/>
                  </a:lnTo>
                  <a:lnTo>
                    <a:pt x="807" y="260"/>
                  </a:lnTo>
                  <a:cubicBezTo>
                    <a:pt x="816" y="265"/>
                    <a:pt x="823" y="268"/>
                    <a:pt x="827" y="268"/>
                  </a:cubicBezTo>
                  <a:cubicBezTo>
                    <a:pt x="851" y="268"/>
                    <a:pt x="781" y="179"/>
                    <a:pt x="781" y="179"/>
                  </a:cubicBezTo>
                  <a:lnTo>
                    <a:pt x="781" y="179"/>
                  </a:lnTo>
                  <a:cubicBezTo>
                    <a:pt x="781" y="179"/>
                    <a:pt x="1037" y="367"/>
                    <a:pt x="1076" y="367"/>
                  </a:cubicBezTo>
                  <a:cubicBezTo>
                    <a:pt x="1077" y="368"/>
                    <a:pt x="1078" y="368"/>
                    <a:pt x="1078" y="368"/>
                  </a:cubicBezTo>
                  <a:cubicBezTo>
                    <a:pt x="1087" y="368"/>
                    <a:pt x="901" y="244"/>
                    <a:pt x="901" y="244"/>
                  </a:cubicBezTo>
                  <a:lnTo>
                    <a:pt x="901" y="244"/>
                  </a:lnTo>
                  <a:cubicBezTo>
                    <a:pt x="901" y="244"/>
                    <a:pt x="943" y="260"/>
                    <a:pt x="995" y="273"/>
                  </a:cubicBezTo>
                  <a:cubicBezTo>
                    <a:pt x="1037" y="273"/>
                    <a:pt x="901" y="205"/>
                    <a:pt x="833" y="163"/>
                  </a:cubicBezTo>
                  <a:lnTo>
                    <a:pt x="875" y="163"/>
                  </a:lnTo>
                  <a:cubicBezTo>
                    <a:pt x="877" y="164"/>
                    <a:pt x="879" y="164"/>
                    <a:pt x="880" y="164"/>
                  </a:cubicBezTo>
                  <a:cubicBezTo>
                    <a:pt x="904" y="164"/>
                    <a:pt x="619" y="1"/>
                    <a:pt x="619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9" name="Google Shape;1129;p38"/>
            <p:cNvSpPr/>
            <p:nvPr/>
          </p:nvSpPr>
          <p:spPr>
            <a:xfrm>
              <a:off x="1589550" y="1446400"/>
              <a:ext cx="350" cy="1300"/>
            </a:xfrm>
            <a:custGeom>
              <a:avLst/>
              <a:gdLst/>
              <a:ahLst/>
              <a:cxnLst/>
              <a:rect l="l" t="t" r="r" b="b"/>
              <a:pathLst>
                <a:path w="14" h="52" extrusionOk="0">
                  <a:moveTo>
                    <a:pt x="0" y="0"/>
                  </a:moveTo>
                  <a:cubicBezTo>
                    <a:pt x="0" y="26"/>
                    <a:pt x="13" y="52"/>
                    <a:pt x="13" y="52"/>
                  </a:cubicBezTo>
                  <a:cubicBezTo>
                    <a:pt x="13" y="52"/>
                    <a:pt x="0" y="26"/>
                    <a:pt x="0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0" name="Google Shape;1130;p38"/>
            <p:cNvSpPr/>
            <p:nvPr/>
          </p:nvSpPr>
          <p:spPr>
            <a:xfrm>
              <a:off x="1587925" y="1454175"/>
              <a:ext cx="575" cy="1725"/>
            </a:xfrm>
            <a:custGeom>
              <a:avLst/>
              <a:gdLst/>
              <a:ahLst/>
              <a:cxnLst/>
              <a:rect l="l" t="t" r="r" b="b"/>
              <a:pathLst>
                <a:path w="23" h="69" extrusionOk="0">
                  <a:moveTo>
                    <a:pt x="23" y="0"/>
                  </a:moveTo>
                  <a:lnTo>
                    <a:pt x="23" y="0"/>
                  </a:lnTo>
                  <a:cubicBezTo>
                    <a:pt x="12" y="33"/>
                    <a:pt x="1" y="68"/>
                    <a:pt x="6" y="68"/>
                  </a:cubicBezTo>
                  <a:cubicBezTo>
                    <a:pt x="7" y="68"/>
                    <a:pt x="8" y="67"/>
                    <a:pt x="10" y="65"/>
                  </a:cubicBezTo>
                  <a:cubicBezTo>
                    <a:pt x="10" y="65"/>
                    <a:pt x="10" y="39"/>
                    <a:pt x="23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1" name="Google Shape;1131;p38"/>
            <p:cNvSpPr/>
            <p:nvPr/>
          </p:nvSpPr>
          <p:spPr>
            <a:xfrm>
              <a:off x="1570925" y="1442975"/>
              <a:ext cx="36150" cy="27550"/>
            </a:xfrm>
            <a:custGeom>
              <a:avLst/>
              <a:gdLst/>
              <a:ahLst/>
              <a:cxnLst/>
              <a:rect l="l" t="t" r="r" b="b"/>
              <a:pathLst>
                <a:path w="1446" h="1102" extrusionOk="0">
                  <a:moveTo>
                    <a:pt x="716" y="367"/>
                  </a:moveTo>
                  <a:cubicBezTo>
                    <a:pt x="716" y="367"/>
                    <a:pt x="716" y="380"/>
                    <a:pt x="729" y="380"/>
                  </a:cubicBezTo>
                  <a:cubicBezTo>
                    <a:pt x="729" y="367"/>
                    <a:pt x="716" y="367"/>
                    <a:pt x="716" y="367"/>
                  </a:cubicBezTo>
                  <a:close/>
                  <a:moveTo>
                    <a:pt x="731" y="402"/>
                  </a:moveTo>
                  <a:cubicBezTo>
                    <a:pt x="733" y="410"/>
                    <a:pt x="737" y="420"/>
                    <a:pt x="745" y="432"/>
                  </a:cubicBezTo>
                  <a:cubicBezTo>
                    <a:pt x="745" y="422"/>
                    <a:pt x="736" y="412"/>
                    <a:pt x="731" y="402"/>
                  </a:cubicBezTo>
                  <a:close/>
                  <a:moveTo>
                    <a:pt x="784" y="231"/>
                  </a:moveTo>
                  <a:cubicBezTo>
                    <a:pt x="839" y="299"/>
                    <a:pt x="920" y="380"/>
                    <a:pt x="959" y="432"/>
                  </a:cubicBezTo>
                  <a:cubicBezTo>
                    <a:pt x="891" y="380"/>
                    <a:pt x="784" y="286"/>
                    <a:pt x="758" y="257"/>
                  </a:cubicBezTo>
                  <a:cubicBezTo>
                    <a:pt x="771" y="257"/>
                    <a:pt x="810" y="270"/>
                    <a:pt x="826" y="299"/>
                  </a:cubicBezTo>
                  <a:cubicBezTo>
                    <a:pt x="839" y="299"/>
                    <a:pt x="810" y="270"/>
                    <a:pt x="784" y="231"/>
                  </a:cubicBezTo>
                  <a:close/>
                  <a:moveTo>
                    <a:pt x="664" y="244"/>
                  </a:moveTo>
                  <a:lnTo>
                    <a:pt x="664" y="244"/>
                  </a:lnTo>
                  <a:cubicBezTo>
                    <a:pt x="639" y="280"/>
                    <a:pt x="616" y="315"/>
                    <a:pt x="619" y="315"/>
                  </a:cubicBezTo>
                  <a:cubicBezTo>
                    <a:pt x="619" y="315"/>
                    <a:pt x="620" y="314"/>
                    <a:pt x="622" y="312"/>
                  </a:cubicBezTo>
                  <a:cubicBezTo>
                    <a:pt x="635" y="299"/>
                    <a:pt x="664" y="286"/>
                    <a:pt x="677" y="270"/>
                  </a:cubicBezTo>
                  <a:lnTo>
                    <a:pt x="690" y="270"/>
                  </a:lnTo>
                  <a:cubicBezTo>
                    <a:pt x="648" y="312"/>
                    <a:pt x="541" y="393"/>
                    <a:pt x="486" y="461"/>
                  </a:cubicBezTo>
                  <a:cubicBezTo>
                    <a:pt x="528" y="406"/>
                    <a:pt x="596" y="312"/>
                    <a:pt x="664" y="244"/>
                  </a:cubicBezTo>
                  <a:close/>
                  <a:moveTo>
                    <a:pt x="1174" y="660"/>
                  </a:moveTo>
                  <a:lnTo>
                    <a:pt x="1174" y="660"/>
                  </a:lnTo>
                  <a:cubicBezTo>
                    <a:pt x="1177" y="665"/>
                    <a:pt x="1179" y="667"/>
                    <a:pt x="1179" y="667"/>
                  </a:cubicBezTo>
                  <a:cubicBezTo>
                    <a:pt x="1179" y="667"/>
                    <a:pt x="1178" y="665"/>
                    <a:pt x="1176" y="662"/>
                  </a:cubicBezTo>
                  <a:cubicBezTo>
                    <a:pt x="1175" y="661"/>
                    <a:pt x="1175" y="661"/>
                    <a:pt x="1174" y="660"/>
                  </a:cubicBezTo>
                  <a:close/>
                  <a:moveTo>
                    <a:pt x="771" y="1"/>
                  </a:moveTo>
                  <a:cubicBezTo>
                    <a:pt x="771" y="1"/>
                    <a:pt x="323" y="219"/>
                    <a:pt x="362" y="219"/>
                  </a:cubicBezTo>
                  <a:cubicBezTo>
                    <a:pt x="363" y="219"/>
                    <a:pt x="364" y="218"/>
                    <a:pt x="366" y="218"/>
                  </a:cubicBezTo>
                  <a:cubicBezTo>
                    <a:pt x="373" y="218"/>
                    <a:pt x="381" y="218"/>
                    <a:pt x="388" y="216"/>
                  </a:cubicBezTo>
                  <a:lnTo>
                    <a:pt x="388" y="216"/>
                  </a:lnTo>
                  <a:cubicBezTo>
                    <a:pt x="304" y="269"/>
                    <a:pt x="165" y="351"/>
                    <a:pt x="204" y="351"/>
                  </a:cubicBezTo>
                  <a:cubicBezTo>
                    <a:pt x="272" y="338"/>
                    <a:pt x="324" y="312"/>
                    <a:pt x="324" y="312"/>
                  </a:cubicBezTo>
                  <a:lnTo>
                    <a:pt x="324" y="312"/>
                  </a:lnTo>
                  <a:cubicBezTo>
                    <a:pt x="324" y="312"/>
                    <a:pt x="86" y="475"/>
                    <a:pt x="107" y="475"/>
                  </a:cubicBezTo>
                  <a:cubicBezTo>
                    <a:pt x="107" y="475"/>
                    <a:pt x="109" y="474"/>
                    <a:pt x="110" y="474"/>
                  </a:cubicBezTo>
                  <a:cubicBezTo>
                    <a:pt x="149" y="461"/>
                    <a:pt x="486" y="231"/>
                    <a:pt x="486" y="231"/>
                  </a:cubicBezTo>
                  <a:lnTo>
                    <a:pt x="486" y="231"/>
                  </a:lnTo>
                  <a:cubicBezTo>
                    <a:pt x="486" y="231"/>
                    <a:pt x="394" y="345"/>
                    <a:pt x="417" y="345"/>
                  </a:cubicBezTo>
                  <a:cubicBezTo>
                    <a:pt x="420" y="345"/>
                    <a:pt x="426" y="343"/>
                    <a:pt x="434" y="338"/>
                  </a:cubicBezTo>
                  <a:cubicBezTo>
                    <a:pt x="460" y="325"/>
                    <a:pt x="502" y="299"/>
                    <a:pt x="528" y="257"/>
                  </a:cubicBezTo>
                  <a:lnTo>
                    <a:pt x="528" y="257"/>
                  </a:lnTo>
                  <a:cubicBezTo>
                    <a:pt x="515" y="286"/>
                    <a:pt x="486" y="312"/>
                    <a:pt x="486" y="312"/>
                  </a:cubicBezTo>
                  <a:cubicBezTo>
                    <a:pt x="372" y="389"/>
                    <a:pt x="220" y="501"/>
                    <a:pt x="252" y="501"/>
                  </a:cubicBezTo>
                  <a:cubicBezTo>
                    <a:pt x="254" y="501"/>
                    <a:pt x="256" y="501"/>
                    <a:pt x="259" y="500"/>
                  </a:cubicBezTo>
                  <a:cubicBezTo>
                    <a:pt x="308" y="490"/>
                    <a:pt x="358" y="457"/>
                    <a:pt x="386" y="435"/>
                  </a:cubicBezTo>
                  <a:lnTo>
                    <a:pt x="386" y="435"/>
                  </a:lnTo>
                  <a:cubicBezTo>
                    <a:pt x="301" y="511"/>
                    <a:pt x="1" y="799"/>
                    <a:pt x="13" y="799"/>
                  </a:cubicBezTo>
                  <a:cubicBezTo>
                    <a:pt x="14" y="799"/>
                    <a:pt x="15" y="799"/>
                    <a:pt x="16" y="798"/>
                  </a:cubicBezTo>
                  <a:cubicBezTo>
                    <a:pt x="68" y="785"/>
                    <a:pt x="379" y="487"/>
                    <a:pt x="379" y="487"/>
                  </a:cubicBezTo>
                  <a:lnTo>
                    <a:pt x="379" y="487"/>
                  </a:lnTo>
                  <a:cubicBezTo>
                    <a:pt x="379" y="487"/>
                    <a:pt x="257" y="693"/>
                    <a:pt x="269" y="693"/>
                  </a:cubicBezTo>
                  <a:cubicBezTo>
                    <a:pt x="269" y="693"/>
                    <a:pt x="270" y="692"/>
                    <a:pt x="272" y="691"/>
                  </a:cubicBezTo>
                  <a:cubicBezTo>
                    <a:pt x="298" y="662"/>
                    <a:pt x="405" y="513"/>
                    <a:pt x="447" y="448"/>
                  </a:cubicBezTo>
                  <a:lnTo>
                    <a:pt x="447" y="448"/>
                  </a:lnTo>
                  <a:cubicBezTo>
                    <a:pt x="447" y="474"/>
                    <a:pt x="434" y="500"/>
                    <a:pt x="447" y="500"/>
                  </a:cubicBezTo>
                  <a:lnTo>
                    <a:pt x="447" y="513"/>
                  </a:lnTo>
                  <a:cubicBezTo>
                    <a:pt x="473" y="500"/>
                    <a:pt x="567" y="419"/>
                    <a:pt x="567" y="419"/>
                  </a:cubicBezTo>
                  <a:lnTo>
                    <a:pt x="567" y="419"/>
                  </a:lnTo>
                  <a:cubicBezTo>
                    <a:pt x="567" y="419"/>
                    <a:pt x="333" y="840"/>
                    <a:pt x="360" y="840"/>
                  </a:cubicBezTo>
                  <a:cubicBezTo>
                    <a:pt x="362" y="840"/>
                    <a:pt x="364" y="839"/>
                    <a:pt x="366" y="837"/>
                  </a:cubicBezTo>
                  <a:cubicBezTo>
                    <a:pt x="392" y="811"/>
                    <a:pt x="447" y="717"/>
                    <a:pt x="486" y="649"/>
                  </a:cubicBezTo>
                  <a:lnTo>
                    <a:pt x="486" y="649"/>
                  </a:lnTo>
                  <a:cubicBezTo>
                    <a:pt x="410" y="788"/>
                    <a:pt x="242" y="1101"/>
                    <a:pt x="264" y="1101"/>
                  </a:cubicBezTo>
                  <a:cubicBezTo>
                    <a:pt x="266" y="1101"/>
                    <a:pt x="268" y="1100"/>
                    <a:pt x="272" y="1096"/>
                  </a:cubicBezTo>
                  <a:cubicBezTo>
                    <a:pt x="324" y="1041"/>
                    <a:pt x="635" y="474"/>
                    <a:pt x="635" y="474"/>
                  </a:cubicBezTo>
                  <a:lnTo>
                    <a:pt x="635" y="474"/>
                  </a:lnTo>
                  <a:cubicBezTo>
                    <a:pt x="635" y="474"/>
                    <a:pt x="560" y="624"/>
                    <a:pt x="580" y="624"/>
                  </a:cubicBezTo>
                  <a:cubicBezTo>
                    <a:pt x="581" y="624"/>
                    <a:pt x="582" y="624"/>
                    <a:pt x="583" y="623"/>
                  </a:cubicBezTo>
                  <a:cubicBezTo>
                    <a:pt x="607" y="611"/>
                    <a:pt x="665" y="498"/>
                    <a:pt x="704" y="426"/>
                  </a:cubicBezTo>
                  <a:lnTo>
                    <a:pt x="704" y="426"/>
                  </a:lnTo>
                  <a:cubicBezTo>
                    <a:pt x="703" y="433"/>
                    <a:pt x="703" y="440"/>
                    <a:pt x="703" y="448"/>
                  </a:cubicBezTo>
                  <a:cubicBezTo>
                    <a:pt x="716" y="419"/>
                    <a:pt x="716" y="406"/>
                    <a:pt x="729" y="380"/>
                  </a:cubicBezTo>
                  <a:lnTo>
                    <a:pt x="729" y="380"/>
                  </a:lnTo>
                  <a:cubicBezTo>
                    <a:pt x="716" y="393"/>
                    <a:pt x="716" y="393"/>
                    <a:pt x="716" y="406"/>
                  </a:cubicBezTo>
                  <a:lnTo>
                    <a:pt x="716" y="367"/>
                  </a:lnTo>
                  <a:cubicBezTo>
                    <a:pt x="716" y="351"/>
                    <a:pt x="716" y="338"/>
                    <a:pt x="729" y="338"/>
                  </a:cubicBezTo>
                  <a:lnTo>
                    <a:pt x="729" y="367"/>
                  </a:lnTo>
                  <a:lnTo>
                    <a:pt x="729" y="380"/>
                  </a:lnTo>
                  <a:cubicBezTo>
                    <a:pt x="729" y="385"/>
                    <a:pt x="729" y="389"/>
                    <a:pt x="730" y="394"/>
                  </a:cubicBezTo>
                  <a:lnTo>
                    <a:pt x="730" y="394"/>
                  </a:lnTo>
                  <a:cubicBezTo>
                    <a:pt x="729" y="394"/>
                    <a:pt x="729" y="393"/>
                    <a:pt x="729" y="393"/>
                  </a:cubicBezTo>
                  <a:lnTo>
                    <a:pt x="729" y="393"/>
                  </a:lnTo>
                  <a:cubicBezTo>
                    <a:pt x="729" y="396"/>
                    <a:pt x="730" y="399"/>
                    <a:pt x="731" y="402"/>
                  </a:cubicBezTo>
                  <a:lnTo>
                    <a:pt x="731" y="402"/>
                  </a:lnTo>
                  <a:cubicBezTo>
                    <a:pt x="730" y="399"/>
                    <a:pt x="730" y="397"/>
                    <a:pt x="730" y="394"/>
                  </a:cubicBezTo>
                  <a:lnTo>
                    <a:pt x="730" y="394"/>
                  </a:lnTo>
                  <a:cubicBezTo>
                    <a:pt x="772" y="462"/>
                    <a:pt x="839" y="594"/>
                    <a:pt x="865" y="610"/>
                  </a:cubicBezTo>
                  <a:cubicBezTo>
                    <a:pt x="866" y="611"/>
                    <a:pt x="867" y="611"/>
                    <a:pt x="867" y="611"/>
                  </a:cubicBezTo>
                  <a:cubicBezTo>
                    <a:pt x="885" y="611"/>
                    <a:pt x="810" y="461"/>
                    <a:pt x="810" y="461"/>
                  </a:cubicBezTo>
                  <a:lnTo>
                    <a:pt x="810" y="461"/>
                  </a:lnTo>
                  <a:cubicBezTo>
                    <a:pt x="810" y="461"/>
                    <a:pt x="1108" y="1015"/>
                    <a:pt x="1176" y="1080"/>
                  </a:cubicBezTo>
                  <a:cubicBezTo>
                    <a:pt x="1179" y="1082"/>
                    <a:pt x="1181" y="1083"/>
                    <a:pt x="1183" y="1083"/>
                  </a:cubicBezTo>
                  <a:cubicBezTo>
                    <a:pt x="1204" y="1083"/>
                    <a:pt x="1105" y="894"/>
                    <a:pt x="1023" y="748"/>
                  </a:cubicBezTo>
                  <a:lnTo>
                    <a:pt x="1023" y="748"/>
                  </a:lnTo>
                  <a:cubicBezTo>
                    <a:pt x="1046" y="780"/>
                    <a:pt x="1068" y="805"/>
                    <a:pt x="1082" y="811"/>
                  </a:cubicBezTo>
                  <a:cubicBezTo>
                    <a:pt x="1084" y="813"/>
                    <a:pt x="1086" y="814"/>
                    <a:pt x="1087" y="814"/>
                  </a:cubicBezTo>
                  <a:cubicBezTo>
                    <a:pt x="1111" y="814"/>
                    <a:pt x="878" y="406"/>
                    <a:pt x="878" y="406"/>
                  </a:cubicBezTo>
                  <a:lnTo>
                    <a:pt x="878" y="406"/>
                  </a:lnTo>
                  <a:cubicBezTo>
                    <a:pt x="878" y="406"/>
                    <a:pt x="959" y="487"/>
                    <a:pt x="1001" y="487"/>
                  </a:cubicBezTo>
                  <a:cubicBezTo>
                    <a:pt x="1014" y="487"/>
                    <a:pt x="1001" y="461"/>
                    <a:pt x="1001" y="432"/>
                  </a:cubicBezTo>
                  <a:lnTo>
                    <a:pt x="1001" y="432"/>
                  </a:lnTo>
                  <a:cubicBezTo>
                    <a:pt x="1039" y="498"/>
                    <a:pt x="1145" y="630"/>
                    <a:pt x="1174" y="660"/>
                  </a:cubicBezTo>
                  <a:lnTo>
                    <a:pt x="1174" y="660"/>
                  </a:lnTo>
                  <a:cubicBezTo>
                    <a:pt x="1151" y="625"/>
                    <a:pt x="1053" y="474"/>
                    <a:pt x="1053" y="474"/>
                  </a:cubicBezTo>
                  <a:lnTo>
                    <a:pt x="1053" y="474"/>
                  </a:lnTo>
                  <a:cubicBezTo>
                    <a:pt x="1053" y="474"/>
                    <a:pt x="1377" y="756"/>
                    <a:pt x="1419" y="785"/>
                  </a:cubicBezTo>
                  <a:cubicBezTo>
                    <a:pt x="1421" y="786"/>
                    <a:pt x="1422" y="786"/>
                    <a:pt x="1423" y="786"/>
                  </a:cubicBezTo>
                  <a:cubicBezTo>
                    <a:pt x="1446" y="786"/>
                    <a:pt x="1154" y="501"/>
                    <a:pt x="1063" y="415"/>
                  </a:cubicBezTo>
                  <a:lnTo>
                    <a:pt x="1063" y="415"/>
                  </a:lnTo>
                  <a:cubicBezTo>
                    <a:pt x="1091" y="440"/>
                    <a:pt x="1140" y="478"/>
                    <a:pt x="1189" y="487"/>
                  </a:cubicBezTo>
                  <a:cubicBezTo>
                    <a:pt x="1231" y="487"/>
                    <a:pt x="1082" y="380"/>
                    <a:pt x="972" y="299"/>
                  </a:cubicBezTo>
                  <a:cubicBezTo>
                    <a:pt x="972" y="299"/>
                    <a:pt x="959" y="299"/>
                    <a:pt x="959" y="286"/>
                  </a:cubicBezTo>
                  <a:lnTo>
                    <a:pt x="959" y="286"/>
                  </a:lnTo>
                  <a:cubicBezTo>
                    <a:pt x="972" y="299"/>
                    <a:pt x="1001" y="312"/>
                    <a:pt x="1014" y="325"/>
                  </a:cubicBezTo>
                  <a:cubicBezTo>
                    <a:pt x="1020" y="327"/>
                    <a:pt x="1024" y="328"/>
                    <a:pt x="1027" y="328"/>
                  </a:cubicBezTo>
                  <a:cubicBezTo>
                    <a:pt x="1063" y="328"/>
                    <a:pt x="959" y="205"/>
                    <a:pt x="959" y="205"/>
                  </a:cubicBezTo>
                  <a:lnTo>
                    <a:pt x="959" y="205"/>
                  </a:lnTo>
                  <a:cubicBezTo>
                    <a:pt x="959" y="205"/>
                    <a:pt x="1296" y="448"/>
                    <a:pt x="1338" y="461"/>
                  </a:cubicBezTo>
                  <a:cubicBezTo>
                    <a:pt x="1339" y="461"/>
                    <a:pt x="1340" y="462"/>
                    <a:pt x="1341" y="462"/>
                  </a:cubicBezTo>
                  <a:cubicBezTo>
                    <a:pt x="1360" y="462"/>
                    <a:pt x="1121" y="286"/>
                    <a:pt x="1121" y="286"/>
                  </a:cubicBezTo>
                  <a:lnTo>
                    <a:pt x="1121" y="286"/>
                  </a:lnTo>
                  <a:cubicBezTo>
                    <a:pt x="1121" y="286"/>
                    <a:pt x="1176" y="325"/>
                    <a:pt x="1244" y="325"/>
                  </a:cubicBezTo>
                  <a:cubicBezTo>
                    <a:pt x="1246" y="326"/>
                    <a:pt x="1248" y="326"/>
                    <a:pt x="1249" y="326"/>
                  </a:cubicBezTo>
                  <a:cubicBezTo>
                    <a:pt x="1263" y="326"/>
                    <a:pt x="1116" y="240"/>
                    <a:pt x="1040" y="189"/>
                  </a:cubicBezTo>
                  <a:lnTo>
                    <a:pt x="1040" y="189"/>
                  </a:lnTo>
                  <a:cubicBezTo>
                    <a:pt x="1040" y="189"/>
                    <a:pt x="1069" y="205"/>
                    <a:pt x="1082" y="205"/>
                  </a:cubicBezTo>
                  <a:cubicBezTo>
                    <a:pt x="1150" y="205"/>
                    <a:pt x="771" y="1"/>
                    <a:pt x="771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2" name="Google Shape;1132;p38"/>
            <p:cNvSpPr/>
            <p:nvPr/>
          </p:nvSpPr>
          <p:spPr>
            <a:xfrm>
              <a:off x="1589550" y="1453750"/>
              <a:ext cx="650" cy="1725"/>
            </a:xfrm>
            <a:custGeom>
              <a:avLst/>
              <a:gdLst/>
              <a:ahLst/>
              <a:cxnLst/>
              <a:rect l="l" t="t" r="r" b="b"/>
              <a:pathLst>
                <a:path w="26" h="69" extrusionOk="0">
                  <a:moveTo>
                    <a:pt x="0" y="1"/>
                  </a:moveTo>
                  <a:cubicBezTo>
                    <a:pt x="0" y="43"/>
                    <a:pt x="13" y="69"/>
                    <a:pt x="13" y="69"/>
                  </a:cubicBezTo>
                  <a:cubicBezTo>
                    <a:pt x="26" y="69"/>
                    <a:pt x="13" y="43"/>
                    <a:pt x="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3" name="Google Shape;1133;p38"/>
            <p:cNvSpPr/>
            <p:nvPr/>
          </p:nvSpPr>
          <p:spPr>
            <a:xfrm>
              <a:off x="1587850" y="1458850"/>
              <a:ext cx="650" cy="2100"/>
            </a:xfrm>
            <a:custGeom>
              <a:avLst/>
              <a:gdLst/>
              <a:ahLst/>
              <a:cxnLst/>
              <a:rect l="l" t="t" r="r" b="b"/>
              <a:pathLst>
                <a:path w="26" h="84" extrusionOk="0">
                  <a:moveTo>
                    <a:pt x="26" y="1"/>
                  </a:moveTo>
                  <a:cubicBezTo>
                    <a:pt x="16" y="32"/>
                    <a:pt x="6" y="72"/>
                    <a:pt x="2" y="82"/>
                  </a:cubicBezTo>
                  <a:lnTo>
                    <a:pt x="2" y="82"/>
                  </a:lnTo>
                  <a:cubicBezTo>
                    <a:pt x="13" y="80"/>
                    <a:pt x="14" y="54"/>
                    <a:pt x="26" y="1"/>
                  </a:cubicBezTo>
                  <a:close/>
                  <a:moveTo>
                    <a:pt x="2" y="82"/>
                  </a:moveTo>
                  <a:cubicBezTo>
                    <a:pt x="1" y="82"/>
                    <a:pt x="1" y="82"/>
                    <a:pt x="0" y="82"/>
                  </a:cubicBezTo>
                  <a:cubicBezTo>
                    <a:pt x="0" y="83"/>
                    <a:pt x="0" y="84"/>
                    <a:pt x="0" y="84"/>
                  </a:cubicBezTo>
                  <a:cubicBezTo>
                    <a:pt x="1" y="84"/>
                    <a:pt x="1" y="83"/>
                    <a:pt x="2" y="82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4" name="Google Shape;1134;p38"/>
            <p:cNvSpPr/>
            <p:nvPr/>
          </p:nvSpPr>
          <p:spPr>
            <a:xfrm>
              <a:off x="1567950" y="1445650"/>
              <a:ext cx="42175" cy="32250"/>
            </a:xfrm>
            <a:custGeom>
              <a:avLst/>
              <a:gdLst/>
              <a:ahLst/>
              <a:cxnLst/>
              <a:rect l="l" t="t" r="r" b="b"/>
              <a:pathLst>
                <a:path w="1687" h="1290" extrusionOk="0">
                  <a:moveTo>
                    <a:pt x="835" y="435"/>
                  </a:moveTo>
                  <a:cubicBezTo>
                    <a:pt x="835" y="448"/>
                    <a:pt x="835" y="448"/>
                    <a:pt x="848" y="448"/>
                  </a:cubicBezTo>
                  <a:lnTo>
                    <a:pt x="835" y="435"/>
                  </a:lnTo>
                  <a:close/>
                  <a:moveTo>
                    <a:pt x="848" y="406"/>
                  </a:moveTo>
                  <a:lnTo>
                    <a:pt x="848" y="435"/>
                  </a:lnTo>
                  <a:lnTo>
                    <a:pt x="848" y="448"/>
                  </a:lnTo>
                  <a:cubicBezTo>
                    <a:pt x="835" y="461"/>
                    <a:pt x="835" y="474"/>
                    <a:pt x="835" y="487"/>
                  </a:cubicBezTo>
                  <a:lnTo>
                    <a:pt x="835" y="435"/>
                  </a:lnTo>
                  <a:cubicBezTo>
                    <a:pt x="835" y="422"/>
                    <a:pt x="835" y="406"/>
                    <a:pt x="848" y="406"/>
                  </a:cubicBezTo>
                  <a:close/>
                  <a:moveTo>
                    <a:pt x="916" y="273"/>
                  </a:moveTo>
                  <a:lnTo>
                    <a:pt x="916" y="273"/>
                  </a:lnTo>
                  <a:cubicBezTo>
                    <a:pt x="984" y="354"/>
                    <a:pt x="1065" y="461"/>
                    <a:pt x="1120" y="516"/>
                  </a:cubicBezTo>
                  <a:cubicBezTo>
                    <a:pt x="1039" y="448"/>
                    <a:pt x="916" y="341"/>
                    <a:pt x="877" y="312"/>
                  </a:cubicBezTo>
                  <a:lnTo>
                    <a:pt x="890" y="299"/>
                  </a:lnTo>
                  <a:cubicBezTo>
                    <a:pt x="903" y="312"/>
                    <a:pt x="945" y="325"/>
                    <a:pt x="958" y="354"/>
                  </a:cubicBezTo>
                  <a:cubicBezTo>
                    <a:pt x="960" y="356"/>
                    <a:pt x="961" y="356"/>
                    <a:pt x="961" y="356"/>
                  </a:cubicBezTo>
                  <a:cubicBezTo>
                    <a:pt x="964" y="356"/>
                    <a:pt x="941" y="318"/>
                    <a:pt x="916" y="273"/>
                  </a:cubicBezTo>
                  <a:close/>
                  <a:moveTo>
                    <a:pt x="767" y="299"/>
                  </a:moveTo>
                  <a:lnTo>
                    <a:pt x="767" y="299"/>
                  </a:lnTo>
                  <a:cubicBezTo>
                    <a:pt x="744" y="335"/>
                    <a:pt x="722" y="370"/>
                    <a:pt x="725" y="370"/>
                  </a:cubicBezTo>
                  <a:cubicBezTo>
                    <a:pt x="725" y="370"/>
                    <a:pt x="726" y="369"/>
                    <a:pt x="728" y="367"/>
                  </a:cubicBezTo>
                  <a:cubicBezTo>
                    <a:pt x="741" y="354"/>
                    <a:pt x="767" y="341"/>
                    <a:pt x="796" y="325"/>
                  </a:cubicBezTo>
                  <a:lnTo>
                    <a:pt x="796" y="325"/>
                  </a:lnTo>
                  <a:cubicBezTo>
                    <a:pt x="754" y="367"/>
                    <a:pt x="634" y="474"/>
                    <a:pt x="566" y="542"/>
                  </a:cubicBezTo>
                  <a:cubicBezTo>
                    <a:pt x="621" y="474"/>
                    <a:pt x="702" y="380"/>
                    <a:pt x="767" y="299"/>
                  </a:cubicBezTo>
                  <a:close/>
                  <a:moveTo>
                    <a:pt x="890" y="1"/>
                  </a:moveTo>
                  <a:cubicBezTo>
                    <a:pt x="890" y="1"/>
                    <a:pt x="349" y="273"/>
                    <a:pt x="430" y="273"/>
                  </a:cubicBezTo>
                  <a:cubicBezTo>
                    <a:pt x="443" y="260"/>
                    <a:pt x="472" y="260"/>
                    <a:pt x="485" y="260"/>
                  </a:cubicBezTo>
                  <a:cubicBezTo>
                    <a:pt x="385" y="308"/>
                    <a:pt x="212" y="407"/>
                    <a:pt x="234" y="407"/>
                  </a:cubicBezTo>
                  <a:cubicBezTo>
                    <a:pt x="236" y="407"/>
                    <a:pt x="238" y="407"/>
                    <a:pt x="242" y="406"/>
                  </a:cubicBezTo>
                  <a:cubicBezTo>
                    <a:pt x="323" y="406"/>
                    <a:pt x="391" y="367"/>
                    <a:pt x="391" y="367"/>
                  </a:cubicBezTo>
                  <a:lnTo>
                    <a:pt x="391" y="367"/>
                  </a:lnTo>
                  <a:cubicBezTo>
                    <a:pt x="391" y="367"/>
                    <a:pt x="99" y="556"/>
                    <a:pt x="131" y="556"/>
                  </a:cubicBezTo>
                  <a:cubicBezTo>
                    <a:pt x="132" y="556"/>
                    <a:pt x="133" y="555"/>
                    <a:pt x="135" y="555"/>
                  </a:cubicBezTo>
                  <a:cubicBezTo>
                    <a:pt x="187" y="542"/>
                    <a:pt x="566" y="273"/>
                    <a:pt x="566" y="273"/>
                  </a:cubicBezTo>
                  <a:lnTo>
                    <a:pt x="566" y="273"/>
                  </a:lnTo>
                  <a:cubicBezTo>
                    <a:pt x="566" y="273"/>
                    <a:pt x="447" y="412"/>
                    <a:pt x="489" y="412"/>
                  </a:cubicBezTo>
                  <a:cubicBezTo>
                    <a:pt x="494" y="412"/>
                    <a:pt x="501" y="410"/>
                    <a:pt x="511" y="406"/>
                  </a:cubicBezTo>
                  <a:cubicBezTo>
                    <a:pt x="540" y="380"/>
                    <a:pt x="579" y="354"/>
                    <a:pt x="621" y="312"/>
                  </a:cubicBezTo>
                  <a:lnTo>
                    <a:pt x="621" y="312"/>
                  </a:lnTo>
                  <a:cubicBezTo>
                    <a:pt x="592" y="341"/>
                    <a:pt x="579" y="367"/>
                    <a:pt x="566" y="380"/>
                  </a:cubicBezTo>
                  <a:cubicBezTo>
                    <a:pt x="430" y="461"/>
                    <a:pt x="242" y="597"/>
                    <a:pt x="310" y="597"/>
                  </a:cubicBezTo>
                  <a:cubicBezTo>
                    <a:pt x="366" y="573"/>
                    <a:pt x="430" y="525"/>
                    <a:pt x="459" y="500"/>
                  </a:cubicBezTo>
                  <a:lnTo>
                    <a:pt x="459" y="500"/>
                  </a:lnTo>
                  <a:cubicBezTo>
                    <a:pt x="376" y="582"/>
                    <a:pt x="0" y="948"/>
                    <a:pt x="22" y="948"/>
                  </a:cubicBezTo>
                  <a:cubicBezTo>
                    <a:pt x="22" y="948"/>
                    <a:pt x="23" y="948"/>
                    <a:pt x="25" y="947"/>
                  </a:cubicBezTo>
                  <a:cubicBezTo>
                    <a:pt x="93" y="908"/>
                    <a:pt x="459" y="568"/>
                    <a:pt x="459" y="568"/>
                  </a:cubicBezTo>
                  <a:lnTo>
                    <a:pt x="459" y="568"/>
                  </a:lnTo>
                  <a:cubicBezTo>
                    <a:pt x="459" y="568"/>
                    <a:pt x="306" y="802"/>
                    <a:pt x="317" y="802"/>
                  </a:cubicBezTo>
                  <a:cubicBezTo>
                    <a:pt x="318" y="802"/>
                    <a:pt x="320" y="801"/>
                    <a:pt x="323" y="798"/>
                  </a:cubicBezTo>
                  <a:cubicBezTo>
                    <a:pt x="349" y="772"/>
                    <a:pt x="483" y="612"/>
                    <a:pt x="523" y="531"/>
                  </a:cubicBezTo>
                  <a:lnTo>
                    <a:pt x="523" y="531"/>
                  </a:lnTo>
                  <a:cubicBezTo>
                    <a:pt x="511" y="557"/>
                    <a:pt x="511" y="597"/>
                    <a:pt x="511" y="597"/>
                  </a:cubicBezTo>
                  <a:cubicBezTo>
                    <a:pt x="566" y="597"/>
                    <a:pt x="660" y="503"/>
                    <a:pt x="660" y="503"/>
                  </a:cubicBezTo>
                  <a:lnTo>
                    <a:pt x="660" y="503"/>
                  </a:lnTo>
                  <a:cubicBezTo>
                    <a:pt x="660" y="503"/>
                    <a:pt x="385" y="975"/>
                    <a:pt x="412" y="975"/>
                  </a:cubicBezTo>
                  <a:cubicBezTo>
                    <a:pt x="413" y="975"/>
                    <a:pt x="415" y="975"/>
                    <a:pt x="417" y="973"/>
                  </a:cubicBezTo>
                  <a:cubicBezTo>
                    <a:pt x="459" y="947"/>
                    <a:pt x="524" y="840"/>
                    <a:pt x="579" y="772"/>
                  </a:cubicBezTo>
                  <a:lnTo>
                    <a:pt x="579" y="772"/>
                  </a:lnTo>
                  <a:cubicBezTo>
                    <a:pt x="491" y="924"/>
                    <a:pt x="283" y="1289"/>
                    <a:pt x="303" y="1289"/>
                  </a:cubicBezTo>
                  <a:cubicBezTo>
                    <a:pt x="304" y="1289"/>
                    <a:pt x="307" y="1287"/>
                    <a:pt x="310" y="1284"/>
                  </a:cubicBezTo>
                  <a:cubicBezTo>
                    <a:pt x="391" y="1203"/>
                    <a:pt x="741" y="555"/>
                    <a:pt x="741" y="555"/>
                  </a:cubicBezTo>
                  <a:lnTo>
                    <a:pt x="741" y="555"/>
                  </a:lnTo>
                  <a:cubicBezTo>
                    <a:pt x="741" y="555"/>
                    <a:pt x="659" y="733"/>
                    <a:pt x="669" y="733"/>
                  </a:cubicBezTo>
                  <a:cubicBezTo>
                    <a:pt x="670" y="733"/>
                    <a:pt x="671" y="732"/>
                    <a:pt x="673" y="730"/>
                  </a:cubicBezTo>
                  <a:cubicBezTo>
                    <a:pt x="701" y="718"/>
                    <a:pt x="775" y="582"/>
                    <a:pt x="827" y="500"/>
                  </a:cubicBezTo>
                  <a:lnTo>
                    <a:pt x="827" y="500"/>
                  </a:lnTo>
                  <a:cubicBezTo>
                    <a:pt x="822" y="510"/>
                    <a:pt x="822" y="520"/>
                    <a:pt x="822" y="529"/>
                  </a:cubicBezTo>
                  <a:cubicBezTo>
                    <a:pt x="835" y="503"/>
                    <a:pt x="835" y="474"/>
                    <a:pt x="848" y="461"/>
                  </a:cubicBezTo>
                  <a:cubicBezTo>
                    <a:pt x="848" y="461"/>
                    <a:pt x="848" y="461"/>
                    <a:pt x="848" y="461"/>
                  </a:cubicBezTo>
                  <a:lnTo>
                    <a:pt x="848" y="461"/>
                  </a:lnTo>
                  <a:cubicBezTo>
                    <a:pt x="848" y="474"/>
                    <a:pt x="864" y="487"/>
                    <a:pt x="864" y="503"/>
                  </a:cubicBezTo>
                  <a:cubicBezTo>
                    <a:pt x="864" y="499"/>
                    <a:pt x="864" y="494"/>
                    <a:pt x="864" y="490"/>
                  </a:cubicBezTo>
                  <a:lnTo>
                    <a:pt x="864" y="490"/>
                  </a:lnTo>
                  <a:cubicBezTo>
                    <a:pt x="910" y="574"/>
                    <a:pt x="985" y="694"/>
                    <a:pt x="997" y="717"/>
                  </a:cubicBezTo>
                  <a:cubicBezTo>
                    <a:pt x="998" y="717"/>
                    <a:pt x="1000" y="718"/>
                    <a:pt x="1001" y="718"/>
                  </a:cubicBezTo>
                  <a:cubicBezTo>
                    <a:pt x="1033" y="718"/>
                    <a:pt x="945" y="542"/>
                    <a:pt x="945" y="542"/>
                  </a:cubicBezTo>
                  <a:lnTo>
                    <a:pt x="945" y="542"/>
                  </a:lnTo>
                  <a:cubicBezTo>
                    <a:pt x="945" y="542"/>
                    <a:pt x="1295" y="1190"/>
                    <a:pt x="1376" y="1258"/>
                  </a:cubicBezTo>
                  <a:cubicBezTo>
                    <a:pt x="1379" y="1261"/>
                    <a:pt x="1382" y="1263"/>
                    <a:pt x="1383" y="1263"/>
                  </a:cubicBezTo>
                  <a:cubicBezTo>
                    <a:pt x="1403" y="1263"/>
                    <a:pt x="1195" y="898"/>
                    <a:pt x="1107" y="746"/>
                  </a:cubicBezTo>
                  <a:lnTo>
                    <a:pt x="1107" y="746"/>
                  </a:lnTo>
                  <a:cubicBezTo>
                    <a:pt x="1146" y="811"/>
                    <a:pt x="1214" y="921"/>
                    <a:pt x="1253" y="960"/>
                  </a:cubicBezTo>
                  <a:cubicBezTo>
                    <a:pt x="1255" y="962"/>
                    <a:pt x="1258" y="962"/>
                    <a:pt x="1259" y="962"/>
                  </a:cubicBezTo>
                  <a:cubicBezTo>
                    <a:pt x="1299" y="962"/>
                    <a:pt x="1026" y="474"/>
                    <a:pt x="1026" y="474"/>
                  </a:cubicBezTo>
                  <a:lnTo>
                    <a:pt x="1026" y="474"/>
                  </a:lnTo>
                  <a:cubicBezTo>
                    <a:pt x="1026" y="474"/>
                    <a:pt x="1120" y="568"/>
                    <a:pt x="1159" y="584"/>
                  </a:cubicBezTo>
                  <a:lnTo>
                    <a:pt x="1172" y="568"/>
                  </a:lnTo>
                  <a:cubicBezTo>
                    <a:pt x="1172" y="568"/>
                    <a:pt x="1159" y="542"/>
                    <a:pt x="1159" y="516"/>
                  </a:cubicBezTo>
                  <a:lnTo>
                    <a:pt x="1159" y="516"/>
                  </a:lnTo>
                  <a:cubicBezTo>
                    <a:pt x="1201" y="584"/>
                    <a:pt x="1334" y="759"/>
                    <a:pt x="1363" y="785"/>
                  </a:cubicBezTo>
                  <a:cubicBezTo>
                    <a:pt x="1365" y="786"/>
                    <a:pt x="1366" y="787"/>
                    <a:pt x="1367" y="787"/>
                  </a:cubicBezTo>
                  <a:cubicBezTo>
                    <a:pt x="1385" y="787"/>
                    <a:pt x="1227" y="555"/>
                    <a:pt x="1227" y="555"/>
                  </a:cubicBezTo>
                  <a:lnTo>
                    <a:pt x="1227" y="555"/>
                  </a:lnTo>
                  <a:cubicBezTo>
                    <a:pt x="1227" y="555"/>
                    <a:pt x="1593" y="892"/>
                    <a:pt x="1658" y="921"/>
                  </a:cubicBezTo>
                  <a:cubicBezTo>
                    <a:pt x="1659" y="922"/>
                    <a:pt x="1661" y="922"/>
                    <a:pt x="1661" y="922"/>
                  </a:cubicBezTo>
                  <a:cubicBezTo>
                    <a:pt x="1686" y="922"/>
                    <a:pt x="1252" y="515"/>
                    <a:pt x="1214" y="474"/>
                  </a:cubicBezTo>
                  <a:lnTo>
                    <a:pt x="1214" y="474"/>
                  </a:lnTo>
                  <a:cubicBezTo>
                    <a:pt x="1227" y="487"/>
                    <a:pt x="1308" y="555"/>
                    <a:pt x="1376" y="568"/>
                  </a:cubicBezTo>
                  <a:cubicBezTo>
                    <a:pt x="1379" y="569"/>
                    <a:pt x="1381" y="569"/>
                    <a:pt x="1383" y="569"/>
                  </a:cubicBezTo>
                  <a:cubicBezTo>
                    <a:pt x="1412" y="569"/>
                    <a:pt x="1246" y="444"/>
                    <a:pt x="1133" y="367"/>
                  </a:cubicBezTo>
                  <a:cubicBezTo>
                    <a:pt x="1120" y="354"/>
                    <a:pt x="1120" y="354"/>
                    <a:pt x="1120" y="341"/>
                  </a:cubicBezTo>
                  <a:lnTo>
                    <a:pt x="1120" y="341"/>
                  </a:lnTo>
                  <a:cubicBezTo>
                    <a:pt x="1133" y="354"/>
                    <a:pt x="1159" y="367"/>
                    <a:pt x="1172" y="380"/>
                  </a:cubicBezTo>
                  <a:cubicBezTo>
                    <a:pt x="1181" y="385"/>
                    <a:pt x="1188" y="387"/>
                    <a:pt x="1192" y="387"/>
                  </a:cubicBezTo>
                  <a:cubicBezTo>
                    <a:pt x="1224" y="387"/>
                    <a:pt x="1120" y="260"/>
                    <a:pt x="1120" y="260"/>
                  </a:cubicBezTo>
                  <a:lnTo>
                    <a:pt x="1120" y="260"/>
                  </a:lnTo>
                  <a:cubicBezTo>
                    <a:pt x="1120" y="260"/>
                    <a:pt x="1496" y="529"/>
                    <a:pt x="1551" y="542"/>
                  </a:cubicBezTo>
                  <a:cubicBezTo>
                    <a:pt x="1552" y="542"/>
                    <a:pt x="1553" y="543"/>
                    <a:pt x="1554" y="543"/>
                  </a:cubicBezTo>
                  <a:cubicBezTo>
                    <a:pt x="1575" y="543"/>
                    <a:pt x="1295" y="354"/>
                    <a:pt x="1295" y="354"/>
                  </a:cubicBezTo>
                  <a:lnTo>
                    <a:pt x="1295" y="354"/>
                  </a:lnTo>
                  <a:cubicBezTo>
                    <a:pt x="1295" y="354"/>
                    <a:pt x="1363" y="380"/>
                    <a:pt x="1444" y="393"/>
                  </a:cubicBezTo>
                  <a:cubicBezTo>
                    <a:pt x="1447" y="394"/>
                    <a:pt x="1449" y="394"/>
                    <a:pt x="1451" y="394"/>
                  </a:cubicBezTo>
                  <a:cubicBezTo>
                    <a:pt x="1474" y="394"/>
                    <a:pt x="1319" y="305"/>
                    <a:pt x="1217" y="241"/>
                  </a:cubicBezTo>
                  <a:lnTo>
                    <a:pt x="1217" y="241"/>
                  </a:lnTo>
                  <a:cubicBezTo>
                    <a:pt x="1226" y="244"/>
                    <a:pt x="1237" y="244"/>
                    <a:pt x="1253" y="244"/>
                  </a:cubicBezTo>
                  <a:cubicBezTo>
                    <a:pt x="1334" y="244"/>
                    <a:pt x="890" y="1"/>
                    <a:pt x="890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5" name="Google Shape;1135;p38"/>
            <p:cNvSpPr/>
            <p:nvPr/>
          </p:nvSpPr>
          <p:spPr>
            <a:xfrm>
              <a:off x="1589550" y="1458225"/>
              <a:ext cx="650" cy="2375"/>
            </a:xfrm>
            <a:custGeom>
              <a:avLst/>
              <a:gdLst/>
              <a:ahLst/>
              <a:cxnLst/>
              <a:rect l="l" t="t" r="r" b="b"/>
              <a:pathLst>
                <a:path w="26" h="95" extrusionOk="0">
                  <a:moveTo>
                    <a:pt x="0" y="0"/>
                  </a:moveTo>
                  <a:lnTo>
                    <a:pt x="0" y="0"/>
                  </a:lnTo>
                  <a:cubicBezTo>
                    <a:pt x="13" y="52"/>
                    <a:pt x="13" y="94"/>
                    <a:pt x="26" y="94"/>
                  </a:cubicBezTo>
                  <a:cubicBezTo>
                    <a:pt x="26" y="94"/>
                    <a:pt x="13" y="52"/>
                    <a:pt x="0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6" name="Google Shape;1136;p38"/>
            <p:cNvSpPr/>
            <p:nvPr/>
          </p:nvSpPr>
          <p:spPr>
            <a:xfrm>
              <a:off x="1582075" y="1449700"/>
              <a:ext cx="16225" cy="30225"/>
            </a:xfrm>
            <a:custGeom>
              <a:avLst/>
              <a:gdLst/>
              <a:ahLst/>
              <a:cxnLst/>
              <a:rect l="l" t="t" r="r" b="b"/>
              <a:pathLst>
                <a:path w="649" h="1209" extrusionOk="0">
                  <a:moveTo>
                    <a:pt x="257" y="1"/>
                  </a:moveTo>
                  <a:lnTo>
                    <a:pt x="163" y="341"/>
                  </a:lnTo>
                  <a:lnTo>
                    <a:pt x="1" y="1041"/>
                  </a:lnTo>
                  <a:lnTo>
                    <a:pt x="231" y="448"/>
                  </a:lnTo>
                  <a:lnTo>
                    <a:pt x="231" y="448"/>
                  </a:lnTo>
                  <a:cubicBezTo>
                    <a:pt x="231" y="448"/>
                    <a:pt x="150" y="730"/>
                    <a:pt x="150" y="853"/>
                  </a:cubicBezTo>
                  <a:cubicBezTo>
                    <a:pt x="150" y="866"/>
                    <a:pt x="152" y="872"/>
                    <a:pt x="155" y="872"/>
                  </a:cubicBezTo>
                  <a:cubicBezTo>
                    <a:pt x="181" y="872"/>
                    <a:pt x="299" y="487"/>
                    <a:pt x="299" y="487"/>
                  </a:cubicBezTo>
                  <a:lnTo>
                    <a:pt x="299" y="487"/>
                  </a:lnTo>
                  <a:cubicBezTo>
                    <a:pt x="299" y="487"/>
                    <a:pt x="226" y="1209"/>
                    <a:pt x="241" y="1209"/>
                  </a:cubicBezTo>
                  <a:cubicBezTo>
                    <a:pt x="242" y="1209"/>
                    <a:pt x="243" y="1207"/>
                    <a:pt x="244" y="1203"/>
                  </a:cubicBezTo>
                  <a:cubicBezTo>
                    <a:pt x="257" y="1122"/>
                    <a:pt x="312" y="542"/>
                    <a:pt x="312" y="542"/>
                  </a:cubicBezTo>
                  <a:cubicBezTo>
                    <a:pt x="312" y="542"/>
                    <a:pt x="419" y="908"/>
                    <a:pt x="445" y="934"/>
                  </a:cubicBezTo>
                  <a:cubicBezTo>
                    <a:pt x="446" y="935"/>
                    <a:pt x="446" y="935"/>
                    <a:pt x="447" y="935"/>
                  </a:cubicBezTo>
                  <a:cubicBezTo>
                    <a:pt x="469" y="935"/>
                    <a:pt x="380" y="529"/>
                    <a:pt x="380" y="529"/>
                  </a:cubicBezTo>
                  <a:lnTo>
                    <a:pt x="380" y="529"/>
                  </a:lnTo>
                  <a:cubicBezTo>
                    <a:pt x="380" y="529"/>
                    <a:pt x="607" y="1028"/>
                    <a:pt x="623" y="1028"/>
                  </a:cubicBezTo>
                  <a:cubicBezTo>
                    <a:pt x="649" y="1028"/>
                    <a:pt x="257" y="1"/>
                    <a:pt x="257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7" name="Google Shape;1137;p38"/>
            <p:cNvSpPr/>
            <p:nvPr/>
          </p:nvSpPr>
          <p:spPr>
            <a:xfrm>
              <a:off x="1583950" y="1432225"/>
              <a:ext cx="9975" cy="5550"/>
            </a:xfrm>
            <a:custGeom>
              <a:avLst/>
              <a:gdLst/>
              <a:ahLst/>
              <a:cxnLst/>
              <a:rect l="l" t="t" r="r" b="b"/>
              <a:pathLst>
                <a:path w="399" h="222" extrusionOk="0">
                  <a:moveTo>
                    <a:pt x="90" y="81"/>
                  </a:moveTo>
                  <a:cubicBezTo>
                    <a:pt x="89" y="81"/>
                    <a:pt x="89" y="81"/>
                    <a:pt x="88" y="81"/>
                  </a:cubicBezTo>
                  <a:cubicBezTo>
                    <a:pt x="87" y="82"/>
                    <a:pt x="87" y="82"/>
                    <a:pt x="87" y="82"/>
                  </a:cubicBezTo>
                  <a:cubicBezTo>
                    <a:pt x="88" y="82"/>
                    <a:pt x="89" y="82"/>
                    <a:pt x="90" y="81"/>
                  </a:cubicBezTo>
                  <a:close/>
                  <a:moveTo>
                    <a:pt x="208" y="0"/>
                  </a:moveTo>
                  <a:cubicBezTo>
                    <a:pt x="208" y="0"/>
                    <a:pt x="109" y="70"/>
                    <a:pt x="90" y="81"/>
                  </a:cubicBezTo>
                  <a:lnTo>
                    <a:pt x="90" y="81"/>
                  </a:lnTo>
                  <a:cubicBezTo>
                    <a:pt x="108" y="78"/>
                    <a:pt x="182" y="52"/>
                    <a:pt x="182" y="52"/>
                  </a:cubicBezTo>
                  <a:lnTo>
                    <a:pt x="182" y="52"/>
                  </a:lnTo>
                  <a:cubicBezTo>
                    <a:pt x="182" y="52"/>
                    <a:pt x="1" y="163"/>
                    <a:pt x="16" y="163"/>
                  </a:cubicBezTo>
                  <a:cubicBezTo>
                    <a:pt x="17" y="163"/>
                    <a:pt x="18" y="163"/>
                    <a:pt x="20" y="162"/>
                  </a:cubicBezTo>
                  <a:cubicBezTo>
                    <a:pt x="46" y="149"/>
                    <a:pt x="169" y="107"/>
                    <a:pt x="169" y="107"/>
                  </a:cubicBezTo>
                  <a:lnTo>
                    <a:pt x="169" y="107"/>
                  </a:lnTo>
                  <a:cubicBezTo>
                    <a:pt x="169" y="107"/>
                    <a:pt x="2" y="221"/>
                    <a:pt x="16" y="221"/>
                  </a:cubicBezTo>
                  <a:cubicBezTo>
                    <a:pt x="17" y="221"/>
                    <a:pt x="23" y="219"/>
                    <a:pt x="33" y="214"/>
                  </a:cubicBezTo>
                  <a:cubicBezTo>
                    <a:pt x="101" y="188"/>
                    <a:pt x="224" y="107"/>
                    <a:pt x="224" y="107"/>
                  </a:cubicBezTo>
                  <a:cubicBezTo>
                    <a:pt x="224" y="107"/>
                    <a:pt x="368" y="202"/>
                    <a:pt x="385" y="202"/>
                  </a:cubicBezTo>
                  <a:cubicBezTo>
                    <a:pt x="386" y="202"/>
                    <a:pt x="386" y="202"/>
                    <a:pt x="386" y="201"/>
                  </a:cubicBezTo>
                  <a:cubicBezTo>
                    <a:pt x="399" y="201"/>
                    <a:pt x="250" y="94"/>
                    <a:pt x="250" y="94"/>
                  </a:cubicBezTo>
                  <a:lnTo>
                    <a:pt x="250" y="94"/>
                  </a:lnTo>
                  <a:cubicBezTo>
                    <a:pt x="250" y="94"/>
                    <a:pt x="338" y="123"/>
                    <a:pt x="363" y="123"/>
                  </a:cubicBezTo>
                  <a:cubicBezTo>
                    <a:pt x="367" y="123"/>
                    <a:pt x="370" y="122"/>
                    <a:pt x="370" y="120"/>
                  </a:cubicBezTo>
                  <a:cubicBezTo>
                    <a:pt x="370" y="110"/>
                    <a:pt x="314" y="92"/>
                    <a:pt x="288" y="85"/>
                  </a:cubicBezTo>
                  <a:lnTo>
                    <a:pt x="288" y="85"/>
                  </a:lnTo>
                  <a:cubicBezTo>
                    <a:pt x="301" y="88"/>
                    <a:pt x="321" y="93"/>
                    <a:pt x="336" y="93"/>
                  </a:cubicBezTo>
                  <a:cubicBezTo>
                    <a:pt x="348" y="93"/>
                    <a:pt x="357" y="90"/>
                    <a:pt x="357" y="81"/>
                  </a:cubicBezTo>
                  <a:cubicBezTo>
                    <a:pt x="344" y="68"/>
                    <a:pt x="208" y="0"/>
                    <a:pt x="208" y="0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8" name="Google Shape;1138;p38"/>
            <p:cNvSpPr/>
            <p:nvPr/>
          </p:nvSpPr>
          <p:spPr>
            <a:xfrm>
              <a:off x="1553725" y="1481950"/>
              <a:ext cx="138500" cy="5650"/>
            </a:xfrm>
            <a:custGeom>
              <a:avLst/>
              <a:gdLst/>
              <a:ahLst/>
              <a:cxnLst/>
              <a:rect l="l" t="t" r="r" b="b"/>
              <a:pathLst>
                <a:path w="5540" h="226" extrusionOk="0">
                  <a:moveTo>
                    <a:pt x="4403" y="0"/>
                  </a:moveTo>
                  <a:cubicBezTo>
                    <a:pt x="3103" y="0"/>
                    <a:pt x="1148" y="36"/>
                    <a:pt x="1148" y="36"/>
                  </a:cubicBezTo>
                  <a:cubicBezTo>
                    <a:pt x="1148" y="36"/>
                    <a:pt x="1" y="88"/>
                    <a:pt x="69" y="130"/>
                  </a:cubicBezTo>
                  <a:cubicBezTo>
                    <a:pt x="92" y="143"/>
                    <a:pt x="212" y="147"/>
                    <a:pt x="361" y="147"/>
                  </a:cubicBezTo>
                  <a:cubicBezTo>
                    <a:pt x="644" y="147"/>
                    <a:pt x="1033" y="132"/>
                    <a:pt x="1076" y="130"/>
                  </a:cubicBezTo>
                  <a:lnTo>
                    <a:pt x="1076" y="130"/>
                  </a:lnTo>
                  <a:cubicBezTo>
                    <a:pt x="1037" y="132"/>
                    <a:pt x="734" y="146"/>
                    <a:pt x="798" y="198"/>
                  </a:cubicBezTo>
                  <a:cubicBezTo>
                    <a:pt x="822" y="218"/>
                    <a:pt x="1237" y="225"/>
                    <a:pt x="1809" y="225"/>
                  </a:cubicBezTo>
                  <a:cubicBezTo>
                    <a:pt x="3172" y="225"/>
                    <a:pt x="5428" y="185"/>
                    <a:pt x="5428" y="185"/>
                  </a:cubicBezTo>
                  <a:cubicBezTo>
                    <a:pt x="5428" y="185"/>
                    <a:pt x="4592" y="117"/>
                    <a:pt x="4754" y="88"/>
                  </a:cubicBezTo>
                  <a:cubicBezTo>
                    <a:pt x="4784" y="83"/>
                    <a:pt x="4828" y="82"/>
                    <a:pt x="4881" y="82"/>
                  </a:cubicBezTo>
                  <a:cubicBezTo>
                    <a:pt x="4986" y="82"/>
                    <a:pt x="5124" y="88"/>
                    <a:pt x="5246" y="88"/>
                  </a:cubicBezTo>
                  <a:cubicBezTo>
                    <a:pt x="5397" y="88"/>
                    <a:pt x="5523" y="78"/>
                    <a:pt x="5535" y="36"/>
                  </a:cubicBezTo>
                  <a:cubicBezTo>
                    <a:pt x="5539" y="9"/>
                    <a:pt x="5053" y="0"/>
                    <a:pt x="4403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9" name="Google Shape;1139;p38"/>
            <p:cNvSpPr/>
            <p:nvPr/>
          </p:nvSpPr>
          <p:spPr>
            <a:xfrm>
              <a:off x="1566200" y="1460875"/>
              <a:ext cx="18250" cy="23275"/>
            </a:xfrm>
            <a:custGeom>
              <a:avLst/>
              <a:gdLst/>
              <a:ahLst/>
              <a:cxnLst/>
              <a:rect l="l" t="t" r="r" b="b"/>
              <a:pathLst>
                <a:path w="730" h="931" extrusionOk="0">
                  <a:moveTo>
                    <a:pt x="270" y="1"/>
                  </a:moveTo>
                  <a:cubicBezTo>
                    <a:pt x="270" y="1"/>
                    <a:pt x="56" y="137"/>
                    <a:pt x="1" y="432"/>
                  </a:cubicBezTo>
                  <a:lnTo>
                    <a:pt x="1" y="931"/>
                  </a:lnTo>
                  <a:lnTo>
                    <a:pt x="730" y="931"/>
                  </a:lnTo>
                  <a:lnTo>
                    <a:pt x="730" y="351"/>
                  </a:lnTo>
                  <a:cubicBezTo>
                    <a:pt x="662" y="244"/>
                    <a:pt x="474" y="1"/>
                    <a:pt x="270" y="1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0" name="Google Shape;1140;p38"/>
            <p:cNvSpPr/>
            <p:nvPr/>
          </p:nvSpPr>
          <p:spPr>
            <a:xfrm>
              <a:off x="1584425" y="1469625"/>
              <a:ext cx="675" cy="14525"/>
            </a:xfrm>
            <a:custGeom>
              <a:avLst/>
              <a:gdLst/>
              <a:ahLst/>
              <a:cxnLst/>
              <a:rect l="l" t="t" r="r" b="b"/>
              <a:pathLst>
                <a:path w="27" h="581" extrusionOk="0">
                  <a:moveTo>
                    <a:pt x="1" y="1"/>
                  </a:moveTo>
                  <a:lnTo>
                    <a:pt x="1" y="581"/>
                  </a:lnTo>
                  <a:lnTo>
                    <a:pt x="27" y="581"/>
                  </a:lnTo>
                  <a:lnTo>
                    <a:pt x="27" y="43"/>
                  </a:lnTo>
                  <a:cubicBezTo>
                    <a:pt x="27" y="43"/>
                    <a:pt x="27" y="30"/>
                    <a:pt x="1" y="1"/>
                  </a:cubicBezTo>
                  <a:close/>
                </a:path>
              </a:pathLst>
            </a:custGeom>
            <a:solidFill>
              <a:srgbClr val="C5C6C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1" name="Google Shape;1141;p38"/>
            <p:cNvSpPr/>
            <p:nvPr/>
          </p:nvSpPr>
          <p:spPr>
            <a:xfrm>
              <a:off x="1585075" y="1466650"/>
              <a:ext cx="23675" cy="17500"/>
            </a:xfrm>
            <a:custGeom>
              <a:avLst/>
              <a:gdLst/>
              <a:ahLst/>
              <a:cxnLst/>
              <a:rect l="l" t="t" r="r" b="b"/>
              <a:pathLst>
                <a:path w="947" h="700" extrusionOk="0">
                  <a:moveTo>
                    <a:pt x="380" y="0"/>
                  </a:moveTo>
                  <a:lnTo>
                    <a:pt x="1" y="133"/>
                  </a:lnTo>
                  <a:lnTo>
                    <a:pt x="1" y="700"/>
                  </a:lnTo>
                  <a:lnTo>
                    <a:pt x="947" y="700"/>
                  </a:lnTo>
                  <a:lnTo>
                    <a:pt x="947" y="201"/>
                  </a:lnTo>
                  <a:lnTo>
                    <a:pt x="380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2" name="Google Shape;1142;p38"/>
            <p:cNvSpPr/>
            <p:nvPr/>
          </p:nvSpPr>
          <p:spPr>
            <a:xfrm>
              <a:off x="1566200" y="1460250"/>
              <a:ext cx="43200" cy="11425"/>
            </a:xfrm>
            <a:custGeom>
              <a:avLst/>
              <a:gdLst/>
              <a:ahLst/>
              <a:cxnLst/>
              <a:rect l="l" t="t" r="r" b="b"/>
              <a:pathLst>
                <a:path w="1728" h="457" extrusionOk="0">
                  <a:moveTo>
                    <a:pt x="312" y="0"/>
                  </a:moveTo>
                  <a:cubicBezTo>
                    <a:pt x="312" y="0"/>
                    <a:pt x="56" y="120"/>
                    <a:pt x="1" y="457"/>
                  </a:cubicBezTo>
                  <a:cubicBezTo>
                    <a:pt x="1" y="457"/>
                    <a:pt x="108" y="81"/>
                    <a:pt x="312" y="39"/>
                  </a:cubicBezTo>
                  <a:cubicBezTo>
                    <a:pt x="312" y="39"/>
                    <a:pt x="380" y="39"/>
                    <a:pt x="461" y="94"/>
                  </a:cubicBezTo>
                  <a:cubicBezTo>
                    <a:pt x="513" y="120"/>
                    <a:pt x="581" y="175"/>
                    <a:pt x="623" y="256"/>
                  </a:cubicBezTo>
                  <a:cubicBezTo>
                    <a:pt x="662" y="308"/>
                    <a:pt x="691" y="376"/>
                    <a:pt x="704" y="457"/>
                  </a:cubicBezTo>
                  <a:lnTo>
                    <a:pt x="1728" y="457"/>
                  </a:lnTo>
                  <a:cubicBezTo>
                    <a:pt x="1728" y="457"/>
                    <a:pt x="1728" y="363"/>
                    <a:pt x="1676" y="256"/>
                  </a:cubicBezTo>
                  <a:cubicBezTo>
                    <a:pt x="1663" y="201"/>
                    <a:pt x="1621" y="146"/>
                    <a:pt x="1566" y="107"/>
                  </a:cubicBezTo>
                  <a:cubicBezTo>
                    <a:pt x="1540" y="65"/>
                    <a:pt x="1485" y="39"/>
                    <a:pt x="1433" y="26"/>
                  </a:cubicBezTo>
                  <a:lnTo>
                    <a:pt x="312" y="0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3" name="Google Shape;1143;p38"/>
            <p:cNvSpPr/>
            <p:nvPr/>
          </p:nvSpPr>
          <p:spPr>
            <a:xfrm>
              <a:off x="1569925" y="1476775"/>
              <a:ext cx="8775" cy="7375"/>
            </a:xfrm>
            <a:custGeom>
              <a:avLst/>
              <a:gdLst/>
              <a:ahLst/>
              <a:cxnLst/>
              <a:rect l="l" t="t" r="r" b="b"/>
              <a:pathLst>
                <a:path w="351" h="295" extrusionOk="0">
                  <a:moveTo>
                    <a:pt x="1" y="0"/>
                  </a:moveTo>
                  <a:lnTo>
                    <a:pt x="1" y="295"/>
                  </a:lnTo>
                  <a:lnTo>
                    <a:pt x="351" y="295"/>
                  </a:lnTo>
                  <a:lnTo>
                    <a:pt x="351" y="0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4" name="Google Shape;1144;p38"/>
            <p:cNvSpPr/>
            <p:nvPr/>
          </p:nvSpPr>
          <p:spPr>
            <a:xfrm>
              <a:off x="1573675" y="1476775"/>
              <a:ext cx="325" cy="7375"/>
            </a:xfrm>
            <a:custGeom>
              <a:avLst/>
              <a:gdLst/>
              <a:ahLst/>
              <a:cxnLst/>
              <a:rect l="l" t="t" r="r" b="b"/>
              <a:pathLst>
                <a:path w="13" h="295" extrusionOk="0">
                  <a:moveTo>
                    <a:pt x="0" y="0"/>
                  </a:moveTo>
                  <a:lnTo>
                    <a:pt x="0" y="295"/>
                  </a:lnTo>
                  <a:lnTo>
                    <a:pt x="13" y="295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5" name="Google Shape;1145;p38"/>
            <p:cNvSpPr/>
            <p:nvPr/>
          </p:nvSpPr>
          <p:spPr>
            <a:xfrm>
              <a:off x="1600300" y="1438925"/>
              <a:ext cx="35425" cy="45225"/>
            </a:xfrm>
            <a:custGeom>
              <a:avLst/>
              <a:gdLst/>
              <a:ahLst/>
              <a:cxnLst/>
              <a:rect l="l" t="t" r="r" b="b"/>
              <a:pathLst>
                <a:path w="1417" h="1809" extrusionOk="0">
                  <a:moveTo>
                    <a:pt x="528" y="1"/>
                  </a:moveTo>
                  <a:cubicBezTo>
                    <a:pt x="523" y="1"/>
                    <a:pt x="518" y="1"/>
                    <a:pt x="513" y="1"/>
                  </a:cubicBezTo>
                  <a:cubicBezTo>
                    <a:pt x="513" y="1"/>
                    <a:pt x="95" y="270"/>
                    <a:pt x="1" y="853"/>
                  </a:cubicBezTo>
                  <a:lnTo>
                    <a:pt x="1" y="1809"/>
                  </a:lnTo>
                  <a:lnTo>
                    <a:pt x="1417" y="1809"/>
                  </a:lnTo>
                  <a:lnTo>
                    <a:pt x="1417" y="691"/>
                  </a:lnTo>
                  <a:cubicBezTo>
                    <a:pt x="1286" y="490"/>
                    <a:pt x="915" y="1"/>
                    <a:pt x="528" y="1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6" name="Google Shape;1146;p38"/>
            <p:cNvSpPr/>
            <p:nvPr/>
          </p:nvSpPr>
          <p:spPr>
            <a:xfrm>
              <a:off x="1635700" y="1456200"/>
              <a:ext cx="1400" cy="27950"/>
            </a:xfrm>
            <a:custGeom>
              <a:avLst/>
              <a:gdLst/>
              <a:ahLst/>
              <a:cxnLst/>
              <a:rect l="l" t="t" r="r" b="b"/>
              <a:pathLst>
                <a:path w="56" h="1118" extrusionOk="0">
                  <a:moveTo>
                    <a:pt x="1" y="0"/>
                  </a:moveTo>
                  <a:lnTo>
                    <a:pt x="1" y="1118"/>
                  </a:lnTo>
                  <a:lnTo>
                    <a:pt x="56" y="1118"/>
                  </a:lnTo>
                  <a:lnTo>
                    <a:pt x="56" y="65"/>
                  </a:lnTo>
                  <a:cubicBezTo>
                    <a:pt x="56" y="65"/>
                    <a:pt x="43" y="39"/>
                    <a:pt x="1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7" name="Google Shape;1147;p38"/>
            <p:cNvSpPr/>
            <p:nvPr/>
          </p:nvSpPr>
          <p:spPr>
            <a:xfrm>
              <a:off x="1637075" y="1450125"/>
              <a:ext cx="45650" cy="34025"/>
            </a:xfrm>
            <a:custGeom>
              <a:avLst/>
              <a:gdLst/>
              <a:ahLst/>
              <a:cxnLst/>
              <a:rect l="l" t="t" r="r" b="b"/>
              <a:pathLst>
                <a:path w="1826" h="1361" extrusionOk="0">
                  <a:moveTo>
                    <a:pt x="743" y="0"/>
                  </a:moveTo>
                  <a:lnTo>
                    <a:pt x="1" y="282"/>
                  </a:lnTo>
                  <a:lnTo>
                    <a:pt x="1" y="1361"/>
                  </a:lnTo>
                  <a:lnTo>
                    <a:pt x="1825" y="1361"/>
                  </a:lnTo>
                  <a:lnTo>
                    <a:pt x="1825" y="405"/>
                  </a:lnTo>
                  <a:lnTo>
                    <a:pt x="743" y="0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8" name="Google Shape;1148;p38"/>
            <p:cNvSpPr/>
            <p:nvPr/>
          </p:nvSpPr>
          <p:spPr>
            <a:xfrm>
              <a:off x="1599675" y="1437550"/>
              <a:ext cx="84650" cy="22725"/>
            </a:xfrm>
            <a:custGeom>
              <a:avLst/>
              <a:gdLst/>
              <a:ahLst/>
              <a:cxnLst/>
              <a:rect l="l" t="t" r="r" b="b"/>
              <a:pathLst>
                <a:path w="3386" h="909" extrusionOk="0">
                  <a:moveTo>
                    <a:pt x="606" y="1"/>
                  </a:moveTo>
                  <a:cubicBezTo>
                    <a:pt x="606" y="1"/>
                    <a:pt x="133" y="244"/>
                    <a:pt x="0" y="908"/>
                  </a:cubicBezTo>
                  <a:lnTo>
                    <a:pt x="26" y="908"/>
                  </a:lnTo>
                  <a:cubicBezTo>
                    <a:pt x="26" y="908"/>
                    <a:pt x="214" y="163"/>
                    <a:pt x="606" y="82"/>
                  </a:cubicBezTo>
                  <a:cubicBezTo>
                    <a:pt x="606" y="82"/>
                    <a:pt x="742" y="82"/>
                    <a:pt x="917" y="179"/>
                  </a:cubicBezTo>
                  <a:cubicBezTo>
                    <a:pt x="1024" y="244"/>
                    <a:pt x="1134" y="341"/>
                    <a:pt x="1228" y="503"/>
                  </a:cubicBezTo>
                  <a:cubicBezTo>
                    <a:pt x="1296" y="610"/>
                    <a:pt x="1348" y="746"/>
                    <a:pt x="1390" y="908"/>
                  </a:cubicBezTo>
                  <a:lnTo>
                    <a:pt x="3373" y="908"/>
                  </a:lnTo>
                  <a:cubicBezTo>
                    <a:pt x="3373" y="908"/>
                    <a:pt x="3386" y="717"/>
                    <a:pt x="3292" y="516"/>
                  </a:cubicBezTo>
                  <a:cubicBezTo>
                    <a:pt x="3240" y="406"/>
                    <a:pt x="3172" y="312"/>
                    <a:pt x="3078" y="218"/>
                  </a:cubicBezTo>
                  <a:cubicBezTo>
                    <a:pt x="3010" y="150"/>
                    <a:pt x="2916" y="98"/>
                    <a:pt x="2819" y="56"/>
                  </a:cubicBezTo>
                  <a:lnTo>
                    <a:pt x="606" y="1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9" name="Google Shape;1149;p38"/>
            <p:cNvSpPr/>
            <p:nvPr/>
          </p:nvSpPr>
          <p:spPr>
            <a:xfrm>
              <a:off x="1607025" y="1469950"/>
              <a:ext cx="17275" cy="14200"/>
            </a:xfrm>
            <a:custGeom>
              <a:avLst/>
              <a:gdLst/>
              <a:ahLst/>
              <a:cxnLst/>
              <a:rect l="l" t="t" r="r" b="b"/>
              <a:pathLst>
                <a:path w="691" h="568" extrusionOk="0">
                  <a:moveTo>
                    <a:pt x="1" y="1"/>
                  </a:moveTo>
                  <a:lnTo>
                    <a:pt x="1" y="568"/>
                  </a:lnTo>
                  <a:lnTo>
                    <a:pt x="691" y="568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0" name="Google Shape;1150;p38"/>
            <p:cNvSpPr/>
            <p:nvPr/>
          </p:nvSpPr>
          <p:spPr>
            <a:xfrm>
              <a:off x="1614800" y="1469950"/>
              <a:ext cx="350" cy="14200"/>
            </a:xfrm>
            <a:custGeom>
              <a:avLst/>
              <a:gdLst/>
              <a:ahLst/>
              <a:cxnLst/>
              <a:rect l="l" t="t" r="r" b="b"/>
              <a:pathLst>
                <a:path w="14" h="568" extrusionOk="0">
                  <a:moveTo>
                    <a:pt x="1" y="1"/>
                  </a:moveTo>
                  <a:lnTo>
                    <a:pt x="1" y="568"/>
                  </a:lnTo>
                  <a:lnTo>
                    <a:pt x="14" y="568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1" name="Google Shape;1151;p38"/>
            <p:cNvSpPr/>
            <p:nvPr/>
          </p:nvSpPr>
          <p:spPr>
            <a:xfrm>
              <a:off x="1676625" y="1463550"/>
              <a:ext cx="22600" cy="27100"/>
            </a:xfrm>
            <a:custGeom>
              <a:avLst/>
              <a:gdLst/>
              <a:ahLst/>
              <a:cxnLst/>
              <a:rect l="l" t="t" r="r" b="b"/>
              <a:pathLst>
                <a:path w="904" h="1084" extrusionOk="0">
                  <a:moveTo>
                    <a:pt x="862" y="338"/>
                  </a:moveTo>
                  <a:cubicBezTo>
                    <a:pt x="836" y="338"/>
                    <a:pt x="810" y="367"/>
                    <a:pt x="810" y="393"/>
                  </a:cubicBezTo>
                  <a:cubicBezTo>
                    <a:pt x="810" y="406"/>
                    <a:pt x="823" y="419"/>
                    <a:pt x="836" y="435"/>
                  </a:cubicBezTo>
                  <a:lnTo>
                    <a:pt x="862" y="435"/>
                  </a:lnTo>
                  <a:cubicBezTo>
                    <a:pt x="891" y="435"/>
                    <a:pt x="904" y="419"/>
                    <a:pt x="904" y="393"/>
                  </a:cubicBezTo>
                  <a:cubicBezTo>
                    <a:pt x="904" y="367"/>
                    <a:pt x="891" y="338"/>
                    <a:pt x="862" y="338"/>
                  </a:cubicBezTo>
                  <a:close/>
                  <a:moveTo>
                    <a:pt x="486" y="1"/>
                  </a:moveTo>
                  <a:cubicBezTo>
                    <a:pt x="350" y="1"/>
                    <a:pt x="227" y="124"/>
                    <a:pt x="227" y="273"/>
                  </a:cubicBezTo>
                  <a:cubicBezTo>
                    <a:pt x="227" y="406"/>
                    <a:pt x="324" y="516"/>
                    <a:pt x="457" y="529"/>
                  </a:cubicBezTo>
                  <a:lnTo>
                    <a:pt x="457" y="678"/>
                  </a:lnTo>
                  <a:lnTo>
                    <a:pt x="405" y="623"/>
                  </a:lnTo>
                  <a:lnTo>
                    <a:pt x="405" y="568"/>
                  </a:lnTo>
                  <a:lnTo>
                    <a:pt x="389" y="568"/>
                  </a:lnTo>
                  <a:lnTo>
                    <a:pt x="389" y="662"/>
                  </a:lnTo>
                  <a:lnTo>
                    <a:pt x="282" y="555"/>
                  </a:lnTo>
                  <a:lnTo>
                    <a:pt x="282" y="529"/>
                  </a:lnTo>
                  <a:cubicBezTo>
                    <a:pt x="282" y="461"/>
                    <a:pt x="243" y="419"/>
                    <a:pt x="188" y="419"/>
                  </a:cubicBezTo>
                  <a:cubicBezTo>
                    <a:pt x="146" y="419"/>
                    <a:pt x="107" y="448"/>
                    <a:pt x="94" y="474"/>
                  </a:cubicBezTo>
                  <a:lnTo>
                    <a:pt x="65" y="474"/>
                  </a:lnTo>
                  <a:cubicBezTo>
                    <a:pt x="26" y="474"/>
                    <a:pt x="0" y="500"/>
                    <a:pt x="0" y="542"/>
                  </a:cubicBezTo>
                  <a:cubicBezTo>
                    <a:pt x="0" y="581"/>
                    <a:pt x="26" y="623"/>
                    <a:pt x="65" y="623"/>
                  </a:cubicBezTo>
                  <a:cubicBezTo>
                    <a:pt x="94" y="623"/>
                    <a:pt x="107" y="610"/>
                    <a:pt x="120" y="597"/>
                  </a:cubicBezTo>
                  <a:cubicBezTo>
                    <a:pt x="133" y="610"/>
                    <a:pt x="162" y="623"/>
                    <a:pt x="188" y="623"/>
                  </a:cubicBezTo>
                  <a:cubicBezTo>
                    <a:pt x="214" y="623"/>
                    <a:pt x="243" y="610"/>
                    <a:pt x="269" y="581"/>
                  </a:cubicBezTo>
                  <a:lnTo>
                    <a:pt x="457" y="730"/>
                  </a:lnTo>
                  <a:lnTo>
                    <a:pt x="457" y="1083"/>
                  </a:lnTo>
                  <a:lnTo>
                    <a:pt x="525" y="1083"/>
                  </a:lnTo>
                  <a:lnTo>
                    <a:pt x="525" y="691"/>
                  </a:lnTo>
                  <a:lnTo>
                    <a:pt x="567" y="678"/>
                  </a:lnTo>
                  <a:lnTo>
                    <a:pt x="606" y="691"/>
                  </a:lnTo>
                  <a:lnTo>
                    <a:pt x="619" y="678"/>
                  </a:lnTo>
                  <a:lnTo>
                    <a:pt x="593" y="662"/>
                  </a:lnTo>
                  <a:lnTo>
                    <a:pt x="742" y="581"/>
                  </a:lnTo>
                  <a:cubicBezTo>
                    <a:pt x="755" y="610"/>
                    <a:pt x="781" y="623"/>
                    <a:pt x="810" y="623"/>
                  </a:cubicBezTo>
                  <a:cubicBezTo>
                    <a:pt x="862" y="623"/>
                    <a:pt x="904" y="581"/>
                    <a:pt x="904" y="529"/>
                  </a:cubicBezTo>
                  <a:cubicBezTo>
                    <a:pt x="904" y="487"/>
                    <a:pt x="875" y="448"/>
                    <a:pt x="836" y="435"/>
                  </a:cubicBezTo>
                  <a:lnTo>
                    <a:pt x="810" y="435"/>
                  </a:lnTo>
                  <a:cubicBezTo>
                    <a:pt x="768" y="435"/>
                    <a:pt x="729" y="474"/>
                    <a:pt x="729" y="529"/>
                  </a:cubicBezTo>
                  <a:lnTo>
                    <a:pt x="729" y="555"/>
                  </a:lnTo>
                  <a:lnTo>
                    <a:pt x="619" y="610"/>
                  </a:lnTo>
                  <a:lnTo>
                    <a:pt x="632" y="542"/>
                  </a:lnTo>
                  <a:lnTo>
                    <a:pt x="606" y="542"/>
                  </a:lnTo>
                  <a:lnTo>
                    <a:pt x="606" y="610"/>
                  </a:lnTo>
                  <a:lnTo>
                    <a:pt x="525" y="636"/>
                  </a:lnTo>
                  <a:lnTo>
                    <a:pt x="525" y="529"/>
                  </a:lnTo>
                  <a:cubicBezTo>
                    <a:pt x="661" y="500"/>
                    <a:pt x="755" y="393"/>
                    <a:pt x="755" y="273"/>
                  </a:cubicBezTo>
                  <a:cubicBezTo>
                    <a:pt x="755" y="124"/>
                    <a:pt x="632" y="1"/>
                    <a:pt x="486" y="1"/>
                  </a:cubicBezTo>
                  <a:close/>
                </a:path>
              </a:pathLst>
            </a:custGeom>
            <a:solidFill>
              <a:srgbClr val="0C554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2" name="Google Shape;1152;p38"/>
            <p:cNvSpPr/>
            <p:nvPr/>
          </p:nvSpPr>
          <p:spPr>
            <a:xfrm>
              <a:off x="1260750" y="1482850"/>
              <a:ext cx="282875" cy="3750"/>
            </a:xfrm>
            <a:custGeom>
              <a:avLst/>
              <a:gdLst/>
              <a:ahLst/>
              <a:cxnLst/>
              <a:rect l="l" t="t" r="r" b="b"/>
              <a:pathLst>
                <a:path w="11315" h="150" extrusionOk="0">
                  <a:moveTo>
                    <a:pt x="892" y="0"/>
                  </a:moveTo>
                  <a:lnTo>
                    <a:pt x="1" y="149"/>
                  </a:lnTo>
                  <a:lnTo>
                    <a:pt x="10787" y="149"/>
                  </a:lnTo>
                  <a:lnTo>
                    <a:pt x="1131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3" name="Google Shape;1153;p38"/>
            <p:cNvSpPr/>
            <p:nvPr/>
          </p:nvSpPr>
          <p:spPr>
            <a:xfrm>
              <a:off x="1287400" y="1477075"/>
              <a:ext cx="271800" cy="3775"/>
            </a:xfrm>
            <a:custGeom>
              <a:avLst/>
              <a:gdLst/>
              <a:ahLst/>
              <a:cxnLst/>
              <a:rect l="l" t="t" r="r" b="b"/>
              <a:pathLst>
                <a:path w="10872" h="151" extrusionOk="0">
                  <a:moveTo>
                    <a:pt x="908" y="1"/>
                  </a:moveTo>
                  <a:lnTo>
                    <a:pt x="1" y="150"/>
                  </a:lnTo>
                  <a:lnTo>
                    <a:pt x="10343" y="150"/>
                  </a:lnTo>
                  <a:lnTo>
                    <a:pt x="10871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4" name="Google Shape;1154;p38"/>
            <p:cNvSpPr/>
            <p:nvPr/>
          </p:nvSpPr>
          <p:spPr>
            <a:xfrm>
              <a:off x="16347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5" name="Google Shape;1155;p38"/>
            <p:cNvSpPr/>
            <p:nvPr/>
          </p:nvSpPr>
          <p:spPr>
            <a:xfrm>
              <a:off x="163302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6" name="Google Shape;1156;p38"/>
            <p:cNvSpPr/>
            <p:nvPr/>
          </p:nvSpPr>
          <p:spPr>
            <a:xfrm>
              <a:off x="163132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7" name="Google Shape;1157;p38"/>
            <p:cNvSpPr/>
            <p:nvPr/>
          </p:nvSpPr>
          <p:spPr>
            <a:xfrm>
              <a:off x="1629625" y="1484875"/>
              <a:ext cx="750" cy="3000"/>
            </a:xfrm>
            <a:custGeom>
              <a:avLst/>
              <a:gdLst/>
              <a:ahLst/>
              <a:cxnLst/>
              <a:rect l="l" t="t" r="r" b="b"/>
              <a:pathLst>
                <a:path w="30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8" name="Google Shape;1158;p38"/>
            <p:cNvSpPr/>
            <p:nvPr/>
          </p:nvSpPr>
          <p:spPr>
            <a:xfrm>
              <a:off x="16280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9" name="Google Shape;1159;p38"/>
            <p:cNvSpPr/>
            <p:nvPr/>
          </p:nvSpPr>
          <p:spPr>
            <a:xfrm>
              <a:off x="16266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0" name="Google Shape;1160;p38"/>
            <p:cNvSpPr/>
            <p:nvPr/>
          </p:nvSpPr>
          <p:spPr>
            <a:xfrm>
              <a:off x="16249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1" name="Google Shape;1161;p38"/>
            <p:cNvSpPr/>
            <p:nvPr/>
          </p:nvSpPr>
          <p:spPr>
            <a:xfrm>
              <a:off x="16232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2" name="Google Shape;1162;p38"/>
            <p:cNvSpPr/>
            <p:nvPr/>
          </p:nvSpPr>
          <p:spPr>
            <a:xfrm>
              <a:off x="162152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3" name="Google Shape;1163;p38"/>
            <p:cNvSpPr/>
            <p:nvPr/>
          </p:nvSpPr>
          <p:spPr>
            <a:xfrm>
              <a:off x="161992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4" name="Google Shape;1164;p38"/>
            <p:cNvSpPr/>
            <p:nvPr/>
          </p:nvSpPr>
          <p:spPr>
            <a:xfrm>
              <a:off x="16182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5" name="Google Shape;1165;p38"/>
            <p:cNvSpPr/>
            <p:nvPr/>
          </p:nvSpPr>
          <p:spPr>
            <a:xfrm>
              <a:off x="16165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6" name="Google Shape;1166;p38"/>
            <p:cNvSpPr/>
            <p:nvPr/>
          </p:nvSpPr>
          <p:spPr>
            <a:xfrm>
              <a:off x="16148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7" name="Google Shape;1167;p38"/>
            <p:cNvSpPr/>
            <p:nvPr/>
          </p:nvSpPr>
          <p:spPr>
            <a:xfrm>
              <a:off x="161310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8" name="Google Shape;1168;p38"/>
            <p:cNvSpPr/>
            <p:nvPr/>
          </p:nvSpPr>
          <p:spPr>
            <a:xfrm>
              <a:off x="1611400" y="1484875"/>
              <a:ext cx="750" cy="3000"/>
            </a:xfrm>
            <a:custGeom>
              <a:avLst/>
              <a:gdLst/>
              <a:ahLst/>
              <a:cxnLst/>
              <a:rect l="l" t="t" r="r" b="b"/>
              <a:pathLst>
                <a:path w="30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9" name="Google Shape;1169;p38"/>
            <p:cNvSpPr/>
            <p:nvPr/>
          </p:nvSpPr>
          <p:spPr>
            <a:xfrm>
              <a:off x="161012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0" name="Google Shape;1170;p38"/>
            <p:cNvSpPr/>
            <p:nvPr/>
          </p:nvSpPr>
          <p:spPr>
            <a:xfrm>
              <a:off x="16084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1" name="Google Shape;1171;p38"/>
            <p:cNvSpPr/>
            <p:nvPr/>
          </p:nvSpPr>
          <p:spPr>
            <a:xfrm>
              <a:off x="16067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2" name="Google Shape;1172;p38"/>
            <p:cNvSpPr/>
            <p:nvPr/>
          </p:nvSpPr>
          <p:spPr>
            <a:xfrm>
              <a:off x="16050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3" name="Google Shape;1173;p38"/>
            <p:cNvSpPr/>
            <p:nvPr/>
          </p:nvSpPr>
          <p:spPr>
            <a:xfrm>
              <a:off x="160330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4" name="Google Shape;1174;p38"/>
            <p:cNvSpPr/>
            <p:nvPr/>
          </p:nvSpPr>
          <p:spPr>
            <a:xfrm>
              <a:off x="160170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5" name="Google Shape;1175;p38"/>
            <p:cNvSpPr/>
            <p:nvPr/>
          </p:nvSpPr>
          <p:spPr>
            <a:xfrm>
              <a:off x="160000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6" name="Google Shape;1176;p38"/>
            <p:cNvSpPr/>
            <p:nvPr/>
          </p:nvSpPr>
          <p:spPr>
            <a:xfrm>
              <a:off x="15982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7" name="Google Shape;1177;p38"/>
            <p:cNvSpPr/>
            <p:nvPr/>
          </p:nvSpPr>
          <p:spPr>
            <a:xfrm>
              <a:off x="15965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8" name="Google Shape;1178;p38"/>
            <p:cNvSpPr/>
            <p:nvPr/>
          </p:nvSpPr>
          <p:spPr>
            <a:xfrm>
              <a:off x="159520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9" name="Google Shape;1179;p38"/>
            <p:cNvSpPr/>
            <p:nvPr/>
          </p:nvSpPr>
          <p:spPr>
            <a:xfrm>
              <a:off x="15936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0" name="Google Shape;1180;p38"/>
            <p:cNvSpPr/>
            <p:nvPr/>
          </p:nvSpPr>
          <p:spPr>
            <a:xfrm>
              <a:off x="1591900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1" name="Google Shape;1181;p38"/>
            <p:cNvSpPr/>
            <p:nvPr/>
          </p:nvSpPr>
          <p:spPr>
            <a:xfrm>
              <a:off x="15901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2" name="Google Shape;1182;p38"/>
            <p:cNvSpPr/>
            <p:nvPr/>
          </p:nvSpPr>
          <p:spPr>
            <a:xfrm>
              <a:off x="15884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3" name="Google Shape;1183;p38"/>
            <p:cNvSpPr/>
            <p:nvPr/>
          </p:nvSpPr>
          <p:spPr>
            <a:xfrm>
              <a:off x="15867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4" name="Google Shape;1184;p38"/>
            <p:cNvSpPr/>
            <p:nvPr/>
          </p:nvSpPr>
          <p:spPr>
            <a:xfrm>
              <a:off x="15850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5" name="Google Shape;1185;p38"/>
            <p:cNvSpPr/>
            <p:nvPr/>
          </p:nvSpPr>
          <p:spPr>
            <a:xfrm>
              <a:off x="15834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6" name="Google Shape;1186;p38"/>
            <p:cNvSpPr/>
            <p:nvPr/>
          </p:nvSpPr>
          <p:spPr>
            <a:xfrm>
              <a:off x="15817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7" name="Google Shape;1187;p38"/>
            <p:cNvSpPr/>
            <p:nvPr/>
          </p:nvSpPr>
          <p:spPr>
            <a:xfrm>
              <a:off x="15803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8" name="Google Shape;1188;p38"/>
            <p:cNvSpPr/>
            <p:nvPr/>
          </p:nvSpPr>
          <p:spPr>
            <a:xfrm>
              <a:off x="15786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9" name="Google Shape;1189;p38"/>
            <p:cNvSpPr/>
            <p:nvPr/>
          </p:nvSpPr>
          <p:spPr>
            <a:xfrm>
              <a:off x="157697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0" name="Google Shape;1190;p38"/>
            <p:cNvSpPr/>
            <p:nvPr/>
          </p:nvSpPr>
          <p:spPr>
            <a:xfrm>
              <a:off x="15753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1" name="Google Shape;1191;p38"/>
            <p:cNvSpPr/>
            <p:nvPr/>
          </p:nvSpPr>
          <p:spPr>
            <a:xfrm>
              <a:off x="157367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2" name="Google Shape;1192;p38"/>
            <p:cNvSpPr/>
            <p:nvPr/>
          </p:nvSpPr>
          <p:spPr>
            <a:xfrm>
              <a:off x="15719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3" name="Google Shape;1193;p38"/>
            <p:cNvSpPr/>
            <p:nvPr/>
          </p:nvSpPr>
          <p:spPr>
            <a:xfrm>
              <a:off x="157025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4" name="Google Shape;1194;p38"/>
            <p:cNvSpPr/>
            <p:nvPr/>
          </p:nvSpPr>
          <p:spPr>
            <a:xfrm>
              <a:off x="156855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5" name="Google Shape;1195;p38"/>
            <p:cNvSpPr/>
            <p:nvPr/>
          </p:nvSpPr>
          <p:spPr>
            <a:xfrm>
              <a:off x="156685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6" name="Google Shape;1196;p38"/>
            <p:cNvSpPr/>
            <p:nvPr/>
          </p:nvSpPr>
          <p:spPr>
            <a:xfrm>
              <a:off x="156525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7" name="Google Shape;1197;p38"/>
            <p:cNvSpPr/>
            <p:nvPr/>
          </p:nvSpPr>
          <p:spPr>
            <a:xfrm>
              <a:off x="15638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8" name="Google Shape;1198;p38"/>
            <p:cNvSpPr/>
            <p:nvPr/>
          </p:nvSpPr>
          <p:spPr>
            <a:xfrm>
              <a:off x="15621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9" name="Google Shape;1199;p38"/>
            <p:cNvSpPr/>
            <p:nvPr/>
          </p:nvSpPr>
          <p:spPr>
            <a:xfrm>
              <a:off x="15604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0" name="Google Shape;1200;p38"/>
            <p:cNvSpPr/>
            <p:nvPr/>
          </p:nvSpPr>
          <p:spPr>
            <a:xfrm>
              <a:off x="155875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1" name="Google Shape;1201;p38"/>
            <p:cNvSpPr/>
            <p:nvPr/>
          </p:nvSpPr>
          <p:spPr>
            <a:xfrm>
              <a:off x="15571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2" name="Google Shape;1202;p38"/>
            <p:cNvSpPr/>
            <p:nvPr/>
          </p:nvSpPr>
          <p:spPr>
            <a:xfrm>
              <a:off x="155545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3" name="Google Shape;1203;p38"/>
            <p:cNvSpPr/>
            <p:nvPr/>
          </p:nvSpPr>
          <p:spPr>
            <a:xfrm>
              <a:off x="155372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4" name="Google Shape;1204;p38"/>
            <p:cNvSpPr/>
            <p:nvPr/>
          </p:nvSpPr>
          <p:spPr>
            <a:xfrm>
              <a:off x="155202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5" name="Google Shape;1205;p38"/>
            <p:cNvSpPr/>
            <p:nvPr/>
          </p:nvSpPr>
          <p:spPr>
            <a:xfrm>
              <a:off x="155032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6" name="Google Shape;1206;p38"/>
            <p:cNvSpPr/>
            <p:nvPr/>
          </p:nvSpPr>
          <p:spPr>
            <a:xfrm>
              <a:off x="15490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7" name="Google Shape;1207;p38"/>
            <p:cNvSpPr/>
            <p:nvPr/>
          </p:nvSpPr>
          <p:spPr>
            <a:xfrm>
              <a:off x="1547350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8" name="Google Shape;1208;p38"/>
            <p:cNvSpPr/>
            <p:nvPr/>
          </p:nvSpPr>
          <p:spPr>
            <a:xfrm>
              <a:off x="15456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9" name="Google Shape;1209;p38"/>
            <p:cNvSpPr/>
            <p:nvPr/>
          </p:nvSpPr>
          <p:spPr>
            <a:xfrm>
              <a:off x="15439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0" name="Google Shape;1210;p38"/>
            <p:cNvSpPr/>
            <p:nvPr/>
          </p:nvSpPr>
          <p:spPr>
            <a:xfrm>
              <a:off x="15422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1" name="Google Shape;1211;p38"/>
            <p:cNvSpPr/>
            <p:nvPr/>
          </p:nvSpPr>
          <p:spPr>
            <a:xfrm>
              <a:off x="154052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2" name="Google Shape;1212;p38"/>
            <p:cNvSpPr/>
            <p:nvPr/>
          </p:nvSpPr>
          <p:spPr>
            <a:xfrm>
              <a:off x="15389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3" name="Google Shape;1213;p38"/>
            <p:cNvSpPr/>
            <p:nvPr/>
          </p:nvSpPr>
          <p:spPr>
            <a:xfrm>
              <a:off x="15372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4" name="Google Shape;1214;p38"/>
            <p:cNvSpPr/>
            <p:nvPr/>
          </p:nvSpPr>
          <p:spPr>
            <a:xfrm>
              <a:off x="15355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5" name="Google Shape;1215;p38"/>
            <p:cNvSpPr/>
            <p:nvPr/>
          </p:nvSpPr>
          <p:spPr>
            <a:xfrm>
              <a:off x="15338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6" name="Google Shape;1216;p38"/>
            <p:cNvSpPr/>
            <p:nvPr/>
          </p:nvSpPr>
          <p:spPr>
            <a:xfrm>
              <a:off x="153242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7" name="Google Shape;1217;p38"/>
            <p:cNvSpPr/>
            <p:nvPr/>
          </p:nvSpPr>
          <p:spPr>
            <a:xfrm>
              <a:off x="15308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8" name="Google Shape;1218;p38"/>
            <p:cNvSpPr/>
            <p:nvPr/>
          </p:nvSpPr>
          <p:spPr>
            <a:xfrm>
              <a:off x="152912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9" name="Google Shape;1219;p38"/>
            <p:cNvSpPr/>
            <p:nvPr/>
          </p:nvSpPr>
          <p:spPr>
            <a:xfrm>
              <a:off x="15274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0" name="Google Shape;1220;p38"/>
            <p:cNvSpPr/>
            <p:nvPr/>
          </p:nvSpPr>
          <p:spPr>
            <a:xfrm>
              <a:off x="15257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1" name="Google Shape;1221;p38"/>
            <p:cNvSpPr/>
            <p:nvPr/>
          </p:nvSpPr>
          <p:spPr>
            <a:xfrm>
              <a:off x="152400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2" name="Google Shape;1222;p38"/>
            <p:cNvSpPr/>
            <p:nvPr/>
          </p:nvSpPr>
          <p:spPr>
            <a:xfrm>
              <a:off x="152230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3" name="Google Shape;1223;p38"/>
            <p:cNvSpPr/>
            <p:nvPr/>
          </p:nvSpPr>
          <p:spPr>
            <a:xfrm>
              <a:off x="152070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4" name="Google Shape;1224;p38"/>
            <p:cNvSpPr/>
            <p:nvPr/>
          </p:nvSpPr>
          <p:spPr>
            <a:xfrm>
              <a:off x="151900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5" name="Google Shape;1225;p38"/>
            <p:cNvSpPr/>
            <p:nvPr/>
          </p:nvSpPr>
          <p:spPr>
            <a:xfrm>
              <a:off x="15176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6" name="Google Shape;1226;p38"/>
            <p:cNvSpPr/>
            <p:nvPr/>
          </p:nvSpPr>
          <p:spPr>
            <a:xfrm>
              <a:off x="15159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7" name="Google Shape;1227;p38"/>
            <p:cNvSpPr/>
            <p:nvPr/>
          </p:nvSpPr>
          <p:spPr>
            <a:xfrm>
              <a:off x="151420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8" name="Google Shape;1228;p38"/>
            <p:cNvSpPr/>
            <p:nvPr/>
          </p:nvSpPr>
          <p:spPr>
            <a:xfrm>
              <a:off x="15126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9" name="Google Shape;1229;p38"/>
            <p:cNvSpPr/>
            <p:nvPr/>
          </p:nvSpPr>
          <p:spPr>
            <a:xfrm>
              <a:off x="1510900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0" name="Google Shape;1230;p38"/>
            <p:cNvSpPr/>
            <p:nvPr/>
          </p:nvSpPr>
          <p:spPr>
            <a:xfrm>
              <a:off x="15091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1" name="Google Shape;1231;p38"/>
            <p:cNvSpPr/>
            <p:nvPr/>
          </p:nvSpPr>
          <p:spPr>
            <a:xfrm>
              <a:off x="15074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2" name="Google Shape;1232;p38"/>
            <p:cNvSpPr/>
            <p:nvPr/>
          </p:nvSpPr>
          <p:spPr>
            <a:xfrm>
              <a:off x="15057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3" name="Google Shape;1233;p38"/>
            <p:cNvSpPr/>
            <p:nvPr/>
          </p:nvSpPr>
          <p:spPr>
            <a:xfrm>
              <a:off x="15040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4" name="Google Shape;1234;p38"/>
            <p:cNvSpPr/>
            <p:nvPr/>
          </p:nvSpPr>
          <p:spPr>
            <a:xfrm>
              <a:off x="15024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5" name="Google Shape;1235;p38"/>
            <p:cNvSpPr/>
            <p:nvPr/>
          </p:nvSpPr>
          <p:spPr>
            <a:xfrm>
              <a:off x="15010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6" name="Google Shape;1236;p38"/>
            <p:cNvSpPr/>
            <p:nvPr/>
          </p:nvSpPr>
          <p:spPr>
            <a:xfrm>
              <a:off x="14993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7" name="Google Shape;1237;p38"/>
            <p:cNvSpPr/>
            <p:nvPr/>
          </p:nvSpPr>
          <p:spPr>
            <a:xfrm>
              <a:off x="14976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8" name="Google Shape;1238;p38"/>
            <p:cNvSpPr/>
            <p:nvPr/>
          </p:nvSpPr>
          <p:spPr>
            <a:xfrm>
              <a:off x="149597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9" name="Google Shape;1239;p38"/>
            <p:cNvSpPr/>
            <p:nvPr/>
          </p:nvSpPr>
          <p:spPr>
            <a:xfrm>
              <a:off x="14943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0" name="Google Shape;1240;p38"/>
            <p:cNvSpPr/>
            <p:nvPr/>
          </p:nvSpPr>
          <p:spPr>
            <a:xfrm>
              <a:off x="14926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1" name="Google Shape;1241;p38"/>
            <p:cNvSpPr/>
            <p:nvPr/>
          </p:nvSpPr>
          <p:spPr>
            <a:xfrm>
              <a:off x="149095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2" name="Google Shape;1242;p38"/>
            <p:cNvSpPr/>
            <p:nvPr/>
          </p:nvSpPr>
          <p:spPr>
            <a:xfrm>
              <a:off x="148925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3" name="Google Shape;1243;p38"/>
            <p:cNvSpPr/>
            <p:nvPr/>
          </p:nvSpPr>
          <p:spPr>
            <a:xfrm>
              <a:off x="148755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4" name="Google Shape;1244;p38"/>
            <p:cNvSpPr/>
            <p:nvPr/>
          </p:nvSpPr>
          <p:spPr>
            <a:xfrm>
              <a:off x="14862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5" name="Google Shape;1245;p38"/>
            <p:cNvSpPr/>
            <p:nvPr/>
          </p:nvSpPr>
          <p:spPr>
            <a:xfrm>
              <a:off x="148457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6" name="Google Shape;1246;p38"/>
            <p:cNvSpPr/>
            <p:nvPr/>
          </p:nvSpPr>
          <p:spPr>
            <a:xfrm>
              <a:off x="14828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7" name="Google Shape;1247;p38"/>
            <p:cNvSpPr/>
            <p:nvPr/>
          </p:nvSpPr>
          <p:spPr>
            <a:xfrm>
              <a:off x="14811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8" name="Google Shape;1248;p38"/>
            <p:cNvSpPr/>
            <p:nvPr/>
          </p:nvSpPr>
          <p:spPr>
            <a:xfrm>
              <a:off x="14794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9" name="Google Shape;1249;p38"/>
            <p:cNvSpPr/>
            <p:nvPr/>
          </p:nvSpPr>
          <p:spPr>
            <a:xfrm>
              <a:off x="147775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0" name="Google Shape;1250;p38"/>
            <p:cNvSpPr/>
            <p:nvPr/>
          </p:nvSpPr>
          <p:spPr>
            <a:xfrm>
              <a:off x="147615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1" name="Google Shape;1251;p38"/>
            <p:cNvSpPr/>
            <p:nvPr/>
          </p:nvSpPr>
          <p:spPr>
            <a:xfrm>
              <a:off x="147445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2" name="Google Shape;1252;p38"/>
            <p:cNvSpPr/>
            <p:nvPr/>
          </p:nvSpPr>
          <p:spPr>
            <a:xfrm>
              <a:off x="147272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3" name="Google Shape;1253;p38"/>
            <p:cNvSpPr/>
            <p:nvPr/>
          </p:nvSpPr>
          <p:spPr>
            <a:xfrm>
              <a:off x="147102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4" name="Google Shape;1254;p38"/>
            <p:cNvSpPr/>
            <p:nvPr/>
          </p:nvSpPr>
          <p:spPr>
            <a:xfrm>
              <a:off x="146965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5" name="Google Shape;1255;p38"/>
            <p:cNvSpPr/>
            <p:nvPr/>
          </p:nvSpPr>
          <p:spPr>
            <a:xfrm>
              <a:off x="146805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6" name="Google Shape;1256;p38"/>
            <p:cNvSpPr/>
            <p:nvPr/>
          </p:nvSpPr>
          <p:spPr>
            <a:xfrm>
              <a:off x="1466350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7" name="Google Shape;1257;p38"/>
            <p:cNvSpPr/>
            <p:nvPr/>
          </p:nvSpPr>
          <p:spPr>
            <a:xfrm>
              <a:off x="14646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8" name="Google Shape;1258;p38"/>
            <p:cNvSpPr/>
            <p:nvPr/>
          </p:nvSpPr>
          <p:spPr>
            <a:xfrm>
              <a:off x="14629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9" name="Google Shape;1259;p38"/>
            <p:cNvSpPr/>
            <p:nvPr/>
          </p:nvSpPr>
          <p:spPr>
            <a:xfrm>
              <a:off x="146122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0" name="Google Shape;1260;p38"/>
            <p:cNvSpPr/>
            <p:nvPr/>
          </p:nvSpPr>
          <p:spPr>
            <a:xfrm>
              <a:off x="145952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1" name="Google Shape;1261;p38"/>
            <p:cNvSpPr/>
            <p:nvPr/>
          </p:nvSpPr>
          <p:spPr>
            <a:xfrm>
              <a:off x="14579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2" name="Google Shape;1262;p38"/>
            <p:cNvSpPr/>
            <p:nvPr/>
          </p:nvSpPr>
          <p:spPr>
            <a:xfrm>
              <a:off x="145622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3" name="Google Shape;1263;p38"/>
            <p:cNvSpPr/>
            <p:nvPr/>
          </p:nvSpPr>
          <p:spPr>
            <a:xfrm>
              <a:off x="14548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4" name="Google Shape;1264;p38"/>
            <p:cNvSpPr/>
            <p:nvPr/>
          </p:nvSpPr>
          <p:spPr>
            <a:xfrm>
              <a:off x="14531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5" name="Google Shape;1265;p38"/>
            <p:cNvSpPr/>
            <p:nvPr/>
          </p:nvSpPr>
          <p:spPr>
            <a:xfrm>
              <a:off x="145142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6" name="Google Shape;1266;p38"/>
            <p:cNvSpPr/>
            <p:nvPr/>
          </p:nvSpPr>
          <p:spPr>
            <a:xfrm>
              <a:off x="144982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7" name="Google Shape;1267;p38"/>
            <p:cNvSpPr/>
            <p:nvPr/>
          </p:nvSpPr>
          <p:spPr>
            <a:xfrm>
              <a:off x="144812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8" name="Google Shape;1268;p38"/>
            <p:cNvSpPr/>
            <p:nvPr/>
          </p:nvSpPr>
          <p:spPr>
            <a:xfrm>
              <a:off x="14464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9" name="Google Shape;1269;p38"/>
            <p:cNvSpPr/>
            <p:nvPr/>
          </p:nvSpPr>
          <p:spPr>
            <a:xfrm>
              <a:off x="144470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0" name="Google Shape;1270;p38"/>
            <p:cNvSpPr/>
            <p:nvPr/>
          </p:nvSpPr>
          <p:spPr>
            <a:xfrm>
              <a:off x="144300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1" name="Google Shape;1271;p38"/>
            <p:cNvSpPr/>
            <p:nvPr/>
          </p:nvSpPr>
          <p:spPr>
            <a:xfrm>
              <a:off x="1441300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2" name="Google Shape;1272;p38"/>
            <p:cNvSpPr/>
            <p:nvPr/>
          </p:nvSpPr>
          <p:spPr>
            <a:xfrm>
              <a:off x="1440025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3" name="Google Shape;1273;p38"/>
            <p:cNvSpPr/>
            <p:nvPr/>
          </p:nvSpPr>
          <p:spPr>
            <a:xfrm>
              <a:off x="14383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4" name="Google Shape;1274;p38"/>
            <p:cNvSpPr/>
            <p:nvPr/>
          </p:nvSpPr>
          <p:spPr>
            <a:xfrm>
              <a:off x="14366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5" name="Google Shape;1275;p38"/>
            <p:cNvSpPr/>
            <p:nvPr/>
          </p:nvSpPr>
          <p:spPr>
            <a:xfrm>
              <a:off x="14349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6" name="Google Shape;1276;p38"/>
            <p:cNvSpPr/>
            <p:nvPr/>
          </p:nvSpPr>
          <p:spPr>
            <a:xfrm>
              <a:off x="1433200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7" name="Google Shape;1277;p38"/>
            <p:cNvSpPr/>
            <p:nvPr/>
          </p:nvSpPr>
          <p:spPr>
            <a:xfrm>
              <a:off x="14316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8" name="Google Shape;1278;p38"/>
            <p:cNvSpPr/>
            <p:nvPr/>
          </p:nvSpPr>
          <p:spPr>
            <a:xfrm>
              <a:off x="1429900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9" name="Google Shape;1279;p38"/>
            <p:cNvSpPr/>
            <p:nvPr/>
          </p:nvSpPr>
          <p:spPr>
            <a:xfrm>
              <a:off x="14281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0" name="Google Shape;1280;p38"/>
            <p:cNvSpPr/>
            <p:nvPr/>
          </p:nvSpPr>
          <p:spPr>
            <a:xfrm>
              <a:off x="1426475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1" name="Google Shape;1281;p38"/>
            <p:cNvSpPr/>
            <p:nvPr/>
          </p:nvSpPr>
          <p:spPr>
            <a:xfrm>
              <a:off x="14247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2" name="Google Shape;1282;p38"/>
            <p:cNvSpPr/>
            <p:nvPr/>
          </p:nvSpPr>
          <p:spPr>
            <a:xfrm>
              <a:off x="1423500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3" name="Google Shape;1283;p38"/>
            <p:cNvSpPr/>
            <p:nvPr/>
          </p:nvSpPr>
          <p:spPr>
            <a:xfrm>
              <a:off x="1421800" y="1484875"/>
              <a:ext cx="325" cy="3000"/>
            </a:xfrm>
            <a:custGeom>
              <a:avLst/>
              <a:gdLst/>
              <a:ahLst/>
              <a:cxnLst/>
              <a:rect l="l" t="t" r="r" b="b"/>
              <a:pathLst>
                <a:path w="13" h="120" extrusionOk="0">
                  <a:moveTo>
                    <a:pt x="0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13" y="120"/>
                  </a:lnTo>
                  <a:lnTo>
                    <a:pt x="1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4" name="Google Shape;1284;p38"/>
            <p:cNvSpPr/>
            <p:nvPr/>
          </p:nvSpPr>
          <p:spPr>
            <a:xfrm>
              <a:off x="14200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5" name="Google Shape;1285;p38"/>
            <p:cNvSpPr/>
            <p:nvPr/>
          </p:nvSpPr>
          <p:spPr>
            <a:xfrm>
              <a:off x="14183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6" name="Google Shape;1286;p38"/>
            <p:cNvSpPr/>
            <p:nvPr/>
          </p:nvSpPr>
          <p:spPr>
            <a:xfrm>
              <a:off x="14166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7" name="Google Shape;1287;p38"/>
            <p:cNvSpPr/>
            <p:nvPr/>
          </p:nvSpPr>
          <p:spPr>
            <a:xfrm>
              <a:off x="1414975" y="1484875"/>
              <a:ext cx="775" cy="3000"/>
            </a:xfrm>
            <a:custGeom>
              <a:avLst/>
              <a:gdLst/>
              <a:ahLst/>
              <a:cxnLst/>
              <a:rect l="l" t="t" r="r" b="b"/>
              <a:pathLst>
                <a:path w="31" h="120" extrusionOk="0">
                  <a:moveTo>
                    <a:pt x="17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30" y="120"/>
                  </a:lnTo>
                  <a:lnTo>
                    <a:pt x="3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8" name="Google Shape;1288;p38"/>
            <p:cNvSpPr/>
            <p:nvPr/>
          </p:nvSpPr>
          <p:spPr>
            <a:xfrm>
              <a:off x="14133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9" name="Google Shape;1289;p38"/>
            <p:cNvSpPr/>
            <p:nvPr/>
          </p:nvSpPr>
          <p:spPr>
            <a:xfrm>
              <a:off x="1411675" y="1484875"/>
              <a:ext cx="650" cy="3000"/>
            </a:xfrm>
            <a:custGeom>
              <a:avLst/>
              <a:gdLst/>
              <a:ahLst/>
              <a:cxnLst/>
              <a:rect l="l" t="t" r="r" b="b"/>
              <a:pathLst>
                <a:path w="26" h="120" extrusionOk="0">
                  <a:moveTo>
                    <a:pt x="13" y="0"/>
                  </a:moveTo>
                  <a:lnTo>
                    <a:pt x="0" y="13"/>
                  </a:lnTo>
                  <a:lnTo>
                    <a:pt x="0" y="120"/>
                  </a:lnTo>
                  <a:lnTo>
                    <a:pt x="26" y="120"/>
                  </a:lnTo>
                  <a:lnTo>
                    <a:pt x="26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0" name="Google Shape;1290;p38"/>
            <p:cNvSpPr/>
            <p:nvPr/>
          </p:nvSpPr>
          <p:spPr>
            <a:xfrm>
              <a:off x="1409950" y="1484875"/>
              <a:ext cx="675" cy="3000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14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27" y="120"/>
                  </a:lnTo>
                  <a:lnTo>
                    <a:pt x="27" y="1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1" name="Google Shape;1291;p38"/>
            <p:cNvSpPr/>
            <p:nvPr/>
          </p:nvSpPr>
          <p:spPr>
            <a:xfrm>
              <a:off x="1408575" y="1484875"/>
              <a:ext cx="350" cy="3000"/>
            </a:xfrm>
            <a:custGeom>
              <a:avLst/>
              <a:gdLst/>
              <a:ahLst/>
              <a:cxnLst/>
              <a:rect l="l" t="t" r="r" b="b"/>
              <a:pathLst>
                <a:path w="14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4" y="120"/>
                  </a:lnTo>
                  <a:lnTo>
                    <a:pt x="14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2" name="Google Shape;1292;p38"/>
            <p:cNvSpPr/>
            <p:nvPr/>
          </p:nvSpPr>
          <p:spPr>
            <a:xfrm>
              <a:off x="1406875" y="1484875"/>
              <a:ext cx="450" cy="3000"/>
            </a:xfrm>
            <a:custGeom>
              <a:avLst/>
              <a:gdLst/>
              <a:ahLst/>
              <a:cxnLst/>
              <a:rect l="l" t="t" r="r" b="b"/>
              <a:pathLst>
                <a:path w="18" h="120" extrusionOk="0">
                  <a:moveTo>
                    <a:pt x="1" y="0"/>
                  </a:moveTo>
                  <a:lnTo>
                    <a:pt x="1" y="13"/>
                  </a:lnTo>
                  <a:lnTo>
                    <a:pt x="1" y="120"/>
                  </a:lnTo>
                  <a:lnTo>
                    <a:pt x="17" y="120"/>
                  </a:lnTo>
                  <a:lnTo>
                    <a:pt x="17" y="1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824005756"/>
      </p:ext>
    </p:extLst>
  </p:cSld>
  <p:clrMapOvr>
    <a:masterClrMapping/>
  </p:clrMapOvr>
  <p:transition spd="slow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bg>
      <p:bgPr>
        <a:solidFill>
          <a:schemeClr val="dk2"/>
        </a:solidFill>
        <a:effectLst/>
      </p:bgPr>
    </p:bg>
    <p:spTree>
      <p:nvGrpSpPr>
        <p:cNvPr id="1" name="Shape 1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4" name="Google Shape;1294;p39"/>
          <p:cNvGrpSpPr/>
          <p:nvPr/>
        </p:nvGrpSpPr>
        <p:grpSpPr>
          <a:xfrm flipH="1">
            <a:off x="367" y="3974106"/>
            <a:ext cx="12223208" cy="2720188"/>
            <a:chOff x="271" y="2964551"/>
            <a:chExt cx="9167406" cy="2193229"/>
          </a:xfrm>
        </p:grpSpPr>
        <p:sp>
          <p:nvSpPr>
            <p:cNvPr id="1295" name="Google Shape;1295;p39"/>
            <p:cNvSpPr/>
            <p:nvPr/>
          </p:nvSpPr>
          <p:spPr>
            <a:xfrm>
              <a:off x="275" y="3538374"/>
              <a:ext cx="9167398" cy="1619406"/>
            </a:xfrm>
            <a:custGeom>
              <a:avLst/>
              <a:gdLst/>
              <a:ahLst/>
              <a:cxnLst/>
              <a:rect l="l" t="t" r="r" b="b"/>
              <a:pathLst>
                <a:path w="43860" h="10974" extrusionOk="0">
                  <a:moveTo>
                    <a:pt x="0" y="0"/>
                  </a:moveTo>
                  <a:lnTo>
                    <a:pt x="0" y="10974"/>
                  </a:lnTo>
                  <a:lnTo>
                    <a:pt x="43860" y="10974"/>
                  </a:lnTo>
                  <a:lnTo>
                    <a:pt x="43860" y="0"/>
                  </a:ln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6" name="Google Shape;1296;p39"/>
            <p:cNvSpPr/>
            <p:nvPr/>
          </p:nvSpPr>
          <p:spPr>
            <a:xfrm>
              <a:off x="1413430" y="2964551"/>
              <a:ext cx="7754247" cy="680775"/>
            </a:xfrm>
            <a:custGeom>
              <a:avLst/>
              <a:gdLst/>
              <a:ahLst/>
              <a:cxnLst/>
              <a:rect l="l" t="t" r="r" b="b"/>
              <a:pathLst>
                <a:path w="37099" h="4687" extrusionOk="0">
                  <a:moveTo>
                    <a:pt x="29289" y="0"/>
                  </a:moveTo>
                  <a:cubicBezTo>
                    <a:pt x="28606" y="0"/>
                    <a:pt x="27911" y="10"/>
                    <a:pt x="27217" y="28"/>
                  </a:cubicBezTo>
                  <a:cubicBezTo>
                    <a:pt x="18981" y="245"/>
                    <a:pt x="8493" y="2688"/>
                    <a:pt x="1" y="4687"/>
                  </a:cubicBezTo>
                  <a:lnTo>
                    <a:pt x="37099" y="4687"/>
                  </a:lnTo>
                  <a:lnTo>
                    <a:pt x="37099" y="731"/>
                  </a:lnTo>
                  <a:cubicBezTo>
                    <a:pt x="35742" y="225"/>
                    <a:pt x="32651" y="0"/>
                    <a:pt x="2928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7" name="Google Shape;1297;p39"/>
            <p:cNvSpPr/>
            <p:nvPr/>
          </p:nvSpPr>
          <p:spPr>
            <a:xfrm>
              <a:off x="271" y="3209866"/>
              <a:ext cx="4762825" cy="666541"/>
            </a:xfrm>
            <a:custGeom>
              <a:avLst/>
              <a:gdLst/>
              <a:ahLst/>
              <a:cxnLst/>
              <a:rect l="l" t="t" r="r" b="b"/>
              <a:pathLst>
                <a:path w="22787" h="4589" extrusionOk="0">
                  <a:moveTo>
                    <a:pt x="3161" y="1"/>
                  </a:moveTo>
                  <a:cubicBezTo>
                    <a:pt x="1090" y="1"/>
                    <a:pt x="0" y="199"/>
                    <a:pt x="0" y="199"/>
                  </a:cubicBezTo>
                  <a:lnTo>
                    <a:pt x="0" y="4589"/>
                  </a:lnTo>
                  <a:lnTo>
                    <a:pt x="22787" y="4589"/>
                  </a:lnTo>
                  <a:cubicBezTo>
                    <a:pt x="22787" y="4589"/>
                    <a:pt x="18128" y="2036"/>
                    <a:pt x="11029" y="766"/>
                  </a:cubicBezTo>
                  <a:cubicBezTo>
                    <a:pt x="7669" y="160"/>
                    <a:pt x="5020" y="1"/>
                    <a:pt x="316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8" name="Google Shape;1298;p39"/>
            <p:cNvSpPr/>
            <p:nvPr/>
          </p:nvSpPr>
          <p:spPr>
            <a:xfrm>
              <a:off x="271" y="3612551"/>
              <a:ext cx="9167398" cy="362393"/>
            </a:xfrm>
            <a:custGeom>
              <a:avLst/>
              <a:gdLst/>
              <a:ahLst/>
              <a:cxnLst/>
              <a:rect l="l" t="t" r="r" b="b"/>
              <a:pathLst>
                <a:path w="43860" h="2495" extrusionOk="0">
                  <a:moveTo>
                    <a:pt x="0" y="0"/>
                  </a:moveTo>
                  <a:lnTo>
                    <a:pt x="0" y="512"/>
                  </a:lnTo>
                  <a:cubicBezTo>
                    <a:pt x="18857" y="538"/>
                    <a:pt x="31655" y="810"/>
                    <a:pt x="43860" y="2495"/>
                  </a:cubicBezTo>
                  <a:lnTo>
                    <a:pt x="4386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299" name="Google Shape;1299;p39"/>
          <p:cNvSpPr/>
          <p:nvPr/>
        </p:nvSpPr>
        <p:spPr>
          <a:xfrm>
            <a:off x="5137994" y="60667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00" name="Google Shape;1300;p39"/>
          <p:cNvSpPr/>
          <p:nvPr/>
        </p:nvSpPr>
        <p:spPr>
          <a:xfrm>
            <a:off x="9765432" y="57786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01" name="Google Shape;1301;p39"/>
          <p:cNvSpPr/>
          <p:nvPr/>
        </p:nvSpPr>
        <p:spPr>
          <a:xfrm>
            <a:off x="5014868" y="4976499"/>
            <a:ext cx="7338209" cy="1926275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02" name="Google Shape;1302;p39"/>
          <p:cNvSpPr/>
          <p:nvPr/>
        </p:nvSpPr>
        <p:spPr>
          <a:xfrm>
            <a:off x="-86533" y="5599739"/>
            <a:ext cx="12191948" cy="1066627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03" name="Google Shape;1303;p39"/>
          <p:cNvSpPr/>
          <p:nvPr/>
        </p:nvSpPr>
        <p:spPr>
          <a:xfrm>
            <a:off x="-86533" y="5900264"/>
            <a:ext cx="12439612" cy="1066637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304" name="Google Shape;1304;p39"/>
          <p:cNvGrpSpPr/>
          <p:nvPr/>
        </p:nvGrpSpPr>
        <p:grpSpPr>
          <a:xfrm>
            <a:off x="1501458" y="3234544"/>
            <a:ext cx="2333073" cy="1027912"/>
            <a:chOff x="-1936407" y="2490071"/>
            <a:chExt cx="1749805" cy="770934"/>
          </a:xfrm>
        </p:grpSpPr>
        <p:sp>
          <p:nvSpPr>
            <p:cNvPr id="1305" name="Google Shape;1305;p39"/>
            <p:cNvSpPr/>
            <p:nvPr/>
          </p:nvSpPr>
          <p:spPr>
            <a:xfrm>
              <a:off x="-1580450" y="2835407"/>
              <a:ext cx="651196" cy="254069"/>
            </a:xfrm>
            <a:custGeom>
              <a:avLst/>
              <a:gdLst/>
              <a:ahLst/>
              <a:cxnLst/>
              <a:rect l="l" t="t" r="r" b="b"/>
              <a:pathLst>
                <a:path w="3432" h="1339" extrusionOk="0">
                  <a:moveTo>
                    <a:pt x="1" y="1"/>
                  </a:moveTo>
                  <a:lnTo>
                    <a:pt x="1" y="1339"/>
                  </a:lnTo>
                  <a:lnTo>
                    <a:pt x="3432" y="1339"/>
                  </a:lnTo>
                  <a:lnTo>
                    <a:pt x="3432" y="1"/>
                  </a:ln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06" name="Google Shape;1306;p39"/>
            <p:cNvSpPr/>
            <p:nvPr/>
          </p:nvSpPr>
          <p:spPr>
            <a:xfrm>
              <a:off x="-1170417" y="2853812"/>
              <a:ext cx="266398" cy="235663"/>
            </a:xfrm>
            <a:custGeom>
              <a:avLst/>
              <a:gdLst/>
              <a:ahLst/>
              <a:cxnLst/>
              <a:rect l="l" t="t" r="r" b="b"/>
              <a:pathLst>
                <a:path w="1404" h="1242" extrusionOk="0">
                  <a:moveTo>
                    <a:pt x="1" y="1"/>
                  </a:moveTo>
                  <a:lnTo>
                    <a:pt x="1" y="1242"/>
                  </a:lnTo>
                  <a:lnTo>
                    <a:pt x="1404" y="1242"/>
                  </a:lnTo>
                  <a:lnTo>
                    <a:pt x="1404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07" name="Google Shape;1307;p39"/>
            <p:cNvSpPr/>
            <p:nvPr/>
          </p:nvSpPr>
          <p:spPr>
            <a:xfrm>
              <a:off x="-1375149" y="2490071"/>
              <a:ext cx="471131" cy="363931"/>
            </a:xfrm>
            <a:custGeom>
              <a:avLst/>
              <a:gdLst/>
              <a:ahLst/>
              <a:cxnLst/>
              <a:rect l="l" t="t" r="r" b="b"/>
              <a:pathLst>
                <a:path w="2483" h="1918" extrusionOk="0">
                  <a:moveTo>
                    <a:pt x="934" y="0"/>
                  </a:moveTo>
                  <a:cubicBezTo>
                    <a:pt x="486" y="0"/>
                    <a:pt x="1" y="55"/>
                    <a:pt x="1" y="55"/>
                  </a:cubicBezTo>
                  <a:lnTo>
                    <a:pt x="837" y="1918"/>
                  </a:lnTo>
                  <a:lnTo>
                    <a:pt x="2483" y="1918"/>
                  </a:lnTo>
                  <a:cubicBezTo>
                    <a:pt x="2483" y="1918"/>
                    <a:pt x="1929" y="175"/>
                    <a:pt x="1511" y="55"/>
                  </a:cubicBezTo>
                  <a:cubicBezTo>
                    <a:pt x="1371" y="14"/>
                    <a:pt x="1157" y="0"/>
                    <a:pt x="934" y="0"/>
                  </a:cubicBezTo>
                  <a:close/>
                </a:path>
              </a:pathLst>
            </a:custGeom>
            <a:solidFill>
              <a:srgbClr val="77CBB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08" name="Google Shape;1308;p39"/>
            <p:cNvSpPr/>
            <p:nvPr/>
          </p:nvSpPr>
          <p:spPr>
            <a:xfrm>
              <a:off x="-1603220" y="2499748"/>
              <a:ext cx="455761" cy="354254"/>
            </a:xfrm>
            <a:custGeom>
              <a:avLst/>
              <a:gdLst/>
              <a:ahLst/>
              <a:cxnLst/>
              <a:rect l="l" t="t" r="r" b="b"/>
              <a:pathLst>
                <a:path w="2402" h="1867" extrusionOk="0">
                  <a:moveTo>
                    <a:pt x="1211" y="1"/>
                  </a:moveTo>
                  <a:cubicBezTo>
                    <a:pt x="855" y="1"/>
                    <a:pt x="441" y="467"/>
                    <a:pt x="1" y="1867"/>
                  </a:cubicBezTo>
                  <a:lnTo>
                    <a:pt x="2402" y="1867"/>
                  </a:lnTo>
                  <a:cubicBezTo>
                    <a:pt x="2402" y="1867"/>
                    <a:pt x="1922" y="1"/>
                    <a:pt x="1211" y="1"/>
                  </a:cubicBez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09" name="Google Shape;1309;p39"/>
            <p:cNvSpPr/>
            <p:nvPr/>
          </p:nvSpPr>
          <p:spPr>
            <a:xfrm>
              <a:off x="-1580450" y="2537317"/>
              <a:ext cx="410223" cy="332054"/>
            </a:xfrm>
            <a:custGeom>
              <a:avLst/>
              <a:gdLst/>
              <a:ahLst/>
              <a:cxnLst/>
              <a:rect l="l" t="t" r="r" b="b"/>
              <a:pathLst>
                <a:path w="2162" h="1750" extrusionOk="0">
                  <a:moveTo>
                    <a:pt x="1078" y="0"/>
                  </a:moveTo>
                  <a:cubicBezTo>
                    <a:pt x="758" y="0"/>
                    <a:pt x="388" y="417"/>
                    <a:pt x="1" y="1669"/>
                  </a:cubicBezTo>
                  <a:lnTo>
                    <a:pt x="1015" y="1750"/>
                  </a:lnTo>
                  <a:lnTo>
                    <a:pt x="2162" y="1669"/>
                  </a:lnTo>
                  <a:cubicBezTo>
                    <a:pt x="2162" y="1669"/>
                    <a:pt x="1718" y="0"/>
                    <a:pt x="1078" y="0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0" name="Google Shape;1310;p39"/>
            <p:cNvSpPr/>
            <p:nvPr/>
          </p:nvSpPr>
          <p:spPr>
            <a:xfrm>
              <a:off x="-1493169" y="2907320"/>
              <a:ext cx="195055" cy="182155"/>
            </a:xfrm>
            <a:custGeom>
              <a:avLst/>
              <a:gdLst/>
              <a:ahLst/>
              <a:cxnLst/>
              <a:rect l="l" t="t" r="r" b="b"/>
              <a:pathLst>
                <a:path w="1028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028" y="960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1" name="Google Shape;1311;p39"/>
            <p:cNvSpPr/>
            <p:nvPr/>
          </p:nvSpPr>
          <p:spPr>
            <a:xfrm>
              <a:off x="-1467364" y="2925156"/>
              <a:ext cx="145912" cy="164319"/>
            </a:xfrm>
            <a:custGeom>
              <a:avLst/>
              <a:gdLst/>
              <a:ahLst/>
              <a:cxnLst/>
              <a:rect l="l" t="t" r="r" b="b"/>
              <a:pathLst>
                <a:path w="769" h="866" extrusionOk="0">
                  <a:moveTo>
                    <a:pt x="1" y="1"/>
                  </a:moveTo>
                  <a:lnTo>
                    <a:pt x="1" y="866"/>
                  </a:lnTo>
                  <a:lnTo>
                    <a:pt x="769" y="866"/>
                  </a:lnTo>
                  <a:lnTo>
                    <a:pt x="769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2" name="Google Shape;1312;p39"/>
            <p:cNvSpPr/>
            <p:nvPr/>
          </p:nvSpPr>
          <p:spPr>
            <a:xfrm>
              <a:off x="-1449528" y="2925156"/>
              <a:ext cx="128076" cy="164319"/>
            </a:xfrm>
            <a:custGeom>
              <a:avLst/>
              <a:gdLst/>
              <a:ahLst/>
              <a:cxnLst/>
              <a:rect l="l" t="t" r="r" b="b"/>
              <a:pathLst>
                <a:path w="675" h="866" extrusionOk="0">
                  <a:moveTo>
                    <a:pt x="1" y="1"/>
                  </a:moveTo>
                  <a:lnTo>
                    <a:pt x="1" y="866"/>
                  </a:lnTo>
                  <a:lnTo>
                    <a:pt x="675" y="866"/>
                  </a:lnTo>
                  <a:lnTo>
                    <a:pt x="675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3" name="Google Shape;1313;p39"/>
            <p:cNvSpPr/>
            <p:nvPr/>
          </p:nvSpPr>
          <p:spPr>
            <a:xfrm>
              <a:off x="-1439662" y="2676780"/>
              <a:ext cx="107774" cy="89939"/>
            </a:xfrm>
            <a:custGeom>
              <a:avLst/>
              <a:gdLst/>
              <a:ahLst/>
              <a:cxnLst/>
              <a:rect l="l" t="t" r="r" b="b"/>
              <a:pathLst>
                <a:path w="568" h="474" extrusionOk="0">
                  <a:moveTo>
                    <a:pt x="1" y="1"/>
                  </a:moveTo>
                  <a:lnTo>
                    <a:pt x="1" y="474"/>
                  </a:lnTo>
                  <a:lnTo>
                    <a:pt x="568" y="474"/>
                  </a:lnTo>
                  <a:lnTo>
                    <a:pt x="568" y="1"/>
                  </a:lnTo>
                  <a:close/>
                </a:path>
              </a:pathLst>
            </a:custGeom>
            <a:solidFill>
              <a:srgbClr val="FFE9D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4" name="Google Shape;1314;p39"/>
            <p:cNvSpPr/>
            <p:nvPr/>
          </p:nvSpPr>
          <p:spPr>
            <a:xfrm>
              <a:off x="-1424292" y="2684749"/>
              <a:ext cx="80071" cy="81970"/>
            </a:xfrm>
            <a:custGeom>
              <a:avLst/>
              <a:gdLst/>
              <a:ahLst/>
              <a:cxnLst/>
              <a:rect l="l" t="t" r="r" b="b"/>
              <a:pathLst>
                <a:path w="422" h="432" extrusionOk="0">
                  <a:moveTo>
                    <a:pt x="1" y="1"/>
                  </a:moveTo>
                  <a:lnTo>
                    <a:pt x="1" y="432"/>
                  </a:lnTo>
                  <a:lnTo>
                    <a:pt x="422" y="432"/>
                  </a:lnTo>
                  <a:lnTo>
                    <a:pt x="422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5" name="Google Shape;1315;p39"/>
            <p:cNvSpPr/>
            <p:nvPr/>
          </p:nvSpPr>
          <p:spPr>
            <a:xfrm>
              <a:off x="-1413857" y="2684749"/>
              <a:ext cx="69635" cy="81970"/>
            </a:xfrm>
            <a:custGeom>
              <a:avLst/>
              <a:gdLst/>
              <a:ahLst/>
              <a:cxnLst/>
              <a:rect l="l" t="t" r="r" b="b"/>
              <a:pathLst>
                <a:path w="367" h="432" extrusionOk="0">
                  <a:moveTo>
                    <a:pt x="1" y="1"/>
                  </a:moveTo>
                  <a:lnTo>
                    <a:pt x="1" y="432"/>
                  </a:lnTo>
                  <a:lnTo>
                    <a:pt x="367" y="432"/>
                  </a:lnTo>
                  <a:lnTo>
                    <a:pt x="36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6" name="Google Shape;1316;p39"/>
            <p:cNvSpPr/>
            <p:nvPr/>
          </p:nvSpPr>
          <p:spPr>
            <a:xfrm>
              <a:off x="-1730727" y="3021547"/>
              <a:ext cx="22579" cy="44590"/>
            </a:xfrm>
            <a:custGeom>
              <a:avLst/>
              <a:gdLst/>
              <a:ahLst/>
              <a:cxnLst/>
              <a:rect l="l" t="t" r="r" b="b"/>
              <a:pathLst>
                <a:path w="119" h="235" extrusionOk="0">
                  <a:moveTo>
                    <a:pt x="70" y="1"/>
                  </a:moveTo>
                  <a:cubicBezTo>
                    <a:pt x="36" y="1"/>
                    <a:pt x="0" y="24"/>
                    <a:pt x="25" y="47"/>
                  </a:cubicBezTo>
                  <a:cubicBezTo>
                    <a:pt x="64" y="102"/>
                    <a:pt x="51" y="235"/>
                    <a:pt x="51" y="235"/>
                  </a:cubicBezTo>
                  <a:lnTo>
                    <a:pt x="93" y="235"/>
                  </a:lnTo>
                  <a:cubicBezTo>
                    <a:pt x="93" y="102"/>
                    <a:pt x="119" y="47"/>
                    <a:pt x="119" y="47"/>
                  </a:cubicBezTo>
                  <a:cubicBezTo>
                    <a:pt x="119" y="13"/>
                    <a:pt x="95" y="1"/>
                    <a:pt x="70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7" name="Google Shape;1317;p39"/>
            <p:cNvSpPr/>
            <p:nvPr/>
          </p:nvSpPr>
          <p:spPr>
            <a:xfrm>
              <a:off x="-1759378" y="2747175"/>
              <a:ext cx="83676" cy="300366"/>
            </a:xfrm>
            <a:custGeom>
              <a:avLst/>
              <a:gdLst/>
              <a:ahLst/>
              <a:cxnLst/>
              <a:rect l="l" t="t" r="r" b="b"/>
              <a:pathLst>
                <a:path w="441" h="1583" extrusionOk="0">
                  <a:moveTo>
                    <a:pt x="225" y="1"/>
                  </a:moveTo>
                  <a:cubicBezTo>
                    <a:pt x="203" y="1"/>
                    <a:pt x="182" y="48"/>
                    <a:pt x="163" y="158"/>
                  </a:cubicBezTo>
                  <a:cubicBezTo>
                    <a:pt x="163" y="158"/>
                    <a:pt x="1" y="1438"/>
                    <a:pt x="108" y="1535"/>
                  </a:cubicBezTo>
                  <a:cubicBezTo>
                    <a:pt x="140" y="1563"/>
                    <a:pt x="186" y="1583"/>
                    <a:pt x="233" y="1583"/>
                  </a:cubicBezTo>
                  <a:cubicBezTo>
                    <a:pt x="320" y="1583"/>
                    <a:pt x="410" y="1512"/>
                    <a:pt x="419" y="1292"/>
                  </a:cubicBezTo>
                  <a:cubicBezTo>
                    <a:pt x="440" y="1002"/>
                    <a:pt x="326" y="1"/>
                    <a:pt x="225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8" name="Google Shape;1318;p39"/>
            <p:cNvSpPr/>
            <p:nvPr/>
          </p:nvSpPr>
          <p:spPr>
            <a:xfrm>
              <a:off x="-1762414" y="2747934"/>
              <a:ext cx="51800" cy="295433"/>
            </a:xfrm>
            <a:custGeom>
              <a:avLst/>
              <a:gdLst/>
              <a:ahLst/>
              <a:cxnLst/>
              <a:rect l="l" t="t" r="r" b="b"/>
              <a:pathLst>
                <a:path w="273" h="1557" extrusionOk="0">
                  <a:moveTo>
                    <a:pt x="242" y="0"/>
                  </a:moveTo>
                  <a:cubicBezTo>
                    <a:pt x="217" y="0"/>
                    <a:pt x="198" y="45"/>
                    <a:pt x="179" y="154"/>
                  </a:cubicBezTo>
                  <a:cubicBezTo>
                    <a:pt x="179" y="154"/>
                    <a:pt x="1" y="1353"/>
                    <a:pt x="124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98" y="1301"/>
                    <a:pt x="205" y="154"/>
                    <a:pt x="205" y="154"/>
                  </a:cubicBezTo>
                  <a:cubicBezTo>
                    <a:pt x="218" y="5"/>
                    <a:pt x="260" y="44"/>
                    <a:pt x="273" y="18"/>
                  </a:cubicBezTo>
                  <a:cubicBezTo>
                    <a:pt x="261" y="7"/>
                    <a:pt x="251" y="0"/>
                    <a:pt x="242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9" name="Google Shape;1319;p39"/>
            <p:cNvSpPr/>
            <p:nvPr/>
          </p:nvSpPr>
          <p:spPr>
            <a:xfrm>
              <a:off x="-853357" y="3021547"/>
              <a:ext cx="23718" cy="44590"/>
            </a:xfrm>
            <a:custGeom>
              <a:avLst/>
              <a:gdLst/>
              <a:ahLst/>
              <a:cxnLst/>
              <a:rect l="l" t="t" r="r" b="b"/>
              <a:pathLst>
                <a:path w="125" h="235" extrusionOk="0">
                  <a:moveTo>
                    <a:pt x="75" y="1"/>
                  </a:moveTo>
                  <a:cubicBezTo>
                    <a:pt x="40" y="1"/>
                    <a:pt x="1" y="24"/>
                    <a:pt x="18" y="47"/>
                  </a:cubicBezTo>
                  <a:cubicBezTo>
                    <a:pt x="70" y="102"/>
                    <a:pt x="57" y="235"/>
                    <a:pt x="57" y="235"/>
                  </a:cubicBezTo>
                  <a:lnTo>
                    <a:pt x="99" y="235"/>
                  </a:lnTo>
                  <a:cubicBezTo>
                    <a:pt x="99" y="102"/>
                    <a:pt x="125" y="47"/>
                    <a:pt x="125" y="47"/>
                  </a:cubicBezTo>
                  <a:cubicBezTo>
                    <a:pt x="125" y="13"/>
                    <a:pt x="101" y="1"/>
                    <a:pt x="75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0" name="Google Shape;1320;p39"/>
            <p:cNvSpPr/>
            <p:nvPr/>
          </p:nvSpPr>
          <p:spPr>
            <a:xfrm>
              <a:off x="-880870" y="2747175"/>
              <a:ext cx="83676" cy="300366"/>
            </a:xfrm>
            <a:custGeom>
              <a:avLst/>
              <a:gdLst/>
              <a:ahLst/>
              <a:cxnLst/>
              <a:rect l="l" t="t" r="r" b="b"/>
              <a:pathLst>
                <a:path w="441" h="1583" extrusionOk="0">
                  <a:moveTo>
                    <a:pt x="225" y="1"/>
                  </a:moveTo>
                  <a:cubicBezTo>
                    <a:pt x="203" y="1"/>
                    <a:pt x="182" y="48"/>
                    <a:pt x="163" y="158"/>
                  </a:cubicBezTo>
                  <a:cubicBezTo>
                    <a:pt x="163" y="158"/>
                    <a:pt x="1" y="1438"/>
                    <a:pt x="108" y="1535"/>
                  </a:cubicBezTo>
                  <a:cubicBezTo>
                    <a:pt x="140" y="1563"/>
                    <a:pt x="186" y="1583"/>
                    <a:pt x="233" y="1583"/>
                  </a:cubicBezTo>
                  <a:cubicBezTo>
                    <a:pt x="320" y="1583"/>
                    <a:pt x="410" y="1512"/>
                    <a:pt x="419" y="1292"/>
                  </a:cubicBezTo>
                  <a:cubicBezTo>
                    <a:pt x="440" y="1002"/>
                    <a:pt x="326" y="1"/>
                    <a:pt x="225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1" name="Google Shape;1321;p39"/>
            <p:cNvSpPr/>
            <p:nvPr/>
          </p:nvSpPr>
          <p:spPr>
            <a:xfrm>
              <a:off x="-883337" y="2747934"/>
              <a:ext cx="48764" cy="295433"/>
            </a:xfrm>
            <a:custGeom>
              <a:avLst/>
              <a:gdLst/>
              <a:ahLst/>
              <a:cxnLst/>
              <a:rect l="l" t="t" r="r" b="b"/>
              <a:pathLst>
                <a:path w="257" h="1557" extrusionOk="0">
                  <a:moveTo>
                    <a:pt x="234" y="0"/>
                  </a:moveTo>
                  <a:cubicBezTo>
                    <a:pt x="214" y="0"/>
                    <a:pt x="195" y="45"/>
                    <a:pt x="176" y="154"/>
                  </a:cubicBezTo>
                  <a:cubicBezTo>
                    <a:pt x="176" y="154"/>
                    <a:pt x="1" y="1353"/>
                    <a:pt x="121" y="1531"/>
                  </a:cubicBezTo>
                  <a:cubicBezTo>
                    <a:pt x="134" y="1544"/>
                    <a:pt x="147" y="1544"/>
                    <a:pt x="163" y="1557"/>
                  </a:cubicBezTo>
                  <a:cubicBezTo>
                    <a:pt x="95" y="1301"/>
                    <a:pt x="202" y="154"/>
                    <a:pt x="202" y="154"/>
                  </a:cubicBezTo>
                  <a:cubicBezTo>
                    <a:pt x="215" y="5"/>
                    <a:pt x="257" y="44"/>
                    <a:pt x="257" y="18"/>
                  </a:cubicBezTo>
                  <a:cubicBezTo>
                    <a:pt x="249" y="7"/>
                    <a:pt x="241" y="0"/>
                    <a:pt x="234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2" name="Google Shape;1322;p39"/>
            <p:cNvSpPr/>
            <p:nvPr/>
          </p:nvSpPr>
          <p:spPr>
            <a:xfrm>
              <a:off x="-1811367" y="3021547"/>
              <a:ext cx="23908" cy="44590"/>
            </a:xfrm>
            <a:custGeom>
              <a:avLst/>
              <a:gdLst/>
              <a:ahLst/>
              <a:cxnLst/>
              <a:rect l="l" t="t" r="r" b="b"/>
              <a:pathLst>
                <a:path w="126" h="235" extrusionOk="0">
                  <a:moveTo>
                    <a:pt x="71" y="1"/>
                  </a:moveTo>
                  <a:cubicBezTo>
                    <a:pt x="36" y="1"/>
                    <a:pt x="1" y="24"/>
                    <a:pt x="16" y="47"/>
                  </a:cubicBezTo>
                  <a:cubicBezTo>
                    <a:pt x="58" y="102"/>
                    <a:pt x="45" y="235"/>
                    <a:pt x="45" y="235"/>
                  </a:cubicBezTo>
                  <a:lnTo>
                    <a:pt x="97" y="235"/>
                  </a:lnTo>
                  <a:cubicBezTo>
                    <a:pt x="84" y="102"/>
                    <a:pt x="126" y="47"/>
                    <a:pt x="126" y="47"/>
                  </a:cubicBezTo>
                  <a:cubicBezTo>
                    <a:pt x="120" y="13"/>
                    <a:pt x="96" y="1"/>
                    <a:pt x="71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3" name="Google Shape;1323;p39"/>
            <p:cNvSpPr/>
            <p:nvPr/>
          </p:nvSpPr>
          <p:spPr>
            <a:xfrm>
              <a:off x="-1839259" y="2747175"/>
              <a:ext cx="82159" cy="300366"/>
            </a:xfrm>
            <a:custGeom>
              <a:avLst/>
              <a:gdLst/>
              <a:ahLst/>
              <a:cxnLst/>
              <a:rect l="l" t="t" r="r" b="b"/>
              <a:pathLst>
                <a:path w="433" h="1583" extrusionOk="0">
                  <a:moveTo>
                    <a:pt x="218" y="1"/>
                  </a:moveTo>
                  <a:cubicBezTo>
                    <a:pt x="195" y="1"/>
                    <a:pt x="172" y="48"/>
                    <a:pt x="150" y="158"/>
                  </a:cubicBezTo>
                  <a:cubicBezTo>
                    <a:pt x="150" y="158"/>
                    <a:pt x="1" y="1438"/>
                    <a:pt x="111" y="1535"/>
                  </a:cubicBezTo>
                  <a:cubicBezTo>
                    <a:pt x="139" y="1563"/>
                    <a:pt x="183" y="1583"/>
                    <a:pt x="229" y="1583"/>
                  </a:cubicBezTo>
                  <a:cubicBezTo>
                    <a:pt x="316" y="1583"/>
                    <a:pt x="411" y="1512"/>
                    <a:pt x="422" y="1292"/>
                  </a:cubicBezTo>
                  <a:cubicBezTo>
                    <a:pt x="433" y="1002"/>
                    <a:pt x="325" y="1"/>
                    <a:pt x="218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4" name="Google Shape;1324;p39"/>
            <p:cNvSpPr/>
            <p:nvPr/>
          </p:nvSpPr>
          <p:spPr>
            <a:xfrm>
              <a:off x="-1844193" y="2747934"/>
              <a:ext cx="51230" cy="295433"/>
            </a:xfrm>
            <a:custGeom>
              <a:avLst/>
              <a:gdLst/>
              <a:ahLst/>
              <a:cxnLst/>
              <a:rect l="l" t="t" r="r" b="b"/>
              <a:pathLst>
                <a:path w="270" h="1557" extrusionOk="0">
                  <a:moveTo>
                    <a:pt x="246" y="0"/>
                  </a:moveTo>
                  <a:cubicBezTo>
                    <a:pt x="223" y="0"/>
                    <a:pt x="197" y="45"/>
                    <a:pt x="176" y="154"/>
                  </a:cubicBezTo>
                  <a:cubicBezTo>
                    <a:pt x="176" y="154"/>
                    <a:pt x="1" y="1353"/>
                    <a:pt x="137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108" y="1301"/>
                    <a:pt x="205" y="154"/>
                    <a:pt x="205" y="154"/>
                  </a:cubicBezTo>
                  <a:cubicBezTo>
                    <a:pt x="218" y="5"/>
                    <a:pt x="257" y="44"/>
                    <a:pt x="270" y="18"/>
                  </a:cubicBezTo>
                  <a:cubicBezTo>
                    <a:pt x="263" y="7"/>
                    <a:pt x="255" y="0"/>
                    <a:pt x="246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5" name="Google Shape;1325;p39"/>
            <p:cNvSpPr/>
            <p:nvPr/>
          </p:nvSpPr>
          <p:spPr>
            <a:xfrm>
              <a:off x="-1904910" y="3021547"/>
              <a:ext cx="25236" cy="44590"/>
            </a:xfrm>
            <a:custGeom>
              <a:avLst/>
              <a:gdLst/>
              <a:ahLst/>
              <a:cxnLst/>
              <a:rect l="l" t="t" r="r" b="b"/>
              <a:pathLst>
                <a:path w="133" h="235" extrusionOk="0">
                  <a:moveTo>
                    <a:pt x="74" y="1"/>
                  </a:moveTo>
                  <a:cubicBezTo>
                    <a:pt x="37" y="1"/>
                    <a:pt x="0" y="24"/>
                    <a:pt x="23" y="47"/>
                  </a:cubicBezTo>
                  <a:cubicBezTo>
                    <a:pt x="65" y="102"/>
                    <a:pt x="52" y="235"/>
                    <a:pt x="52" y="235"/>
                  </a:cubicBezTo>
                  <a:lnTo>
                    <a:pt x="104" y="235"/>
                  </a:lnTo>
                  <a:cubicBezTo>
                    <a:pt x="91" y="102"/>
                    <a:pt x="133" y="47"/>
                    <a:pt x="133" y="47"/>
                  </a:cubicBezTo>
                  <a:cubicBezTo>
                    <a:pt x="127" y="13"/>
                    <a:pt x="100" y="1"/>
                    <a:pt x="74" y="1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6" name="Google Shape;1326;p39"/>
            <p:cNvSpPr/>
            <p:nvPr/>
          </p:nvSpPr>
          <p:spPr>
            <a:xfrm>
              <a:off x="-1933941" y="2747175"/>
              <a:ext cx="84625" cy="300366"/>
            </a:xfrm>
            <a:custGeom>
              <a:avLst/>
              <a:gdLst/>
              <a:ahLst/>
              <a:cxnLst/>
              <a:rect l="l" t="t" r="r" b="b"/>
              <a:pathLst>
                <a:path w="446" h="1583" extrusionOk="0">
                  <a:moveTo>
                    <a:pt x="231" y="1"/>
                  </a:moveTo>
                  <a:cubicBezTo>
                    <a:pt x="208" y="1"/>
                    <a:pt x="185" y="48"/>
                    <a:pt x="163" y="158"/>
                  </a:cubicBezTo>
                  <a:cubicBezTo>
                    <a:pt x="163" y="158"/>
                    <a:pt x="1" y="1438"/>
                    <a:pt x="111" y="1535"/>
                  </a:cubicBezTo>
                  <a:cubicBezTo>
                    <a:pt x="143" y="1563"/>
                    <a:pt x="189" y="1583"/>
                    <a:pt x="235" y="1583"/>
                  </a:cubicBezTo>
                  <a:cubicBezTo>
                    <a:pt x="323" y="1583"/>
                    <a:pt x="416" y="1512"/>
                    <a:pt x="435" y="1292"/>
                  </a:cubicBezTo>
                  <a:cubicBezTo>
                    <a:pt x="446" y="1002"/>
                    <a:pt x="338" y="1"/>
                    <a:pt x="231" y="1"/>
                  </a:cubicBezTo>
                  <a:close/>
                </a:path>
              </a:pathLst>
            </a:custGeom>
            <a:solidFill>
              <a:srgbClr val="9DCA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7" name="Google Shape;1327;p39"/>
            <p:cNvSpPr/>
            <p:nvPr/>
          </p:nvSpPr>
          <p:spPr>
            <a:xfrm>
              <a:off x="-1936407" y="2747934"/>
              <a:ext cx="51230" cy="295433"/>
            </a:xfrm>
            <a:custGeom>
              <a:avLst/>
              <a:gdLst/>
              <a:ahLst/>
              <a:cxnLst/>
              <a:rect l="l" t="t" r="r" b="b"/>
              <a:pathLst>
                <a:path w="270" h="1557" extrusionOk="0">
                  <a:moveTo>
                    <a:pt x="241" y="0"/>
                  </a:moveTo>
                  <a:cubicBezTo>
                    <a:pt x="217" y="0"/>
                    <a:pt x="197" y="45"/>
                    <a:pt x="176" y="154"/>
                  </a:cubicBezTo>
                  <a:cubicBezTo>
                    <a:pt x="176" y="154"/>
                    <a:pt x="1" y="1353"/>
                    <a:pt x="124" y="1531"/>
                  </a:cubicBezTo>
                  <a:cubicBezTo>
                    <a:pt x="137" y="1544"/>
                    <a:pt x="150" y="1544"/>
                    <a:pt x="163" y="1557"/>
                  </a:cubicBezTo>
                  <a:cubicBezTo>
                    <a:pt x="95" y="1301"/>
                    <a:pt x="205" y="154"/>
                    <a:pt x="205" y="154"/>
                  </a:cubicBezTo>
                  <a:cubicBezTo>
                    <a:pt x="218" y="5"/>
                    <a:pt x="257" y="44"/>
                    <a:pt x="270" y="18"/>
                  </a:cubicBezTo>
                  <a:cubicBezTo>
                    <a:pt x="259" y="7"/>
                    <a:pt x="250" y="0"/>
                    <a:pt x="241" y="0"/>
                  </a:cubicBezTo>
                  <a:close/>
                </a:path>
              </a:pathLst>
            </a:custGeom>
            <a:solidFill>
              <a:srgbClr val="CEDE8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8" name="Google Shape;1328;p39"/>
            <p:cNvSpPr/>
            <p:nvPr/>
          </p:nvSpPr>
          <p:spPr>
            <a:xfrm>
              <a:off x="-1890300" y="3191938"/>
              <a:ext cx="333378" cy="7590"/>
            </a:xfrm>
            <a:custGeom>
              <a:avLst/>
              <a:gdLst/>
              <a:ahLst/>
              <a:cxnLst/>
              <a:rect l="l" t="t" r="r" b="b"/>
              <a:pathLst>
                <a:path w="1757" h="40" extrusionOk="0">
                  <a:moveTo>
                    <a:pt x="1" y="1"/>
                  </a:moveTo>
                  <a:lnTo>
                    <a:pt x="1" y="40"/>
                  </a:lnTo>
                  <a:lnTo>
                    <a:pt x="1757" y="4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9" name="Google Shape;1329;p39"/>
            <p:cNvSpPr/>
            <p:nvPr/>
          </p:nvSpPr>
          <p:spPr>
            <a:xfrm>
              <a:off x="-1890300" y="3214707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0" name="Google Shape;1330;p39"/>
            <p:cNvSpPr/>
            <p:nvPr/>
          </p:nvSpPr>
          <p:spPr>
            <a:xfrm>
              <a:off x="-1890300" y="3235010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1" name="Google Shape;1331;p39"/>
            <p:cNvSpPr/>
            <p:nvPr/>
          </p:nvSpPr>
          <p:spPr>
            <a:xfrm>
              <a:off x="-1882331" y="3179035"/>
              <a:ext cx="12523" cy="81970"/>
            </a:xfrm>
            <a:custGeom>
              <a:avLst/>
              <a:gdLst/>
              <a:ahLst/>
              <a:cxnLst/>
              <a:rect l="l" t="t" r="r" b="b"/>
              <a:pathLst>
                <a:path w="6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6" y="432"/>
                  </a:lnTo>
                  <a:lnTo>
                    <a:pt x="6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2" name="Google Shape;1332;p39"/>
            <p:cNvSpPr/>
            <p:nvPr/>
          </p:nvSpPr>
          <p:spPr>
            <a:xfrm>
              <a:off x="-1823890" y="3179035"/>
              <a:ext cx="10626" cy="81970"/>
            </a:xfrm>
            <a:custGeom>
              <a:avLst/>
              <a:gdLst/>
              <a:ahLst/>
              <a:cxnLst/>
              <a:rect l="l" t="t" r="r" b="b"/>
              <a:pathLst>
                <a:path w="5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56" y="432"/>
                  </a:lnTo>
                  <a:lnTo>
                    <a:pt x="5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3" name="Google Shape;1333;p39"/>
            <p:cNvSpPr/>
            <p:nvPr/>
          </p:nvSpPr>
          <p:spPr>
            <a:xfrm>
              <a:off x="-1767347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4" name="Google Shape;1334;p39"/>
            <p:cNvSpPr/>
            <p:nvPr/>
          </p:nvSpPr>
          <p:spPr>
            <a:xfrm>
              <a:off x="-170587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5" name="Google Shape;1335;p39"/>
            <p:cNvSpPr/>
            <p:nvPr/>
          </p:nvSpPr>
          <p:spPr>
            <a:xfrm>
              <a:off x="-1644394" y="3176568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6" name="Google Shape;1336;p39"/>
            <p:cNvSpPr/>
            <p:nvPr/>
          </p:nvSpPr>
          <p:spPr>
            <a:xfrm>
              <a:off x="-158045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7" name="Google Shape;1337;p39"/>
            <p:cNvSpPr/>
            <p:nvPr/>
          </p:nvSpPr>
          <p:spPr>
            <a:xfrm>
              <a:off x="-519980" y="3040711"/>
              <a:ext cx="333378" cy="5123"/>
            </a:xfrm>
            <a:custGeom>
              <a:avLst/>
              <a:gdLst/>
              <a:ahLst/>
              <a:cxnLst/>
              <a:rect l="l" t="t" r="r" b="b"/>
              <a:pathLst>
                <a:path w="1757" h="27" extrusionOk="0">
                  <a:moveTo>
                    <a:pt x="1" y="1"/>
                  </a:moveTo>
                  <a:lnTo>
                    <a:pt x="1" y="27"/>
                  </a:lnTo>
                  <a:lnTo>
                    <a:pt x="1757" y="27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8" name="Google Shape;1338;p39"/>
            <p:cNvSpPr/>
            <p:nvPr/>
          </p:nvSpPr>
          <p:spPr>
            <a:xfrm>
              <a:off x="-519980" y="3063480"/>
              <a:ext cx="333378" cy="5692"/>
            </a:xfrm>
            <a:custGeom>
              <a:avLst/>
              <a:gdLst/>
              <a:ahLst/>
              <a:cxnLst/>
              <a:rect l="l" t="t" r="r" b="b"/>
              <a:pathLst>
                <a:path w="1757" h="30" extrusionOk="0">
                  <a:moveTo>
                    <a:pt x="1" y="1"/>
                  </a:moveTo>
                  <a:lnTo>
                    <a:pt x="1" y="30"/>
                  </a:lnTo>
                  <a:lnTo>
                    <a:pt x="1757" y="3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9" name="Google Shape;1339;p39"/>
            <p:cNvSpPr/>
            <p:nvPr/>
          </p:nvSpPr>
          <p:spPr>
            <a:xfrm>
              <a:off x="-519980" y="3084352"/>
              <a:ext cx="333378" cy="5123"/>
            </a:xfrm>
            <a:custGeom>
              <a:avLst/>
              <a:gdLst/>
              <a:ahLst/>
              <a:cxnLst/>
              <a:rect l="l" t="t" r="r" b="b"/>
              <a:pathLst>
                <a:path w="1757" h="27" extrusionOk="0">
                  <a:moveTo>
                    <a:pt x="1" y="1"/>
                  </a:moveTo>
                  <a:lnTo>
                    <a:pt x="1" y="27"/>
                  </a:lnTo>
                  <a:lnTo>
                    <a:pt x="1757" y="27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0" name="Google Shape;1340;p39"/>
            <p:cNvSpPr/>
            <p:nvPr/>
          </p:nvSpPr>
          <p:spPr>
            <a:xfrm>
              <a:off x="-51201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1" name="Google Shape;1341;p39"/>
            <p:cNvSpPr/>
            <p:nvPr/>
          </p:nvSpPr>
          <p:spPr>
            <a:xfrm>
              <a:off x="-453001" y="3025341"/>
              <a:ext cx="10056" cy="81970"/>
            </a:xfrm>
            <a:custGeom>
              <a:avLst/>
              <a:gdLst/>
              <a:ahLst/>
              <a:cxnLst/>
              <a:rect l="l" t="t" r="r" b="b"/>
              <a:pathLst>
                <a:path w="53" h="432" extrusionOk="0">
                  <a:moveTo>
                    <a:pt x="1" y="1"/>
                  </a:moveTo>
                  <a:lnTo>
                    <a:pt x="1" y="432"/>
                  </a:lnTo>
                  <a:lnTo>
                    <a:pt x="53" y="432"/>
                  </a:lnTo>
                  <a:lnTo>
                    <a:pt x="53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2" name="Google Shape;1342;p39"/>
            <p:cNvSpPr/>
            <p:nvPr/>
          </p:nvSpPr>
          <p:spPr>
            <a:xfrm>
              <a:off x="-397026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3" name="Google Shape;1343;p39"/>
            <p:cNvSpPr/>
            <p:nvPr/>
          </p:nvSpPr>
          <p:spPr>
            <a:xfrm>
              <a:off x="-33555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4" name="Google Shape;1344;p39"/>
            <p:cNvSpPr/>
            <p:nvPr/>
          </p:nvSpPr>
          <p:spPr>
            <a:xfrm>
              <a:off x="-274073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5" name="Google Shape;1345;p39"/>
            <p:cNvSpPr/>
            <p:nvPr/>
          </p:nvSpPr>
          <p:spPr>
            <a:xfrm>
              <a:off x="-210130" y="3025341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6" name="Google Shape;1346;p39"/>
            <p:cNvSpPr/>
            <p:nvPr/>
          </p:nvSpPr>
          <p:spPr>
            <a:xfrm>
              <a:off x="-1488236" y="3191938"/>
              <a:ext cx="333378" cy="7590"/>
            </a:xfrm>
            <a:custGeom>
              <a:avLst/>
              <a:gdLst/>
              <a:ahLst/>
              <a:cxnLst/>
              <a:rect l="l" t="t" r="r" b="b"/>
              <a:pathLst>
                <a:path w="1757" h="40" extrusionOk="0">
                  <a:moveTo>
                    <a:pt x="1" y="1"/>
                  </a:moveTo>
                  <a:lnTo>
                    <a:pt x="1" y="40"/>
                  </a:lnTo>
                  <a:lnTo>
                    <a:pt x="1757" y="40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7" name="Google Shape;1347;p39"/>
            <p:cNvSpPr/>
            <p:nvPr/>
          </p:nvSpPr>
          <p:spPr>
            <a:xfrm>
              <a:off x="-1488236" y="3214707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8" name="Google Shape;1348;p39"/>
            <p:cNvSpPr/>
            <p:nvPr/>
          </p:nvSpPr>
          <p:spPr>
            <a:xfrm>
              <a:off x="-1488236" y="3235010"/>
              <a:ext cx="333378" cy="8159"/>
            </a:xfrm>
            <a:custGeom>
              <a:avLst/>
              <a:gdLst/>
              <a:ahLst/>
              <a:cxnLst/>
              <a:rect l="l" t="t" r="r" b="b"/>
              <a:pathLst>
                <a:path w="1757" h="43" extrusionOk="0">
                  <a:moveTo>
                    <a:pt x="1" y="1"/>
                  </a:moveTo>
                  <a:lnTo>
                    <a:pt x="1" y="43"/>
                  </a:lnTo>
                  <a:lnTo>
                    <a:pt x="1757" y="43"/>
                  </a:lnTo>
                  <a:lnTo>
                    <a:pt x="175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9" name="Google Shape;1349;p39"/>
            <p:cNvSpPr/>
            <p:nvPr/>
          </p:nvSpPr>
          <p:spPr>
            <a:xfrm>
              <a:off x="-1477800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0" name="Google Shape;1350;p39"/>
            <p:cNvSpPr/>
            <p:nvPr/>
          </p:nvSpPr>
          <p:spPr>
            <a:xfrm>
              <a:off x="-1421256" y="3179035"/>
              <a:ext cx="12523" cy="81970"/>
            </a:xfrm>
            <a:custGeom>
              <a:avLst/>
              <a:gdLst/>
              <a:ahLst/>
              <a:cxnLst/>
              <a:rect l="l" t="t" r="r" b="b"/>
              <a:pathLst>
                <a:path w="66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6" y="432"/>
                  </a:lnTo>
                  <a:lnTo>
                    <a:pt x="6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1" name="Google Shape;1351;p39"/>
            <p:cNvSpPr/>
            <p:nvPr/>
          </p:nvSpPr>
          <p:spPr>
            <a:xfrm>
              <a:off x="-136281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2" name="Google Shape;1352;p39"/>
            <p:cNvSpPr/>
            <p:nvPr/>
          </p:nvSpPr>
          <p:spPr>
            <a:xfrm>
              <a:off x="-130380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3" name="Google Shape;1353;p39"/>
            <p:cNvSpPr/>
            <p:nvPr/>
          </p:nvSpPr>
          <p:spPr>
            <a:xfrm>
              <a:off x="-1239863" y="3176568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4" name="Google Shape;1354;p39"/>
            <p:cNvSpPr/>
            <p:nvPr/>
          </p:nvSpPr>
          <p:spPr>
            <a:xfrm>
              <a:off x="-1178386" y="3179035"/>
              <a:ext cx="13092" cy="81970"/>
            </a:xfrm>
            <a:custGeom>
              <a:avLst/>
              <a:gdLst/>
              <a:ahLst/>
              <a:cxnLst/>
              <a:rect l="l" t="t" r="r" b="b"/>
              <a:pathLst>
                <a:path w="69" h="432" extrusionOk="0">
                  <a:moveTo>
                    <a:pt x="1" y="1"/>
                  </a:moveTo>
                  <a:lnTo>
                    <a:pt x="1" y="432"/>
                  </a:lnTo>
                  <a:lnTo>
                    <a:pt x="69" y="432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453580340"/>
      </p:ext>
    </p:extLst>
  </p:cSld>
  <p:clrMapOvr>
    <a:masterClrMapping/>
  </p:clrMapOvr>
  <p:transition spd="slow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/>
          <p:nvPr/>
        </p:nvSpPr>
        <p:spPr>
          <a:xfrm>
            <a:off x="13" y="1423695"/>
            <a:ext cx="2963304" cy="1901549"/>
          </a:xfrm>
          <a:custGeom>
            <a:avLst/>
            <a:gdLst/>
            <a:ahLst/>
            <a:cxnLst/>
            <a:rect l="l" t="t" r="r" b="b"/>
            <a:pathLst>
              <a:path w="9746" h="6254" extrusionOk="0">
                <a:moveTo>
                  <a:pt x="0" y="1"/>
                </a:moveTo>
                <a:lnTo>
                  <a:pt x="0" y="6092"/>
                </a:lnTo>
                <a:cubicBezTo>
                  <a:pt x="39" y="6131"/>
                  <a:pt x="94" y="6157"/>
                  <a:pt x="162" y="6186"/>
                </a:cubicBezTo>
                <a:cubicBezTo>
                  <a:pt x="282" y="6238"/>
                  <a:pt x="405" y="6254"/>
                  <a:pt x="541" y="6254"/>
                </a:cubicBezTo>
                <a:cubicBezTo>
                  <a:pt x="849" y="6254"/>
                  <a:pt x="1160" y="6092"/>
                  <a:pt x="1335" y="5833"/>
                </a:cubicBezTo>
                <a:cubicBezTo>
                  <a:pt x="1371" y="6021"/>
                  <a:pt x="1570" y="6139"/>
                  <a:pt x="1763" y="6139"/>
                </a:cubicBezTo>
                <a:cubicBezTo>
                  <a:pt x="1792" y="6139"/>
                  <a:pt x="1822" y="6136"/>
                  <a:pt x="1850" y="6131"/>
                </a:cubicBezTo>
                <a:cubicBezTo>
                  <a:pt x="2064" y="6076"/>
                  <a:pt x="2242" y="5930"/>
                  <a:pt x="2388" y="5781"/>
                </a:cubicBezTo>
                <a:cubicBezTo>
                  <a:pt x="2709" y="6054"/>
                  <a:pt x="3132" y="6222"/>
                  <a:pt x="3560" y="6222"/>
                </a:cubicBezTo>
                <a:cubicBezTo>
                  <a:pt x="3619" y="6222"/>
                  <a:pt x="3679" y="6219"/>
                  <a:pt x="3739" y="6212"/>
                </a:cubicBezTo>
                <a:cubicBezTo>
                  <a:pt x="4225" y="6173"/>
                  <a:pt x="4685" y="5930"/>
                  <a:pt x="4980" y="5551"/>
                </a:cubicBezTo>
                <a:cubicBezTo>
                  <a:pt x="5085" y="5759"/>
                  <a:pt x="5328" y="5857"/>
                  <a:pt x="5556" y="5857"/>
                </a:cubicBezTo>
                <a:cubicBezTo>
                  <a:pt x="5595" y="5857"/>
                  <a:pt x="5633" y="5855"/>
                  <a:pt x="5670" y="5849"/>
                </a:cubicBezTo>
                <a:cubicBezTo>
                  <a:pt x="5939" y="5807"/>
                  <a:pt x="6169" y="5658"/>
                  <a:pt x="6399" y="5509"/>
                </a:cubicBezTo>
                <a:cubicBezTo>
                  <a:pt x="6464" y="5683"/>
                  <a:pt x="6653" y="5781"/>
                  <a:pt x="6838" y="5781"/>
                </a:cubicBezTo>
                <a:cubicBezTo>
                  <a:pt x="6955" y="5781"/>
                  <a:pt x="7071" y="5742"/>
                  <a:pt x="7154" y="5658"/>
                </a:cubicBezTo>
                <a:cubicBezTo>
                  <a:pt x="7291" y="5764"/>
                  <a:pt x="7465" y="5815"/>
                  <a:pt x="7640" y="5815"/>
                </a:cubicBezTo>
                <a:cubicBezTo>
                  <a:pt x="7844" y="5815"/>
                  <a:pt x="8049" y="5744"/>
                  <a:pt x="8194" y="5606"/>
                </a:cubicBezTo>
                <a:cubicBezTo>
                  <a:pt x="8274" y="5684"/>
                  <a:pt x="8385" y="5725"/>
                  <a:pt x="8496" y="5725"/>
                </a:cubicBezTo>
                <a:cubicBezTo>
                  <a:pt x="8591" y="5725"/>
                  <a:pt x="8686" y="5695"/>
                  <a:pt x="8761" y="5632"/>
                </a:cubicBezTo>
                <a:cubicBezTo>
                  <a:pt x="8798" y="5704"/>
                  <a:pt x="8883" y="5727"/>
                  <a:pt x="8971" y="5727"/>
                </a:cubicBezTo>
                <a:cubicBezTo>
                  <a:pt x="9014" y="5727"/>
                  <a:pt x="9058" y="5721"/>
                  <a:pt x="9098" y="5713"/>
                </a:cubicBezTo>
                <a:cubicBezTo>
                  <a:pt x="9260" y="5700"/>
                  <a:pt x="9435" y="5671"/>
                  <a:pt x="9597" y="5645"/>
                </a:cubicBezTo>
                <a:cubicBezTo>
                  <a:pt x="9626" y="5645"/>
                  <a:pt x="9652" y="5632"/>
                  <a:pt x="9678" y="5619"/>
                </a:cubicBezTo>
                <a:cubicBezTo>
                  <a:pt x="9746" y="5551"/>
                  <a:pt x="9626" y="5457"/>
                  <a:pt x="9532" y="5457"/>
                </a:cubicBezTo>
                <a:cubicBezTo>
                  <a:pt x="9435" y="5457"/>
                  <a:pt x="9328" y="5483"/>
                  <a:pt x="9247" y="5538"/>
                </a:cubicBezTo>
                <a:cubicBezTo>
                  <a:pt x="9227" y="5452"/>
                  <a:pt x="9148" y="5402"/>
                  <a:pt x="9070" y="5402"/>
                </a:cubicBezTo>
                <a:cubicBezTo>
                  <a:pt x="9047" y="5402"/>
                  <a:pt x="9025" y="5406"/>
                  <a:pt x="9004" y="5415"/>
                </a:cubicBezTo>
                <a:cubicBezTo>
                  <a:pt x="8978" y="5444"/>
                  <a:pt x="8949" y="5457"/>
                  <a:pt x="8923" y="5470"/>
                </a:cubicBezTo>
                <a:cubicBezTo>
                  <a:pt x="8916" y="5471"/>
                  <a:pt x="8910" y="5472"/>
                  <a:pt x="8903" y="5472"/>
                </a:cubicBezTo>
                <a:cubicBezTo>
                  <a:pt x="8833" y="5472"/>
                  <a:pt x="8783" y="5410"/>
                  <a:pt x="8735" y="5363"/>
                </a:cubicBezTo>
                <a:cubicBezTo>
                  <a:pt x="8599" y="5201"/>
                  <a:pt x="8437" y="5065"/>
                  <a:pt x="8236" y="5010"/>
                </a:cubicBezTo>
                <a:cubicBezTo>
                  <a:pt x="8180" y="4996"/>
                  <a:pt x="8123" y="4988"/>
                  <a:pt x="8066" y="4988"/>
                </a:cubicBezTo>
                <a:cubicBezTo>
                  <a:pt x="7913" y="4988"/>
                  <a:pt x="7761" y="5041"/>
                  <a:pt x="7653" y="5159"/>
                </a:cubicBezTo>
                <a:cubicBezTo>
                  <a:pt x="7721" y="5078"/>
                  <a:pt x="7303" y="4848"/>
                  <a:pt x="7248" y="4835"/>
                </a:cubicBezTo>
                <a:cubicBezTo>
                  <a:pt x="7178" y="4810"/>
                  <a:pt x="7108" y="4795"/>
                  <a:pt x="7040" y="4795"/>
                </a:cubicBezTo>
                <a:cubicBezTo>
                  <a:pt x="6927" y="4795"/>
                  <a:pt x="6821" y="4835"/>
                  <a:pt x="6736" y="4929"/>
                </a:cubicBezTo>
                <a:cubicBezTo>
                  <a:pt x="6655" y="4537"/>
                  <a:pt x="6344" y="4200"/>
                  <a:pt x="5952" y="4106"/>
                </a:cubicBezTo>
                <a:cubicBezTo>
                  <a:pt x="5874" y="4087"/>
                  <a:pt x="5794" y="4078"/>
                  <a:pt x="5714" y="4078"/>
                </a:cubicBezTo>
                <a:cubicBezTo>
                  <a:pt x="5392" y="4078"/>
                  <a:pt x="5067" y="4223"/>
                  <a:pt x="4873" y="4472"/>
                </a:cubicBezTo>
                <a:cubicBezTo>
                  <a:pt x="4873" y="4275"/>
                  <a:pt x="4674" y="4135"/>
                  <a:pt x="4483" y="4135"/>
                </a:cubicBezTo>
                <a:cubicBezTo>
                  <a:pt x="4410" y="4135"/>
                  <a:pt x="4339" y="4155"/>
                  <a:pt x="4280" y="4200"/>
                </a:cubicBezTo>
                <a:cubicBezTo>
                  <a:pt x="4307" y="3976"/>
                  <a:pt x="4076" y="3810"/>
                  <a:pt x="3865" y="3810"/>
                </a:cubicBezTo>
                <a:cubicBezTo>
                  <a:pt x="3771" y="3810"/>
                  <a:pt x="3681" y="3843"/>
                  <a:pt x="3619" y="3918"/>
                </a:cubicBezTo>
                <a:cubicBezTo>
                  <a:pt x="3765" y="3458"/>
                  <a:pt x="3551" y="2904"/>
                  <a:pt x="3133" y="2690"/>
                </a:cubicBezTo>
                <a:cubicBezTo>
                  <a:pt x="2993" y="2620"/>
                  <a:pt x="2838" y="2587"/>
                  <a:pt x="2683" y="2587"/>
                </a:cubicBezTo>
                <a:cubicBezTo>
                  <a:pt x="2358" y="2587"/>
                  <a:pt x="2032" y="2734"/>
                  <a:pt x="1850" y="2998"/>
                </a:cubicBezTo>
                <a:cubicBezTo>
                  <a:pt x="1837" y="2674"/>
                  <a:pt x="1837" y="2337"/>
                  <a:pt x="1675" y="2055"/>
                </a:cubicBezTo>
                <a:cubicBezTo>
                  <a:pt x="1540" y="1839"/>
                  <a:pt x="1299" y="1679"/>
                  <a:pt x="1060" y="1679"/>
                </a:cubicBezTo>
                <a:cubicBezTo>
                  <a:pt x="984" y="1679"/>
                  <a:pt x="908" y="1695"/>
                  <a:pt x="836" y="1731"/>
                </a:cubicBezTo>
                <a:cubicBezTo>
                  <a:pt x="983" y="1498"/>
                  <a:pt x="753" y="1153"/>
                  <a:pt x="486" y="1153"/>
                </a:cubicBezTo>
                <a:cubicBezTo>
                  <a:pt x="459" y="1153"/>
                  <a:pt x="432" y="1157"/>
                  <a:pt x="405" y="1164"/>
                </a:cubicBezTo>
                <a:cubicBezTo>
                  <a:pt x="593" y="1109"/>
                  <a:pt x="486" y="584"/>
                  <a:pt x="431" y="474"/>
                </a:cubicBezTo>
                <a:cubicBezTo>
                  <a:pt x="350" y="260"/>
                  <a:pt x="188" y="98"/>
                  <a:pt x="0" y="1"/>
                </a:cubicBezTo>
                <a:close/>
              </a:path>
            </a:pathLst>
          </a:custGeom>
          <a:solidFill>
            <a:srgbClr val="FFFFFF">
              <a:alpha val="665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" name="Google Shape;10;p2"/>
          <p:cNvSpPr/>
          <p:nvPr/>
        </p:nvSpPr>
        <p:spPr>
          <a:xfrm>
            <a:off x="7285281" y="1963665"/>
            <a:ext cx="7655759" cy="2362495"/>
          </a:xfrm>
          <a:custGeom>
            <a:avLst/>
            <a:gdLst/>
            <a:ahLst/>
            <a:cxnLst/>
            <a:rect l="l" t="t" r="r" b="b"/>
            <a:pathLst>
              <a:path w="25179" h="7770" extrusionOk="0">
                <a:moveTo>
                  <a:pt x="14617" y="1"/>
                </a:moveTo>
                <a:cubicBezTo>
                  <a:pt x="14115" y="1"/>
                  <a:pt x="13614" y="119"/>
                  <a:pt x="13178" y="367"/>
                </a:cubicBezTo>
                <a:cubicBezTo>
                  <a:pt x="12394" y="827"/>
                  <a:pt x="11869" y="1705"/>
                  <a:pt x="11908" y="2596"/>
                </a:cubicBezTo>
                <a:cubicBezTo>
                  <a:pt x="11762" y="2521"/>
                  <a:pt x="11601" y="2486"/>
                  <a:pt x="11439" y="2486"/>
                </a:cubicBezTo>
                <a:cubicBezTo>
                  <a:pt x="10959" y="2486"/>
                  <a:pt x="10471" y="2792"/>
                  <a:pt x="10330" y="3257"/>
                </a:cubicBezTo>
                <a:cubicBezTo>
                  <a:pt x="10252" y="2751"/>
                  <a:pt x="9765" y="2334"/>
                  <a:pt x="9262" y="2334"/>
                </a:cubicBezTo>
                <a:cubicBezTo>
                  <a:pt x="9240" y="2334"/>
                  <a:pt x="9218" y="2335"/>
                  <a:pt x="9196" y="2337"/>
                </a:cubicBezTo>
                <a:cubicBezTo>
                  <a:pt x="8655" y="2366"/>
                  <a:pt x="8195" y="2852"/>
                  <a:pt x="8182" y="3390"/>
                </a:cubicBezTo>
                <a:cubicBezTo>
                  <a:pt x="8113" y="3275"/>
                  <a:pt x="7989" y="3221"/>
                  <a:pt x="7860" y="3221"/>
                </a:cubicBezTo>
                <a:cubicBezTo>
                  <a:pt x="7736" y="3221"/>
                  <a:pt x="7607" y="3271"/>
                  <a:pt x="7521" y="3364"/>
                </a:cubicBezTo>
                <a:cubicBezTo>
                  <a:pt x="7346" y="3552"/>
                  <a:pt x="7346" y="3850"/>
                  <a:pt x="7440" y="4093"/>
                </a:cubicBezTo>
                <a:cubicBezTo>
                  <a:pt x="7393" y="4050"/>
                  <a:pt x="7333" y="4031"/>
                  <a:pt x="7270" y="4031"/>
                </a:cubicBezTo>
                <a:cubicBezTo>
                  <a:pt x="7118" y="4031"/>
                  <a:pt x="6954" y="4147"/>
                  <a:pt x="6954" y="4310"/>
                </a:cubicBezTo>
                <a:cubicBezTo>
                  <a:pt x="6845" y="3955"/>
                  <a:pt x="6475" y="3760"/>
                  <a:pt x="6101" y="3760"/>
                </a:cubicBezTo>
                <a:cubicBezTo>
                  <a:pt x="5917" y="3760"/>
                  <a:pt x="5733" y="3807"/>
                  <a:pt x="5577" y="3905"/>
                </a:cubicBezTo>
                <a:cubicBezTo>
                  <a:pt x="5104" y="4200"/>
                  <a:pt x="4903" y="4783"/>
                  <a:pt x="4874" y="5334"/>
                </a:cubicBezTo>
                <a:cubicBezTo>
                  <a:pt x="4800" y="5267"/>
                  <a:pt x="4701" y="5234"/>
                  <a:pt x="4601" y="5234"/>
                </a:cubicBezTo>
                <a:cubicBezTo>
                  <a:pt x="4482" y="5234"/>
                  <a:pt x="4362" y="5281"/>
                  <a:pt x="4281" y="5376"/>
                </a:cubicBezTo>
                <a:cubicBezTo>
                  <a:pt x="4145" y="5538"/>
                  <a:pt x="4174" y="5820"/>
                  <a:pt x="4349" y="5956"/>
                </a:cubicBezTo>
                <a:cubicBezTo>
                  <a:pt x="4128" y="5889"/>
                  <a:pt x="3900" y="5829"/>
                  <a:pt x="3670" y="5829"/>
                </a:cubicBezTo>
                <a:cubicBezTo>
                  <a:pt x="3577" y="5829"/>
                  <a:pt x="3483" y="5839"/>
                  <a:pt x="3390" y="5862"/>
                </a:cubicBezTo>
                <a:cubicBezTo>
                  <a:pt x="3079" y="5943"/>
                  <a:pt x="2810" y="6267"/>
                  <a:pt x="2904" y="6578"/>
                </a:cubicBezTo>
                <a:cubicBezTo>
                  <a:pt x="2844" y="6546"/>
                  <a:pt x="2780" y="6531"/>
                  <a:pt x="2715" y="6531"/>
                </a:cubicBezTo>
                <a:cubicBezTo>
                  <a:pt x="2457" y="6531"/>
                  <a:pt x="2196" y="6765"/>
                  <a:pt x="2230" y="7035"/>
                </a:cubicBezTo>
                <a:cubicBezTo>
                  <a:pt x="2090" y="6891"/>
                  <a:pt x="1893" y="6824"/>
                  <a:pt x="1693" y="6824"/>
                </a:cubicBezTo>
                <a:cubicBezTo>
                  <a:pt x="1369" y="6824"/>
                  <a:pt x="1036" y="6999"/>
                  <a:pt x="918" y="7307"/>
                </a:cubicBezTo>
                <a:cubicBezTo>
                  <a:pt x="828" y="7291"/>
                  <a:pt x="738" y="7283"/>
                  <a:pt x="648" y="7283"/>
                </a:cubicBezTo>
                <a:cubicBezTo>
                  <a:pt x="430" y="7283"/>
                  <a:pt x="212" y="7329"/>
                  <a:pt x="1" y="7414"/>
                </a:cubicBezTo>
                <a:cubicBezTo>
                  <a:pt x="346" y="7540"/>
                  <a:pt x="715" y="7602"/>
                  <a:pt x="1086" y="7602"/>
                </a:cubicBezTo>
                <a:cubicBezTo>
                  <a:pt x="1352" y="7602"/>
                  <a:pt x="1618" y="7570"/>
                  <a:pt x="1877" y="7508"/>
                </a:cubicBezTo>
                <a:cubicBezTo>
                  <a:pt x="1976" y="7656"/>
                  <a:pt x="2150" y="7730"/>
                  <a:pt x="2325" y="7730"/>
                </a:cubicBezTo>
                <a:cubicBezTo>
                  <a:pt x="2488" y="7730"/>
                  <a:pt x="2651" y="7666"/>
                  <a:pt x="2755" y="7537"/>
                </a:cubicBezTo>
                <a:cubicBezTo>
                  <a:pt x="2887" y="7695"/>
                  <a:pt x="3086" y="7769"/>
                  <a:pt x="3288" y="7769"/>
                </a:cubicBezTo>
                <a:cubicBezTo>
                  <a:pt x="3581" y="7769"/>
                  <a:pt x="3879" y="7613"/>
                  <a:pt x="3983" y="7333"/>
                </a:cubicBezTo>
                <a:cubicBezTo>
                  <a:pt x="4244" y="7552"/>
                  <a:pt x="4573" y="7652"/>
                  <a:pt x="4906" y="7652"/>
                </a:cubicBezTo>
                <a:cubicBezTo>
                  <a:pt x="5558" y="7652"/>
                  <a:pt x="6228" y="7270"/>
                  <a:pt x="6442" y="6646"/>
                </a:cubicBezTo>
                <a:cubicBezTo>
                  <a:pt x="6622" y="6888"/>
                  <a:pt x="6921" y="7010"/>
                  <a:pt x="7220" y="7010"/>
                </a:cubicBezTo>
                <a:cubicBezTo>
                  <a:pt x="7501" y="7010"/>
                  <a:pt x="7783" y="6902"/>
                  <a:pt x="7965" y="6685"/>
                </a:cubicBezTo>
                <a:cubicBezTo>
                  <a:pt x="8007" y="7009"/>
                  <a:pt x="8289" y="7294"/>
                  <a:pt x="8613" y="7320"/>
                </a:cubicBezTo>
                <a:cubicBezTo>
                  <a:pt x="8638" y="7323"/>
                  <a:pt x="8664" y="7324"/>
                  <a:pt x="8690" y="7324"/>
                </a:cubicBezTo>
                <a:cubicBezTo>
                  <a:pt x="8989" y="7324"/>
                  <a:pt x="9284" y="7120"/>
                  <a:pt x="9371" y="6834"/>
                </a:cubicBezTo>
                <a:cubicBezTo>
                  <a:pt x="9776" y="7292"/>
                  <a:pt x="10383" y="7519"/>
                  <a:pt x="10991" y="7519"/>
                </a:cubicBezTo>
                <a:cubicBezTo>
                  <a:pt x="11656" y="7519"/>
                  <a:pt x="12323" y="7247"/>
                  <a:pt x="12731" y="6711"/>
                </a:cubicBezTo>
                <a:cubicBezTo>
                  <a:pt x="13035" y="7174"/>
                  <a:pt x="13572" y="7456"/>
                  <a:pt x="14126" y="7456"/>
                </a:cubicBezTo>
                <a:cubicBezTo>
                  <a:pt x="14138" y="7456"/>
                  <a:pt x="14151" y="7456"/>
                  <a:pt x="14163" y="7456"/>
                </a:cubicBezTo>
                <a:cubicBezTo>
                  <a:pt x="14717" y="7440"/>
                  <a:pt x="15255" y="7116"/>
                  <a:pt x="15540" y="6646"/>
                </a:cubicBezTo>
                <a:cubicBezTo>
                  <a:pt x="15721" y="6899"/>
                  <a:pt x="16030" y="7034"/>
                  <a:pt x="16336" y="7034"/>
                </a:cubicBezTo>
                <a:cubicBezTo>
                  <a:pt x="16535" y="7034"/>
                  <a:pt x="16732" y="6977"/>
                  <a:pt x="16891" y="6860"/>
                </a:cubicBezTo>
                <a:cubicBezTo>
                  <a:pt x="17133" y="7103"/>
                  <a:pt x="17472" y="7221"/>
                  <a:pt x="17812" y="7221"/>
                </a:cubicBezTo>
                <a:cubicBezTo>
                  <a:pt x="18226" y="7221"/>
                  <a:pt x="18643" y="7046"/>
                  <a:pt x="18887" y="6711"/>
                </a:cubicBezTo>
                <a:cubicBezTo>
                  <a:pt x="19062" y="7252"/>
                  <a:pt x="19603" y="7644"/>
                  <a:pt x="20157" y="7657"/>
                </a:cubicBezTo>
                <a:cubicBezTo>
                  <a:pt x="20166" y="7657"/>
                  <a:pt x="20176" y="7657"/>
                  <a:pt x="20185" y="7657"/>
                </a:cubicBezTo>
                <a:cubicBezTo>
                  <a:pt x="20742" y="7657"/>
                  <a:pt x="21268" y="7285"/>
                  <a:pt x="21466" y="6766"/>
                </a:cubicBezTo>
                <a:cubicBezTo>
                  <a:pt x="21554" y="6951"/>
                  <a:pt x="21762" y="7054"/>
                  <a:pt x="21967" y="7054"/>
                </a:cubicBezTo>
                <a:cubicBezTo>
                  <a:pt x="22107" y="7054"/>
                  <a:pt x="22245" y="7006"/>
                  <a:pt x="22344" y="6902"/>
                </a:cubicBezTo>
                <a:cubicBezTo>
                  <a:pt x="22549" y="7259"/>
                  <a:pt x="22961" y="7443"/>
                  <a:pt x="23372" y="7443"/>
                </a:cubicBezTo>
                <a:cubicBezTo>
                  <a:pt x="23722" y="7443"/>
                  <a:pt x="24070" y="7309"/>
                  <a:pt x="24288" y="7035"/>
                </a:cubicBezTo>
                <a:cubicBezTo>
                  <a:pt x="24518" y="7307"/>
                  <a:pt x="24829" y="7495"/>
                  <a:pt x="25179" y="7589"/>
                </a:cubicBezTo>
                <a:lnTo>
                  <a:pt x="25179" y="3824"/>
                </a:lnTo>
                <a:cubicBezTo>
                  <a:pt x="25098" y="3876"/>
                  <a:pt x="25056" y="3944"/>
                  <a:pt x="25085" y="4025"/>
                </a:cubicBezTo>
                <a:cubicBezTo>
                  <a:pt x="24949" y="3714"/>
                  <a:pt x="24651" y="3487"/>
                  <a:pt x="24327" y="3432"/>
                </a:cubicBezTo>
                <a:cubicBezTo>
                  <a:pt x="24288" y="3427"/>
                  <a:pt x="24248" y="3424"/>
                  <a:pt x="24209" y="3424"/>
                </a:cubicBezTo>
                <a:cubicBezTo>
                  <a:pt x="23920" y="3424"/>
                  <a:pt x="23627" y="3557"/>
                  <a:pt x="23436" y="3782"/>
                </a:cubicBezTo>
                <a:cubicBezTo>
                  <a:pt x="23504" y="3364"/>
                  <a:pt x="23180" y="2920"/>
                  <a:pt x="22762" y="2852"/>
                </a:cubicBezTo>
                <a:cubicBezTo>
                  <a:pt x="22723" y="2846"/>
                  <a:pt x="22684" y="2843"/>
                  <a:pt x="22645" y="2843"/>
                </a:cubicBezTo>
                <a:cubicBezTo>
                  <a:pt x="22264" y="2843"/>
                  <a:pt x="21889" y="3134"/>
                  <a:pt x="21816" y="3513"/>
                </a:cubicBezTo>
                <a:cubicBezTo>
                  <a:pt x="21807" y="3245"/>
                  <a:pt x="21533" y="3059"/>
                  <a:pt x="21275" y="3059"/>
                </a:cubicBezTo>
                <a:cubicBezTo>
                  <a:pt x="21155" y="3059"/>
                  <a:pt x="21039" y="3099"/>
                  <a:pt x="20954" y="3189"/>
                </a:cubicBezTo>
                <a:cubicBezTo>
                  <a:pt x="20954" y="2797"/>
                  <a:pt x="20698" y="2405"/>
                  <a:pt x="20332" y="2243"/>
                </a:cubicBezTo>
                <a:cubicBezTo>
                  <a:pt x="20206" y="2184"/>
                  <a:pt x="20065" y="2156"/>
                  <a:pt x="19923" y="2156"/>
                </a:cubicBezTo>
                <a:cubicBezTo>
                  <a:pt x="19671" y="2156"/>
                  <a:pt x="19415" y="2246"/>
                  <a:pt x="19224" y="2418"/>
                </a:cubicBezTo>
                <a:cubicBezTo>
                  <a:pt x="19321" y="1880"/>
                  <a:pt x="18874" y="1352"/>
                  <a:pt x="18349" y="1190"/>
                </a:cubicBezTo>
                <a:cubicBezTo>
                  <a:pt x="18229" y="1153"/>
                  <a:pt x="18108" y="1137"/>
                  <a:pt x="17989" y="1137"/>
                </a:cubicBezTo>
                <a:cubicBezTo>
                  <a:pt x="17625" y="1137"/>
                  <a:pt x="17266" y="1285"/>
                  <a:pt x="16930" y="1446"/>
                </a:cubicBezTo>
                <a:cubicBezTo>
                  <a:pt x="16875" y="866"/>
                  <a:pt x="16337" y="435"/>
                  <a:pt x="15783" y="218"/>
                </a:cubicBezTo>
                <a:cubicBezTo>
                  <a:pt x="15414" y="75"/>
                  <a:pt x="15015" y="1"/>
                  <a:pt x="14617" y="1"/>
                </a:cubicBezTo>
                <a:close/>
              </a:path>
            </a:pathLst>
          </a:custGeom>
          <a:solidFill>
            <a:srgbClr val="FFFFFF">
              <a:alpha val="665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1880827" y="3335466"/>
            <a:ext cx="10320447" cy="1055091"/>
          </a:xfrm>
          <a:custGeom>
            <a:avLst/>
            <a:gdLst/>
            <a:ahLst/>
            <a:cxnLst/>
            <a:rect l="l" t="t" r="r" b="b"/>
            <a:pathLst>
              <a:path w="37099" h="4687" extrusionOk="0">
                <a:moveTo>
                  <a:pt x="29289" y="0"/>
                </a:moveTo>
                <a:cubicBezTo>
                  <a:pt x="28606" y="0"/>
                  <a:pt x="27911" y="10"/>
                  <a:pt x="27217" y="28"/>
                </a:cubicBezTo>
                <a:cubicBezTo>
                  <a:pt x="18981" y="245"/>
                  <a:pt x="8493" y="2688"/>
                  <a:pt x="1" y="4687"/>
                </a:cubicBezTo>
                <a:lnTo>
                  <a:pt x="37099" y="4687"/>
                </a:lnTo>
                <a:lnTo>
                  <a:pt x="37099" y="731"/>
                </a:lnTo>
                <a:cubicBezTo>
                  <a:pt x="35742" y="225"/>
                  <a:pt x="32651" y="0"/>
                  <a:pt x="29289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/>
          <p:nvPr/>
        </p:nvSpPr>
        <p:spPr>
          <a:xfrm>
            <a:off x="6195517" y="3335467"/>
            <a:ext cx="6227487" cy="548593"/>
          </a:xfrm>
          <a:custGeom>
            <a:avLst/>
            <a:gdLst/>
            <a:ahLst/>
            <a:cxnLst/>
            <a:rect l="l" t="t" r="r" b="b"/>
            <a:pathLst>
              <a:path w="22386" h="2437" extrusionOk="0">
                <a:moveTo>
                  <a:pt x="13758" y="0"/>
                </a:moveTo>
                <a:cubicBezTo>
                  <a:pt x="13081" y="0"/>
                  <a:pt x="12393" y="10"/>
                  <a:pt x="11707" y="28"/>
                </a:cubicBezTo>
                <a:cubicBezTo>
                  <a:pt x="8305" y="109"/>
                  <a:pt x="4511" y="582"/>
                  <a:pt x="623" y="1256"/>
                </a:cubicBezTo>
                <a:cubicBezTo>
                  <a:pt x="516" y="1311"/>
                  <a:pt x="422" y="1379"/>
                  <a:pt x="367" y="1447"/>
                </a:cubicBezTo>
                <a:cubicBezTo>
                  <a:pt x="1" y="1822"/>
                  <a:pt x="3053" y="2040"/>
                  <a:pt x="5976" y="2040"/>
                </a:cubicBezTo>
                <a:cubicBezTo>
                  <a:pt x="7140" y="2040"/>
                  <a:pt x="8284" y="2006"/>
                  <a:pt x="9183" y="1933"/>
                </a:cubicBezTo>
                <a:cubicBezTo>
                  <a:pt x="12355" y="1661"/>
                  <a:pt x="13881" y="1298"/>
                  <a:pt x="13881" y="1298"/>
                </a:cubicBezTo>
                <a:lnTo>
                  <a:pt x="13881" y="1298"/>
                </a:lnTo>
                <a:cubicBezTo>
                  <a:pt x="13881" y="1298"/>
                  <a:pt x="11626" y="2325"/>
                  <a:pt x="12423" y="2432"/>
                </a:cubicBezTo>
                <a:cubicBezTo>
                  <a:pt x="12446" y="2435"/>
                  <a:pt x="12476" y="2437"/>
                  <a:pt x="12513" y="2437"/>
                </a:cubicBezTo>
                <a:cubicBezTo>
                  <a:pt x="13747" y="2437"/>
                  <a:pt x="22386" y="741"/>
                  <a:pt x="18809" y="219"/>
                </a:cubicBezTo>
                <a:cubicBezTo>
                  <a:pt x="17366" y="70"/>
                  <a:pt x="15601" y="0"/>
                  <a:pt x="13758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" name="Google Shape;13;p2"/>
          <p:cNvSpPr/>
          <p:nvPr/>
        </p:nvSpPr>
        <p:spPr>
          <a:xfrm>
            <a:off x="4393696" y="3408629"/>
            <a:ext cx="8231265" cy="979004"/>
          </a:xfrm>
          <a:custGeom>
            <a:avLst/>
            <a:gdLst/>
            <a:ahLst/>
            <a:cxnLst/>
            <a:rect l="l" t="t" r="r" b="b"/>
            <a:pathLst>
              <a:path w="29589" h="4349" extrusionOk="0">
                <a:moveTo>
                  <a:pt x="26229" y="1"/>
                </a:moveTo>
                <a:cubicBezTo>
                  <a:pt x="29589" y="1088"/>
                  <a:pt x="26172" y="4162"/>
                  <a:pt x="18058" y="4162"/>
                </a:cubicBezTo>
                <a:cubicBezTo>
                  <a:pt x="17299" y="4162"/>
                  <a:pt x="16499" y="4135"/>
                  <a:pt x="15660" y="4077"/>
                </a:cubicBezTo>
                <a:cubicBezTo>
                  <a:pt x="6358" y="3442"/>
                  <a:pt x="4819" y="1958"/>
                  <a:pt x="5778" y="1161"/>
                </a:cubicBezTo>
                <a:lnTo>
                  <a:pt x="5778" y="1161"/>
                </a:lnTo>
                <a:cubicBezTo>
                  <a:pt x="3902" y="1498"/>
                  <a:pt x="2010" y="1877"/>
                  <a:pt x="147" y="2269"/>
                </a:cubicBezTo>
                <a:lnTo>
                  <a:pt x="1" y="4349"/>
                </a:lnTo>
                <a:lnTo>
                  <a:pt x="28066" y="4349"/>
                </a:lnTo>
                <a:lnTo>
                  <a:pt x="28066" y="406"/>
                </a:lnTo>
                <a:cubicBezTo>
                  <a:pt x="27622" y="244"/>
                  <a:pt x="26987" y="108"/>
                  <a:pt x="26229" y="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" name="Google Shape;14;p2"/>
          <p:cNvSpPr/>
          <p:nvPr/>
        </p:nvSpPr>
        <p:spPr>
          <a:xfrm>
            <a:off x="0" y="3354602"/>
            <a:ext cx="6339040" cy="1033029"/>
          </a:xfrm>
          <a:custGeom>
            <a:avLst/>
            <a:gdLst/>
            <a:ahLst/>
            <a:cxnLst/>
            <a:rect l="l" t="t" r="r" b="b"/>
            <a:pathLst>
              <a:path w="22787" h="4589" extrusionOk="0">
                <a:moveTo>
                  <a:pt x="3161" y="1"/>
                </a:moveTo>
                <a:cubicBezTo>
                  <a:pt x="1090" y="1"/>
                  <a:pt x="0" y="199"/>
                  <a:pt x="0" y="199"/>
                </a:cubicBezTo>
                <a:lnTo>
                  <a:pt x="0" y="4589"/>
                </a:lnTo>
                <a:lnTo>
                  <a:pt x="22787" y="4589"/>
                </a:lnTo>
                <a:cubicBezTo>
                  <a:pt x="22787" y="4589"/>
                  <a:pt x="18128" y="2036"/>
                  <a:pt x="11029" y="766"/>
                </a:cubicBezTo>
                <a:cubicBezTo>
                  <a:pt x="7669" y="160"/>
                  <a:pt x="5020" y="1"/>
                  <a:pt x="316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" name="Google Shape;15;p2"/>
          <p:cNvSpPr/>
          <p:nvPr/>
        </p:nvSpPr>
        <p:spPr>
          <a:xfrm>
            <a:off x="0" y="3354602"/>
            <a:ext cx="6339040" cy="1033029"/>
          </a:xfrm>
          <a:custGeom>
            <a:avLst/>
            <a:gdLst/>
            <a:ahLst/>
            <a:cxnLst/>
            <a:rect l="l" t="t" r="r" b="b"/>
            <a:pathLst>
              <a:path w="22787" h="4589" extrusionOk="0">
                <a:moveTo>
                  <a:pt x="3161" y="1"/>
                </a:moveTo>
                <a:cubicBezTo>
                  <a:pt x="1090" y="1"/>
                  <a:pt x="0" y="199"/>
                  <a:pt x="0" y="199"/>
                </a:cubicBezTo>
                <a:lnTo>
                  <a:pt x="0" y="1038"/>
                </a:lnTo>
                <a:cubicBezTo>
                  <a:pt x="0" y="1038"/>
                  <a:pt x="1323" y="847"/>
                  <a:pt x="3600" y="847"/>
                </a:cubicBezTo>
                <a:cubicBezTo>
                  <a:pt x="5771" y="847"/>
                  <a:pt x="8808" y="1021"/>
                  <a:pt x="12393" y="1699"/>
                </a:cubicBezTo>
                <a:cubicBezTo>
                  <a:pt x="18656" y="2888"/>
                  <a:pt x="22787" y="4589"/>
                  <a:pt x="22787" y="4589"/>
                </a:cubicBezTo>
                <a:cubicBezTo>
                  <a:pt x="22787" y="4589"/>
                  <a:pt x="18128" y="2036"/>
                  <a:pt x="11029" y="766"/>
                </a:cubicBezTo>
                <a:cubicBezTo>
                  <a:pt x="7669" y="160"/>
                  <a:pt x="5020" y="1"/>
                  <a:pt x="3161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" name="Google Shape;16;p2"/>
          <p:cNvSpPr/>
          <p:nvPr/>
        </p:nvSpPr>
        <p:spPr>
          <a:xfrm>
            <a:off x="0" y="3769029"/>
            <a:ext cx="6339040" cy="618603"/>
          </a:xfrm>
          <a:custGeom>
            <a:avLst/>
            <a:gdLst/>
            <a:ahLst/>
            <a:cxnLst/>
            <a:rect l="l" t="t" r="r" b="b"/>
            <a:pathLst>
              <a:path w="22787" h="2748" extrusionOk="0">
                <a:moveTo>
                  <a:pt x="2461" y="0"/>
                </a:moveTo>
                <a:cubicBezTo>
                  <a:pt x="1044" y="0"/>
                  <a:pt x="0" y="33"/>
                  <a:pt x="0" y="33"/>
                </a:cubicBezTo>
                <a:lnTo>
                  <a:pt x="0" y="2748"/>
                </a:lnTo>
                <a:lnTo>
                  <a:pt x="22787" y="2748"/>
                </a:lnTo>
                <a:cubicBezTo>
                  <a:pt x="22787" y="2748"/>
                  <a:pt x="9461" y="2045"/>
                  <a:pt x="8570" y="1802"/>
                </a:cubicBezTo>
                <a:cubicBezTo>
                  <a:pt x="7666" y="1546"/>
                  <a:pt x="11528" y="885"/>
                  <a:pt x="8761" y="370"/>
                </a:cubicBezTo>
                <a:cubicBezTo>
                  <a:pt x="7149" y="64"/>
                  <a:pt x="4440" y="0"/>
                  <a:pt x="246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2"/>
          <p:cNvSpPr/>
          <p:nvPr/>
        </p:nvSpPr>
        <p:spPr>
          <a:xfrm>
            <a:off x="11514186" y="3635539"/>
            <a:ext cx="687121" cy="643364"/>
          </a:xfrm>
          <a:custGeom>
            <a:avLst/>
            <a:gdLst/>
            <a:ahLst/>
            <a:cxnLst/>
            <a:rect l="l" t="t" r="r" b="b"/>
            <a:pathLst>
              <a:path w="2470" h="2858" extrusionOk="0">
                <a:moveTo>
                  <a:pt x="2253" y="1"/>
                </a:moveTo>
                <a:cubicBezTo>
                  <a:pt x="2237" y="1"/>
                  <a:pt x="2220" y="2"/>
                  <a:pt x="2201" y="4"/>
                </a:cubicBezTo>
                <a:cubicBezTo>
                  <a:pt x="2159" y="4"/>
                  <a:pt x="2120" y="4"/>
                  <a:pt x="2091" y="20"/>
                </a:cubicBezTo>
                <a:cubicBezTo>
                  <a:pt x="2052" y="33"/>
                  <a:pt x="2026" y="46"/>
                  <a:pt x="2010" y="72"/>
                </a:cubicBezTo>
                <a:cubicBezTo>
                  <a:pt x="1929" y="140"/>
                  <a:pt x="1890" y="234"/>
                  <a:pt x="1877" y="328"/>
                </a:cubicBezTo>
                <a:cubicBezTo>
                  <a:pt x="1832" y="293"/>
                  <a:pt x="1769" y="269"/>
                  <a:pt x="1708" y="269"/>
                </a:cubicBezTo>
                <a:cubicBezTo>
                  <a:pt x="1678" y="269"/>
                  <a:pt x="1648" y="275"/>
                  <a:pt x="1621" y="289"/>
                </a:cubicBezTo>
                <a:cubicBezTo>
                  <a:pt x="1540" y="328"/>
                  <a:pt x="1485" y="409"/>
                  <a:pt x="1485" y="490"/>
                </a:cubicBezTo>
                <a:cubicBezTo>
                  <a:pt x="1398" y="387"/>
                  <a:pt x="1250" y="322"/>
                  <a:pt x="1110" y="322"/>
                </a:cubicBezTo>
                <a:cubicBezTo>
                  <a:pt x="1052" y="322"/>
                  <a:pt x="995" y="333"/>
                  <a:pt x="944" y="357"/>
                </a:cubicBezTo>
                <a:cubicBezTo>
                  <a:pt x="756" y="425"/>
                  <a:pt x="649" y="668"/>
                  <a:pt x="756" y="830"/>
                </a:cubicBezTo>
                <a:cubicBezTo>
                  <a:pt x="737" y="822"/>
                  <a:pt x="718" y="818"/>
                  <a:pt x="698" y="818"/>
                </a:cubicBezTo>
                <a:cubicBezTo>
                  <a:pt x="647" y="818"/>
                  <a:pt x="596" y="844"/>
                  <a:pt x="568" y="882"/>
                </a:cubicBezTo>
                <a:cubicBezTo>
                  <a:pt x="526" y="937"/>
                  <a:pt x="539" y="1005"/>
                  <a:pt x="581" y="1057"/>
                </a:cubicBezTo>
                <a:cubicBezTo>
                  <a:pt x="471" y="1057"/>
                  <a:pt x="351" y="1086"/>
                  <a:pt x="257" y="1138"/>
                </a:cubicBezTo>
                <a:cubicBezTo>
                  <a:pt x="163" y="1193"/>
                  <a:pt x="82" y="1287"/>
                  <a:pt x="82" y="1397"/>
                </a:cubicBezTo>
                <a:cubicBezTo>
                  <a:pt x="66" y="1504"/>
                  <a:pt x="163" y="1611"/>
                  <a:pt x="283" y="1611"/>
                </a:cubicBezTo>
                <a:cubicBezTo>
                  <a:pt x="215" y="1611"/>
                  <a:pt x="147" y="1624"/>
                  <a:pt x="95" y="1653"/>
                </a:cubicBezTo>
                <a:cubicBezTo>
                  <a:pt x="40" y="1679"/>
                  <a:pt x="1" y="1734"/>
                  <a:pt x="14" y="1786"/>
                </a:cubicBezTo>
                <a:cubicBezTo>
                  <a:pt x="14" y="1854"/>
                  <a:pt x="95" y="1896"/>
                  <a:pt x="163" y="1922"/>
                </a:cubicBezTo>
                <a:cubicBezTo>
                  <a:pt x="40" y="2029"/>
                  <a:pt x="40" y="2220"/>
                  <a:pt x="147" y="2340"/>
                </a:cubicBezTo>
                <a:cubicBezTo>
                  <a:pt x="217" y="2428"/>
                  <a:pt x="334" y="2467"/>
                  <a:pt x="454" y="2467"/>
                </a:cubicBezTo>
                <a:cubicBezTo>
                  <a:pt x="501" y="2467"/>
                  <a:pt x="548" y="2461"/>
                  <a:pt x="594" y="2450"/>
                </a:cubicBezTo>
                <a:cubicBezTo>
                  <a:pt x="594" y="2570"/>
                  <a:pt x="675" y="2677"/>
                  <a:pt x="782" y="2745"/>
                </a:cubicBezTo>
                <a:cubicBezTo>
                  <a:pt x="876" y="2813"/>
                  <a:pt x="1012" y="2839"/>
                  <a:pt x="1135" y="2855"/>
                </a:cubicBezTo>
                <a:cubicBezTo>
                  <a:pt x="1159" y="2856"/>
                  <a:pt x="1184" y="2857"/>
                  <a:pt x="1208" y="2857"/>
                </a:cubicBezTo>
                <a:cubicBezTo>
                  <a:pt x="1397" y="2857"/>
                  <a:pt x="1583" y="2811"/>
                  <a:pt x="1715" y="2693"/>
                </a:cubicBezTo>
                <a:lnTo>
                  <a:pt x="2470" y="2693"/>
                </a:lnTo>
                <a:lnTo>
                  <a:pt x="2470" y="85"/>
                </a:lnTo>
                <a:cubicBezTo>
                  <a:pt x="2401" y="30"/>
                  <a:pt x="2342" y="1"/>
                  <a:pt x="2253" y="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2"/>
          <p:cNvSpPr/>
          <p:nvPr/>
        </p:nvSpPr>
        <p:spPr>
          <a:xfrm>
            <a:off x="11096905" y="3827560"/>
            <a:ext cx="1104401" cy="560073"/>
          </a:xfrm>
          <a:custGeom>
            <a:avLst/>
            <a:gdLst/>
            <a:ahLst/>
            <a:cxnLst/>
            <a:rect l="l" t="t" r="r" b="b"/>
            <a:pathLst>
              <a:path w="3970" h="2488" extrusionOk="0">
                <a:moveTo>
                  <a:pt x="3759" y="0"/>
                </a:moveTo>
                <a:cubicBezTo>
                  <a:pt x="3636" y="0"/>
                  <a:pt x="3520" y="33"/>
                  <a:pt x="3416" y="110"/>
                </a:cubicBezTo>
                <a:cubicBezTo>
                  <a:pt x="3254" y="233"/>
                  <a:pt x="3186" y="476"/>
                  <a:pt x="3322" y="625"/>
                </a:cubicBezTo>
                <a:cubicBezTo>
                  <a:pt x="3303" y="620"/>
                  <a:pt x="3284" y="618"/>
                  <a:pt x="3265" y="618"/>
                </a:cubicBezTo>
                <a:cubicBezTo>
                  <a:pt x="3122" y="618"/>
                  <a:pt x="2989" y="747"/>
                  <a:pt x="3010" y="866"/>
                </a:cubicBezTo>
                <a:lnTo>
                  <a:pt x="3010" y="866"/>
                </a:lnTo>
                <a:cubicBezTo>
                  <a:pt x="2988" y="746"/>
                  <a:pt x="2882" y="701"/>
                  <a:pt x="2766" y="701"/>
                </a:cubicBezTo>
                <a:cubicBezTo>
                  <a:pt x="2675" y="701"/>
                  <a:pt x="2578" y="729"/>
                  <a:pt x="2512" y="771"/>
                </a:cubicBezTo>
                <a:cubicBezTo>
                  <a:pt x="2405" y="852"/>
                  <a:pt x="2324" y="988"/>
                  <a:pt x="2337" y="1124"/>
                </a:cubicBezTo>
                <a:cubicBezTo>
                  <a:pt x="2318" y="1119"/>
                  <a:pt x="2299" y="1116"/>
                  <a:pt x="2280" y="1116"/>
                </a:cubicBezTo>
                <a:cubicBezTo>
                  <a:pt x="2150" y="1116"/>
                  <a:pt x="2026" y="1237"/>
                  <a:pt x="2026" y="1367"/>
                </a:cubicBezTo>
                <a:cubicBezTo>
                  <a:pt x="1958" y="1325"/>
                  <a:pt x="1878" y="1304"/>
                  <a:pt x="1797" y="1304"/>
                </a:cubicBezTo>
                <a:cubicBezTo>
                  <a:pt x="1699" y="1304"/>
                  <a:pt x="1601" y="1334"/>
                  <a:pt x="1527" y="1393"/>
                </a:cubicBezTo>
                <a:cubicBezTo>
                  <a:pt x="1391" y="1500"/>
                  <a:pt x="1339" y="1691"/>
                  <a:pt x="1404" y="1840"/>
                </a:cubicBezTo>
                <a:cubicBezTo>
                  <a:pt x="1323" y="1840"/>
                  <a:pt x="1258" y="1840"/>
                  <a:pt x="1177" y="1866"/>
                </a:cubicBezTo>
                <a:cubicBezTo>
                  <a:pt x="1109" y="1879"/>
                  <a:pt x="1054" y="1947"/>
                  <a:pt x="1054" y="2015"/>
                </a:cubicBezTo>
                <a:cubicBezTo>
                  <a:pt x="981" y="1962"/>
                  <a:pt x="889" y="1925"/>
                  <a:pt x="796" y="1925"/>
                </a:cubicBezTo>
                <a:cubicBezTo>
                  <a:pt x="770" y="1925"/>
                  <a:pt x="743" y="1928"/>
                  <a:pt x="717" y="1934"/>
                </a:cubicBezTo>
                <a:cubicBezTo>
                  <a:pt x="594" y="1960"/>
                  <a:pt x="487" y="2054"/>
                  <a:pt x="448" y="2164"/>
                </a:cubicBezTo>
                <a:cubicBezTo>
                  <a:pt x="407" y="2141"/>
                  <a:pt x="360" y="2130"/>
                  <a:pt x="312" y="2130"/>
                </a:cubicBezTo>
                <a:cubicBezTo>
                  <a:pt x="246" y="2130"/>
                  <a:pt x="178" y="2151"/>
                  <a:pt x="124" y="2190"/>
                </a:cubicBezTo>
                <a:cubicBezTo>
                  <a:pt x="27" y="2258"/>
                  <a:pt x="1" y="2378"/>
                  <a:pt x="27" y="2488"/>
                </a:cubicBezTo>
                <a:lnTo>
                  <a:pt x="3970" y="2488"/>
                </a:lnTo>
                <a:lnTo>
                  <a:pt x="3970" y="29"/>
                </a:lnTo>
                <a:cubicBezTo>
                  <a:pt x="3898" y="10"/>
                  <a:pt x="3827" y="0"/>
                  <a:pt x="3759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2"/>
          <p:cNvSpPr/>
          <p:nvPr/>
        </p:nvSpPr>
        <p:spPr>
          <a:xfrm>
            <a:off x="0" y="4387635"/>
            <a:ext cx="12201267" cy="2470357"/>
          </a:xfrm>
          <a:custGeom>
            <a:avLst/>
            <a:gdLst/>
            <a:ahLst/>
            <a:cxnLst/>
            <a:rect l="l" t="t" r="r" b="b"/>
            <a:pathLst>
              <a:path w="43860" h="10974" extrusionOk="0">
                <a:moveTo>
                  <a:pt x="0" y="0"/>
                </a:moveTo>
                <a:lnTo>
                  <a:pt x="0" y="10974"/>
                </a:lnTo>
                <a:lnTo>
                  <a:pt x="43860" y="10974"/>
                </a:lnTo>
                <a:lnTo>
                  <a:pt x="43860" y="0"/>
                </a:ln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0" name="Google Shape;20;p2"/>
          <p:cNvSpPr/>
          <p:nvPr/>
        </p:nvSpPr>
        <p:spPr>
          <a:xfrm>
            <a:off x="0" y="4387636"/>
            <a:ext cx="12201267" cy="561649"/>
          </a:xfrm>
          <a:custGeom>
            <a:avLst/>
            <a:gdLst/>
            <a:ahLst/>
            <a:cxnLst/>
            <a:rect l="l" t="t" r="r" b="b"/>
            <a:pathLst>
              <a:path w="43860" h="2495" extrusionOk="0">
                <a:moveTo>
                  <a:pt x="0" y="0"/>
                </a:moveTo>
                <a:lnTo>
                  <a:pt x="0" y="512"/>
                </a:lnTo>
                <a:cubicBezTo>
                  <a:pt x="18857" y="538"/>
                  <a:pt x="31655" y="810"/>
                  <a:pt x="43860" y="2495"/>
                </a:cubicBezTo>
                <a:lnTo>
                  <a:pt x="43860" y="0"/>
                </a:ln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" name="Google Shape;21;p2"/>
          <p:cNvSpPr/>
          <p:nvPr/>
        </p:nvSpPr>
        <p:spPr>
          <a:xfrm>
            <a:off x="0" y="5002187"/>
            <a:ext cx="12201267" cy="1855807"/>
          </a:xfrm>
          <a:custGeom>
            <a:avLst/>
            <a:gdLst/>
            <a:ahLst/>
            <a:cxnLst/>
            <a:rect l="l" t="t" r="r" b="b"/>
            <a:pathLst>
              <a:path w="43860" h="8244" extrusionOk="0">
                <a:moveTo>
                  <a:pt x="19201" y="1"/>
                </a:moveTo>
                <a:cubicBezTo>
                  <a:pt x="9431" y="1"/>
                  <a:pt x="0" y="1061"/>
                  <a:pt x="0" y="1061"/>
                </a:cubicBezTo>
                <a:lnTo>
                  <a:pt x="0" y="8244"/>
                </a:lnTo>
                <a:lnTo>
                  <a:pt x="43860" y="8244"/>
                </a:lnTo>
                <a:lnTo>
                  <a:pt x="43860" y="3222"/>
                </a:lnTo>
                <a:cubicBezTo>
                  <a:pt x="43860" y="3222"/>
                  <a:pt x="38702" y="1171"/>
                  <a:pt x="26918" y="267"/>
                </a:cubicBezTo>
                <a:cubicBezTo>
                  <a:pt x="24436" y="76"/>
                  <a:pt x="21807" y="1"/>
                  <a:pt x="1920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2" name="Google Shape;22;p2"/>
          <p:cNvSpPr/>
          <p:nvPr/>
        </p:nvSpPr>
        <p:spPr>
          <a:xfrm>
            <a:off x="4607343" y="4387635"/>
            <a:ext cx="6651165" cy="2470357"/>
          </a:xfrm>
          <a:custGeom>
            <a:avLst/>
            <a:gdLst/>
            <a:ahLst/>
            <a:cxnLst/>
            <a:rect l="l" t="t" r="r" b="b"/>
            <a:pathLst>
              <a:path w="23909" h="10974" extrusionOk="0">
                <a:moveTo>
                  <a:pt x="11503" y="0"/>
                </a:moveTo>
                <a:cubicBezTo>
                  <a:pt x="13340" y="389"/>
                  <a:pt x="17876" y="2051"/>
                  <a:pt x="18997" y="2942"/>
                </a:cubicBezTo>
                <a:cubicBezTo>
                  <a:pt x="19603" y="3428"/>
                  <a:pt x="18738" y="3509"/>
                  <a:pt x="16308" y="4455"/>
                </a:cubicBezTo>
                <a:cubicBezTo>
                  <a:pt x="13946" y="5372"/>
                  <a:pt x="12151" y="6655"/>
                  <a:pt x="10625" y="8003"/>
                </a:cubicBezTo>
                <a:cubicBezTo>
                  <a:pt x="9099" y="9354"/>
                  <a:pt x="6306" y="10974"/>
                  <a:pt x="1" y="10974"/>
                </a:cubicBezTo>
                <a:lnTo>
                  <a:pt x="14555" y="10974"/>
                </a:lnTo>
                <a:cubicBezTo>
                  <a:pt x="14555" y="10974"/>
                  <a:pt x="15148" y="10258"/>
                  <a:pt x="16000" y="8855"/>
                </a:cubicBezTo>
                <a:cubicBezTo>
                  <a:pt x="16891" y="7342"/>
                  <a:pt x="17173" y="6655"/>
                  <a:pt x="20021" y="5479"/>
                </a:cubicBezTo>
                <a:cubicBezTo>
                  <a:pt x="22869" y="4306"/>
                  <a:pt x="23909" y="4063"/>
                  <a:pt x="23316" y="3509"/>
                </a:cubicBezTo>
                <a:cubicBezTo>
                  <a:pt x="22561" y="2819"/>
                  <a:pt x="18025" y="729"/>
                  <a:pt x="13230" y="0"/>
                </a:cubicBezTo>
                <a:close/>
              </a:path>
            </a:pathLst>
          </a:custGeom>
          <a:solidFill>
            <a:srgbClr val="FFC6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3" name="Google Shape;23;p2"/>
          <p:cNvSpPr/>
          <p:nvPr/>
        </p:nvSpPr>
        <p:spPr>
          <a:xfrm>
            <a:off x="7807058" y="4387635"/>
            <a:ext cx="2178757" cy="358151"/>
          </a:xfrm>
          <a:custGeom>
            <a:avLst/>
            <a:gdLst/>
            <a:ahLst/>
            <a:cxnLst/>
            <a:rect l="l" t="t" r="r" b="b"/>
            <a:pathLst>
              <a:path w="7832" h="1591" extrusionOk="0">
                <a:moveTo>
                  <a:pt x="1" y="0"/>
                </a:moveTo>
                <a:cubicBezTo>
                  <a:pt x="934" y="188"/>
                  <a:pt x="2538" y="713"/>
                  <a:pt x="4051" y="1296"/>
                </a:cubicBezTo>
                <a:cubicBezTo>
                  <a:pt x="5321" y="1390"/>
                  <a:pt x="6588" y="1484"/>
                  <a:pt x="7832" y="1591"/>
                </a:cubicBezTo>
                <a:cubicBezTo>
                  <a:pt x="6076" y="956"/>
                  <a:pt x="3931" y="337"/>
                  <a:pt x="1728" y="0"/>
                </a:cubicBezTo>
                <a:close/>
              </a:path>
            </a:pathLst>
          </a:custGeom>
          <a:solidFill>
            <a:srgbClr val="FFD03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" name="Google Shape;24;p2"/>
          <p:cNvSpPr/>
          <p:nvPr/>
        </p:nvSpPr>
        <p:spPr>
          <a:xfrm>
            <a:off x="0" y="3635539"/>
            <a:ext cx="634544" cy="643364"/>
          </a:xfrm>
          <a:custGeom>
            <a:avLst/>
            <a:gdLst/>
            <a:ahLst/>
            <a:cxnLst/>
            <a:rect l="l" t="t" r="r" b="b"/>
            <a:pathLst>
              <a:path w="2281" h="2858" extrusionOk="0">
                <a:moveTo>
                  <a:pt x="194" y="1"/>
                </a:moveTo>
                <a:cubicBezTo>
                  <a:pt x="112" y="1"/>
                  <a:pt x="55" y="30"/>
                  <a:pt x="0" y="85"/>
                </a:cubicBezTo>
                <a:lnTo>
                  <a:pt x="0" y="2693"/>
                </a:lnTo>
                <a:lnTo>
                  <a:pt x="687" y="2693"/>
                </a:lnTo>
                <a:cubicBezTo>
                  <a:pt x="808" y="2811"/>
                  <a:pt x="989" y="2857"/>
                  <a:pt x="1162" y="2857"/>
                </a:cubicBezTo>
                <a:cubicBezTo>
                  <a:pt x="1184" y="2857"/>
                  <a:pt x="1206" y="2856"/>
                  <a:pt x="1228" y="2855"/>
                </a:cubicBezTo>
                <a:cubicBezTo>
                  <a:pt x="1348" y="2839"/>
                  <a:pt x="1458" y="2813"/>
                  <a:pt x="1565" y="2745"/>
                </a:cubicBezTo>
                <a:cubicBezTo>
                  <a:pt x="1659" y="2677"/>
                  <a:pt x="1727" y="2570"/>
                  <a:pt x="1727" y="2450"/>
                </a:cubicBezTo>
                <a:cubicBezTo>
                  <a:pt x="1769" y="2461"/>
                  <a:pt x="1813" y="2467"/>
                  <a:pt x="1856" y="2467"/>
                </a:cubicBezTo>
                <a:cubicBezTo>
                  <a:pt x="1968" y="2467"/>
                  <a:pt x="2077" y="2428"/>
                  <a:pt x="2145" y="2340"/>
                </a:cubicBezTo>
                <a:cubicBezTo>
                  <a:pt x="2239" y="2220"/>
                  <a:pt x="2239" y="2029"/>
                  <a:pt x="2119" y="1922"/>
                </a:cubicBezTo>
                <a:cubicBezTo>
                  <a:pt x="2187" y="1896"/>
                  <a:pt x="2268" y="1854"/>
                  <a:pt x="2268" y="1786"/>
                </a:cubicBezTo>
                <a:cubicBezTo>
                  <a:pt x="2281" y="1734"/>
                  <a:pt x="2239" y="1679"/>
                  <a:pt x="2187" y="1653"/>
                </a:cubicBezTo>
                <a:cubicBezTo>
                  <a:pt x="2132" y="1624"/>
                  <a:pt x="2077" y="1611"/>
                  <a:pt x="2025" y="1611"/>
                </a:cubicBezTo>
                <a:cubicBezTo>
                  <a:pt x="2132" y="1611"/>
                  <a:pt x="2213" y="1504"/>
                  <a:pt x="2213" y="1397"/>
                </a:cubicBezTo>
                <a:cubicBezTo>
                  <a:pt x="2200" y="1287"/>
                  <a:pt x="2132" y="1193"/>
                  <a:pt x="2038" y="1138"/>
                </a:cubicBezTo>
                <a:cubicBezTo>
                  <a:pt x="1957" y="1086"/>
                  <a:pt x="1847" y="1057"/>
                  <a:pt x="1740" y="1057"/>
                </a:cubicBezTo>
                <a:cubicBezTo>
                  <a:pt x="1782" y="1005"/>
                  <a:pt x="1795" y="937"/>
                  <a:pt x="1753" y="882"/>
                </a:cubicBezTo>
                <a:cubicBezTo>
                  <a:pt x="1725" y="844"/>
                  <a:pt x="1674" y="818"/>
                  <a:pt x="1627" y="818"/>
                </a:cubicBezTo>
                <a:cubicBezTo>
                  <a:pt x="1610" y="818"/>
                  <a:pt x="1593" y="822"/>
                  <a:pt x="1578" y="830"/>
                </a:cubicBezTo>
                <a:cubicBezTo>
                  <a:pt x="1672" y="668"/>
                  <a:pt x="1578" y="425"/>
                  <a:pt x="1416" y="357"/>
                </a:cubicBezTo>
                <a:cubicBezTo>
                  <a:pt x="1365" y="333"/>
                  <a:pt x="1309" y="322"/>
                  <a:pt x="1253" y="322"/>
                </a:cubicBezTo>
                <a:cubicBezTo>
                  <a:pt x="1117" y="322"/>
                  <a:pt x="980" y="387"/>
                  <a:pt x="904" y="490"/>
                </a:cubicBezTo>
                <a:cubicBezTo>
                  <a:pt x="904" y="409"/>
                  <a:pt x="862" y="328"/>
                  <a:pt x="781" y="289"/>
                </a:cubicBezTo>
                <a:cubicBezTo>
                  <a:pt x="758" y="275"/>
                  <a:pt x="731" y="269"/>
                  <a:pt x="703" y="269"/>
                </a:cubicBezTo>
                <a:cubicBezTo>
                  <a:pt x="647" y="269"/>
                  <a:pt x="588" y="293"/>
                  <a:pt x="551" y="328"/>
                </a:cubicBezTo>
                <a:cubicBezTo>
                  <a:pt x="538" y="234"/>
                  <a:pt x="499" y="140"/>
                  <a:pt x="431" y="72"/>
                </a:cubicBezTo>
                <a:cubicBezTo>
                  <a:pt x="405" y="46"/>
                  <a:pt x="376" y="33"/>
                  <a:pt x="350" y="20"/>
                </a:cubicBezTo>
                <a:cubicBezTo>
                  <a:pt x="324" y="4"/>
                  <a:pt x="282" y="4"/>
                  <a:pt x="243" y="4"/>
                </a:cubicBezTo>
                <a:cubicBezTo>
                  <a:pt x="226" y="2"/>
                  <a:pt x="210" y="1"/>
                  <a:pt x="194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" name="Google Shape;25;p2"/>
          <p:cNvSpPr/>
          <p:nvPr/>
        </p:nvSpPr>
        <p:spPr>
          <a:xfrm>
            <a:off x="0" y="3827560"/>
            <a:ext cx="1021223" cy="560073"/>
          </a:xfrm>
          <a:custGeom>
            <a:avLst/>
            <a:gdLst/>
            <a:ahLst/>
            <a:cxnLst/>
            <a:rect l="l" t="t" r="r" b="b"/>
            <a:pathLst>
              <a:path w="3671" h="2488" extrusionOk="0">
                <a:moveTo>
                  <a:pt x="187" y="0"/>
                </a:moveTo>
                <a:cubicBezTo>
                  <a:pt x="125" y="0"/>
                  <a:pt x="63" y="10"/>
                  <a:pt x="0" y="29"/>
                </a:cubicBezTo>
                <a:lnTo>
                  <a:pt x="0" y="2488"/>
                </a:lnTo>
                <a:lnTo>
                  <a:pt x="3629" y="2488"/>
                </a:lnTo>
                <a:cubicBezTo>
                  <a:pt x="3671" y="2378"/>
                  <a:pt x="3629" y="2258"/>
                  <a:pt x="3548" y="2190"/>
                </a:cubicBezTo>
                <a:cubicBezTo>
                  <a:pt x="3501" y="2151"/>
                  <a:pt x="3437" y="2130"/>
                  <a:pt x="3373" y="2130"/>
                </a:cubicBezTo>
                <a:cubicBezTo>
                  <a:pt x="3326" y="2130"/>
                  <a:pt x="3280" y="2141"/>
                  <a:pt x="3240" y="2164"/>
                </a:cubicBezTo>
                <a:cubicBezTo>
                  <a:pt x="3211" y="2054"/>
                  <a:pt x="3117" y="1960"/>
                  <a:pt x="3010" y="1934"/>
                </a:cubicBezTo>
                <a:cubicBezTo>
                  <a:pt x="2983" y="1928"/>
                  <a:pt x="2956" y="1925"/>
                  <a:pt x="2930" y="1925"/>
                </a:cubicBezTo>
                <a:cubicBezTo>
                  <a:pt x="2836" y="1925"/>
                  <a:pt x="2749" y="1962"/>
                  <a:pt x="2686" y="2015"/>
                </a:cubicBezTo>
                <a:cubicBezTo>
                  <a:pt x="2686" y="1947"/>
                  <a:pt x="2631" y="1879"/>
                  <a:pt x="2576" y="1866"/>
                </a:cubicBezTo>
                <a:cubicBezTo>
                  <a:pt x="2511" y="1840"/>
                  <a:pt x="2430" y="1840"/>
                  <a:pt x="2362" y="1840"/>
                </a:cubicBezTo>
                <a:cubicBezTo>
                  <a:pt x="2430" y="1691"/>
                  <a:pt x="2375" y="1500"/>
                  <a:pt x="2252" y="1393"/>
                </a:cubicBezTo>
                <a:cubicBezTo>
                  <a:pt x="2179" y="1334"/>
                  <a:pt x="2089" y="1304"/>
                  <a:pt x="1998" y="1304"/>
                </a:cubicBezTo>
                <a:cubicBezTo>
                  <a:pt x="1923" y="1304"/>
                  <a:pt x="1848" y="1325"/>
                  <a:pt x="1782" y="1367"/>
                </a:cubicBezTo>
                <a:cubicBezTo>
                  <a:pt x="1793" y="1237"/>
                  <a:pt x="1681" y="1116"/>
                  <a:pt x="1553" y="1116"/>
                </a:cubicBezTo>
                <a:cubicBezTo>
                  <a:pt x="1534" y="1116"/>
                  <a:pt x="1516" y="1119"/>
                  <a:pt x="1497" y="1124"/>
                </a:cubicBezTo>
                <a:cubicBezTo>
                  <a:pt x="1510" y="988"/>
                  <a:pt x="1442" y="852"/>
                  <a:pt x="1335" y="771"/>
                </a:cubicBezTo>
                <a:cubicBezTo>
                  <a:pt x="1275" y="729"/>
                  <a:pt x="1187" y="701"/>
                  <a:pt x="1103" y="701"/>
                </a:cubicBezTo>
                <a:cubicBezTo>
                  <a:pt x="998" y="701"/>
                  <a:pt x="900" y="746"/>
                  <a:pt x="876" y="864"/>
                </a:cubicBezTo>
                <a:lnTo>
                  <a:pt x="876" y="864"/>
                </a:lnTo>
                <a:cubicBezTo>
                  <a:pt x="898" y="745"/>
                  <a:pt x="776" y="618"/>
                  <a:pt x="655" y="618"/>
                </a:cubicBezTo>
                <a:cubicBezTo>
                  <a:pt x="638" y="618"/>
                  <a:pt x="622" y="620"/>
                  <a:pt x="606" y="625"/>
                </a:cubicBezTo>
                <a:cubicBezTo>
                  <a:pt x="713" y="476"/>
                  <a:pt x="661" y="233"/>
                  <a:pt x="512" y="110"/>
                </a:cubicBezTo>
                <a:cubicBezTo>
                  <a:pt x="408" y="33"/>
                  <a:pt x="299" y="0"/>
                  <a:pt x="187" y="0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" name="Google Shape;26;p2"/>
          <p:cNvSpPr/>
          <p:nvPr/>
        </p:nvSpPr>
        <p:spPr>
          <a:xfrm>
            <a:off x="8862502" y="5910734"/>
            <a:ext cx="3338796" cy="947263"/>
          </a:xfrm>
          <a:custGeom>
            <a:avLst/>
            <a:gdLst/>
            <a:ahLst/>
            <a:cxnLst/>
            <a:rect l="l" t="t" r="r" b="b"/>
            <a:pathLst>
              <a:path w="12002" h="4208" extrusionOk="0">
                <a:moveTo>
                  <a:pt x="11404" y="0"/>
                </a:moveTo>
                <a:cubicBezTo>
                  <a:pt x="11120" y="0"/>
                  <a:pt x="10830" y="82"/>
                  <a:pt x="10719" y="200"/>
                </a:cubicBezTo>
                <a:cubicBezTo>
                  <a:pt x="10518" y="414"/>
                  <a:pt x="10450" y="848"/>
                  <a:pt x="10557" y="1023"/>
                </a:cubicBezTo>
                <a:cubicBezTo>
                  <a:pt x="10557" y="1023"/>
                  <a:pt x="10371" y="827"/>
                  <a:pt x="10125" y="827"/>
                </a:cubicBezTo>
                <a:cubicBezTo>
                  <a:pt x="10060" y="827"/>
                  <a:pt x="9992" y="840"/>
                  <a:pt x="9922" y="874"/>
                </a:cubicBezTo>
                <a:cubicBezTo>
                  <a:pt x="9585" y="1036"/>
                  <a:pt x="9922" y="1373"/>
                  <a:pt x="9922" y="1373"/>
                </a:cubicBezTo>
                <a:cubicBezTo>
                  <a:pt x="9922" y="1373"/>
                  <a:pt x="9572" y="1441"/>
                  <a:pt x="9572" y="1671"/>
                </a:cubicBezTo>
                <a:cubicBezTo>
                  <a:pt x="9572" y="1901"/>
                  <a:pt x="9789" y="2089"/>
                  <a:pt x="9789" y="2089"/>
                </a:cubicBezTo>
                <a:cubicBezTo>
                  <a:pt x="9789" y="2089"/>
                  <a:pt x="9718" y="2065"/>
                  <a:pt x="9631" y="2065"/>
                </a:cubicBezTo>
                <a:cubicBezTo>
                  <a:pt x="9545" y="2065"/>
                  <a:pt x="9444" y="2089"/>
                  <a:pt x="9384" y="2183"/>
                </a:cubicBezTo>
                <a:cubicBezTo>
                  <a:pt x="9351" y="2239"/>
                  <a:pt x="9338" y="2291"/>
                  <a:pt x="9335" y="2337"/>
                </a:cubicBezTo>
                <a:lnTo>
                  <a:pt x="9335" y="2337"/>
                </a:lnTo>
                <a:cubicBezTo>
                  <a:pt x="9258" y="2167"/>
                  <a:pt x="9056" y="1933"/>
                  <a:pt x="8532" y="1901"/>
                </a:cubicBezTo>
                <a:cubicBezTo>
                  <a:pt x="8505" y="1900"/>
                  <a:pt x="8479" y="1899"/>
                  <a:pt x="8454" y="1899"/>
                </a:cubicBezTo>
                <a:cubicBezTo>
                  <a:pt x="7672" y="1899"/>
                  <a:pt x="7508" y="2507"/>
                  <a:pt x="7508" y="2507"/>
                </a:cubicBezTo>
                <a:cubicBezTo>
                  <a:pt x="7508" y="2507"/>
                  <a:pt x="7333" y="2234"/>
                  <a:pt x="6984" y="2234"/>
                </a:cubicBezTo>
                <a:cubicBezTo>
                  <a:pt x="6921" y="2234"/>
                  <a:pt x="6853" y="2243"/>
                  <a:pt x="6779" y="2264"/>
                </a:cubicBezTo>
                <a:cubicBezTo>
                  <a:pt x="6306" y="2400"/>
                  <a:pt x="6374" y="2711"/>
                  <a:pt x="6374" y="2711"/>
                </a:cubicBezTo>
                <a:cubicBezTo>
                  <a:pt x="6374" y="2711"/>
                  <a:pt x="6221" y="2606"/>
                  <a:pt x="6045" y="2606"/>
                </a:cubicBezTo>
                <a:cubicBezTo>
                  <a:pt x="5975" y="2606"/>
                  <a:pt x="5902" y="2623"/>
                  <a:pt x="5833" y="2669"/>
                </a:cubicBezTo>
                <a:cubicBezTo>
                  <a:pt x="5590" y="2831"/>
                  <a:pt x="5658" y="3019"/>
                  <a:pt x="5658" y="3019"/>
                </a:cubicBezTo>
                <a:cubicBezTo>
                  <a:pt x="5658" y="3019"/>
                  <a:pt x="5348" y="2774"/>
                  <a:pt x="4932" y="2774"/>
                </a:cubicBezTo>
                <a:cubicBezTo>
                  <a:pt x="4771" y="2774"/>
                  <a:pt x="4594" y="2811"/>
                  <a:pt x="4414" y="2912"/>
                </a:cubicBezTo>
                <a:cubicBezTo>
                  <a:pt x="3753" y="3262"/>
                  <a:pt x="3915" y="3696"/>
                  <a:pt x="3915" y="3696"/>
                </a:cubicBezTo>
                <a:cubicBezTo>
                  <a:pt x="3915" y="3696"/>
                  <a:pt x="3636" y="3417"/>
                  <a:pt x="3272" y="3417"/>
                </a:cubicBezTo>
                <a:cubicBezTo>
                  <a:pt x="3156" y="3417"/>
                  <a:pt x="3031" y="3446"/>
                  <a:pt x="2904" y="3521"/>
                </a:cubicBezTo>
                <a:lnTo>
                  <a:pt x="2849" y="3858"/>
                </a:lnTo>
                <a:cubicBezTo>
                  <a:pt x="2849" y="3858"/>
                  <a:pt x="2548" y="3567"/>
                  <a:pt x="2174" y="3567"/>
                </a:cubicBezTo>
                <a:cubicBezTo>
                  <a:pt x="2122" y="3567"/>
                  <a:pt x="2068" y="3573"/>
                  <a:pt x="2013" y="3586"/>
                </a:cubicBezTo>
                <a:cubicBezTo>
                  <a:pt x="1553" y="3696"/>
                  <a:pt x="1485" y="3858"/>
                  <a:pt x="1485" y="3858"/>
                </a:cubicBezTo>
                <a:cubicBezTo>
                  <a:pt x="1485" y="3858"/>
                  <a:pt x="1243" y="3754"/>
                  <a:pt x="930" y="3754"/>
                </a:cubicBezTo>
                <a:cubicBezTo>
                  <a:pt x="635" y="3754"/>
                  <a:pt x="277" y="3847"/>
                  <a:pt x="1" y="4208"/>
                </a:cubicBezTo>
                <a:lnTo>
                  <a:pt x="12002" y="4208"/>
                </a:lnTo>
                <a:lnTo>
                  <a:pt x="12002" y="200"/>
                </a:lnTo>
                <a:cubicBezTo>
                  <a:pt x="11879" y="58"/>
                  <a:pt x="11644" y="0"/>
                  <a:pt x="114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" name="Google Shape;27;p2"/>
          <p:cNvSpPr/>
          <p:nvPr/>
        </p:nvSpPr>
        <p:spPr>
          <a:xfrm>
            <a:off x="10176660" y="6383017"/>
            <a:ext cx="2024643" cy="474983"/>
          </a:xfrm>
          <a:custGeom>
            <a:avLst/>
            <a:gdLst/>
            <a:ahLst/>
            <a:cxnLst/>
            <a:rect l="l" t="t" r="r" b="b"/>
            <a:pathLst>
              <a:path w="7278" h="2110" extrusionOk="0">
                <a:moveTo>
                  <a:pt x="7196" y="1"/>
                </a:moveTo>
                <a:cubicBezTo>
                  <a:pt x="7059" y="1"/>
                  <a:pt x="6916" y="28"/>
                  <a:pt x="6792" y="85"/>
                </a:cubicBezTo>
                <a:cubicBezTo>
                  <a:pt x="6562" y="192"/>
                  <a:pt x="6374" y="354"/>
                  <a:pt x="6225" y="545"/>
                </a:cubicBezTo>
                <a:cubicBezTo>
                  <a:pt x="6131" y="652"/>
                  <a:pt x="6063" y="775"/>
                  <a:pt x="6063" y="895"/>
                </a:cubicBezTo>
                <a:cubicBezTo>
                  <a:pt x="5966" y="827"/>
                  <a:pt x="5855" y="795"/>
                  <a:pt x="5750" y="795"/>
                </a:cubicBezTo>
                <a:cubicBezTo>
                  <a:pt x="5518" y="795"/>
                  <a:pt x="5315" y="953"/>
                  <a:pt x="5360" y="1232"/>
                </a:cubicBezTo>
                <a:cubicBezTo>
                  <a:pt x="5317" y="1168"/>
                  <a:pt x="5236" y="1138"/>
                  <a:pt x="5152" y="1138"/>
                </a:cubicBezTo>
                <a:cubicBezTo>
                  <a:pt x="5077" y="1138"/>
                  <a:pt x="5000" y="1162"/>
                  <a:pt x="4942" y="1206"/>
                </a:cubicBezTo>
                <a:cubicBezTo>
                  <a:pt x="4822" y="1313"/>
                  <a:pt x="4793" y="1462"/>
                  <a:pt x="4793" y="1611"/>
                </a:cubicBezTo>
                <a:cubicBezTo>
                  <a:pt x="4524" y="1436"/>
                  <a:pt x="4242" y="1245"/>
                  <a:pt x="3918" y="1232"/>
                </a:cubicBezTo>
                <a:cubicBezTo>
                  <a:pt x="3910" y="1232"/>
                  <a:pt x="3902" y="1231"/>
                  <a:pt x="3894" y="1231"/>
                </a:cubicBezTo>
                <a:cubicBezTo>
                  <a:pt x="3576" y="1231"/>
                  <a:pt x="3229" y="1482"/>
                  <a:pt x="3296" y="1773"/>
                </a:cubicBezTo>
                <a:cubicBezTo>
                  <a:pt x="3202" y="1637"/>
                  <a:pt x="3092" y="1504"/>
                  <a:pt x="2930" y="1449"/>
                </a:cubicBezTo>
                <a:cubicBezTo>
                  <a:pt x="2896" y="1437"/>
                  <a:pt x="2858" y="1432"/>
                  <a:pt x="2821" y="1432"/>
                </a:cubicBezTo>
                <a:cubicBezTo>
                  <a:pt x="2682" y="1432"/>
                  <a:pt x="2541" y="1509"/>
                  <a:pt x="2541" y="1637"/>
                </a:cubicBezTo>
                <a:cubicBezTo>
                  <a:pt x="2388" y="1511"/>
                  <a:pt x="2173" y="1406"/>
                  <a:pt x="1967" y="1406"/>
                </a:cubicBezTo>
                <a:cubicBezTo>
                  <a:pt x="1955" y="1406"/>
                  <a:pt x="1944" y="1406"/>
                  <a:pt x="1932" y="1407"/>
                </a:cubicBezTo>
                <a:cubicBezTo>
                  <a:pt x="1702" y="1436"/>
                  <a:pt x="1472" y="1611"/>
                  <a:pt x="1501" y="1828"/>
                </a:cubicBezTo>
                <a:cubicBezTo>
                  <a:pt x="1425" y="1700"/>
                  <a:pt x="1278" y="1610"/>
                  <a:pt x="1126" y="1610"/>
                </a:cubicBezTo>
                <a:cubicBezTo>
                  <a:pt x="1116" y="1610"/>
                  <a:pt x="1106" y="1610"/>
                  <a:pt x="1096" y="1611"/>
                </a:cubicBezTo>
                <a:cubicBezTo>
                  <a:pt x="934" y="1624"/>
                  <a:pt x="785" y="1786"/>
                  <a:pt x="811" y="1935"/>
                </a:cubicBezTo>
                <a:cubicBezTo>
                  <a:pt x="728" y="1813"/>
                  <a:pt x="571" y="1744"/>
                  <a:pt x="416" y="1744"/>
                </a:cubicBezTo>
                <a:cubicBezTo>
                  <a:pt x="347" y="1744"/>
                  <a:pt x="279" y="1757"/>
                  <a:pt x="218" y="1786"/>
                </a:cubicBezTo>
                <a:cubicBezTo>
                  <a:pt x="95" y="1854"/>
                  <a:pt x="30" y="1974"/>
                  <a:pt x="1" y="2110"/>
                </a:cubicBezTo>
                <a:lnTo>
                  <a:pt x="7278" y="2110"/>
                </a:lnTo>
                <a:lnTo>
                  <a:pt x="7278" y="4"/>
                </a:lnTo>
                <a:cubicBezTo>
                  <a:pt x="7251" y="2"/>
                  <a:pt x="7224" y="1"/>
                  <a:pt x="7196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" name="Google Shape;28;p2"/>
          <p:cNvSpPr/>
          <p:nvPr/>
        </p:nvSpPr>
        <p:spPr>
          <a:xfrm>
            <a:off x="0" y="4755015"/>
            <a:ext cx="1298853" cy="844837"/>
          </a:xfrm>
          <a:custGeom>
            <a:avLst/>
            <a:gdLst/>
            <a:ahLst/>
            <a:cxnLst/>
            <a:rect l="l" t="t" r="r" b="b"/>
            <a:pathLst>
              <a:path w="4669" h="3753" extrusionOk="0">
                <a:moveTo>
                  <a:pt x="486" y="1"/>
                </a:moveTo>
                <a:cubicBezTo>
                  <a:pt x="201" y="1"/>
                  <a:pt x="0" y="134"/>
                  <a:pt x="0" y="150"/>
                </a:cubicBezTo>
                <a:lnTo>
                  <a:pt x="0" y="3740"/>
                </a:lnTo>
                <a:lnTo>
                  <a:pt x="337" y="3753"/>
                </a:lnTo>
                <a:cubicBezTo>
                  <a:pt x="648" y="3727"/>
                  <a:pt x="956" y="3714"/>
                  <a:pt x="1254" y="3698"/>
                </a:cubicBezTo>
                <a:cubicBezTo>
                  <a:pt x="1691" y="3673"/>
                  <a:pt x="2133" y="3664"/>
                  <a:pt x="2573" y="3664"/>
                </a:cubicBezTo>
                <a:cubicBezTo>
                  <a:pt x="2827" y="3664"/>
                  <a:pt x="3081" y="3667"/>
                  <a:pt x="3334" y="3672"/>
                </a:cubicBezTo>
                <a:cubicBezTo>
                  <a:pt x="3684" y="3685"/>
                  <a:pt x="4034" y="3698"/>
                  <a:pt x="4374" y="3714"/>
                </a:cubicBezTo>
                <a:cubicBezTo>
                  <a:pt x="4414" y="3720"/>
                  <a:pt x="4480" y="3733"/>
                  <a:pt x="4538" y="3733"/>
                </a:cubicBezTo>
                <a:cubicBezTo>
                  <a:pt x="4598" y="3733"/>
                  <a:pt x="4649" y="3720"/>
                  <a:pt x="4656" y="3672"/>
                </a:cubicBezTo>
                <a:cubicBezTo>
                  <a:pt x="4669" y="3617"/>
                  <a:pt x="4643" y="3578"/>
                  <a:pt x="4617" y="3552"/>
                </a:cubicBezTo>
                <a:cubicBezTo>
                  <a:pt x="4588" y="3497"/>
                  <a:pt x="4549" y="3471"/>
                  <a:pt x="4494" y="3442"/>
                </a:cubicBezTo>
                <a:cubicBezTo>
                  <a:pt x="4479" y="3438"/>
                  <a:pt x="4464" y="3437"/>
                  <a:pt x="4449" y="3437"/>
                </a:cubicBezTo>
                <a:cubicBezTo>
                  <a:pt x="4406" y="3437"/>
                  <a:pt x="4363" y="3450"/>
                  <a:pt x="4332" y="3471"/>
                </a:cubicBezTo>
                <a:cubicBezTo>
                  <a:pt x="4319" y="3416"/>
                  <a:pt x="4264" y="3335"/>
                  <a:pt x="4196" y="3322"/>
                </a:cubicBezTo>
                <a:cubicBezTo>
                  <a:pt x="4166" y="3315"/>
                  <a:pt x="4136" y="3311"/>
                  <a:pt x="4108" y="3311"/>
                </a:cubicBezTo>
                <a:cubicBezTo>
                  <a:pt x="4021" y="3311"/>
                  <a:pt x="3946" y="3345"/>
                  <a:pt x="3927" y="3416"/>
                </a:cubicBezTo>
                <a:cubicBezTo>
                  <a:pt x="3897" y="3281"/>
                  <a:pt x="3761" y="3185"/>
                  <a:pt x="3626" y="3185"/>
                </a:cubicBezTo>
                <a:cubicBezTo>
                  <a:pt x="3586" y="3185"/>
                  <a:pt x="3546" y="3193"/>
                  <a:pt x="3509" y="3212"/>
                </a:cubicBezTo>
                <a:cubicBezTo>
                  <a:pt x="3496" y="3050"/>
                  <a:pt x="3522" y="2875"/>
                  <a:pt x="3386" y="2781"/>
                </a:cubicBezTo>
                <a:cubicBezTo>
                  <a:pt x="3337" y="2739"/>
                  <a:pt x="3273" y="2718"/>
                  <a:pt x="3208" y="2718"/>
                </a:cubicBezTo>
                <a:cubicBezTo>
                  <a:pt x="3148" y="2718"/>
                  <a:pt x="3087" y="2735"/>
                  <a:pt x="3036" y="2768"/>
                </a:cubicBezTo>
                <a:cubicBezTo>
                  <a:pt x="3062" y="2645"/>
                  <a:pt x="3023" y="2512"/>
                  <a:pt x="2942" y="2418"/>
                </a:cubicBezTo>
                <a:cubicBezTo>
                  <a:pt x="2869" y="2345"/>
                  <a:pt x="2751" y="2293"/>
                  <a:pt x="2641" y="2293"/>
                </a:cubicBezTo>
                <a:cubicBezTo>
                  <a:pt x="2629" y="2293"/>
                  <a:pt x="2617" y="2294"/>
                  <a:pt x="2605" y="2295"/>
                </a:cubicBezTo>
                <a:cubicBezTo>
                  <a:pt x="2673" y="2146"/>
                  <a:pt x="2725" y="2013"/>
                  <a:pt x="2738" y="1864"/>
                </a:cubicBezTo>
                <a:cubicBezTo>
                  <a:pt x="2754" y="1715"/>
                  <a:pt x="2712" y="1553"/>
                  <a:pt x="2605" y="1459"/>
                </a:cubicBezTo>
                <a:cubicBezTo>
                  <a:pt x="2523" y="1386"/>
                  <a:pt x="2419" y="1350"/>
                  <a:pt x="2315" y="1350"/>
                </a:cubicBezTo>
                <a:cubicBezTo>
                  <a:pt x="2261" y="1350"/>
                  <a:pt x="2208" y="1359"/>
                  <a:pt x="2158" y="1378"/>
                </a:cubicBezTo>
                <a:cubicBezTo>
                  <a:pt x="2009" y="1417"/>
                  <a:pt x="1889" y="1527"/>
                  <a:pt x="1795" y="1660"/>
                </a:cubicBezTo>
                <a:cubicBezTo>
                  <a:pt x="1766" y="1472"/>
                  <a:pt x="1740" y="1297"/>
                  <a:pt x="1620" y="1148"/>
                </a:cubicBezTo>
                <a:cubicBezTo>
                  <a:pt x="1548" y="1059"/>
                  <a:pt x="1425" y="999"/>
                  <a:pt x="1311" y="999"/>
                </a:cubicBezTo>
                <a:cubicBezTo>
                  <a:pt x="1251" y="999"/>
                  <a:pt x="1193" y="1016"/>
                  <a:pt x="1147" y="1054"/>
                </a:cubicBezTo>
                <a:cubicBezTo>
                  <a:pt x="1280" y="811"/>
                  <a:pt x="1228" y="474"/>
                  <a:pt x="1037" y="270"/>
                </a:cubicBezTo>
                <a:cubicBezTo>
                  <a:pt x="917" y="134"/>
                  <a:pt x="674" y="1"/>
                  <a:pt x="486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" name="Google Shape;29;p2"/>
          <p:cNvSpPr/>
          <p:nvPr/>
        </p:nvSpPr>
        <p:spPr>
          <a:xfrm>
            <a:off x="0" y="5091782"/>
            <a:ext cx="859875" cy="474532"/>
          </a:xfrm>
          <a:custGeom>
            <a:avLst/>
            <a:gdLst/>
            <a:ahLst/>
            <a:cxnLst/>
            <a:rect l="l" t="t" r="r" b="b"/>
            <a:pathLst>
              <a:path w="3091" h="2108" extrusionOk="0">
                <a:moveTo>
                  <a:pt x="39" y="0"/>
                </a:moveTo>
                <a:cubicBezTo>
                  <a:pt x="26" y="0"/>
                  <a:pt x="13" y="1"/>
                  <a:pt x="0" y="2"/>
                </a:cubicBezTo>
                <a:lnTo>
                  <a:pt x="0" y="2095"/>
                </a:lnTo>
                <a:lnTo>
                  <a:pt x="337" y="2108"/>
                </a:lnTo>
                <a:cubicBezTo>
                  <a:pt x="1102" y="2051"/>
                  <a:pt x="1867" y="2024"/>
                  <a:pt x="2634" y="2024"/>
                </a:cubicBezTo>
                <a:cubicBezTo>
                  <a:pt x="2786" y="2024"/>
                  <a:pt x="2939" y="2025"/>
                  <a:pt x="3091" y="2027"/>
                </a:cubicBezTo>
                <a:cubicBezTo>
                  <a:pt x="3049" y="1839"/>
                  <a:pt x="2887" y="1677"/>
                  <a:pt x="2712" y="1596"/>
                </a:cubicBezTo>
                <a:cubicBezTo>
                  <a:pt x="2597" y="1549"/>
                  <a:pt x="2475" y="1529"/>
                  <a:pt x="2352" y="1529"/>
                </a:cubicBezTo>
                <a:cubicBezTo>
                  <a:pt x="2229" y="1529"/>
                  <a:pt x="2104" y="1549"/>
                  <a:pt x="1983" y="1583"/>
                </a:cubicBezTo>
                <a:cubicBezTo>
                  <a:pt x="1944" y="1421"/>
                  <a:pt x="1808" y="1298"/>
                  <a:pt x="1659" y="1272"/>
                </a:cubicBezTo>
                <a:cubicBezTo>
                  <a:pt x="1639" y="1269"/>
                  <a:pt x="1618" y="1267"/>
                  <a:pt x="1598" y="1267"/>
                </a:cubicBezTo>
                <a:cubicBezTo>
                  <a:pt x="1457" y="1267"/>
                  <a:pt x="1323" y="1344"/>
                  <a:pt x="1241" y="1460"/>
                </a:cubicBezTo>
                <a:cubicBezTo>
                  <a:pt x="1322" y="1298"/>
                  <a:pt x="1173" y="1149"/>
                  <a:pt x="1011" y="1149"/>
                </a:cubicBezTo>
                <a:cubicBezTo>
                  <a:pt x="1053" y="1003"/>
                  <a:pt x="972" y="880"/>
                  <a:pt x="862" y="854"/>
                </a:cubicBezTo>
                <a:cubicBezTo>
                  <a:pt x="841" y="848"/>
                  <a:pt x="820" y="846"/>
                  <a:pt x="799" y="846"/>
                </a:cubicBezTo>
                <a:cubicBezTo>
                  <a:pt x="714" y="846"/>
                  <a:pt x="629" y="888"/>
                  <a:pt x="551" y="922"/>
                </a:cubicBezTo>
                <a:cubicBezTo>
                  <a:pt x="674" y="692"/>
                  <a:pt x="648" y="381"/>
                  <a:pt x="457" y="193"/>
                </a:cubicBezTo>
                <a:cubicBezTo>
                  <a:pt x="347" y="68"/>
                  <a:pt x="190" y="0"/>
                  <a:pt x="3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2"/>
          <p:cNvSpPr/>
          <p:nvPr/>
        </p:nvSpPr>
        <p:spPr>
          <a:xfrm>
            <a:off x="0" y="5522868"/>
            <a:ext cx="6489539" cy="1335128"/>
          </a:xfrm>
          <a:custGeom>
            <a:avLst/>
            <a:gdLst/>
            <a:ahLst/>
            <a:cxnLst/>
            <a:rect l="l" t="t" r="r" b="b"/>
            <a:pathLst>
              <a:path w="23328" h="5931" extrusionOk="0">
                <a:moveTo>
                  <a:pt x="1542" y="1"/>
                </a:moveTo>
                <a:cubicBezTo>
                  <a:pt x="517" y="1"/>
                  <a:pt x="0" y="73"/>
                  <a:pt x="0" y="73"/>
                </a:cubicBezTo>
                <a:lnTo>
                  <a:pt x="0" y="5931"/>
                </a:lnTo>
                <a:lnTo>
                  <a:pt x="23328" y="5931"/>
                </a:lnTo>
                <a:cubicBezTo>
                  <a:pt x="23328" y="5931"/>
                  <a:pt x="17143" y="2691"/>
                  <a:pt x="10313" y="1139"/>
                </a:cubicBezTo>
                <a:cubicBezTo>
                  <a:pt x="6113" y="185"/>
                  <a:pt x="3179" y="1"/>
                  <a:pt x="1542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2"/>
          <p:cNvSpPr/>
          <p:nvPr/>
        </p:nvSpPr>
        <p:spPr>
          <a:xfrm>
            <a:off x="0" y="5522868"/>
            <a:ext cx="6489539" cy="1335128"/>
          </a:xfrm>
          <a:custGeom>
            <a:avLst/>
            <a:gdLst/>
            <a:ahLst/>
            <a:cxnLst/>
            <a:rect l="l" t="t" r="r" b="b"/>
            <a:pathLst>
              <a:path w="23328" h="5931" extrusionOk="0">
                <a:moveTo>
                  <a:pt x="1542" y="1"/>
                </a:moveTo>
                <a:cubicBezTo>
                  <a:pt x="517" y="1"/>
                  <a:pt x="0" y="73"/>
                  <a:pt x="0" y="73"/>
                </a:cubicBezTo>
                <a:lnTo>
                  <a:pt x="0" y="530"/>
                </a:lnTo>
                <a:cubicBezTo>
                  <a:pt x="145" y="529"/>
                  <a:pt x="302" y="528"/>
                  <a:pt x="472" y="528"/>
                </a:cubicBezTo>
                <a:cubicBezTo>
                  <a:pt x="2551" y="528"/>
                  <a:pt x="6483" y="639"/>
                  <a:pt x="11324" y="1774"/>
                </a:cubicBezTo>
                <a:cubicBezTo>
                  <a:pt x="16563" y="3015"/>
                  <a:pt x="23328" y="5931"/>
                  <a:pt x="23328" y="5931"/>
                </a:cubicBezTo>
                <a:cubicBezTo>
                  <a:pt x="23328" y="5931"/>
                  <a:pt x="17143" y="2691"/>
                  <a:pt x="10313" y="1139"/>
                </a:cubicBezTo>
                <a:cubicBezTo>
                  <a:pt x="6113" y="185"/>
                  <a:pt x="3179" y="1"/>
                  <a:pt x="1542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" name="Google Shape;32;p2"/>
          <p:cNvSpPr/>
          <p:nvPr/>
        </p:nvSpPr>
        <p:spPr>
          <a:xfrm>
            <a:off x="0" y="6164885"/>
            <a:ext cx="3473717" cy="693113"/>
          </a:xfrm>
          <a:custGeom>
            <a:avLst/>
            <a:gdLst/>
            <a:ahLst/>
            <a:cxnLst/>
            <a:rect l="l" t="t" r="r" b="b"/>
            <a:pathLst>
              <a:path w="12487" h="3079" extrusionOk="0">
                <a:moveTo>
                  <a:pt x="0" y="1"/>
                </a:moveTo>
                <a:lnTo>
                  <a:pt x="0" y="3079"/>
                </a:lnTo>
                <a:lnTo>
                  <a:pt x="12487" y="3079"/>
                </a:lnTo>
                <a:cubicBezTo>
                  <a:pt x="9516" y="1796"/>
                  <a:pt x="2644" y="95"/>
                  <a:pt x="0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" name="Google Shape;33;p2"/>
          <p:cNvSpPr/>
          <p:nvPr/>
        </p:nvSpPr>
        <p:spPr>
          <a:xfrm>
            <a:off x="1" y="5657260"/>
            <a:ext cx="2801340" cy="1200737"/>
          </a:xfrm>
          <a:custGeom>
            <a:avLst/>
            <a:gdLst/>
            <a:ahLst/>
            <a:cxnLst/>
            <a:rect l="l" t="t" r="r" b="b"/>
            <a:pathLst>
              <a:path w="10070" h="5334" extrusionOk="0">
                <a:moveTo>
                  <a:pt x="7627" y="1"/>
                </a:moveTo>
                <a:cubicBezTo>
                  <a:pt x="3684" y="30"/>
                  <a:pt x="0" y="3756"/>
                  <a:pt x="0" y="3756"/>
                </a:cubicBezTo>
                <a:lnTo>
                  <a:pt x="0" y="5334"/>
                </a:lnTo>
                <a:lnTo>
                  <a:pt x="5103" y="5334"/>
                </a:lnTo>
                <a:cubicBezTo>
                  <a:pt x="5103" y="5334"/>
                  <a:pt x="5952" y="3675"/>
                  <a:pt x="7410" y="2256"/>
                </a:cubicBezTo>
                <a:cubicBezTo>
                  <a:pt x="8557" y="1135"/>
                  <a:pt x="9529" y="678"/>
                  <a:pt x="10070" y="487"/>
                </a:cubicBezTo>
                <a:cubicBezTo>
                  <a:pt x="9205" y="299"/>
                  <a:pt x="8382" y="137"/>
                  <a:pt x="762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" name="Google Shape;34;p2"/>
          <p:cNvSpPr/>
          <p:nvPr/>
        </p:nvSpPr>
        <p:spPr>
          <a:xfrm>
            <a:off x="1644924" y="5657260"/>
            <a:ext cx="1156421" cy="173785"/>
          </a:xfrm>
          <a:custGeom>
            <a:avLst/>
            <a:gdLst/>
            <a:ahLst/>
            <a:cxnLst/>
            <a:rect l="l" t="t" r="r" b="b"/>
            <a:pathLst>
              <a:path w="4157" h="772" extrusionOk="0">
                <a:moveTo>
                  <a:pt x="1714" y="1"/>
                </a:moveTo>
                <a:cubicBezTo>
                  <a:pt x="1134" y="1"/>
                  <a:pt x="551" y="95"/>
                  <a:pt x="0" y="231"/>
                </a:cubicBezTo>
                <a:cubicBezTo>
                  <a:pt x="1066" y="354"/>
                  <a:pt x="2252" y="529"/>
                  <a:pt x="3509" y="772"/>
                </a:cubicBezTo>
                <a:cubicBezTo>
                  <a:pt x="3765" y="636"/>
                  <a:pt x="3982" y="542"/>
                  <a:pt x="4157" y="487"/>
                </a:cubicBezTo>
                <a:cubicBezTo>
                  <a:pt x="3726" y="393"/>
                  <a:pt x="3305" y="299"/>
                  <a:pt x="2900" y="218"/>
                </a:cubicBezTo>
                <a:cubicBezTo>
                  <a:pt x="2793" y="205"/>
                  <a:pt x="2699" y="176"/>
                  <a:pt x="2605" y="163"/>
                </a:cubicBezTo>
                <a:lnTo>
                  <a:pt x="2592" y="163"/>
                </a:lnTo>
                <a:cubicBezTo>
                  <a:pt x="2495" y="137"/>
                  <a:pt x="2414" y="124"/>
                  <a:pt x="2320" y="111"/>
                </a:cubicBezTo>
                <a:lnTo>
                  <a:pt x="2294" y="111"/>
                </a:lnTo>
                <a:cubicBezTo>
                  <a:pt x="2213" y="82"/>
                  <a:pt x="2132" y="69"/>
                  <a:pt x="2038" y="56"/>
                </a:cubicBezTo>
                <a:lnTo>
                  <a:pt x="1996" y="56"/>
                </a:lnTo>
                <a:cubicBezTo>
                  <a:pt x="1902" y="30"/>
                  <a:pt x="1821" y="14"/>
                  <a:pt x="172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" name="Google Shape;35;p2"/>
          <p:cNvSpPr/>
          <p:nvPr/>
        </p:nvSpPr>
        <p:spPr>
          <a:xfrm>
            <a:off x="1" y="6201352"/>
            <a:ext cx="1772049" cy="656645"/>
          </a:xfrm>
          <a:custGeom>
            <a:avLst/>
            <a:gdLst/>
            <a:ahLst/>
            <a:cxnLst/>
            <a:rect l="l" t="t" r="r" b="b"/>
            <a:pathLst>
              <a:path w="6370" h="2917" extrusionOk="0">
                <a:moveTo>
                  <a:pt x="1578" y="1"/>
                </a:moveTo>
                <a:cubicBezTo>
                  <a:pt x="593" y="730"/>
                  <a:pt x="0" y="1339"/>
                  <a:pt x="0" y="1339"/>
                </a:cubicBezTo>
                <a:lnTo>
                  <a:pt x="0" y="2917"/>
                </a:lnTo>
                <a:lnTo>
                  <a:pt x="5103" y="2917"/>
                </a:lnTo>
                <a:cubicBezTo>
                  <a:pt x="5103" y="2917"/>
                  <a:pt x="5560" y="2026"/>
                  <a:pt x="6370" y="999"/>
                </a:cubicBezTo>
                <a:cubicBezTo>
                  <a:pt x="4643" y="568"/>
                  <a:pt x="2929" y="205"/>
                  <a:pt x="1578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" name="Google Shape;36;p2"/>
          <p:cNvSpPr/>
          <p:nvPr/>
        </p:nvSpPr>
        <p:spPr>
          <a:xfrm>
            <a:off x="4836292" y="6559503"/>
            <a:ext cx="116560" cy="85541"/>
          </a:xfrm>
          <a:custGeom>
            <a:avLst/>
            <a:gdLst/>
            <a:ahLst/>
            <a:cxnLst/>
            <a:rect l="l" t="t" r="r" b="b"/>
            <a:pathLst>
              <a:path w="419" h="380" extrusionOk="0">
                <a:moveTo>
                  <a:pt x="376" y="0"/>
                </a:moveTo>
                <a:cubicBezTo>
                  <a:pt x="325" y="0"/>
                  <a:pt x="234" y="13"/>
                  <a:pt x="137" y="85"/>
                </a:cubicBezTo>
                <a:cubicBezTo>
                  <a:pt x="1" y="205"/>
                  <a:pt x="69" y="380"/>
                  <a:pt x="69" y="380"/>
                </a:cubicBezTo>
                <a:cubicBezTo>
                  <a:pt x="69" y="380"/>
                  <a:pt x="192" y="218"/>
                  <a:pt x="218" y="137"/>
                </a:cubicBezTo>
                <a:cubicBezTo>
                  <a:pt x="244" y="72"/>
                  <a:pt x="419" y="4"/>
                  <a:pt x="419" y="4"/>
                </a:cubicBezTo>
                <a:cubicBezTo>
                  <a:pt x="419" y="4"/>
                  <a:pt x="403" y="0"/>
                  <a:pt x="376" y="0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2"/>
          <p:cNvSpPr/>
          <p:nvPr/>
        </p:nvSpPr>
        <p:spPr>
          <a:xfrm>
            <a:off x="4881359" y="6576162"/>
            <a:ext cx="139093" cy="72485"/>
          </a:xfrm>
          <a:custGeom>
            <a:avLst/>
            <a:gdLst/>
            <a:ahLst/>
            <a:cxnLst/>
            <a:rect l="l" t="t" r="r" b="b"/>
            <a:pathLst>
              <a:path w="500" h="322" extrusionOk="0">
                <a:moveTo>
                  <a:pt x="372" y="0"/>
                </a:moveTo>
                <a:cubicBezTo>
                  <a:pt x="302" y="0"/>
                  <a:pt x="217" y="10"/>
                  <a:pt x="150" y="50"/>
                </a:cubicBezTo>
                <a:cubicBezTo>
                  <a:pt x="30" y="131"/>
                  <a:pt x="1" y="322"/>
                  <a:pt x="1" y="322"/>
                </a:cubicBezTo>
                <a:cubicBezTo>
                  <a:pt x="1" y="322"/>
                  <a:pt x="163" y="293"/>
                  <a:pt x="299" y="241"/>
                </a:cubicBezTo>
                <a:cubicBezTo>
                  <a:pt x="419" y="186"/>
                  <a:pt x="500" y="11"/>
                  <a:pt x="500" y="11"/>
                </a:cubicBezTo>
                <a:cubicBezTo>
                  <a:pt x="500" y="11"/>
                  <a:pt x="444" y="0"/>
                  <a:pt x="372" y="0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2"/>
          <p:cNvSpPr/>
          <p:nvPr/>
        </p:nvSpPr>
        <p:spPr>
          <a:xfrm>
            <a:off x="4915575" y="6623436"/>
            <a:ext cx="112944" cy="31065"/>
          </a:xfrm>
          <a:custGeom>
            <a:avLst/>
            <a:gdLst/>
            <a:ahLst/>
            <a:cxnLst/>
            <a:rect l="l" t="t" r="r" b="b"/>
            <a:pathLst>
              <a:path w="406" h="138" extrusionOk="0">
                <a:moveTo>
                  <a:pt x="214" y="1"/>
                </a:moveTo>
                <a:cubicBezTo>
                  <a:pt x="109" y="1"/>
                  <a:pt x="1" y="112"/>
                  <a:pt x="1" y="112"/>
                </a:cubicBezTo>
                <a:cubicBezTo>
                  <a:pt x="1" y="112"/>
                  <a:pt x="150" y="138"/>
                  <a:pt x="244" y="138"/>
                </a:cubicBezTo>
                <a:cubicBezTo>
                  <a:pt x="338" y="138"/>
                  <a:pt x="406" y="70"/>
                  <a:pt x="406" y="70"/>
                </a:cubicBezTo>
                <a:cubicBezTo>
                  <a:pt x="406" y="70"/>
                  <a:pt x="338" y="2"/>
                  <a:pt x="231" y="2"/>
                </a:cubicBezTo>
                <a:cubicBezTo>
                  <a:pt x="225" y="1"/>
                  <a:pt x="220" y="1"/>
                  <a:pt x="214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" name="Google Shape;39;p2"/>
          <p:cNvSpPr/>
          <p:nvPr/>
        </p:nvSpPr>
        <p:spPr>
          <a:xfrm>
            <a:off x="3612267" y="6446497"/>
            <a:ext cx="139093" cy="56728"/>
          </a:xfrm>
          <a:custGeom>
            <a:avLst/>
            <a:gdLst/>
            <a:ahLst/>
            <a:cxnLst/>
            <a:rect l="l" t="t" r="r" b="b"/>
            <a:pathLst>
              <a:path w="500" h="252" extrusionOk="0">
                <a:moveTo>
                  <a:pt x="280" y="1"/>
                </a:moveTo>
                <a:cubicBezTo>
                  <a:pt x="241" y="1"/>
                  <a:pt x="201" y="6"/>
                  <a:pt x="163" y="20"/>
                </a:cubicBezTo>
                <a:cubicBezTo>
                  <a:pt x="1" y="72"/>
                  <a:pt x="1" y="250"/>
                  <a:pt x="1" y="250"/>
                </a:cubicBezTo>
                <a:cubicBezTo>
                  <a:pt x="1" y="250"/>
                  <a:pt x="18" y="251"/>
                  <a:pt x="44" y="251"/>
                </a:cubicBezTo>
                <a:cubicBezTo>
                  <a:pt x="100" y="251"/>
                  <a:pt x="201" y="245"/>
                  <a:pt x="283" y="208"/>
                </a:cubicBezTo>
                <a:cubicBezTo>
                  <a:pt x="419" y="169"/>
                  <a:pt x="500" y="46"/>
                  <a:pt x="500" y="46"/>
                </a:cubicBezTo>
                <a:cubicBezTo>
                  <a:pt x="500" y="46"/>
                  <a:pt x="395" y="1"/>
                  <a:pt x="280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0" name="Google Shape;40;p2"/>
          <p:cNvSpPr/>
          <p:nvPr/>
        </p:nvSpPr>
        <p:spPr>
          <a:xfrm>
            <a:off x="3567200" y="6403727"/>
            <a:ext cx="158011" cy="99048"/>
          </a:xfrm>
          <a:custGeom>
            <a:avLst/>
            <a:gdLst/>
            <a:ahLst/>
            <a:cxnLst/>
            <a:rect l="l" t="t" r="r" b="b"/>
            <a:pathLst>
              <a:path w="568" h="440" extrusionOk="0">
                <a:moveTo>
                  <a:pt x="492" y="1"/>
                </a:moveTo>
                <a:cubicBezTo>
                  <a:pt x="429" y="1"/>
                  <a:pt x="332" y="9"/>
                  <a:pt x="218" y="48"/>
                </a:cubicBezTo>
                <a:cubicBezTo>
                  <a:pt x="1" y="100"/>
                  <a:pt x="56" y="440"/>
                  <a:pt x="56" y="440"/>
                </a:cubicBezTo>
                <a:cubicBezTo>
                  <a:pt x="56" y="440"/>
                  <a:pt x="176" y="411"/>
                  <a:pt x="351" y="330"/>
                </a:cubicBezTo>
                <a:cubicBezTo>
                  <a:pt x="526" y="249"/>
                  <a:pt x="568" y="6"/>
                  <a:pt x="568" y="6"/>
                </a:cubicBezTo>
                <a:cubicBezTo>
                  <a:pt x="568" y="6"/>
                  <a:pt x="540" y="1"/>
                  <a:pt x="492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1" name="Google Shape;41;p2"/>
          <p:cNvSpPr/>
          <p:nvPr/>
        </p:nvSpPr>
        <p:spPr>
          <a:xfrm>
            <a:off x="319360" y="5890474"/>
            <a:ext cx="100704" cy="65281"/>
          </a:xfrm>
          <a:custGeom>
            <a:avLst/>
            <a:gdLst/>
            <a:ahLst/>
            <a:cxnLst/>
            <a:rect l="l" t="t" r="r" b="b"/>
            <a:pathLst>
              <a:path w="362" h="290" extrusionOk="0">
                <a:moveTo>
                  <a:pt x="308" y="0"/>
                </a:moveTo>
                <a:cubicBezTo>
                  <a:pt x="237" y="0"/>
                  <a:pt x="0" y="189"/>
                  <a:pt x="12" y="290"/>
                </a:cubicBezTo>
                <a:cubicBezTo>
                  <a:pt x="12" y="290"/>
                  <a:pt x="119" y="274"/>
                  <a:pt x="200" y="209"/>
                </a:cubicBezTo>
                <a:cubicBezTo>
                  <a:pt x="281" y="128"/>
                  <a:pt x="362" y="47"/>
                  <a:pt x="323" y="5"/>
                </a:cubicBezTo>
                <a:cubicBezTo>
                  <a:pt x="320" y="2"/>
                  <a:pt x="315" y="0"/>
                  <a:pt x="308" y="0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2" name="Google Shape;42;p2"/>
          <p:cNvSpPr/>
          <p:nvPr/>
        </p:nvSpPr>
        <p:spPr>
          <a:xfrm>
            <a:off x="367486" y="5872465"/>
            <a:ext cx="176927" cy="83291"/>
          </a:xfrm>
          <a:custGeom>
            <a:avLst/>
            <a:gdLst/>
            <a:ahLst/>
            <a:cxnLst/>
            <a:rect l="l" t="t" r="r" b="b"/>
            <a:pathLst>
              <a:path w="636" h="370" extrusionOk="0">
                <a:moveTo>
                  <a:pt x="467" y="1"/>
                </a:moveTo>
                <a:cubicBezTo>
                  <a:pt x="413" y="1"/>
                  <a:pt x="347" y="8"/>
                  <a:pt x="270" y="30"/>
                </a:cubicBezTo>
                <a:cubicBezTo>
                  <a:pt x="27" y="111"/>
                  <a:pt x="1" y="370"/>
                  <a:pt x="1" y="370"/>
                </a:cubicBezTo>
                <a:cubicBezTo>
                  <a:pt x="1" y="370"/>
                  <a:pt x="218" y="354"/>
                  <a:pt x="380" y="289"/>
                </a:cubicBezTo>
                <a:cubicBezTo>
                  <a:pt x="542" y="221"/>
                  <a:pt x="636" y="30"/>
                  <a:pt x="636" y="30"/>
                </a:cubicBezTo>
                <a:cubicBezTo>
                  <a:pt x="636" y="30"/>
                  <a:pt x="576" y="1"/>
                  <a:pt x="467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" name="Google Shape;43;p2"/>
          <p:cNvSpPr/>
          <p:nvPr/>
        </p:nvSpPr>
        <p:spPr>
          <a:xfrm>
            <a:off x="408937" y="5930994"/>
            <a:ext cx="127409" cy="33541"/>
          </a:xfrm>
          <a:custGeom>
            <a:avLst/>
            <a:gdLst/>
            <a:ahLst/>
            <a:cxnLst/>
            <a:rect l="l" t="t" r="r" b="b"/>
            <a:pathLst>
              <a:path w="458" h="149" extrusionOk="0">
                <a:moveTo>
                  <a:pt x="241" y="0"/>
                </a:moveTo>
                <a:cubicBezTo>
                  <a:pt x="162" y="0"/>
                  <a:pt x="71" y="25"/>
                  <a:pt x="1" y="94"/>
                </a:cubicBezTo>
                <a:cubicBezTo>
                  <a:pt x="1" y="94"/>
                  <a:pt x="163" y="149"/>
                  <a:pt x="257" y="149"/>
                </a:cubicBezTo>
                <a:cubicBezTo>
                  <a:pt x="351" y="136"/>
                  <a:pt x="458" y="149"/>
                  <a:pt x="419" y="68"/>
                </a:cubicBezTo>
                <a:cubicBezTo>
                  <a:pt x="405" y="32"/>
                  <a:pt x="331" y="0"/>
                  <a:pt x="241" y="0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" name="Google Shape;44;p2"/>
          <p:cNvSpPr/>
          <p:nvPr/>
        </p:nvSpPr>
        <p:spPr>
          <a:xfrm>
            <a:off x="3473451" y="6338444"/>
            <a:ext cx="131860" cy="164331"/>
          </a:xfrm>
          <a:custGeom>
            <a:avLst/>
            <a:gdLst/>
            <a:ahLst/>
            <a:cxnLst/>
            <a:rect l="l" t="t" r="r" b="b"/>
            <a:pathLst>
              <a:path w="474" h="730" extrusionOk="0">
                <a:moveTo>
                  <a:pt x="121" y="1"/>
                </a:moveTo>
                <a:cubicBezTo>
                  <a:pt x="27" y="163"/>
                  <a:pt x="1" y="364"/>
                  <a:pt x="121" y="526"/>
                </a:cubicBezTo>
                <a:cubicBezTo>
                  <a:pt x="215" y="649"/>
                  <a:pt x="393" y="730"/>
                  <a:pt x="393" y="730"/>
                </a:cubicBezTo>
                <a:cubicBezTo>
                  <a:pt x="393" y="730"/>
                  <a:pt x="474" y="568"/>
                  <a:pt x="406" y="364"/>
                </a:cubicBezTo>
                <a:cubicBezTo>
                  <a:pt x="338" y="163"/>
                  <a:pt x="121" y="1"/>
                  <a:pt x="12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2"/>
          <p:cNvSpPr/>
          <p:nvPr/>
        </p:nvSpPr>
        <p:spPr>
          <a:xfrm>
            <a:off x="3596965" y="6383692"/>
            <a:ext cx="86795" cy="119083"/>
          </a:xfrm>
          <a:custGeom>
            <a:avLst/>
            <a:gdLst/>
            <a:ahLst/>
            <a:cxnLst/>
            <a:rect l="l" t="t" r="r" b="b"/>
            <a:pathLst>
              <a:path w="312" h="529" extrusionOk="0">
                <a:moveTo>
                  <a:pt x="286" y="1"/>
                </a:moveTo>
                <a:cubicBezTo>
                  <a:pt x="286" y="1"/>
                  <a:pt x="163" y="43"/>
                  <a:pt x="82" y="163"/>
                </a:cubicBezTo>
                <a:cubicBezTo>
                  <a:pt x="1" y="286"/>
                  <a:pt x="56" y="529"/>
                  <a:pt x="56" y="529"/>
                </a:cubicBezTo>
                <a:cubicBezTo>
                  <a:pt x="56" y="529"/>
                  <a:pt x="231" y="419"/>
                  <a:pt x="286" y="257"/>
                </a:cubicBezTo>
                <a:cubicBezTo>
                  <a:pt x="312" y="176"/>
                  <a:pt x="286" y="1"/>
                  <a:pt x="286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2"/>
          <p:cNvSpPr/>
          <p:nvPr/>
        </p:nvSpPr>
        <p:spPr>
          <a:xfrm>
            <a:off x="3435618" y="6458879"/>
            <a:ext cx="102095" cy="40295"/>
          </a:xfrm>
          <a:custGeom>
            <a:avLst/>
            <a:gdLst/>
            <a:ahLst/>
            <a:cxnLst/>
            <a:rect l="l" t="t" r="r" b="b"/>
            <a:pathLst>
              <a:path w="367" h="179" extrusionOk="0">
                <a:moveTo>
                  <a:pt x="104" y="1"/>
                </a:moveTo>
                <a:cubicBezTo>
                  <a:pt x="96" y="1"/>
                  <a:pt x="89" y="2"/>
                  <a:pt x="82" y="4"/>
                </a:cubicBezTo>
                <a:cubicBezTo>
                  <a:pt x="1" y="17"/>
                  <a:pt x="43" y="85"/>
                  <a:pt x="137" y="140"/>
                </a:cubicBezTo>
                <a:cubicBezTo>
                  <a:pt x="189" y="166"/>
                  <a:pt x="367" y="179"/>
                  <a:pt x="367" y="179"/>
                </a:cubicBezTo>
                <a:cubicBezTo>
                  <a:pt x="340" y="120"/>
                  <a:pt x="192" y="1"/>
                  <a:pt x="104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" name="Google Shape;47;p2"/>
          <p:cNvSpPr/>
          <p:nvPr/>
        </p:nvSpPr>
        <p:spPr>
          <a:xfrm>
            <a:off x="3645649" y="5821365"/>
            <a:ext cx="109328" cy="170859"/>
          </a:xfrm>
          <a:custGeom>
            <a:avLst/>
            <a:gdLst/>
            <a:ahLst/>
            <a:cxnLst/>
            <a:rect l="l" t="t" r="r" b="b"/>
            <a:pathLst>
              <a:path w="393" h="759" extrusionOk="0">
                <a:moveTo>
                  <a:pt x="286" y="1"/>
                </a:moveTo>
                <a:cubicBezTo>
                  <a:pt x="124" y="82"/>
                  <a:pt x="1" y="244"/>
                  <a:pt x="30" y="448"/>
                </a:cubicBezTo>
                <a:cubicBezTo>
                  <a:pt x="56" y="610"/>
                  <a:pt x="163" y="759"/>
                  <a:pt x="163" y="759"/>
                </a:cubicBezTo>
                <a:cubicBezTo>
                  <a:pt x="163" y="759"/>
                  <a:pt x="312" y="649"/>
                  <a:pt x="354" y="448"/>
                </a:cubicBezTo>
                <a:cubicBezTo>
                  <a:pt x="393" y="244"/>
                  <a:pt x="286" y="1"/>
                  <a:pt x="286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" name="Google Shape;48;p2"/>
          <p:cNvSpPr/>
          <p:nvPr/>
        </p:nvSpPr>
        <p:spPr>
          <a:xfrm>
            <a:off x="3717977" y="5924015"/>
            <a:ext cx="127131" cy="79915"/>
          </a:xfrm>
          <a:custGeom>
            <a:avLst/>
            <a:gdLst/>
            <a:ahLst/>
            <a:cxnLst/>
            <a:rect l="l" t="t" r="r" b="b"/>
            <a:pathLst>
              <a:path w="457" h="355" extrusionOk="0">
                <a:moveTo>
                  <a:pt x="408" y="1"/>
                </a:moveTo>
                <a:cubicBezTo>
                  <a:pt x="361" y="1"/>
                  <a:pt x="284" y="11"/>
                  <a:pt x="201" y="60"/>
                </a:cubicBezTo>
                <a:cubicBezTo>
                  <a:pt x="65" y="125"/>
                  <a:pt x="0" y="355"/>
                  <a:pt x="0" y="355"/>
                </a:cubicBezTo>
                <a:cubicBezTo>
                  <a:pt x="0" y="355"/>
                  <a:pt x="201" y="342"/>
                  <a:pt x="324" y="235"/>
                </a:cubicBezTo>
                <a:cubicBezTo>
                  <a:pt x="389" y="180"/>
                  <a:pt x="457" y="5"/>
                  <a:pt x="457" y="5"/>
                </a:cubicBezTo>
                <a:cubicBezTo>
                  <a:pt x="457" y="5"/>
                  <a:pt x="439" y="1"/>
                  <a:pt x="408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9" name="Google Shape;49;p2"/>
          <p:cNvSpPr/>
          <p:nvPr/>
        </p:nvSpPr>
        <p:spPr>
          <a:xfrm>
            <a:off x="3590290" y="5902405"/>
            <a:ext cx="67321" cy="67983"/>
          </a:xfrm>
          <a:custGeom>
            <a:avLst/>
            <a:gdLst/>
            <a:ahLst/>
            <a:cxnLst/>
            <a:rect l="l" t="t" r="r" b="b"/>
            <a:pathLst>
              <a:path w="242" h="302" extrusionOk="0">
                <a:moveTo>
                  <a:pt x="42" y="1"/>
                </a:moveTo>
                <a:cubicBezTo>
                  <a:pt x="0" y="1"/>
                  <a:pt x="7" y="72"/>
                  <a:pt x="54" y="156"/>
                </a:cubicBezTo>
                <a:cubicBezTo>
                  <a:pt x="80" y="208"/>
                  <a:pt x="229" y="302"/>
                  <a:pt x="229" y="302"/>
                </a:cubicBezTo>
                <a:cubicBezTo>
                  <a:pt x="242" y="221"/>
                  <a:pt x="148" y="33"/>
                  <a:pt x="67" y="7"/>
                </a:cubicBezTo>
                <a:cubicBezTo>
                  <a:pt x="57" y="3"/>
                  <a:pt x="49" y="1"/>
                  <a:pt x="42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" name="Google Shape;50;p2"/>
          <p:cNvSpPr/>
          <p:nvPr/>
        </p:nvSpPr>
        <p:spPr>
          <a:xfrm>
            <a:off x="4847977" y="6511330"/>
            <a:ext cx="97644" cy="137317"/>
          </a:xfrm>
          <a:custGeom>
            <a:avLst/>
            <a:gdLst/>
            <a:ahLst/>
            <a:cxnLst/>
            <a:rect l="l" t="t" r="r" b="b"/>
            <a:pathLst>
              <a:path w="351" h="610" extrusionOk="0">
                <a:moveTo>
                  <a:pt x="257" y="1"/>
                </a:moveTo>
                <a:cubicBezTo>
                  <a:pt x="257" y="1"/>
                  <a:pt x="82" y="108"/>
                  <a:pt x="40" y="299"/>
                </a:cubicBezTo>
                <a:cubicBezTo>
                  <a:pt x="1" y="500"/>
                  <a:pt x="121" y="610"/>
                  <a:pt x="121" y="610"/>
                </a:cubicBezTo>
                <a:cubicBezTo>
                  <a:pt x="121" y="610"/>
                  <a:pt x="296" y="513"/>
                  <a:pt x="325" y="367"/>
                </a:cubicBezTo>
                <a:cubicBezTo>
                  <a:pt x="351" y="218"/>
                  <a:pt x="257" y="1"/>
                  <a:pt x="257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" name="Google Shape;51;p2"/>
          <p:cNvSpPr/>
          <p:nvPr/>
        </p:nvSpPr>
        <p:spPr>
          <a:xfrm>
            <a:off x="4794842" y="6535417"/>
            <a:ext cx="60645" cy="113231"/>
          </a:xfrm>
          <a:custGeom>
            <a:avLst/>
            <a:gdLst/>
            <a:ahLst/>
            <a:cxnLst/>
            <a:rect l="l" t="t" r="r" b="b"/>
            <a:pathLst>
              <a:path w="218" h="503" extrusionOk="0">
                <a:moveTo>
                  <a:pt x="82" y="1"/>
                </a:moveTo>
                <a:cubicBezTo>
                  <a:pt x="82" y="1"/>
                  <a:pt x="1" y="192"/>
                  <a:pt x="1" y="299"/>
                </a:cubicBezTo>
                <a:cubicBezTo>
                  <a:pt x="1" y="393"/>
                  <a:pt x="218" y="503"/>
                  <a:pt x="218" y="503"/>
                </a:cubicBezTo>
                <a:cubicBezTo>
                  <a:pt x="218" y="503"/>
                  <a:pt x="163" y="299"/>
                  <a:pt x="150" y="192"/>
                </a:cubicBezTo>
                <a:cubicBezTo>
                  <a:pt x="137" y="82"/>
                  <a:pt x="82" y="1"/>
                  <a:pt x="82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" name="Google Shape;52;p2"/>
          <p:cNvSpPr/>
          <p:nvPr/>
        </p:nvSpPr>
        <p:spPr>
          <a:xfrm>
            <a:off x="4915575" y="6607452"/>
            <a:ext cx="86795" cy="41195"/>
          </a:xfrm>
          <a:custGeom>
            <a:avLst/>
            <a:gdLst/>
            <a:ahLst/>
            <a:cxnLst/>
            <a:rect l="l" t="t" r="r" b="b"/>
            <a:pathLst>
              <a:path w="312" h="183" extrusionOk="0">
                <a:moveTo>
                  <a:pt x="231" y="0"/>
                </a:moveTo>
                <a:cubicBezTo>
                  <a:pt x="91" y="0"/>
                  <a:pt x="1" y="183"/>
                  <a:pt x="1" y="183"/>
                </a:cubicBezTo>
                <a:cubicBezTo>
                  <a:pt x="312" y="183"/>
                  <a:pt x="270" y="5"/>
                  <a:pt x="270" y="5"/>
                </a:cubicBezTo>
                <a:cubicBezTo>
                  <a:pt x="257" y="2"/>
                  <a:pt x="244" y="0"/>
                  <a:pt x="231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" name="Google Shape;53;p2"/>
          <p:cNvSpPr/>
          <p:nvPr/>
        </p:nvSpPr>
        <p:spPr>
          <a:xfrm>
            <a:off x="344952" y="5794353"/>
            <a:ext cx="128523" cy="161404"/>
          </a:xfrm>
          <a:custGeom>
            <a:avLst/>
            <a:gdLst/>
            <a:ahLst/>
            <a:cxnLst/>
            <a:rect l="l" t="t" r="r" b="b"/>
            <a:pathLst>
              <a:path w="462" h="717" extrusionOk="0">
                <a:moveTo>
                  <a:pt x="338" y="1"/>
                </a:moveTo>
                <a:cubicBezTo>
                  <a:pt x="338" y="1"/>
                  <a:pt x="121" y="163"/>
                  <a:pt x="69" y="351"/>
                </a:cubicBezTo>
                <a:cubicBezTo>
                  <a:pt x="1" y="555"/>
                  <a:pt x="82" y="717"/>
                  <a:pt x="82" y="717"/>
                </a:cubicBezTo>
                <a:cubicBezTo>
                  <a:pt x="82" y="717"/>
                  <a:pt x="244" y="649"/>
                  <a:pt x="338" y="513"/>
                </a:cubicBezTo>
                <a:cubicBezTo>
                  <a:pt x="461" y="351"/>
                  <a:pt x="445" y="150"/>
                  <a:pt x="338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" name="Google Shape;54;p2"/>
          <p:cNvSpPr/>
          <p:nvPr/>
        </p:nvSpPr>
        <p:spPr>
          <a:xfrm>
            <a:off x="251204" y="5824291"/>
            <a:ext cx="87072" cy="113231"/>
          </a:xfrm>
          <a:custGeom>
            <a:avLst/>
            <a:gdLst/>
            <a:ahLst/>
            <a:cxnLst/>
            <a:rect l="l" t="t" r="r" b="b"/>
            <a:pathLst>
              <a:path w="313" h="503" extrusionOk="0">
                <a:moveTo>
                  <a:pt x="1" y="1"/>
                </a:moveTo>
                <a:cubicBezTo>
                  <a:pt x="1" y="1"/>
                  <a:pt x="1" y="179"/>
                  <a:pt x="40" y="273"/>
                </a:cubicBezTo>
                <a:cubicBezTo>
                  <a:pt x="108" y="406"/>
                  <a:pt x="296" y="503"/>
                  <a:pt x="296" y="503"/>
                </a:cubicBezTo>
                <a:cubicBezTo>
                  <a:pt x="296" y="503"/>
                  <a:pt x="312" y="260"/>
                  <a:pt x="215" y="137"/>
                </a:cubicBezTo>
                <a:cubicBezTo>
                  <a:pt x="121" y="30"/>
                  <a:pt x="1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2"/>
          <p:cNvSpPr/>
          <p:nvPr/>
        </p:nvSpPr>
        <p:spPr>
          <a:xfrm>
            <a:off x="408937" y="5911859"/>
            <a:ext cx="101260" cy="40295"/>
          </a:xfrm>
          <a:custGeom>
            <a:avLst/>
            <a:gdLst/>
            <a:ahLst/>
            <a:cxnLst/>
            <a:rect l="l" t="t" r="r" b="b"/>
            <a:pathLst>
              <a:path w="364" h="179" extrusionOk="0">
                <a:moveTo>
                  <a:pt x="263" y="1"/>
                </a:moveTo>
                <a:cubicBezTo>
                  <a:pt x="186" y="1"/>
                  <a:pt x="37" y="120"/>
                  <a:pt x="1" y="179"/>
                </a:cubicBezTo>
                <a:cubicBezTo>
                  <a:pt x="1" y="179"/>
                  <a:pt x="176" y="166"/>
                  <a:pt x="244" y="140"/>
                </a:cubicBezTo>
                <a:cubicBezTo>
                  <a:pt x="325" y="98"/>
                  <a:pt x="364" y="17"/>
                  <a:pt x="283" y="4"/>
                </a:cubicBezTo>
                <a:cubicBezTo>
                  <a:pt x="277" y="2"/>
                  <a:pt x="270" y="1"/>
                  <a:pt x="263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" name="Google Shape;56;p2"/>
          <p:cNvSpPr/>
          <p:nvPr/>
        </p:nvSpPr>
        <p:spPr>
          <a:xfrm>
            <a:off x="216987" y="5906682"/>
            <a:ext cx="105711" cy="49975"/>
          </a:xfrm>
          <a:custGeom>
            <a:avLst/>
            <a:gdLst/>
            <a:ahLst/>
            <a:cxnLst/>
            <a:rect l="l" t="t" r="r" b="b"/>
            <a:pathLst>
              <a:path w="380" h="222" extrusionOk="0">
                <a:moveTo>
                  <a:pt x="30" y="1"/>
                </a:moveTo>
                <a:lnTo>
                  <a:pt x="30" y="1"/>
                </a:lnTo>
                <a:cubicBezTo>
                  <a:pt x="30" y="1"/>
                  <a:pt x="1" y="82"/>
                  <a:pt x="124" y="163"/>
                </a:cubicBezTo>
                <a:cubicBezTo>
                  <a:pt x="205" y="212"/>
                  <a:pt x="282" y="222"/>
                  <a:pt x="330" y="222"/>
                </a:cubicBezTo>
                <a:cubicBezTo>
                  <a:pt x="361" y="222"/>
                  <a:pt x="380" y="218"/>
                  <a:pt x="380" y="218"/>
                </a:cubicBezTo>
                <a:cubicBezTo>
                  <a:pt x="380" y="218"/>
                  <a:pt x="273" y="27"/>
                  <a:pt x="30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" name="Google Shape;57;p2"/>
          <p:cNvSpPr/>
          <p:nvPr/>
        </p:nvSpPr>
        <p:spPr>
          <a:xfrm>
            <a:off x="1336413" y="5404910"/>
            <a:ext cx="120176" cy="186165"/>
          </a:xfrm>
          <a:custGeom>
            <a:avLst/>
            <a:gdLst/>
            <a:ahLst/>
            <a:cxnLst/>
            <a:rect l="l" t="t" r="r" b="b"/>
            <a:pathLst>
              <a:path w="432" h="827" extrusionOk="0">
                <a:moveTo>
                  <a:pt x="231" y="1"/>
                </a:moveTo>
                <a:cubicBezTo>
                  <a:pt x="231" y="1"/>
                  <a:pt x="121" y="124"/>
                  <a:pt x="56" y="341"/>
                </a:cubicBezTo>
                <a:cubicBezTo>
                  <a:pt x="1" y="542"/>
                  <a:pt x="108" y="759"/>
                  <a:pt x="231" y="827"/>
                </a:cubicBezTo>
                <a:cubicBezTo>
                  <a:pt x="231" y="827"/>
                  <a:pt x="432" y="568"/>
                  <a:pt x="432" y="406"/>
                </a:cubicBezTo>
                <a:cubicBezTo>
                  <a:pt x="419" y="244"/>
                  <a:pt x="231" y="1"/>
                  <a:pt x="231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" name="Google Shape;58;p2"/>
          <p:cNvSpPr/>
          <p:nvPr/>
        </p:nvSpPr>
        <p:spPr>
          <a:xfrm>
            <a:off x="1284392" y="5496080"/>
            <a:ext cx="74832" cy="82616"/>
          </a:xfrm>
          <a:custGeom>
            <a:avLst/>
            <a:gdLst/>
            <a:ahLst/>
            <a:cxnLst/>
            <a:rect l="l" t="t" r="r" b="b"/>
            <a:pathLst>
              <a:path w="269" h="367" extrusionOk="0">
                <a:moveTo>
                  <a:pt x="26" y="1"/>
                </a:moveTo>
                <a:lnTo>
                  <a:pt x="26" y="1"/>
                </a:lnTo>
                <a:cubicBezTo>
                  <a:pt x="26" y="1"/>
                  <a:pt x="0" y="179"/>
                  <a:pt x="94" y="273"/>
                </a:cubicBezTo>
                <a:cubicBezTo>
                  <a:pt x="201" y="367"/>
                  <a:pt x="269" y="367"/>
                  <a:pt x="269" y="367"/>
                </a:cubicBezTo>
                <a:cubicBezTo>
                  <a:pt x="269" y="367"/>
                  <a:pt x="269" y="98"/>
                  <a:pt x="26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9" name="Google Shape;59;p2"/>
          <p:cNvSpPr/>
          <p:nvPr/>
        </p:nvSpPr>
        <p:spPr>
          <a:xfrm>
            <a:off x="11311387" y="4769872"/>
            <a:ext cx="112944" cy="40520"/>
          </a:xfrm>
          <a:custGeom>
            <a:avLst/>
            <a:gdLst/>
            <a:ahLst/>
            <a:cxnLst/>
            <a:rect l="l" t="t" r="r" b="b"/>
            <a:pathLst>
              <a:path w="406" h="180" extrusionOk="0">
                <a:moveTo>
                  <a:pt x="238" y="0"/>
                </a:moveTo>
                <a:cubicBezTo>
                  <a:pt x="204" y="0"/>
                  <a:pt x="168" y="4"/>
                  <a:pt x="134" y="16"/>
                </a:cubicBezTo>
                <a:cubicBezTo>
                  <a:pt x="1" y="55"/>
                  <a:pt x="1" y="178"/>
                  <a:pt x="1" y="178"/>
                </a:cubicBezTo>
                <a:cubicBezTo>
                  <a:pt x="1" y="178"/>
                  <a:pt x="20" y="180"/>
                  <a:pt x="50" y="180"/>
                </a:cubicBezTo>
                <a:cubicBezTo>
                  <a:pt x="99" y="180"/>
                  <a:pt x="176" y="175"/>
                  <a:pt x="244" y="149"/>
                </a:cubicBezTo>
                <a:cubicBezTo>
                  <a:pt x="338" y="123"/>
                  <a:pt x="406" y="29"/>
                  <a:pt x="406" y="29"/>
                </a:cubicBezTo>
                <a:cubicBezTo>
                  <a:pt x="406" y="29"/>
                  <a:pt x="328" y="0"/>
                  <a:pt x="23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0" name="Google Shape;60;p2"/>
          <p:cNvSpPr/>
          <p:nvPr/>
        </p:nvSpPr>
        <p:spPr>
          <a:xfrm>
            <a:off x="11277170" y="4736331"/>
            <a:ext cx="124628" cy="73611"/>
          </a:xfrm>
          <a:custGeom>
            <a:avLst/>
            <a:gdLst/>
            <a:ahLst/>
            <a:cxnLst/>
            <a:rect l="l" t="t" r="r" b="b"/>
            <a:pathLst>
              <a:path w="448" h="327" extrusionOk="0">
                <a:moveTo>
                  <a:pt x="398" y="1"/>
                </a:moveTo>
                <a:cubicBezTo>
                  <a:pt x="349" y="1"/>
                  <a:pt x="268" y="6"/>
                  <a:pt x="163" y="29"/>
                </a:cubicBezTo>
                <a:cubicBezTo>
                  <a:pt x="1" y="84"/>
                  <a:pt x="43" y="327"/>
                  <a:pt x="43" y="327"/>
                </a:cubicBezTo>
                <a:cubicBezTo>
                  <a:pt x="43" y="327"/>
                  <a:pt x="137" y="314"/>
                  <a:pt x="286" y="246"/>
                </a:cubicBezTo>
                <a:cubicBezTo>
                  <a:pt x="419" y="191"/>
                  <a:pt x="448" y="3"/>
                  <a:pt x="448" y="3"/>
                </a:cubicBezTo>
                <a:cubicBezTo>
                  <a:pt x="448" y="3"/>
                  <a:pt x="430" y="1"/>
                  <a:pt x="398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" name="Google Shape;61;p2"/>
          <p:cNvSpPr/>
          <p:nvPr/>
        </p:nvSpPr>
        <p:spPr>
          <a:xfrm>
            <a:off x="11202338" y="4687933"/>
            <a:ext cx="101260" cy="122009"/>
          </a:xfrm>
          <a:custGeom>
            <a:avLst/>
            <a:gdLst/>
            <a:ahLst/>
            <a:cxnLst/>
            <a:rect l="l" t="t" r="r" b="b"/>
            <a:pathLst>
              <a:path w="364" h="542" extrusionOk="0">
                <a:moveTo>
                  <a:pt x="95" y="1"/>
                </a:moveTo>
                <a:cubicBezTo>
                  <a:pt x="14" y="124"/>
                  <a:pt x="1" y="270"/>
                  <a:pt x="95" y="393"/>
                </a:cubicBezTo>
                <a:cubicBezTo>
                  <a:pt x="176" y="487"/>
                  <a:pt x="312" y="542"/>
                  <a:pt x="312" y="542"/>
                </a:cubicBezTo>
                <a:cubicBezTo>
                  <a:pt x="312" y="542"/>
                  <a:pt x="364" y="419"/>
                  <a:pt x="325" y="270"/>
                </a:cubicBezTo>
                <a:cubicBezTo>
                  <a:pt x="270" y="124"/>
                  <a:pt x="95" y="1"/>
                  <a:pt x="95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" name="Google Shape;62;p2"/>
          <p:cNvSpPr/>
          <p:nvPr/>
        </p:nvSpPr>
        <p:spPr>
          <a:xfrm>
            <a:off x="11299703" y="4721474"/>
            <a:ext cx="71493" cy="88468"/>
          </a:xfrm>
          <a:custGeom>
            <a:avLst/>
            <a:gdLst/>
            <a:ahLst/>
            <a:cxnLst/>
            <a:rect l="l" t="t" r="r" b="b"/>
            <a:pathLst>
              <a:path w="257" h="393" extrusionOk="0">
                <a:moveTo>
                  <a:pt x="231" y="1"/>
                </a:moveTo>
                <a:cubicBezTo>
                  <a:pt x="231" y="1"/>
                  <a:pt x="137" y="27"/>
                  <a:pt x="69" y="121"/>
                </a:cubicBezTo>
                <a:cubicBezTo>
                  <a:pt x="1" y="218"/>
                  <a:pt x="43" y="393"/>
                  <a:pt x="43" y="393"/>
                </a:cubicBezTo>
                <a:cubicBezTo>
                  <a:pt x="43" y="393"/>
                  <a:pt x="189" y="312"/>
                  <a:pt x="231" y="202"/>
                </a:cubicBezTo>
                <a:cubicBezTo>
                  <a:pt x="257" y="137"/>
                  <a:pt x="231" y="1"/>
                  <a:pt x="23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" name="Google Shape;63;p2"/>
          <p:cNvSpPr/>
          <p:nvPr/>
        </p:nvSpPr>
        <p:spPr>
          <a:xfrm>
            <a:off x="11168121" y="4775951"/>
            <a:ext cx="83177" cy="33992"/>
          </a:xfrm>
          <a:custGeom>
            <a:avLst/>
            <a:gdLst/>
            <a:ahLst/>
            <a:cxnLst/>
            <a:rect l="l" t="t" r="r" b="b"/>
            <a:pathLst>
              <a:path w="299" h="151" extrusionOk="0">
                <a:moveTo>
                  <a:pt x="81" y="1"/>
                </a:moveTo>
                <a:cubicBezTo>
                  <a:pt x="77" y="1"/>
                  <a:pt x="73" y="1"/>
                  <a:pt x="69" y="2"/>
                </a:cubicBezTo>
                <a:cubicBezTo>
                  <a:pt x="1" y="28"/>
                  <a:pt x="43" y="70"/>
                  <a:pt x="111" y="109"/>
                </a:cubicBezTo>
                <a:cubicBezTo>
                  <a:pt x="163" y="138"/>
                  <a:pt x="299" y="151"/>
                  <a:pt x="299" y="151"/>
                </a:cubicBezTo>
                <a:cubicBezTo>
                  <a:pt x="274" y="99"/>
                  <a:pt x="152" y="1"/>
                  <a:pt x="8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" name="Google Shape;64;p2"/>
          <p:cNvSpPr/>
          <p:nvPr/>
        </p:nvSpPr>
        <p:spPr>
          <a:xfrm>
            <a:off x="11299703" y="5754057"/>
            <a:ext cx="97644" cy="64607"/>
          </a:xfrm>
          <a:custGeom>
            <a:avLst/>
            <a:gdLst/>
            <a:ahLst/>
            <a:cxnLst/>
            <a:rect l="l" t="t" r="r" b="b"/>
            <a:pathLst>
              <a:path w="351" h="287" extrusionOk="0">
                <a:moveTo>
                  <a:pt x="309" y="1"/>
                </a:moveTo>
                <a:cubicBezTo>
                  <a:pt x="267" y="1"/>
                  <a:pt x="198" y="12"/>
                  <a:pt x="124" y="70"/>
                </a:cubicBezTo>
                <a:cubicBezTo>
                  <a:pt x="1" y="151"/>
                  <a:pt x="56" y="287"/>
                  <a:pt x="56" y="287"/>
                </a:cubicBezTo>
                <a:cubicBezTo>
                  <a:pt x="56" y="287"/>
                  <a:pt x="163" y="167"/>
                  <a:pt x="176" y="112"/>
                </a:cubicBezTo>
                <a:cubicBezTo>
                  <a:pt x="205" y="44"/>
                  <a:pt x="351" y="5"/>
                  <a:pt x="351" y="5"/>
                </a:cubicBezTo>
                <a:cubicBezTo>
                  <a:pt x="351" y="5"/>
                  <a:pt x="335" y="1"/>
                  <a:pt x="309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" name="Google Shape;65;p2"/>
          <p:cNvSpPr/>
          <p:nvPr/>
        </p:nvSpPr>
        <p:spPr>
          <a:xfrm>
            <a:off x="11337536" y="5767114"/>
            <a:ext cx="112944" cy="51551"/>
          </a:xfrm>
          <a:custGeom>
            <a:avLst/>
            <a:gdLst/>
            <a:ahLst/>
            <a:cxnLst/>
            <a:rect l="l" t="t" r="r" b="b"/>
            <a:pathLst>
              <a:path w="406" h="229" extrusionOk="0">
                <a:moveTo>
                  <a:pt x="293" y="1"/>
                </a:moveTo>
                <a:cubicBezTo>
                  <a:pt x="238" y="1"/>
                  <a:pt x="172" y="9"/>
                  <a:pt x="121" y="41"/>
                </a:cubicBezTo>
                <a:cubicBezTo>
                  <a:pt x="27" y="93"/>
                  <a:pt x="1" y="229"/>
                  <a:pt x="1" y="229"/>
                </a:cubicBezTo>
                <a:cubicBezTo>
                  <a:pt x="1" y="229"/>
                  <a:pt x="134" y="216"/>
                  <a:pt x="244" y="174"/>
                </a:cubicBezTo>
                <a:cubicBezTo>
                  <a:pt x="338" y="135"/>
                  <a:pt x="406" y="12"/>
                  <a:pt x="406" y="12"/>
                </a:cubicBezTo>
                <a:cubicBezTo>
                  <a:pt x="406" y="12"/>
                  <a:pt x="356" y="1"/>
                  <a:pt x="293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6" name="Google Shape;66;p2"/>
          <p:cNvSpPr/>
          <p:nvPr/>
        </p:nvSpPr>
        <p:spPr>
          <a:xfrm>
            <a:off x="11363685" y="5800204"/>
            <a:ext cx="94027" cy="24312"/>
          </a:xfrm>
          <a:custGeom>
            <a:avLst/>
            <a:gdLst/>
            <a:ahLst/>
            <a:cxnLst/>
            <a:rect l="l" t="t" r="r" b="b"/>
            <a:pathLst>
              <a:path w="338" h="108" extrusionOk="0">
                <a:moveTo>
                  <a:pt x="189" y="1"/>
                </a:moveTo>
                <a:cubicBezTo>
                  <a:pt x="108" y="1"/>
                  <a:pt x="1" y="82"/>
                  <a:pt x="1" y="82"/>
                </a:cubicBezTo>
                <a:cubicBezTo>
                  <a:pt x="1" y="82"/>
                  <a:pt x="121" y="108"/>
                  <a:pt x="202" y="108"/>
                </a:cubicBezTo>
                <a:cubicBezTo>
                  <a:pt x="283" y="108"/>
                  <a:pt x="338" y="56"/>
                  <a:pt x="338" y="56"/>
                </a:cubicBezTo>
                <a:cubicBezTo>
                  <a:pt x="338" y="56"/>
                  <a:pt x="283" y="14"/>
                  <a:pt x="189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" name="Google Shape;67;p2"/>
          <p:cNvSpPr/>
          <p:nvPr/>
        </p:nvSpPr>
        <p:spPr>
          <a:xfrm>
            <a:off x="11306937" y="5718490"/>
            <a:ext cx="79561" cy="100173"/>
          </a:xfrm>
          <a:custGeom>
            <a:avLst/>
            <a:gdLst/>
            <a:ahLst/>
            <a:cxnLst/>
            <a:rect l="l" t="t" r="r" b="b"/>
            <a:pathLst>
              <a:path w="286" h="445" extrusionOk="0">
                <a:moveTo>
                  <a:pt x="218" y="1"/>
                </a:moveTo>
                <a:cubicBezTo>
                  <a:pt x="218" y="1"/>
                  <a:pt x="69" y="82"/>
                  <a:pt x="43" y="228"/>
                </a:cubicBezTo>
                <a:cubicBezTo>
                  <a:pt x="1" y="364"/>
                  <a:pt x="111" y="445"/>
                  <a:pt x="111" y="445"/>
                </a:cubicBezTo>
                <a:cubicBezTo>
                  <a:pt x="111" y="445"/>
                  <a:pt x="244" y="377"/>
                  <a:pt x="273" y="270"/>
                </a:cubicBezTo>
                <a:cubicBezTo>
                  <a:pt x="286" y="163"/>
                  <a:pt x="218" y="1"/>
                  <a:pt x="218" y="1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8" name="Google Shape;68;p2"/>
          <p:cNvSpPr/>
          <p:nvPr/>
        </p:nvSpPr>
        <p:spPr>
          <a:xfrm>
            <a:off x="11266321" y="5736723"/>
            <a:ext cx="48961" cy="81940"/>
          </a:xfrm>
          <a:custGeom>
            <a:avLst/>
            <a:gdLst/>
            <a:ahLst/>
            <a:cxnLst/>
            <a:rect l="l" t="t" r="r" b="b"/>
            <a:pathLst>
              <a:path w="176" h="364" extrusionOk="0">
                <a:moveTo>
                  <a:pt x="66" y="1"/>
                </a:moveTo>
                <a:cubicBezTo>
                  <a:pt x="66" y="1"/>
                  <a:pt x="1" y="147"/>
                  <a:pt x="1" y="215"/>
                </a:cubicBezTo>
                <a:cubicBezTo>
                  <a:pt x="1" y="296"/>
                  <a:pt x="176" y="364"/>
                  <a:pt x="176" y="364"/>
                </a:cubicBezTo>
                <a:cubicBezTo>
                  <a:pt x="176" y="364"/>
                  <a:pt x="134" y="228"/>
                  <a:pt x="121" y="147"/>
                </a:cubicBezTo>
                <a:cubicBezTo>
                  <a:pt x="121" y="66"/>
                  <a:pt x="66" y="1"/>
                  <a:pt x="66" y="1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9" name="Google Shape;69;p2"/>
          <p:cNvSpPr/>
          <p:nvPr/>
        </p:nvSpPr>
        <p:spPr>
          <a:xfrm>
            <a:off x="11363686" y="5790749"/>
            <a:ext cx="70937" cy="28139"/>
          </a:xfrm>
          <a:custGeom>
            <a:avLst/>
            <a:gdLst/>
            <a:ahLst/>
            <a:cxnLst/>
            <a:rect l="l" t="t" r="r" b="b"/>
            <a:pathLst>
              <a:path w="255" h="125" extrusionOk="0">
                <a:moveTo>
                  <a:pt x="196" y="0"/>
                </a:moveTo>
                <a:cubicBezTo>
                  <a:pt x="79" y="0"/>
                  <a:pt x="1" y="124"/>
                  <a:pt x="1" y="124"/>
                </a:cubicBezTo>
                <a:cubicBezTo>
                  <a:pt x="13" y="124"/>
                  <a:pt x="24" y="125"/>
                  <a:pt x="35" y="125"/>
                </a:cubicBezTo>
                <a:cubicBezTo>
                  <a:pt x="254" y="125"/>
                  <a:pt x="231" y="4"/>
                  <a:pt x="231" y="4"/>
                </a:cubicBezTo>
                <a:cubicBezTo>
                  <a:pt x="219" y="1"/>
                  <a:pt x="207" y="0"/>
                  <a:pt x="196" y="0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0" name="Google Shape;70;p2"/>
          <p:cNvSpPr/>
          <p:nvPr/>
        </p:nvSpPr>
        <p:spPr>
          <a:xfrm>
            <a:off x="2591318" y="4878827"/>
            <a:ext cx="93749" cy="64607"/>
          </a:xfrm>
          <a:custGeom>
            <a:avLst/>
            <a:gdLst/>
            <a:ahLst/>
            <a:cxnLst/>
            <a:rect l="l" t="t" r="r" b="b"/>
            <a:pathLst>
              <a:path w="337" h="287" extrusionOk="0">
                <a:moveTo>
                  <a:pt x="295" y="1"/>
                </a:moveTo>
                <a:cubicBezTo>
                  <a:pt x="253" y="1"/>
                  <a:pt x="186" y="12"/>
                  <a:pt x="120" y="70"/>
                </a:cubicBezTo>
                <a:cubicBezTo>
                  <a:pt x="0" y="151"/>
                  <a:pt x="52" y="287"/>
                  <a:pt x="52" y="287"/>
                </a:cubicBezTo>
                <a:cubicBezTo>
                  <a:pt x="52" y="287"/>
                  <a:pt x="162" y="167"/>
                  <a:pt x="175" y="112"/>
                </a:cubicBezTo>
                <a:cubicBezTo>
                  <a:pt x="201" y="57"/>
                  <a:pt x="337" y="5"/>
                  <a:pt x="337" y="5"/>
                </a:cubicBezTo>
                <a:cubicBezTo>
                  <a:pt x="337" y="5"/>
                  <a:pt x="321" y="1"/>
                  <a:pt x="295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1" name="Google Shape;71;p2"/>
          <p:cNvSpPr/>
          <p:nvPr/>
        </p:nvSpPr>
        <p:spPr>
          <a:xfrm>
            <a:off x="2628039" y="4893009"/>
            <a:ext cx="112944" cy="53351"/>
          </a:xfrm>
          <a:custGeom>
            <a:avLst/>
            <a:gdLst/>
            <a:ahLst/>
            <a:cxnLst/>
            <a:rect l="l" t="t" r="r" b="b"/>
            <a:pathLst>
              <a:path w="406" h="237" extrusionOk="0">
                <a:moveTo>
                  <a:pt x="310" y="1"/>
                </a:moveTo>
                <a:cubicBezTo>
                  <a:pt x="252" y="1"/>
                  <a:pt x="179" y="8"/>
                  <a:pt x="124" y="36"/>
                </a:cubicBezTo>
                <a:cubicBezTo>
                  <a:pt x="14" y="88"/>
                  <a:pt x="1" y="237"/>
                  <a:pt x="1" y="237"/>
                </a:cubicBezTo>
                <a:cubicBezTo>
                  <a:pt x="1" y="237"/>
                  <a:pt x="137" y="211"/>
                  <a:pt x="231" y="169"/>
                </a:cubicBezTo>
                <a:cubicBezTo>
                  <a:pt x="338" y="143"/>
                  <a:pt x="406" y="7"/>
                  <a:pt x="406" y="7"/>
                </a:cubicBezTo>
                <a:cubicBezTo>
                  <a:pt x="406" y="7"/>
                  <a:pt x="365" y="1"/>
                  <a:pt x="310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2" name="Google Shape;72;p2"/>
          <p:cNvSpPr/>
          <p:nvPr/>
        </p:nvSpPr>
        <p:spPr>
          <a:xfrm>
            <a:off x="2654188" y="4927675"/>
            <a:ext cx="94861" cy="21611"/>
          </a:xfrm>
          <a:custGeom>
            <a:avLst/>
            <a:gdLst/>
            <a:ahLst/>
            <a:cxnLst/>
            <a:rect l="l" t="t" r="r" b="b"/>
            <a:pathLst>
              <a:path w="341" h="96" extrusionOk="0">
                <a:moveTo>
                  <a:pt x="176" y="1"/>
                </a:moveTo>
                <a:cubicBezTo>
                  <a:pt x="97" y="1"/>
                  <a:pt x="1" y="83"/>
                  <a:pt x="1" y="83"/>
                </a:cubicBezTo>
                <a:cubicBezTo>
                  <a:pt x="1" y="83"/>
                  <a:pt x="124" y="96"/>
                  <a:pt x="205" y="96"/>
                </a:cubicBezTo>
                <a:cubicBezTo>
                  <a:pt x="286" y="96"/>
                  <a:pt x="341" y="57"/>
                  <a:pt x="341" y="57"/>
                </a:cubicBezTo>
                <a:cubicBezTo>
                  <a:pt x="341" y="57"/>
                  <a:pt x="273" y="2"/>
                  <a:pt x="192" y="2"/>
                </a:cubicBezTo>
                <a:cubicBezTo>
                  <a:pt x="187" y="1"/>
                  <a:pt x="181" y="1"/>
                  <a:pt x="176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3" name="Google Shape;73;p2"/>
          <p:cNvSpPr/>
          <p:nvPr/>
        </p:nvSpPr>
        <p:spPr>
          <a:xfrm>
            <a:off x="2598273" y="4843259"/>
            <a:ext cx="78727" cy="103100"/>
          </a:xfrm>
          <a:custGeom>
            <a:avLst/>
            <a:gdLst/>
            <a:ahLst/>
            <a:cxnLst/>
            <a:rect l="l" t="t" r="r" b="b"/>
            <a:pathLst>
              <a:path w="283" h="458" extrusionOk="0">
                <a:moveTo>
                  <a:pt x="218" y="1"/>
                </a:moveTo>
                <a:cubicBezTo>
                  <a:pt x="218" y="1"/>
                  <a:pt x="69" y="82"/>
                  <a:pt x="40" y="228"/>
                </a:cubicBezTo>
                <a:cubicBezTo>
                  <a:pt x="1" y="377"/>
                  <a:pt x="108" y="458"/>
                  <a:pt x="108" y="458"/>
                </a:cubicBezTo>
                <a:cubicBezTo>
                  <a:pt x="108" y="458"/>
                  <a:pt x="244" y="377"/>
                  <a:pt x="270" y="270"/>
                </a:cubicBezTo>
                <a:cubicBezTo>
                  <a:pt x="283" y="163"/>
                  <a:pt x="218" y="1"/>
                  <a:pt x="218" y="1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4" name="Google Shape;74;p2"/>
          <p:cNvSpPr/>
          <p:nvPr/>
        </p:nvSpPr>
        <p:spPr>
          <a:xfrm>
            <a:off x="2556824" y="4861492"/>
            <a:ext cx="48961" cy="84867"/>
          </a:xfrm>
          <a:custGeom>
            <a:avLst/>
            <a:gdLst/>
            <a:ahLst/>
            <a:cxnLst/>
            <a:rect l="l" t="t" r="r" b="b"/>
            <a:pathLst>
              <a:path w="176" h="377" extrusionOk="0">
                <a:moveTo>
                  <a:pt x="69" y="1"/>
                </a:moveTo>
                <a:cubicBezTo>
                  <a:pt x="69" y="1"/>
                  <a:pt x="1" y="147"/>
                  <a:pt x="1" y="215"/>
                </a:cubicBezTo>
                <a:cubicBezTo>
                  <a:pt x="1" y="296"/>
                  <a:pt x="176" y="377"/>
                  <a:pt x="176" y="377"/>
                </a:cubicBezTo>
                <a:cubicBezTo>
                  <a:pt x="176" y="377"/>
                  <a:pt x="137" y="228"/>
                  <a:pt x="124" y="147"/>
                </a:cubicBezTo>
                <a:cubicBezTo>
                  <a:pt x="124" y="66"/>
                  <a:pt x="69" y="1"/>
                  <a:pt x="69" y="1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5" name="Google Shape;75;p2"/>
          <p:cNvSpPr/>
          <p:nvPr/>
        </p:nvSpPr>
        <p:spPr>
          <a:xfrm>
            <a:off x="2654188" y="4915519"/>
            <a:ext cx="72328" cy="30840"/>
          </a:xfrm>
          <a:custGeom>
            <a:avLst/>
            <a:gdLst/>
            <a:ahLst/>
            <a:cxnLst/>
            <a:rect l="l" t="t" r="r" b="b"/>
            <a:pathLst>
              <a:path w="260" h="137" extrusionOk="0">
                <a:moveTo>
                  <a:pt x="195" y="0"/>
                </a:moveTo>
                <a:cubicBezTo>
                  <a:pt x="69" y="0"/>
                  <a:pt x="1" y="137"/>
                  <a:pt x="1" y="137"/>
                </a:cubicBezTo>
                <a:cubicBezTo>
                  <a:pt x="260" y="137"/>
                  <a:pt x="231" y="4"/>
                  <a:pt x="231" y="4"/>
                </a:cubicBezTo>
                <a:cubicBezTo>
                  <a:pt x="219" y="2"/>
                  <a:pt x="207" y="0"/>
                  <a:pt x="195" y="0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" name="Google Shape;76;p2"/>
          <p:cNvSpPr/>
          <p:nvPr/>
        </p:nvSpPr>
        <p:spPr>
          <a:xfrm>
            <a:off x="5779348" y="5098310"/>
            <a:ext cx="67600" cy="39844"/>
          </a:xfrm>
          <a:custGeom>
            <a:avLst/>
            <a:gdLst/>
            <a:ahLst/>
            <a:cxnLst/>
            <a:rect l="l" t="t" r="r" b="b"/>
            <a:pathLst>
              <a:path w="243" h="177" extrusionOk="0">
                <a:moveTo>
                  <a:pt x="210" y="1"/>
                </a:moveTo>
                <a:cubicBezTo>
                  <a:pt x="166" y="1"/>
                  <a:pt x="1" y="113"/>
                  <a:pt x="13" y="177"/>
                </a:cubicBezTo>
                <a:cubicBezTo>
                  <a:pt x="13" y="177"/>
                  <a:pt x="81" y="164"/>
                  <a:pt x="136" y="122"/>
                </a:cubicBezTo>
                <a:cubicBezTo>
                  <a:pt x="188" y="67"/>
                  <a:pt x="243" y="28"/>
                  <a:pt x="217" y="2"/>
                </a:cubicBezTo>
                <a:cubicBezTo>
                  <a:pt x="215" y="1"/>
                  <a:pt x="213" y="1"/>
                  <a:pt x="210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" name="Google Shape;77;p2"/>
          <p:cNvSpPr/>
          <p:nvPr/>
        </p:nvSpPr>
        <p:spPr>
          <a:xfrm>
            <a:off x="5813287" y="5088179"/>
            <a:ext cx="112944" cy="49975"/>
          </a:xfrm>
          <a:custGeom>
            <a:avLst/>
            <a:gdLst/>
            <a:ahLst/>
            <a:cxnLst/>
            <a:rect l="l" t="t" r="r" b="b"/>
            <a:pathLst>
              <a:path w="406" h="222" extrusionOk="0">
                <a:moveTo>
                  <a:pt x="302" y="1"/>
                </a:moveTo>
                <a:cubicBezTo>
                  <a:pt x="268" y="1"/>
                  <a:pt x="226" y="5"/>
                  <a:pt x="176" y="18"/>
                </a:cubicBezTo>
                <a:cubicBezTo>
                  <a:pt x="14" y="60"/>
                  <a:pt x="1" y="222"/>
                  <a:pt x="1" y="222"/>
                </a:cubicBezTo>
                <a:cubicBezTo>
                  <a:pt x="1" y="222"/>
                  <a:pt x="134" y="209"/>
                  <a:pt x="244" y="167"/>
                </a:cubicBezTo>
                <a:cubicBezTo>
                  <a:pt x="351" y="128"/>
                  <a:pt x="406" y="18"/>
                  <a:pt x="406" y="18"/>
                </a:cubicBezTo>
                <a:cubicBezTo>
                  <a:pt x="406" y="18"/>
                  <a:pt x="370" y="1"/>
                  <a:pt x="302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8" name="Google Shape;78;p2"/>
          <p:cNvSpPr/>
          <p:nvPr/>
        </p:nvSpPr>
        <p:spPr>
          <a:xfrm>
            <a:off x="5839437" y="5123072"/>
            <a:ext cx="82343" cy="18009"/>
          </a:xfrm>
          <a:custGeom>
            <a:avLst/>
            <a:gdLst/>
            <a:ahLst/>
            <a:cxnLst/>
            <a:rect l="l" t="t" r="r" b="b"/>
            <a:pathLst>
              <a:path w="296" h="80" extrusionOk="0">
                <a:moveTo>
                  <a:pt x="159" y="1"/>
                </a:moveTo>
                <a:cubicBezTo>
                  <a:pt x="107" y="1"/>
                  <a:pt x="46" y="15"/>
                  <a:pt x="1" y="54"/>
                </a:cubicBezTo>
                <a:cubicBezTo>
                  <a:pt x="1" y="54"/>
                  <a:pt x="108" y="80"/>
                  <a:pt x="163" y="80"/>
                </a:cubicBezTo>
                <a:cubicBezTo>
                  <a:pt x="231" y="80"/>
                  <a:pt x="296" y="80"/>
                  <a:pt x="270" y="38"/>
                </a:cubicBezTo>
                <a:cubicBezTo>
                  <a:pt x="263" y="18"/>
                  <a:pt x="216" y="1"/>
                  <a:pt x="159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9" name="Google Shape;79;p2"/>
          <p:cNvSpPr/>
          <p:nvPr/>
        </p:nvSpPr>
        <p:spPr>
          <a:xfrm>
            <a:off x="5797988" y="5040231"/>
            <a:ext cx="83177" cy="97923"/>
          </a:xfrm>
          <a:custGeom>
            <a:avLst/>
            <a:gdLst/>
            <a:ahLst/>
            <a:cxnLst/>
            <a:rect l="l" t="t" r="r" b="b"/>
            <a:pathLst>
              <a:path w="299" h="435" extrusionOk="0">
                <a:moveTo>
                  <a:pt x="218" y="1"/>
                </a:moveTo>
                <a:cubicBezTo>
                  <a:pt x="218" y="1"/>
                  <a:pt x="82" y="98"/>
                  <a:pt x="40" y="218"/>
                </a:cubicBezTo>
                <a:cubicBezTo>
                  <a:pt x="1" y="341"/>
                  <a:pt x="56" y="435"/>
                  <a:pt x="56" y="435"/>
                </a:cubicBezTo>
                <a:cubicBezTo>
                  <a:pt x="56" y="435"/>
                  <a:pt x="163" y="380"/>
                  <a:pt x="218" y="312"/>
                </a:cubicBezTo>
                <a:cubicBezTo>
                  <a:pt x="299" y="218"/>
                  <a:pt x="283" y="98"/>
                  <a:pt x="218" y="1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0" name="Google Shape;80;p2"/>
          <p:cNvSpPr/>
          <p:nvPr/>
        </p:nvSpPr>
        <p:spPr>
          <a:xfrm>
            <a:off x="5737621" y="5058465"/>
            <a:ext cx="57028" cy="67308"/>
          </a:xfrm>
          <a:custGeom>
            <a:avLst/>
            <a:gdLst/>
            <a:ahLst/>
            <a:cxnLst/>
            <a:rect l="l" t="t" r="r" b="b"/>
            <a:pathLst>
              <a:path w="205" h="299" extrusionOk="0">
                <a:moveTo>
                  <a:pt x="1" y="1"/>
                </a:moveTo>
                <a:cubicBezTo>
                  <a:pt x="1" y="1"/>
                  <a:pt x="1" y="111"/>
                  <a:pt x="30" y="163"/>
                </a:cubicBezTo>
                <a:cubicBezTo>
                  <a:pt x="69" y="244"/>
                  <a:pt x="192" y="299"/>
                  <a:pt x="192" y="299"/>
                </a:cubicBezTo>
                <a:cubicBezTo>
                  <a:pt x="192" y="299"/>
                  <a:pt x="205" y="150"/>
                  <a:pt x="137" y="82"/>
                </a:cubicBezTo>
                <a:cubicBezTo>
                  <a:pt x="82" y="17"/>
                  <a:pt x="1" y="1"/>
                  <a:pt x="1" y="1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1" name="Google Shape;81;p2"/>
          <p:cNvSpPr/>
          <p:nvPr/>
        </p:nvSpPr>
        <p:spPr>
          <a:xfrm>
            <a:off x="5839436" y="5110015"/>
            <a:ext cx="67877" cy="25212"/>
          </a:xfrm>
          <a:custGeom>
            <a:avLst/>
            <a:gdLst/>
            <a:ahLst/>
            <a:cxnLst/>
            <a:rect l="l" t="t" r="r" b="b"/>
            <a:pathLst>
              <a:path w="244" h="112" extrusionOk="0">
                <a:moveTo>
                  <a:pt x="176" y="0"/>
                </a:moveTo>
                <a:cubicBezTo>
                  <a:pt x="119" y="0"/>
                  <a:pt x="25" y="73"/>
                  <a:pt x="1" y="112"/>
                </a:cubicBezTo>
                <a:cubicBezTo>
                  <a:pt x="1" y="112"/>
                  <a:pt x="121" y="112"/>
                  <a:pt x="150" y="83"/>
                </a:cubicBezTo>
                <a:cubicBezTo>
                  <a:pt x="215" y="57"/>
                  <a:pt x="244" y="15"/>
                  <a:pt x="189" y="2"/>
                </a:cubicBezTo>
                <a:cubicBezTo>
                  <a:pt x="185" y="1"/>
                  <a:pt x="181" y="0"/>
                  <a:pt x="176" y="0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2" name="Google Shape;82;p2"/>
          <p:cNvSpPr/>
          <p:nvPr/>
        </p:nvSpPr>
        <p:spPr>
          <a:xfrm>
            <a:off x="5715087" y="5107313"/>
            <a:ext cx="67877" cy="31291"/>
          </a:xfrm>
          <a:custGeom>
            <a:avLst/>
            <a:gdLst/>
            <a:ahLst/>
            <a:cxnLst/>
            <a:rect l="l" t="t" r="r" b="b"/>
            <a:pathLst>
              <a:path w="244" h="139" extrusionOk="0">
                <a:moveTo>
                  <a:pt x="14" y="1"/>
                </a:moveTo>
                <a:cubicBezTo>
                  <a:pt x="14" y="1"/>
                  <a:pt x="1" y="56"/>
                  <a:pt x="82" y="95"/>
                </a:cubicBezTo>
                <a:cubicBezTo>
                  <a:pt x="137" y="132"/>
                  <a:pt x="192" y="138"/>
                  <a:pt x="222" y="138"/>
                </a:cubicBezTo>
                <a:cubicBezTo>
                  <a:pt x="236" y="138"/>
                  <a:pt x="244" y="137"/>
                  <a:pt x="244" y="137"/>
                </a:cubicBezTo>
                <a:cubicBezTo>
                  <a:pt x="244" y="137"/>
                  <a:pt x="176" y="27"/>
                  <a:pt x="14" y="1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3" name="Google Shape;83;p2"/>
          <p:cNvSpPr/>
          <p:nvPr/>
        </p:nvSpPr>
        <p:spPr>
          <a:xfrm>
            <a:off x="667929" y="4642010"/>
            <a:ext cx="86516" cy="49073"/>
          </a:xfrm>
          <a:custGeom>
            <a:avLst/>
            <a:gdLst/>
            <a:ahLst/>
            <a:cxnLst/>
            <a:rect l="l" t="t" r="r" b="b"/>
            <a:pathLst>
              <a:path w="311" h="218" extrusionOk="0">
                <a:moveTo>
                  <a:pt x="257" y="0"/>
                </a:moveTo>
                <a:cubicBezTo>
                  <a:pt x="192" y="0"/>
                  <a:pt x="1" y="132"/>
                  <a:pt x="13" y="218"/>
                </a:cubicBezTo>
                <a:cubicBezTo>
                  <a:pt x="13" y="218"/>
                  <a:pt x="94" y="205"/>
                  <a:pt x="162" y="150"/>
                </a:cubicBezTo>
                <a:cubicBezTo>
                  <a:pt x="243" y="98"/>
                  <a:pt x="311" y="30"/>
                  <a:pt x="272" y="4"/>
                </a:cubicBezTo>
                <a:cubicBezTo>
                  <a:pt x="268" y="1"/>
                  <a:pt x="263" y="0"/>
                  <a:pt x="257" y="0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4" name="Google Shape;84;p2"/>
          <p:cNvSpPr/>
          <p:nvPr/>
        </p:nvSpPr>
        <p:spPr>
          <a:xfrm>
            <a:off x="709100" y="4627828"/>
            <a:ext cx="142709" cy="63256"/>
          </a:xfrm>
          <a:custGeom>
            <a:avLst/>
            <a:gdLst/>
            <a:ahLst/>
            <a:cxnLst/>
            <a:rect l="l" t="t" r="r" b="b"/>
            <a:pathLst>
              <a:path w="513" h="281" extrusionOk="0">
                <a:moveTo>
                  <a:pt x="378" y="0"/>
                </a:moveTo>
                <a:cubicBezTo>
                  <a:pt x="334" y="0"/>
                  <a:pt x="281" y="7"/>
                  <a:pt x="218" y="25"/>
                </a:cubicBezTo>
                <a:cubicBezTo>
                  <a:pt x="27" y="80"/>
                  <a:pt x="1" y="281"/>
                  <a:pt x="1" y="281"/>
                </a:cubicBezTo>
                <a:cubicBezTo>
                  <a:pt x="1" y="281"/>
                  <a:pt x="176" y="268"/>
                  <a:pt x="312" y="213"/>
                </a:cubicBezTo>
                <a:cubicBezTo>
                  <a:pt x="448" y="161"/>
                  <a:pt x="513" y="25"/>
                  <a:pt x="513" y="25"/>
                </a:cubicBezTo>
                <a:cubicBezTo>
                  <a:pt x="513" y="25"/>
                  <a:pt x="465" y="0"/>
                  <a:pt x="378" y="0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5" name="Google Shape;85;p2"/>
          <p:cNvSpPr/>
          <p:nvPr/>
        </p:nvSpPr>
        <p:spPr>
          <a:xfrm>
            <a:off x="743597" y="4672401"/>
            <a:ext cx="104599" cy="25212"/>
          </a:xfrm>
          <a:custGeom>
            <a:avLst/>
            <a:gdLst/>
            <a:ahLst/>
            <a:cxnLst/>
            <a:rect l="l" t="t" r="r" b="b"/>
            <a:pathLst>
              <a:path w="376" h="112" extrusionOk="0">
                <a:moveTo>
                  <a:pt x="200" y="1"/>
                </a:moveTo>
                <a:cubicBezTo>
                  <a:pt x="134" y="1"/>
                  <a:pt x="57" y="19"/>
                  <a:pt x="0" y="70"/>
                </a:cubicBezTo>
                <a:cubicBezTo>
                  <a:pt x="0" y="70"/>
                  <a:pt x="120" y="112"/>
                  <a:pt x="201" y="112"/>
                </a:cubicBezTo>
                <a:cubicBezTo>
                  <a:pt x="282" y="96"/>
                  <a:pt x="376" y="112"/>
                  <a:pt x="337" y="44"/>
                </a:cubicBezTo>
                <a:cubicBezTo>
                  <a:pt x="330" y="22"/>
                  <a:pt x="272" y="1"/>
                  <a:pt x="200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6" name="Google Shape;86;p2"/>
          <p:cNvSpPr/>
          <p:nvPr/>
        </p:nvSpPr>
        <p:spPr>
          <a:xfrm>
            <a:off x="690185" y="4569750"/>
            <a:ext cx="105711" cy="121335"/>
          </a:xfrm>
          <a:custGeom>
            <a:avLst/>
            <a:gdLst/>
            <a:ahLst/>
            <a:cxnLst/>
            <a:rect l="l" t="t" r="r" b="b"/>
            <a:pathLst>
              <a:path w="380" h="539" extrusionOk="0">
                <a:moveTo>
                  <a:pt x="286" y="1"/>
                </a:moveTo>
                <a:cubicBezTo>
                  <a:pt x="286" y="1"/>
                  <a:pt x="111" y="121"/>
                  <a:pt x="56" y="270"/>
                </a:cubicBezTo>
                <a:cubicBezTo>
                  <a:pt x="1" y="419"/>
                  <a:pt x="69" y="539"/>
                  <a:pt x="69" y="539"/>
                </a:cubicBezTo>
                <a:cubicBezTo>
                  <a:pt x="69" y="539"/>
                  <a:pt x="205" y="487"/>
                  <a:pt x="286" y="390"/>
                </a:cubicBezTo>
                <a:cubicBezTo>
                  <a:pt x="380" y="270"/>
                  <a:pt x="367" y="108"/>
                  <a:pt x="286" y="1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7" name="Google Shape;87;p2"/>
          <p:cNvSpPr/>
          <p:nvPr/>
        </p:nvSpPr>
        <p:spPr>
          <a:xfrm>
            <a:off x="615351" y="4593837"/>
            <a:ext cx="71493" cy="81940"/>
          </a:xfrm>
          <a:custGeom>
            <a:avLst/>
            <a:gdLst/>
            <a:ahLst/>
            <a:cxnLst/>
            <a:rect l="l" t="t" r="r" b="b"/>
            <a:pathLst>
              <a:path w="257" h="364" extrusionOk="0">
                <a:moveTo>
                  <a:pt x="1" y="1"/>
                </a:moveTo>
                <a:cubicBezTo>
                  <a:pt x="1" y="1"/>
                  <a:pt x="1" y="121"/>
                  <a:pt x="27" y="189"/>
                </a:cubicBezTo>
                <a:cubicBezTo>
                  <a:pt x="82" y="299"/>
                  <a:pt x="231" y="364"/>
                  <a:pt x="231" y="364"/>
                </a:cubicBezTo>
                <a:cubicBezTo>
                  <a:pt x="231" y="364"/>
                  <a:pt x="257" y="176"/>
                  <a:pt x="176" y="95"/>
                </a:cubicBezTo>
                <a:cubicBezTo>
                  <a:pt x="95" y="14"/>
                  <a:pt x="1" y="1"/>
                  <a:pt x="1" y="1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8" name="Google Shape;88;p2"/>
          <p:cNvSpPr/>
          <p:nvPr/>
        </p:nvSpPr>
        <p:spPr>
          <a:xfrm>
            <a:off x="743597" y="4657093"/>
            <a:ext cx="82065" cy="31065"/>
          </a:xfrm>
          <a:custGeom>
            <a:avLst/>
            <a:gdLst/>
            <a:ahLst/>
            <a:cxnLst/>
            <a:rect l="l" t="t" r="r" b="b"/>
            <a:pathLst>
              <a:path w="295" h="138" extrusionOk="0">
                <a:moveTo>
                  <a:pt x="214" y="1"/>
                </a:moveTo>
                <a:cubicBezTo>
                  <a:pt x="145" y="1"/>
                  <a:pt x="24" y="86"/>
                  <a:pt x="0" y="138"/>
                </a:cubicBezTo>
                <a:cubicBezTo>
                  <a:pt x="0" y="138"/>
                  <a:pt x="146" y="125"/>
                  <a:pt x="188" y="112"/>
                </a:cubicBezTo>
                <a:cubicBezTo>
                  <a:pt x="269" y="70"/>
                  <a:pt x="295" y="18"/>
                  <a:pt x="227" y="2"/>
                </a:cubicBezTo>
                <a:cubicBezTo>
                  <a:pt x="223" y="1"/>
                  <a:pt x="218" y="1"/>
                  <a:pt x="214" y="1"/>
                </a:cubicBezTo>
                <a:close/>
              </a:path>
            </a:pathLst>
          </a:custGeom>
          <a:solidFill>
            <a:srgbClr val="3D7D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9" name="Google Shape;89;p2"/>
          <p:cNvSpPr/>
          <p:nvPr/>
        </p:nvSpPr>
        <p:spPr>
          <a:xfrm>
            <a:off x="585864" y="4654391"/>
            <a:ext cx="85681" cy="36919"/>
          </a:xfrm>
          <a:custGeom>
            <a:avLst/>
            <a:gdLst/>
            <a:ahLst/>
            <a:cxnLst/>
            <a:rect l="l" t="t" r="r" b="b"/>
            <a:pathLst>
              <a:path w="308" h="164" extrusionOk="0">
                <a:moveTo>
                  <a:pt x="26" y="1"/>
                </a:moveTo>
                <a:cubicBezTo>
                  <a:pt x="26" y="1"/>
                  <a:pt x="0" y="56"/>
                  <a:pt x="107" y="111"/>
                </a:cubicBezTo>
                <a:cubicBezTo>
                  <a:pt x="183" y="157"/>
                  <a:pt x="253" y="164"/>
                  <a:pt x="287" y="164"/>
                </a:cubicBezTo>
                <a:cubicBezTo>
                  <a:pt x="300" y="164"/>
                  <a:pt x="308" y="163"/>
                  <a:pt x="308" y="163"/>
                </a:cubicBezTo>
                <a:cubicBezTo>
                  <a:pt x="308" y="163"/>
                  <a:pt x="214" y="30"/>
                  <a:pt x="26" y="1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" name="Google Shape;90;p2"/>
          <p:cNvSpPr/>
          <p:nvPr/>
        </p:nvSpPr>
        <p:spPr>
          <a:xfrm>
            <a:off x="5846670" y="4520901"/>
            <a:ext cx="322975" cy="498393"/>
          </a:xfrm>
          <a:custGeom>
            <a:avLst/>
            <a:gdLst/>
            <a:ahLst/>
            <a:cxnLst/>
            <a:rect l="l" t="t" r="r" b="b"/>
            <a:pathLst>
              <a:path w="1161" h="2214" extrusionOk="0">
                <a:moveTo>
                  <a:pt x="623" y="1"/>
                </a:moveTo>
                <a:cubicBezTo>
                  <a:pt x="623" y="1"/>
                  <a:pt x="286" y="406"/>
                  <a:pt x="150" y="1271"/>
                </a:cubicBezTo>
                <a:cubicBezTo>
                  <a:pt x="1" y="2133"/>
                  <a:pt x="623" y="2214"/>
                  <a:pt x="623" y="2214"/>
                </a:cubicBezTo>
                <a:cubicBezTo>
                  <a:pt x="623" y="2214"/>
                  <a:pt x="1161" y="2065"/>
                  <a:pt x="1054" y="1271"/>
                </a:cubicBezTo>
                <a:cubicBezTo>
                  <a:pt x="960" y="474"/>
                  <a:pt x="623" y="1"/>
                  <a:pt x="623" y="1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1" name="Google Shape;91;p2"/>
          <p:cNvSpPr/>
          <p:nvPr/>
        </p:nvSpPr>
        <p:spPr>
          <a:xfrm>
            <a:off x="5997168" y="4794409"/>
            <a:ext cx="41728" cy="340816"/>
          </a:xfrm>
          <a:custGeom>
            <a:avLst/>
            <a:gdLst/>
            <a:ahLst/>
            <a:cxnLst/>
            <a:rect l="l" t="t" r="r" b="b"/>
            <a:pathLst>
              <a:path w="150" h="1514" extrusionOk="0">
                <a:moveTo>
                  <a:pt x="53" y="1"/>
                </a:moveTo>
                <a:lnTo>
                  <a:pt x="1" y="1514"/>
                </a:lnTo>
                <a:lnTo>
                  <a:pt x="150" y="1514"/>
                </a:lnTo>
                <a:lnTo>
                  <a:pt x="53" y="1"/>
                </a:lnTo>
                <a:close/>
              </a:path>
            </a:pathLst>
          </a:custGeom>
          <a:solidFill>
            <a:srgbClr val="525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2" name="Google Shape;92;p2"/>
          <p:cNvSpPr/>
          <p:nvPr/>
        </p:nvSpPr>
        <p:spPr>
          <a:xfrm>
            <a:off x="10034229" y="3952720"/>
            <a:ext cx="225609" cy="352523"/>
          </a:xfrm>
          <a:custGeom>
            <a:avLst/>
            <a:gdLst/>
            <a:ahLst/>
            <a:cxnLst/>
            <a:rect l="l" t="t" r="r" b="b"/>
            <a:pathLst>
              <a:path w="811" h="1566" extrusionOk="0">
                <a:moveTo>
                  <a:pt x="432" y="1"/>
                </a:moveTo>
                <a:cubicBezTo>
                  <a:pt x="432" y="1"/>
                  <a:pt x="189" y="283"/>
                  <a:pt x="95" y="892"/>
                </a:cubicBezTo>
                <a:cubicBezTo>
                  <a:pt x="1" y="1498"/>
                  <a:pt x="432" y="1566"/>
                  <a:pt x="432" y="1566"/>
                </a:cubicBezTo>
                <a:cubicBezTo>
                  <a:pt x="432" y="1566"/>
                  <a:pt x="811" y="1459"/>
                  <a:pt x="743" y="892"/>
                </a:cubicBezTo>
                <a:cubicBezTo>
                  <a:pt x="662" y="338"/>
                  <a:pt x="432" y="1"/>
                  <a:pt x="432" y="1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3" name="Google Shape;93;p2"/>
          <p:cNvSpPr/>
          <p:nvPr/>
        </p:nvSpPr>
        <p:spPr>
          <a:xfrm>
            <a:off x="10135210" y="4146766"/>
            <a:ext cx="30879" cy="240868"/>
          </a:xfrm>
          <a:custGeom>
            <a:avLst/>
            <a:gdLst/>
            <a:ahLst/>
            <a:cxnLst/>
            <a:rect l="l" t="t" r="r" b="b"/>
            <a:pathLst>
              <a:path w="111" h="1070" extrusionOk="0">
                <a:moveTo>
                  <a:pt x="56" y="1"/>
                </a:moveTo>
                <a:lnTo>
                  <a:pt x="1" y="1070"/>
                </a:lnTo>
                <a:lnTo>
                  <a:pt x="111" y="1070"/>
                </a:lnTo>
                <a:lnTo>
                  <a:pt x="56" y="1"/>
                </a:lnTo>
                <a:close/>
              </a:path>
            </a:pathLst>
          </a:custGeom>
          <a:solidFill>
            <a:srgbClr val="525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4" name="Google Shape;94;p2"/>
          <p:cNvSpPr/>
          <p:nvPr/>
        </p:nvSpPr>
        <p:spPr>
          <a:xfrm>
            <a:off x="10180277" y="3773308"/>
            <a:ext cx="320193" cy="498393"/>
          </a:xfrm>
          <a:custGeom>
            <a:avLst/>
            <a:gdLst/>
            <a:ahLst/>
            <a:cxnLst/>
            <a:rect l="l" t="t" r="r" b="b"/>
            <a:pathLst>
              <a:path w="1151" h="2214" extrusionOk="0">
                <a:moveTo>
                  <a:pt x="610" y="1"/>
                </a:moveTo>
                <a:cubicBezTo>
                  <a:pt x="610" y="1"/>
                  <a:pt x="286" y="406"/>
                  <a:pt x="137" y="1271"/>
                </a:cubicBezTo>
                <a:cubicBezTo>
                  <a:pt x="1" y="2120"/>
                  <a:pt x="610" y="2214"/>
                  <a:pt x="610" y="2214"/>
                </a:cubicBezTo>
                <a:cubicBezTo>
                  <a:pt x="610" y="2214"/>
                  <a:pt x="1151" y="2065"/>
                  <a:pt x="1054" y="1271"/>
                </a:cubicBezTo>
                <a:cubicBezTo>
                  <a:pt x="947" y="474"/>
                  <a:pt x="610" y="1"/>
                  <a:pt x="610" y="1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5" name="Google Shape;95;p2"/>
          <p:cNvSpPr/>
          <p:nvPr/>
        </p:nvSpPr>
        <p:spPr>
          <a:xfrm>
            <a:off x="10327159" y="4046816"/>
            <a:ext cx="41728" cy="340816"/>
          </a:xfrm>
          <a:custGeom>
            <a:avLst/>
            <a:gdLst/>
            <a:ahLst/>
            <a:cxnLst/>
            <a:rect l="l" t="t" r="r" b="b"/>
            <a:pathLst>
              <a:path w="150" h="1514" extrusionOk="0">
                <a:moveTo>
                  <a:pt x="69" y="1"/>
                </a:moveTo>
                <a:lnTo>
                  <a:pt x="1" y="1514"/>
                </a:lnTo>
                <a:lnTo>
                  <a:pt x="150" y="1514"/>
                </a:lnTo>
                <a:lnTo>
                  <a:pt x="69" y="1"/>
                </a:lnTo>
                <a:close/>
              </a:path>
            </a:pathLst>
          </a:custGeom>
          <a:solidFill>
            <a:srgbClr val="525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6" name="Google Shape;96;p2"/>
          <p:cNvSpPr/>
          <p:nvPr/>
        </p:nvSpPr>
        <p:spPr>
          <a:xfrm>
            <a:off x="2343452" y="4326179"/>
            <a:ext cx="322696" cy="501995"/>
          </a:xfrm>
          <a:custGeom>
            <a:avLst/>
            <a:gdLst/>
            <a:ahLst/>
            <a:cxnLst/>
            <a:rect l="l" t="t" r="r" b="b"/>
            <a:pathLst>
              <a:path w="1160" h="2230" extrusionOk="0">
                <a:moveTo>
                  <a:pt x="619" y="1"/>
                </a:moveTo>
                <a:cubicBezTo>
                  <a:pt x="619" y="1"/>
                  <a:pt x="282" y="419"/>
                  <a:pt x="146" y="1271"/>
                </a:cubicBezTo>
                <a:cubicBezTo>
                  <a:pt x="0" y="2136"/>
                  <a:pt x="619" y="2230"/>
                  <a:pt x="619" y="2230"/>
                </a:cubicBezTo>
                <a:cubicBezTo>
                  <a:pt x="619" y="2230"/>
                  <a:pt x="1160" y="2081"/>
                  <a:pt x="1053" y="1271"/>
                </a:cubicBezTo>
                <a:cubicBezTo>
                  <a:pt x="956" y="474"/>
                  <a:pt x="619" y="1"/>
                  <a:pt x="619" y="1"/>
                </a:cubicBezTo>
                <a:close/>
              </a:path>
            </a:pathLst>
          </a:custGeom>
          <a:solidFill>
            <a:srgbClr val="F772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7" name="Google Shape;97;p2"/>
          <p:cNvSpPr/>
          <p:nvPr/>
        </p:nvSpPr>
        <p:spPr>
          <a:xfrm>
            <a:off x="2489223" y="4602615"/>
            <a:ext cx="45344" cy="340816"/>
          </a:xfrm>
          <a:custGeom>
            <a:avLst/>
            <a:gdLst/>
            <a:ahLst/>
            <a:cxnLst/>
            <a:rect l="l" t="t" r="r" b="b"/>
            <a:pathLst>
              <a:path w="163" h="1514" extrusionOk="0">
                <a:moveTo>
                  <a:pt x="69" y="1"/>
                </a:moveTo>
                <a:lnTo>
                  <a:pt x="1" y="1514"/>
                </a:lnTo>
                <a:lnTo>
                  <a:pt x="163" y="1514"/>
                </a:lnTo>
                <a:lnTo>
                  <a:pt x="69" y="1"/>
                </a:lnTo>
                <a:close/>
              </a:path>
            </a:pathLst>
          </a:custGeom>
          <a:solidFill>
            <a:srgbClr val="525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8" name="Google Shape;98;p2"/>
          <p:cNvSpPr/>
          <p:nvPr/>
        </p:nvSpPr>
        <p:spPr>
          <a:xfrm>
            <a:off x="2128693" y="4259997"/>
            <a:ext cx="322975" cy="501095"/>
          </a:xfrm>
          <a:custGeom>
            <a:avLst/>
            <a:gdLst/>
            <a:ahLst/>
            <a:cxnLst/>
            <a:rect l="l" t="t" r="r" b="b"/>
            <a:pathLst>
              <a:path w="1161" h="2226" extrusionOk="0">
                <a:moveTo>
                  <a:pt x="623" y="0"/>
                </a:moveTo>
                <a:cubicBezTo>
                  <a:pt x="623" y="0"/>
                  <a:pt x="286" y="418"/>
                  <a:pt x="150" y="1280"/>
                </a:cubicBezTo>
                <a:cubicBezTo>
                  <a:pt x="1" y="2132"/>
                  <a:pt x="623" y="2226"/>
                  <a:pt x="623" y="2226"/>
                </a:cubicBezTo>
                <a:cubicBezTo>
                  <a:pt x="623" y="2226"/>
                  <a:pt x="1161" y="2077"/>
                  <a:pt x="1054" y="1280"/>
                </a:cubicBezTo>
                <a:cubicBezTo>
                  <a:pt x="960" y="470"/>
                  <a:pt x="623" y="0"/>
                  <a:pt x="623" y="0"/>
                </a:cubicBezTo>
                <a:close/>
              </a:path>
            </a:pathLst>
          </a:custGeom>
          <a:solidFill>
            <a:srgbClr val="0C55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9" name="Google Shape;99;p2"/>
          <p:cNvSpPr/>
          <p:nvPr/>
        </p:nvSpPr>
        <p:spPr>
          <a:xfrm>
            <a:off x="2279191" y="4536208"/>
            <a:ext cx="42007" cy="340141"/>
          </a:xfrm>
          <a:custGeom>
            <a:avLst/>
            <a:gdLst/>
            <a:ahLst/>
            <a:cxnLst/>
            <a:rect l="l" t="t" r="r" b="b"/>
            <a:pathLst>
              <a:path w="151" h="1511" extrusionOk="0">
                <a:moveTo>
                  <a:pt x="53" y="1"/>
                </a:moveTo>
                <a:lnTo>
                  <a:pt x="1" y="1511"/>
                </a:lnTo>
                <a:lnTo>
                  <a:pt x="150" y="1511"/>
                </a:lnTo>
                <a:lnTo>
                  <a:pt x="53" y="1"/>
                </a:lnTo>
                <a:close/>
              </a:path>
            </a:pathLst>
          </a:custGeom>
          <a:solidFill>
            <a:srgbClr val="525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0" name="Google Shape;100;p2"/>
          <p:cNvSpPr/>
          <p:nvPr/>
        </p:nvSpPr>
        <p:spPr>
          <a:xfrm>
            <a:off x="9696229" y="4867346"/>
            <a:ext cx="86795" cy="127863"/>
          </a:xfrm>
          <a:custGeom>
            <a:avLst/>
            <a:gdLst/>
            <a:ahLst/>
            <a:cxnLst/>
            <a:rect l="l" t="t" r="r" b="b"/>
            <a:pathLst>
              <a:path w="312" h="568" extrusionOk="0">
                <a:moveTo>
                  <a:pt x="231" y="1"/>
                </a:moveTo>
                <a:cubicBezTo>
                  <a:pt x="95" y="69"/>
                  <a:pt x="1" y="189"/>
                  <a:pt x="14" y="351"/>
                </a:cubicBezTo>
                <a:cubicBezTo>
                  <a:pt x="27" y="461"/>
                  <a:pt x="121" y="568"/>
                  <a:pt x="121" y="568"/>
                </a:cubicBezTo>
                <a:cubicBezTo>
                  <a:pt x="121" y="568"/>
                  <a:pt x="244" y="500"/>
                  <a:pt x="283" y="338"/>
                </a:cubicBezTo>
                <a:cubicBezTo>
                  <a:pt x="312" y="189"/>
                  <a:pt x="231" y="1"/>
                  <a:pt x="231" y="1"/>
                </a:cubicBezTo>
                <a:close/>
              </a:path>
            </a:pathLst>
          </a:custGeom>
          <a:solidFill>
            <a:srgbClr val="FF8C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1" name="Google Shape;101;p2"/>
          <p:cNvSpPr/>
          <p:nvPr/>
        </p:nvSpPr>
        <p:spPr>
          <a:xfrm>
            <a:off x="9752146" y="4945909"/>
            <a:ext cx="102095" cy="61680"/>
          </a:xfrm>
          <a:custGeom>
            <a:avLst/>
            <a:gdLst/>
            <a:ahLst/>
            <a:cxnLst/>
            <a:rect l="l" t="t" r="r" b="b"/>
            <a:pathLst>
              <a:path w="367" h="274" extrusionOk="0">
                <a:moveTo>
                  <a:pt x="341" y="1"/>
                </a:moveTo>
                <a:cubicBezTo>
                  <a:pt x="305" y="1"/>
                  <a:pt x="238" y="7"/>
                  <a:pt x="163" y="44"/>
                </a:cubicBezTo>
                <a:cubicBezTo>
                  <a:pt x="56" y="96"/>
                  <a:pt x="1" y="274"/>
                  <a:pt x="1" y="274"/>
                </a:cubicBezTo>
                <a:cubicBezTo>
                  <a:pt x="1" y="274"/>
                  <a:pt x="163" y="258"/>
                  <a:pt x="260" y="177"/>
                </a:cubicBezTo>
                <a:cubicBezTo>
                  <a:pt x="312" y="138"/>
                  <a:pt x="367" y="2"/>
                  <a:pt x="367" y="2"/>
                </a:cubicBezTo>
                <a:cubicBezTo>
                  <a:pt x="367" y="2"/>
                  <a:pt x="357" y="1"/>
                  <a:pt x="341" y="1"/>
                </a:cubicBezTo>
                <a:close/>
              </a:path>
            </a:pathLst>
          </a:custGeom>
          <a:solidFill>
            <a:srgbClr val="FF8C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" name="Google Shape;102;p2"/>
          <p:cNvSpPr/>
          <p:nvPr/>
        </p:nvSpPr>
        <p:spPr>
          <a:xfrm>
            <a:off x="9647826" y="4930376"/>
            <a:ext cx="55916" cy="52451"/>
          </a:xfrm>
          <a:custGeom>
            <a:avLst/>
            <a:gdLst/>
            <a:ahLst/>
            <a:cxnLst/>
            <a:rect l="l" t="t" r="r" b="b"/>
            <a:pathLst>
              <a:path w="201" h="233" extrusionOk="0">
                <a:moveTo>
                  <a:pt x="50" y="1"/>
                </a:moveTo>
                <a:cubicBezTo>
                  <a:pt x="0" y="1"/>
                  <a:pt x="4" y="52"/>
                  <a:pt x="39" y="113"/>
                </a:cubicBezTo>
                <a:cubicBezTo>
                  <a:pt x="68" y="152"/>
                  <a:pt x="188" y="233"/>
                  <a:pt x="188" y="233"/>
                </a:cubicBezTo>
                <a:cubicBezTo>
                  <a:pt x="201" y="165"/>
                  <a:pt x="120" y="19"/>
                  <a:pt x="68" y="3"/>
                </a:cubicBezTo>
                <a:cubicBezTo>
                  <a:pt x="61" y="2"/>
                  <a:pt x="55" y="1"/>
                  <a:pt x="50" y="1"/>
                </a:cubicBezTo>
                <a:close/>
              </a:path>
            </a:pathLst>
          </a:custGeom>
          <a:solidFill>
            <a:srgbClr val="FF8C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3" name="Google Shape;103;p2"/>
          <p:cNvSpPr/>
          <p:nvPr/>
        </p:nvSpPr>
        <p:spPr>
          <a:xfrm>
            <a:off x="9316782" y="5876067"/>
            <a:ext cx="102095" cy="140244"/>
          </a:xfrm>
          <a:custGeom>
            <a:avLst/>
            <a:gdLst/>
            <a:ahLst/>
            <a:cxnLst/>
            <a:rect l="l" t="t" r="r" b="b"/>
            <a:pathLst>
              <a:path w="367" h="623" extrusionOk="0">
                <a:moveTo>
                  <a:pt x="176" y="1"/>
                </a:moveTo>
                <a:cubicBezTo>
                  <a:pt x="176" y="1"/>
                  <a:pt x="14" y="192"/>
                  <a:pt x="14" y="312"/>
                </a:cubicBezTo>
                <a:cubicBezTo>
                  <a:pt x="1" y="435"/>
                  <a:pt x="176" y="623"/>
                  <a:pt x="176" y="623"/>
                </a:cubicBezTo>
                <a:cubicBezTo>
                  <a:pt x="270" y="568"/>
                  <a:pt x="367" y="419"/>
                  <a:pt x="312" y="257"/>
                </a:cubicBezTo>
                <a:cubicBezTo>
                  <a:pt x="257" y="95"/>
                  <a:pt x="176" y="1"/>
                  <a:pt x="176" y="1"/>
                </a:cubicBezTo>
                <a:close/>
              </a:path>
            </a:pathLst>
          </a:custGeom>
          <a:solidFill>
            <a:srgbClr val="FF8C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4" name="Google Shape;104;p2"/>
          <p:cNvSpPr/>
          <p:nvPr/>
        </p:nvSpPr>
        <p:spPr>
          <a:xfrm>
            <a:off x="9399681" y="5946077"/>
            <a:ext cx="59811" cy="60780"/>
          </a:xfrm>
          <a:custGeom>
            <a:avLst/>
            <a:gdLst/>
            <a:ahLst/>
            <a:cxnLst/>
            <a:rect l="l" t="t" r="r" b="b"/>
            <a:pathLst>
              <a:path w="215" h="270" extrusionOk="0">
                <a:moveTo>
                  <a:pt x="189" y="1"/>
                </a:moveTo>
                <a:cubicBezTo>
                  <a:pt x="1" y="82"/>
                  <a:pt x="1" y="270"/>
                  <a:pt x="1" y="270"/>
                </a:cubicBezTo>
                <a:cubicBezTo>
                  <a:pt x="1" y="270"/>
                  <a:pt x="53" y="270"/>
                  <a:pt x="134" y="205"/>
                </a:cubicBezTo>
                <a:cubicBezTo>
                  <a:pt x="215" y="137"/>
                  <a:pt x="189" y="1"/>
                  <a:pt x="189" y="1"/>
                </a:cubicBezTo>
                <a:close/>
              </a:path>
            </a:pathLst>
          </a:custGeom>
          <a:solidFill>
            <a:srgbClr val="FF8C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5" name="Google Shape;105;p2"/>
          <p:cNvSpPr/>
          <p:nvPr/>
        </p:nvSpPr>
        <p:spPr>
          <a:xfrm>
            <a:off x="-2163520" y="574167"/>
            <a:ext cx="4506983" cy="1671989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6" name="Google Shape;106;p2"/>
          <p:cNvSpPr/>
          <p:nvPr/>
        </p:nvSpPr>
        <p:spPr>
          <a:xfrm>
            <a:off x="10176661" y="-108885"/>
            <a:ext cx="4060024" cy="1862631"/>
          </a:xfrm>
          <a:custGeom>
            <a:avLst/>
            <a:gdLst/>
            <a:ahLst/>
            <a:cxnLst/>
            <a:rect l="l" t="t" r="r" b="b"/>
            <a:pathLst>
              <a:path w="13353" h="6126" extrusionOk="0">
                <a:moveTo>
                  <a:pt x="13095" y="1"/>
                </a:moveTo>
                <a:cubicBezTo>
                  <a:pt x="13024" y="1"/>
                  <a:pt x="12953" y="8"/>
                  <a:pt x="12880" y="21"/>
                </a:cubicBezTo>
                <a:cubicBezTo>
                  <a:pt x="12313" y="102"/>
                  <a:pt x="11921" y="588"/>
                  <a:pt x="11840" y="1139"/>
                </a:cubicBezTo>
                <a:cubicBezTo>
                  <a:pt x="11652" y="925"/>
                  <a:pt x="11302" y="750"/>
                  <a:pt x="11017" y="750"/>
                </a:cubicBezTo>
                <a:cubicBezTo>
                  <a:pt x="11003" y="749"/>
                  <a:pt x="10989" y="748"/>
                  <a:pt x="10975" y="748"/>
                </a:cubicBezTo>
                <a:cubicBezTo>
                  <a:pt x="10799" y="748"/>
                  <a:pt x="10615" y="841"/>
                  <a:pt x="10492" y="964"/>
                </a:cubicBezTo>
                <a:cubicBezTo>
                  <a:pt x="10343" y="1113"/>
                  <a:pt x="10275" y="1317"/>
                  <a:pt x="10288" y="1518"/>
                </a:cubicBezTo>
                <a:cubicBezTo>
                  <a:pt x="10211" y="1506"/>
                  <a:pt x="10129" y="1493"/>
                  <a:pt x="10048" y="1493"/>
                </a:cubicBezTo>
                <a:cubicBezTo>
                  <a:pt x="9957" y="1493"/>
                  <a:pt x="9868" y="1509"/>
                  <a:pt x="9789" y="1560"/>
                </a:cubicBezTo>
                <a:cubicBezTo>
                  <a:pt x="9666" y="1654"/>
                  <a:pt x="9614" y="1816"/>
                  <a:pt x="9666" y="1965"/>
                </a:cubicBezTo>
                <a:cubicBezTo>
                  <a:pt x="9465" y="1774"/>
                  <a:pt x="9180" y="1654"/>
                  <a:pt x="8911" y="1654"/>
                </a:cubicBezTo>
                <a:cubicBezTo>
                  <a:pt x="8629" y="1654"/>
                  <a:pt x="8344" y="1803"/>
                  <a:pt x="8195" y="2030"/>
                </a:cubicBezTo>
                <a:cubicBezTo>
                  <a:pt x="8114" y="2153"/>
                  <a:pt x="8075" y="2302"/>
                  <a:pt x="8033" y="2451"/>
                </a:cubicBezTo>
                <a:cubicBezTo>
                  <a:pt x="7981" y="2678"/>
                  <a:pt x="8020" y="2882"/>
                  <a:pt x="8007" y="3112"/>
                </a:cubicBezTo>
                <a:cubicBezTo>
                  <a:pt x="7888" y="3061"/>
                  <a:pt x="7763" y="3015"/>
                  <a:pt x="7636" y="3015"/>
                </a:cubicBezTo>
                <a:cubicBezTo>
                  <a:pt x="7562" y="3015"/>
                  <a:pt x="7488" y="3030"/>
                  <a:pt x="7414" y="3070"/>
                </a:cubicBezTo>
                <a:cubicBezTo>
                  <a:pt x="7210" y="3164"/>
                  <a:pt x="7090" y="3368"/>
                  <a:pt x="7074" y="3585"/>
                </a:cubicBezTo>
                <a:cubicBezTo>
                  <a:pt x="6891" y="3395"/>
                  <a:pt x="6691" y="3317"/>
                  <a:pt x="6491" y="3317"/>
                </a:cubicBezTo>
                <a:cubicBezTo>
                  <a:pt x="5877" y="3317"/>
                  <a:pt x="5255" y="4053"/>
                  <a:pt x="5091" y="4583"/>
                </a:cubicBezTo>
                <a:cubicBezTo>
                  <a:pt x="4916" y="4366"/>
                  <a:pt x="4699" y="4152"/>
                  <a:pt x="4417" y="4110"/>
                </a:cubicBezTo>
                <a:cubicBezTo>
                  <a:pt x="4396" y="4107"/>
                  <a:pt x="4374" y="4106"/>
                  <a:pt x="4352" y="4106"/>
                </a:cubicBezTo>
                <a:cubicBezTo>
                  <a:pt x="4085" y="4106"/>
                  <a:pt x="3813" y="4319"/>
                  <a:pt x="3876" y="4583"/>
                </a:cubicBezTo>
                <a:cubicBezTo>
                  <a:pt x="3687" y="4484"/>
                  <a:pt x="3490" y="4393"/>
                  <a:pt x="3289" y="4393"/>
                </a:cubicBezTo>
                <a:cubicBezTo>
                  <a:pt x="3273" y="4393"/>
                  <a:pt x="3257" y="4394"/>
                  <a:pt x="3241" y="4395"/>
                </a:cubicBezTo>
                <a:cubicBezTo>
                  <a:pt x="2972" y="4421"/>
                  <a:pt x="2849" y="4609"/>
                  <a:pt x="2755" y="4826"/>
                </a:cubicBezTo>
                <a:cubicBezTo>
                  <a:pt x="2679" y="4710"/>
                  <a:pt x="2540" y="4643"/>
                  <a:pt x="2403" y="4643"/>
                </a:cubicBezTo>
                <a:cubicBezTo>
                  <a:pt x="2348" y="4643"/>
                  <a:pt x="2293" y="4654"/>
                  <a:pt x="2243" y="4677"/>
                </a:cubicBezTo>
                <a:cubicBezTo>
                  <a:pt x="2052" y="4745"/>
                  <a:pt x="1932" y="4933"/>
                  <a:pt x="1919" y="5137"/>
                </a:cubicBezTo>
                <a:cubicBezTo>
                  <a:pt x="1878" y="5027"/>
                  <a:pt x="1766" y="4961"/>
                  <a:pt x="1650" y="4961"/>
                </a:cubicBezTo>
                <a:cubicBezTo>
                  <a:pt x="1608" y="4961"/>
                  <a:pt x="1566" y="4970"/>
                  <a:pt x="1527" y="4988"/>
                </a:cubicBezTo>
                <a:cubicBezTo>
                  <a:pt x="1378" y="5043"/>
                  <a:pt x="1297" y="5189"/>
                  <a:pt x="1271" y="5351"/>
                </a:cubicBezTo>
                <a:cubicBezTo>
                  <a:pt x="1189" y="5294"/>
                  <a:pt x="1103" y="5258"/>
                  <a:pt x="1015" y="5258"/>
                </a:cubicBezTo>
                <a:cubicBezTo>
                  <a:pt x="956" y="5258"/>
                  <a:pt x="897" y="5274"/>
                  <a:pt x="837" y="5312"/>
                </a:cubicBezTo>
                <a:cubicBezTo>
                  <a:pt x="798" y="5351"/>
                  <a:pt x="743" y="5406"/>
                  <a:pt x="691" y="5432"/>
                </a:cubicBezTo>
                <a:cubicBezTo>
                  <a:pt x="623" y="5461"/>
                  <a:pt x="542" y="5461"/>
                  <a:pt x="474" y="5461"/>
                </a:cubicBezTo>
                <a:lnTo>
                  <a:pt x="43" y="5461"/>
                </a:lnTo>
                <a:cubicBezTo>
                  <a:pt x="1" y="5513"/>
                  <a:pt x="69" y="5581"/>
                  <a:pt x="137" y="5610"/>
                </a:cubicBezTo>
                <a:cubicBezTo>
                  <a:pt x="284" y="5676"/>
                  <a:pt x="459" y="5710"/>
                  <a:pt x="636" y="5710"/>
                </a:cubicBezTo>
                <a:cubicBezTo>
                  <a:pt x="813" y="5710"/>
                  <a:pt x="992" y="5676"/>
                  <a:pt x="1148" y="5610"/>
                </a:cubicBezTo>
                <a:cubicBezTo>
                  <a:pt x="1221" y="5677"/>
                  <a:pt x="1320" y="5708"/>
                  <a:pt x="1422" y="5708"/>
                </a:cubicBezTo>
                <a:cubicBezTo>
                  <a:pt x="1588" y="5708"/>
                  <a:pt x="1762" y="5625"/>
                  <a:pt x="1838" y="5474"/>
                </a:cubicBezTo>
                <a:cubicBezTo>
                  <a:pt x="1917" y="5516"/>
                  <a:pt x="2010" y="5537"/>
                  <a:pt x="2104" y="5537"/>
                </a:cubicBezTo>
                <a:cubicBezTo>
                  <a:pt x="2219" y="5537"/>
                  <a:pt x="2335" y="5507"/>
                  <a:pt x="2431" y="5448"/>
                </a:cubicBezTo>
                <a:cubicBezTo>
                  <a:pt x="2623" y="5738"/>
                  <a:pt x="2969" y="5948"/>
                  <a:pt x="3307" y="5948"/>
                </a:cubicBezTo>
                <a:cubicBezTo>
                  <a:pt x="3517" y="5948"/>
                  <a:pt x="3724" y="5867"/>
                  <a:pt x="3889" y="5675"/>
                </a:cubicBezTo>
                <a:cubicBezTo>
                  <a:pt x="3955" y="5950"/>
                  <a:pt x="4250" y="6126"/>
                  <a:pt x="4540" y="6126"/>
                </a:cubicBezTo>
                <a:cubicBezTo>
                  <a:pt x="4608" y="6126"/>
                  <a:pt x="4676" y="6116"/>
                  <a:pt x="4741" y="6096"/>
                </a:cubicBezTo>
                <a:cubicBezTo>
                  <a:pt x="5078" y="5999"/>
                  <a:pt x="5308" y="5662"/>
                  <a:pt x="5373" y="5325"/>
                </a:cubicBezTo>
                <a:lnTo>
                  <a:pt x="5373" y="5325"/>
                </a:lnTo>
                <a:cubicBezTo>
                  <a:pt x="5334" y="5529"/>
                  <a:pt x="6037" y="5756"/>
                  <a:pt x="6157" y="5785"/>
                </a:cubicBezTo>
                <a:cubicBezTo>
                  <a:pt x="6211" y="5792"/>
                  <a:pt x="6262" y="5796"/>
                  <a:pt x="6313" y="5796"/>
                </a:cubicBezTo>
                <a:cubicBezTo>
                  <a:pt x="6617" y="5796"/>
                  <a:pt x="6866" y="5672"/>
                  <a:pt x="7155" y="5555"/>
                </a:cubicBezTo>
                <a:cubicBezTo>
                  <a:pt x="7171" y="5662"/>
                  <a:pt x="7252" y="5772"/>
                  <a:pt x="7359" y="5798"/>
                </a:cubicBezTo>
                <a:cubicBezTo>
                  <a:pt x="7381" y="5803"/>
                  <a:pt x="7403" y="5806"/>
                  <a:pt x="7426" y="5806"/>
                </a:cubicBezTo>
                <a:cubicBezTo>
                  <a:pt x="7514" y="5806"/>
                  <a:pt x="7603" y="5766"/>
                  <a:pt x="7657" y="5691"/>
                </a:cubicBezTo>
                <a:cubicBezTo>
                  <a:pt x="7777" y="5853"/>
                  <a:pt x="7981" y="5947"/>
                  <a:pt x="8182" y="5973"/>
                </a:cubicBezTo>
                <a:cubicBezTo>
                  <a:pt x="8219" y="5978"/>
                  <a:pt x="8255" y="5980"/>
                  <a:pt x="8293" y="5980"/>
                </a:cubicBezTo>
                <a:cubicBezTo>
                  <a:pt x="8462" y="5980"/>
                  <a:pt x="8634" y="5935"/>
                  <a:pt x="8791" y="5879"/>
                </a:cubicBezTo>
                <a:cubicBezTo>
                  <a:pt x="9128" y="5772"/>
                  <a:pt x="9504" y="5568"/>
                  <a:pt x="9763" y="5325"/>
                </a:cubicBezTo>
                <a:cubicBezTo>
                  <a:pt x="9883" y="5662"/>
                  <a:pt x="10233" y="5905"/>
                  <a:pt x="10599" y="5905"/>
                </a:cubicBezTo>
                <a:cubicBezTo>
                  <a:pt x="10608" y="5905"/>
                  <a:pt x="10617" y="5905"/>
                  <a:pt x="10627" y="5905"/>
                </a:cubicBezTo>
                <a:cubicBezTo>
                  <a:pt x="10980" y="5905"/>
                  <a:pt x="11331" y="5666"/>
                  <a:pt x="11464" y="5338"/>
                </a:cubicBezTo>
                <a:cubicBezTo>
                  <a:pt x="11477" y="5649"/>
                  <a:pt x="11720" y="5934"/>
                  <a:pt x="12015" y="5999"/>
                </a:cubicBezTo>
                <a:cubicBezTo>
                  <a:pt x="12055" y="6006"/>
                  <a:pt x="12097" y="6009"/>
                  <a:pt x="12138" y="6009"/>
                </a:cubicBezTo>
                <a:cubicBezTo>
                  <a:pt x="12411" y="6009"/>
                  <a:pt x="12681" y="5855"/>
                  <a:pt x="12799" y="5610"/>
                </a:cubicBezTo>
                <a:cubicBezTo>
                  <a:pt x="12922" y="5811"/>
                  <a:pt x="13123" y="5960"/>
                  <a:pt x="13353" y="6054"/>
                </a:cubicBezTo>
                <a:lnTo>
                  <a:pt x="13353" y="34"/>
                </a:lnTo>
                <a:cubicBezTo>
                  <a:pt x="13265" y="11"/>
                  <a:pt x="13180" y="1"/>
                  <a:pt x="1309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07" name="Google Shape;107;p2"/>
          <p:cNvGrpSpPr/>
          <p:nvPr/>
        </p:nvGrpSpPr>
        <p:grpSpPr>
          <a:xfrm>
            <a:off x="2160791" y="3794117"/>
            <a:ext cx="1769835" cy="583424"/>
            <a:chOff x="1226000" y="3066700"/>
            <a:chExt cx="377750" cy="124525"/>
          </a:xfrm>
        </p:grpSpPr>
        <p:sp>
          <p:nvSpPr>
            <p:cNvPr id="108" name="Google Shape;108;p2"/>
            <p:cNvSpPr/>
            <p:nvPr/>
          </p:nvSpPr>
          <p:spPr>
            <a:xfrm>
              <a:off x="1487550" y="3152425"/>
              <a:ext cx="116200" cy="38800"/>
            </a:xfrm>
            <a:custGeom>
              <a:avLst/>
              <a:gdLst/>
              <a:ahLst/>
              <a:cxnLst/>
              <a:rect l="l" t="t" r="r" b="b"/>
              <a:pathLst>
                <a:path w="4648" h="1552" extrusionOk="0">
                  <a:moveTo>
                    <a:pt x="358" y="0"/>
                  </a:moveTo>
                  <a:cubicBezTo>
                    <a:pt x="309" y="0"/>
                    <a:pt x="259" y="10"/>
                    <a:pt x="218" y="29"/>
                  </a:cubicBezTo>
                  <a:cubicBezTo>
                    <a:pt x="176" y="55"/>
                    <a:pt x="137" y="68"/>
                    <a:pt x="111" y="110"/>
                  </a:cubicBezTo>
                  <a:cubicBezTo>
                    <a:pt x="82" y="162"/>
                    <a:pt x="69" y="217"/>
                    <a:pt x="56" y="256"/>
                  </a:cubicBezTo>
                  <a:cubicBezTo>
                    <a:pt x="1" y="580"/>
                    <a:pt x="1" y="920"/>
                    <a:pt x="56" y="1244"/>
                  </a:cubicBezTo>
                  <a:cubicBezTo>
                    <a:pt x="69" y="1325"/>
                    <a:pt x="82" y="1500"/>
                    <a:pt x="137" y="1552"/>
                  </a:cubicBezTo>
                  <a:lnTo>
                    <a:pt x="4647" y="1552"/>
                  </a:lnTo>
                  <a:cubicBezTo>
                    <a:pt x="4609" y="1487"/>
                    <a:pt x="4526" y="1442"/>
                    <a:pt x="4443" y="1442"/>
                  </a:cubicBezTo>
                  <a:cubicBezTo>
                    <a:pt x="4406" y="1442"/>
                    <a:pt x="4369" y="1451"/>
                    <a:pt x="4336" y="1471"/>
                  </a:cubicBezTo>
                  <a:cubicBezTo>
                    <a:pt x="4296" y="1407"/>
                    <a:pt x="4222" y="1377"/>
                    <a:pt x="4150" y="1377"/>
                  </a:cubicBezTo>
                  <a:cubicBezTo>
                    <a:pt x="4100" y="1377"/>
                    <a:pt x="4050" y="1391"/>
                    <a:pt x="4012" y="1419"/>
                  </a:cubicBezTo>
                  <a:cubicBezTo>
                    <a:pt x="3999" y="1364"/>
                    <a:pt x="3944" y="1325"/>
                    <a:pt x="3876" y="1325"/>
                  </a:cubicBezTo>
                  <a:cubicBezTo>
                    <a:pt x="3821" y="1325"/>
                    <a:pt x="3756" y="1364"/>
                    <a:pt x="3740" y="1419"/>
                  </a:cubicBezTo>
                  <a:cubicBezTo>
                    <a:pt x="3714" y="1364"/>
                    <a:pt x="3675" y="1325"/>
                    <a:pt x="3620" y="1309"/>
                  </a:cubicBezTo>
                  <a:cubicBezTo>
                    <a:pt x="3613" y="1307"/>
                    <a:pt x="3606" y="1306"/>
                    <a:pt x="3599" y="1306"/>
                  </a:cubicBezTo>
                  <a:cubicBezTo>
                    <a:pt x="3549" y="1306"/>
                    <a:pt x="3497" y="1343"/>
                    <a:pt x="3497" y="1377"/>
                  </a:cubicBezTo>
                  <a:cubicBezTo>
                    <a:pt x="3471" y="1325"/>
                    <a:pt x="3416" y="1270"/>
                    <a:pt x="3351" y="1270"/>
                  </a:cubicBezTo>
                  <a:cubicBezTo>
                    <a:pt x="3342" y="1268"/>
                    <a:pt x="3332" y="1267"/>
                    <a:pt x="3322" y="1267"/>
                  </a:cubicBezTo>
                  <a:cubicBezTo>
                    <a:pt x="3274" y="1267"/>
                    <a:pt x="3221" y="1292"/>
                    <a:pt x="3189" y="1338"/>
                  </a:cubicBezTo>
                  <a:cubicBezTo>
                    <a:pt x="3202" y="1283"/>
                    <a:pt x="3173" y="1215"/>
                    <a:pt x="3121" y="1202"/>
                  </a:cubicBezTo>
                  <a:cubicBezTo>
                    <a:pt x="3103" y="1193"/>
                    <a:pt x="3083" y="1189"/>
                    <a:pt x="3064" y="1189"/>
                  </a:cubicBezTo>
                  <a:cubicBezTo>
                    <a:pt x="3026" y="1189"/>
                    <a:pt x="2989" y="1207"/>
                    <a:pt x="2972" y="1244"/>
                  </a:cubicBezTo>
                  <a:cubicBezTo>
                    <a:pt x="2972" y="1134"/>
                    <a:pt x="2959" y="1040"/>
                    <a:pt x="2849" y="1001"/>
                  </a:cubicBezTo>
                  <a:cubicBezTo>
                    <a:pt x="2816" y="980"/>
                    <a:pt x="2773" y="969"/>
                    <a:pt x="2729" y="969"/>
                  </a:cubicBezTo>
                  <a:cubicBezTo>
                    <a:pt x="2684" y="969"/>
                    <a:pt x="2640" y="980"/>
                    <a:pt x="2606" y="1001"/>
                  </a:cubicBezTo>
                  <a:cubicBezTo>
                    <a:pt x="2499" y="1053"/>
                    <a:pt x="2473" y="1108"/>
                    <a:pt x="2444" y="1228"/>
                  </a:cubicBezTo>
                  <a:cubicBezTo>
                    <a:pt x="2420" y="1184"/>
                    <a:pt x="2372" y="1164"/>
                    <a:pt x="2322" y="1164"/>
                  </a:cubicBezTo>
                  <a:cubicBezTo>
                    <a:pt x="2262" y="1164"/>
                    <a:pt x="2199" y="1192"/>
                    <a:pt x="2162" y="1244"/>
                  </a:cubicBezTo>
                  <a:cubicBezTo>
                    <a:pt x="2188" y="1134"/>
                    <a:pt x="2094" y="1001"/>
                    <a:pt x="1987" y="1001"/>
                  </a:cubicBezTo>
                  <a:cubicBezTo>
                    <a:pt x="1865" y="1001"/>
                    <a:pt x="1772" y="1118"/>
                    <a:pt x="1795" y="1224"/>
                  </a:cubicBezTo>
                  <a:lnTo>
                    <a:pt x="1795" y="1224"/>
                  </a:lnTo>
                  <a:cubicBezTo>
                    <a:pt x="1783" y="1179"/>
                    <a:pt x="1734" y="1146"/>
                    <a:pt x="1686" y="1146"/>
                  </a:cubicBezTo>
                  <a:cubicBezTo>
                    <a:pt x="1668" y="1146"/>
                    <a:pt x="1649" y="1151"/>
                    <a:pt x="1634" y="1163"/>
                  </a:cubicBezTo>
                  <a:cubicBezTo>
                    <a:pt x="1663" y="1095"/>
                    <a:pt x="1676" y="1014"/>
                    <a:pt x="1663" y="946"/>
                  </a:cubicBezTo>
                  <a:cubicBezTo>
                    <a:pt x="1650" y="878"/>
                    <a:pt x="1595" y="810"/>
                    <a:pt x="1527" y="797"/>
                  </a:cubicBezTo>
                  <a:cubicBezTo>
                    <a:pt x="1518" y="795"/>
                    <a:pt x="1509" y="794"/>
                    <a:pt x="1500" y="794"/>
                  </a:cubicBezTo>
                  <a:cubicBezTo>
                    <a:pt x="1442" y="794"/>
                    <a:pt x="1387" y="830"/>
                    <a:pt x="1365" y="878"/>
                  </a:cubicBezTo>
                  <a:cubicBezTo>
                    <a:pt x="1376" y="820"/>
                    <a:pt x="1328" y="752"/>
                    <a:pt x="1263" y="752"/>
                  </a:cubicBezTo>
                  <a:cubicBezTo>
                    <a:pt x="1252" y="752"/>
                    <a:pt x="1241" y="754"/>
                    <a:pt x="1229" y="758"/>
                  </a:cubicBezTo>
                  <a:cubicBezTo>
                    <a:pt x="1339" y="677"/>
                    <a:pt x="1339" y="499"/>
                    <a:pt x="1229" y="418"/>
                  </a:cubicBezTo>
                  <a:cubicBezTo>
                    <a:pt x="1193" y="382"/>
                    <a:pt x="1145" y="366"/>
                    <a:pt x="1096" y="366"/>
                  </a:cubicBezTo>
                  <a:cubicBezTo>
                    <a:pt x="1018" y="366"/>
                    <a:pt x="939" y="407"/>
                    <a:pt x="905" y="473"/>
                  </a:cubicBezTo>
                  <a:cubicBezTo>
                    <a:pt x="905" y="418"/>
                    <a:pt x="879" y="366"/>
                    <a:pt x="840" y="324"/>
                  </a:cubicBezTo>
                  <a:cubicBezTo>
                    <a:pt x="815" y="312"/>
                    <a:pt x="791" y="306"/>
                    <a:pt x="766" y="306"/>
                  </a:cubicBezTo>
                  <a:cubicBezTo>
                    <a:pt x="736" y="306"/>
                    <a:pt x="707" y="315"/>
                    <a:pt x="678" y="337"/>
                  </a:cubicBezTo>
                  <a:cubicBezTo>
                    <a:pt x="691" y="217"/>
                    <a:pt x="623" y="110"/>
                    <a:pt x="529" y="55"/>
                  </a:cubicBezTo>
                  <a:cubicBezTo>
                    <a:pt x="484" y="17"/>
                    <a:pt x="421" y="0"/>
                    <a:pt x="358" y="0"/>
                  </a:cubicBezTo>
                  <a:close/>
                </a:path>
              </a:pathLst>
            </a:custGeom>
            <a:solidFill>
              <a:srgbClr val="1468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9" name="Google Shape;109;p2"/>
            <p:cNvSpPr/>
            <p:nvPr/>
          </p:nvSpPr>
          <p:spPr>
            <a:xfrm>
              <a:off x="1226000" y="3154050"/>
              <a:ext cx="114825" cy="37175"/>
            </a:xfrm>
            <a:custGeom>
              <a:avLst/>
              <a:gdLst/>
              <a:ahLst/>
              <a:cxnLst/>
              <a:rect l="l" t="t" r="r" b="b"/>
              <a:pathLst>
                <a:path w="4593" h="1487" extrusionOk="0">
                  <a:moveTo>
                    <a:pt x="4154" y="0"/>
                  </a:moveTo>
                  <a:cubicBezTo>
                    <a:pt x="4139" y="0"/>
                    <a:pt x="4123" y="1"/>
                    <a:pt x="4106" y="3"/>
                  </a:cubicBezTo>
                  <a:cubicBezTo>
                    <a:pt x="3970" y="16"/>
                    <a:pt x="3850" y="84"/>
                    <a:pt x="3753" y="178"/>
                  </a:cubicBezTo>
                  <a:cubicBezTo>
                    <a:pt x="3672" y="259"/>
                    <a:pt x="3659" y="369"/>
                    <a:pt x="3672" y="476"/>
                  </a:cubicBezTo>
                  <a:cubicBezTo>
                    <a:pt x="3647" y="455"/>
                    <a:pt x="3617" y="446"/>
                    <a:pt x="3586" y="446"/>
                  </a:cubicBezTo>
                  <a:cubicBezTo>
                    <a:pt x="3516" y="446"/>
                    <a:pt x="3445" y="495"/>
                    <a:pt x="3445" y="570"/>
                  </a:cubicBezTo>
                  <a:cubicBezTo>
                    <a:pt x="3390" y="515"/>
                    <a:pt x="3348" y="463"/>
                    <a:pt x="3283" y="450"/>
                  </a:cubicBezTo>
                  <a:cubicBezTo>
                    <a:pt x="3258" y="437"/>
                    <a:pt x="3228" y="430"/>
                    <a:pt x="3197" y="430"/>
                  </a:cubicBezTo>
                  <a:cubicBezTo>
                    <a:pt x="3160" y="430"/>
                    <a:pt x="3122" y="440"/>
                    <a:pt x="3092" y="463"/>
                  </a:cubicBezTo>
                  <a:cubicBezTo>
                    <a:pt x="3053" y="502"/>
                    <a:pt x="3024" y="583"/>
                    <a:pt x="3079" y="638"/>
                  </a:cubicBezTo>
                  <a:cubicBezTo>
                    <a:pt x="3054" y="633"/>
                    <a:pt x="3029" y="630"/>
                    <a:pt x="3006" y="630"/>
                  </a:cubicBezTo>
                  <a:cubicBezTo>
                    <a:pt x="2965" y="630"/>
                    <a:pt x="2929" y="639"/>
                    <a:pt x="2904" y="664"/>
                  </a:cubicBezTo>
                  <a:cubicBezTo>
                    <a:pt x="2862" y="706"/>
                    <a:pt x="2836" y="774"/>
                    <a:pt x="2878" y="826"/>
                  </a:cubicBezTo>
                  <a:cubicBezTo>
                    <a:pt x="2852" y="794"/>
                    <a:pt x="2808" y="776"/>
                    <a:pt x="2764" y="776"/>
                  </a:cubicBezTo>
                  <a:cubicBezTo>
                    <a:pt x="2736" y="776"/>
                    <a:pt x="2708" y="783"/>
                    <a:pt x="2687" y="800"/>
                  </a:cubicBezTo>
                  <a:cubicBezTo>
                    <a:pt x="2619" y="839"/>
                    <a:pt x="2606" y="936"/>
                    <a:pt x="2635" y="988"/>
                  </a:cubicBezTo>
                  <a:cubicBezTo>
                    <a:pt x="2620" y="963"/>
                    <a:pt x="2597" y="953"/>
                    <a:pt x="2571" y="953"/>
                  </a:cubicBezTo>
                  <a:cubicBezTo>
                    <a:pt x="2525" y="953"/>
                    <a:pt x="2471" y="986"/>
                    <a:pt x="2444" y="1030"/>
                  </a:cubicBezTo>
                  <a:cubicBezTo>
                    <a:pt x="2392" y="920"/>
                    <a:pt x="2256" y="881"/>
                    <a:pt x="2133" y="868"/>
                  </a:cubicBezTo>
                  <a:cubicBezTo>
                    <a:pt x="2116" y="864"/>
                    <a:pt x="2098" y="863"/>
                    <a:pt x="2080" y="863"/>
                  </a:cubicBezTo>
                  <a:cubicBezTo>
                    <a:pt x="2033" y="863"/>
                    <a:pt x="1985" y="875"/>
                    <a:pt x="1945" y="894"/>
                  </a:cubicBezTo>
                  <a:cubicBezTo>
                    <a:pt x="1825" y="949"/>
                    <a:pt x="1783" y="1098"/>
                    <a:pt x="1770" y="1231"/>
                  </a:cubicBezTo>
                  <a:cubicBezTo>
                    <a:pt x="1744" y="1205"/>
                    <a:pt x="1702" y="1163"/>
                    <a:pt x="1663" y="1150"/>
                  </a:cubicBezTo>
                  <a:cubicBezTo>
                    <a:pt x="1639" y="1137"/>
                    <a:pt x="1615" y="1131"/>
                    <a:pt x="1592" y="1131"/>
                  </a:cubicBezTo>
                  <a:cubicBezTo>
                    <a:pt x="1522" y="1131"/>
                    <a:pt x="1459" y="1183"/>
                    <a:pt x="1420" y="1244"/>
                  </a:cubicBezTo>
                  <a:cubicBezTo>
                    <a:pt x="1323" y="1137"/>
                    <a:pt x="1190" y="1043"/>
                    <a:pt x="1041" y="1043"/>
                  </a:cubicBezTo>
                  <a:cubicBezTo>
                    <a:pt x="1032" y="1042"/>
                    <a:pt x="1022" y="1042"/>
                    <a:pt x="1012" y="1042"/>
                  </a:cubicBezTo>
                  <a:cubicBezTo>
                    <a:pt x="883" y="1042"/>
                    <a:pt x="740" y="1121"/>
                    <a:pt x="704" y="1260"/>
                  </a:cubicBezTo>
                  <a:cubicBezTo>
                    <a:pt x="649" y="1231"/>
                    <a:pt x="581" y="1205"/>
                    <a:pt x="529" y="1205"/>
                  </a:cubicBezTo>
                  <a:cubicBezTo>
                    <a:pt x="461" y="1205"/>
                    <a:pt x="393" y="1244"/>
                    <a:pt x="380" y="1299"/>
                  </a:cubicBezTo>
                  <a:cubicBezTo>
                    <a:pt x="340" y="1279"/>
                    <a:pt x="299" y="1270"/>
                    <a:pt x="259" y="1270"/>
                  </a:cubicBezTo>
                  <a:cubicBezTo>
                    <a:pt x="218" y="1270"/>
                    <a:pt x="178" y="1279"/>
                    <a:pt x="137" y="1299"/>
                  </a:cubicBezTo>
                  <a:cubicBezTo>
                    <a:pt x="69" y="1341"/>
                    <a:pt x="14" y="1406"/>
                    <a:pt x="1" y="1487"/>
                  </a:cubicBezTo>
                  <a:lnTo>
                    <a:pt x="4456" y="1487"/>
                  </a:lnTo>
                  <a:cubicBezTo>
                    <a:pt x="4524" y="1422"/>
                    <a:pt x="4563" y="1312"/>
                    <a:pt x="4563" y="1192"/>
                  </a:cubicBezTo>
                  <a:cubicBezTo>
                    <a:pt x="4592" y="936"/>
                    <a:pt x="4579" y="664"/>
                    <a:pt x="4537" y="395"/>
                  </a:cubicBezTo>
                  <a:cubicBezTo>
                    <a:pt x="4500" y="179"/>
                    <a:pt x="4390" y="0"/>
                    <a:pt x="4154" y="0"/>
                  </a:cubicBezTo>
                  <a:close/>
                </a:path>
              </a:pathLst>
            </a:custGeom>
            <a:solidFill>
              <a:srgbClr val="14684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0" name="Google Shape;110;p2"/>
            <p:cNvSpPr/>
            <p:nvPr/>
          </p:nvSpPr>
          <p:spPr>
            <a:xfrm>
              <a:off x="1445775" y="3080225"/>
              <a:ext cx="60350" cy="67500"/>
            </a:xfrm>
            <a:custGeom>
              <a:avLst/>
              <a:gdLst/>
              <a:ahLst/>
              <a:cxnLst/>
              <a:rect l="l" t="t" r="r" b="b"/>
              <a:pathLst>
                <a:path w="2414" h="2700" extrusionOk="0">
                  <a:moveTo>
                    <a:pt x="188" y="1"/>
                  </a:moveTo>
                  <a:lnTo>
                    <a:pt x="0" y="134"/>
                  </a:lnTo>
                  <a:lnTo>
                    <a:pt x="1782" y="2308"/>
                  </a:lnTo>
                  <a:lnTo>
                    <a:pt x="1782" y="2700"/>
                  </a:lnTo>
                  <a:lnTo>
                    <a:pt x="2414" y="2700"/>
                  </a:lnTo>
                  <a:lnTo>
                    <a:pt x="2158" y="2308"/>
                  </a:lnTo>
                  <a:lnTo>
                    <a:pt x="1834" y="1067"/>
                  </a:lnTo>
                  <a:lnTo>
                    <a:pt x="188" y="1"/>
                  </a:lnTo>
                  <a:close/>
                </a:path>
              </a:pathLst>
            </a:custGeom>
            <a:solidFill>
              <a:srgbClr val="A8A27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1" name="Google Shape;111;p2"/>
            <p:cNvSpPr/>
            <p:nvPr/>
          </p:nvSpPr>
          <p:spPr>
            <a:xfrm>
              <a:off x="1490325" y="3138950"/>
              <a:ext cx="15800" cy="8775"/>
            </a:xfrm>
            <a:custGeom>
              <a:avLst/>
              <a:gdLst/>
              <a:ahLst/>
              <a:cxnLst/>
              <a:rect l="l" t="t" r="r" b="b"/>
              <a:pathLst>
                <a:path w="632" h="351" extrusionOk="0">
                  <a:moveTo>
                    <a:pt x="0" y="1"/>
                  </a:moveTo>
                  <a:lnTo>
                    <a:pt x="0" y="351"/>
                  </a:lnTo>
                  <a:lnTo>
                    <a:pt x="632" y="351"/>
                  </a:lnTo>
                  <a:lnTo>
                    <a:pt x="308" y="1"/>
                  </a:lnTo>
                  <a:close/>
                </a:path>
              </a:pathLst>
            </a:custGeom>
            <a:solidFill>
              <a:srgbClr val="87875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2" name="Google Shape;112;p2"/>
            <p:cNvSpPr/>
            <p:nvPr/>
          </p:nvSpPr>
          <p:spPr>
            <a:xfrm>
              <a:off x="1401225" y="3080875"/>
              <a:ext cx="93800" cy="110350"/>
            </a:xfrm>
            <a:custGeom>
              <a:avLst/>
              <a:gdLst/>
              <a:ahLst/>
              <a:cxnLst/>
              <a:rect l="l" t="t" r="r" b="b"/>
              <a:pathLst>
                <a:path w="3752" h="4414" extrusionOk="0">
                  <a:moveTo>
                    <a:pt x="1821" y="1"/>
                  </a:moveTo>
                  <a:lnTo>
                    <a:pt x="295" y="1041"/>
                  </a:lnTo>
                  <a:lnTo>
                    <a:pt x="0" y="2282"/>
                  </a:lnTo>
                  <a:lnTo>
                    <a:pt x="0" y="4414"/>
                  </a:lnTo>
                  <a:lnTo>
                    <a:pt x="3752" y="4414"/>
                  </a:lnTo>
                  <a:lnTo>
                    <a:pt x="3752" y="2282"/>
                  </a:lnTo>
                  <a:lnTo>
                    <a:pt x="3483" y="1161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3" name="Google Shape;113;p2"/>
            <p:cNvSpPr/>
            <p:nvPr/>
          </p:nvSpPr>
          <p:spPr>
            <a:xfrm>
              <a:off x="1328950" y="3137900"/>
              <a:ext cx="74950" cy="53325"/>
            </a:xfrm>
            <a:custGeom>
              <a:avLst/>
              <a:gdLst/>
              <a:ahLst/>
              <a:cxnLst/>
              <a:rect l="l" t="t" r="r" b="b"/>
              <a:pathLst>
                <a:path w="2998" h="2133" extrusionOk="0">
                  <a:moveTo>
                    <a:pt x="1" y="1"/>
                  </a:moveTo>
                  <a:lnTo>
                    <a:pt x="1" y="2133"/>
                  </a:lnTo>
                  <a:lnTo>
                    <a:pt x="2998" y="2133"/>
                  </a:lnTo>
                  <a:lnTo>
                    <a:pt x="2998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" name="Google Shape;114;p2"/>
            <p:cNvSpPr/>
            <p:nvPr/>
          </p:nvSpPr>
          <p:spPr>
            <a:xfrm>
              <a:off x="1327900" y="3106875"/>
              <a:ext cx="83800" cy="31050"/>
            </a:xfrm>
            <a:custGeom>
              <a:avLst/>
              <a:gdLst/>
              <a:ahLst/>
              <a:cxnLst/>
              <a:rect l="l" t="t" r="r" b="b"/>
              <a:pathLst>
                <a:path w="3352" h="1242" extrusionOk="0">
                  <a:moveTo>
                    <a:pt x="299" y="1"/>
                  </a:moveTo>
                  <a:lnTo>
                    <a:pt x="1" y="1242"/>
                  </a:lnTo>
                  <a:lnTo>
                    <a:pt x="3040" y="1242"/>
                  </a:lnTo>
                  <a:lnTo>
                    <a:pt x="3351" y="1"/>
                  </a:lnTo>
                  <a:close/>
                </a:path>
              </a:pathLst>
            </a:custGeom>
            <a:solidFill>
              <a:srgbClr val="EDE8C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" name="Google Shape;115;p2"/>
            <p:cNvSpPr/>
            <p:nvPr/>
          </p:nvSpPr>
          <p:spPr>
            <a:xfrm>
              <a:off x="1335350" y="3080225"/>
              <a:ext cx="115125" cy="26675"/>
            </a:xfrm>
            <a:custGeom>
              <a:avLst/>
              <a:gdLst/>
              <a:ahLst/>
              <a:cxnLst/>
              <a:rect l="l" t="t" r="r" b="b"/>
              <a:pathLst>
                <a:path w="4605" h="1067" extrusionOk="0">
                  <a:moveTo>
                    <a:pt x="1566" y="1"/>
                  </a:moveTo>
                  <a:lnTo>
                    <a:pt x="1" y="1067"/>
                  </a:lnTo>
                  <a:lnTo>
                    <a:pt x="3053" y="1067"/>
                  </a:lnTo>
                  <a:lnTo>
                    <a:pt x="4605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" name="Google Shape;116;p2"/>
            <p:cNvSpPr/>
            <p:nvPr/>
          </p:nvSpPr>
          <p:spPr>
            <a:xfrm>
              <a:off x="1318525" y="3137900"/>
              <a:ext cx="85375" cy="9825"/>
            </a:xfrm>
            <a:custGeom>
              <a:avLst/>
              <a:gdLst/>
              <a:ahLst/>
              <a:cxnLst/>
              <a:rect l="l" t="t" r="r" b="b"/>
              <a:pathLst>
                <a:path w="3415" h="393" extrusionOk="0">
                  <a:moveTo>
                    <a:pt x="376" y="1"/>
                  </a:moveTo>
                  <a:lnTo>
                    <a:pt x="0" y="393"/>
                  </a:lnTo>
                  <a:lnTo>
                    <a:pt x="3036" y="393"/>
                  </a:lnTo>
                  <a:lnTo>
                    <a:pt x="3415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" name="Google Shape;117;p2"/>
            <p:cNvSpPr/>
            <p:nvPr/>
          </p:nvSpPr>
          <p:spPr>
            <a:xfrm>
              <a:off x="1394400" y="3080225"/>
              <a:ext cx="60775" cy="67500"/>
            </a:xfrm>
            <a:custGeom>
              <a:avLst/>
              <a:gdLst/>
              <a:ahLst/>
              <a:cxnLst/>
              <a:rect l="l" t="t" r="r" b="b"/>
              <a:pathLst>
                <a:path w="2431" h="2700" extrusionOk="0">
                  <a:moveTo>
                    <a:pt x="2243" y="1"/>
                  </a:moveTo>
                  <a:lnTo>
                    <a:pt x="691" y="1067"/>
                  </a:lnTo>
                  <a:lnTo>
                    <a:pt x="380" y="2308"/>
                  </a:lnTo>
                  <a:lnTo>
                    <a:pt x="1" y="2700"/>
                  </a:lnTo>
                  <a:lnTo>
                    <a:pt x="192" y="2700"/>
                  </a:lnTo>
                  <a:lnTo>
                    <a:pt x="516" y="2350"/>
                  </a:lnTo>
                  <a:lnTo>
                    <a:pt x="824" y="1106"/>
                  </a:lnTo>
                  <a:lnTo>
                    <a:pt x="243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8" name="Google Shape;118;p2"/>
            <p:cNvSpPr/>
            <p:nvPr/>
          </p:nvSpPr>
          <p:spPr>
            <a:xfrm>
              <a:off x="1450450" y="3080225"/>
              <a:ext cx="60475" cy="67500"/>
            </a:xfrm>
            <a:custGeom>
              <a:avLst/>
              <a:gdLst/>
              <a:ahLst/>
              <a:cxnLst/>
              <a:rect l="l" t="t" r="r" b="b"/>
              <a:pathLst>
                <a:path w="2419" h="2700" extrusionOk="0">
                  <a:moveTo>
                    <a:pt x="1" y="1"/>
                  </a:moveTo>
                  <a:lnTo>
                    <a:pt x="1608" y="1106"/>
                  </a:lnTo>
                  <a:lnTo>
                    <a:pt x="1903" y="2350"/>
                  </a:lnTo>
                  <a:lnTo>
                    <a:pt x="2227" y="2700"/>
                  </a:lnTo>
                  <a:lnTo>
                    <a:pt x="2418" y="2700"/>
                  </a:lnTo>
                  <a:lnTo>
                    <a:pt x="2039" y="2308"/>
                  </a:lnTo>
                  <a:lnTo>
                    <a:pt x="1741" y="1067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9" name="Google Shape;119;p2"/>
            <p:cNvSpPr/>
            <p:nvPr/>
          </p:nvSpPr>
          <p:spPr>
            <a:xfrm>
              <a:off x="1450450" y="3081850"/>
              <a:ext cx="40225" cy="28050"/>
            </a:xfrm>
            <a:custGeom>
              <a:avLst/>
              <a:gdLst/>
              <a:ahLst/>
              <a:cxnLst/>
              <a:rect l="l" t="t" r="r" b="b"/>
              <a:pathLst>
                <a:path w="1609" h="1122" extrusionOk="0">
                  <a:moveTo>
                    <a:pt x="95" y="1"/>
                  </a:moveTo>
                  <a:lnTo>
                    <a:pt x="1" y="69"/>
                  </a:lnTo>
                  <a:lnTo>
                    <a:pt x="1514" y="1122"/>
                  </a:lnTo>
                  <a:lnTo>
                    <a:pt x="1608" y="1041"/>
                  </a:lnTo>
                  <a:lnTo>
                    <a:pt x="95" y="1"/>
                  </a:lnTo>
                  <a:close/>
                </a:path>
              </a:pathLst>
            </a:custGeom>
            <a:solidFill>
              <a:srgbClr val="87875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0" name="Google Shape;120;p2"/>
            <p:cNvSpPr/>
            <p:nvPr/>
          </p:nvSpPr>
          <p:spPr>
            <a:xfrm>
              <a:off x="1412950" y="3073425"/>
              <a:ext cx="2050" cy="1725"/>
            </a:xfrm>
            <a:custGeom>
              <a:avLst/>
              <a:gdLst/>
              <a:ahLst/>
              <a:cxnLst/>
              <a:rect l="l" t="t" r="r" b="b"/>
              <a:pathLst>
                <a:path w="82" h="69" extrusionOk="0">
                  <a:moveTo>
                    <a:pt x="1" y="1"/>
                  </a:moveTo>
                  <a:lnTo>
                    <a:pt x="1" y="69"/>
                  </a:lnTo>
                  <a:lnTo>
                    <a:pt x="82" y="6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87875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1" name="Google Shape;121;p2"/>
            <p:cNvSpPr/>
            <p:nvPr/>
          </p:nvSpPr>
          <p:spPr>
            <a:xfrm>
              <a:off x="1384275" y="3072450"/>
              <a:ext cx="15900" cy="13150"/>
            </a:xfrm>
            <a:custGeom>
              <a:avLst/>
              <a:gdLst/>
              <a:ahLst/>
              <a:cxnLst/>
              <a:rect l="l" t="t" r="r" b="b"/>
              <a:pathLst>
                <a:path w="636" h="526" extrusionOk="0">
                  <a:moveTo>
                    <a:pt x="1" y="1"/>
                  </a:moveTo>
                  <a:lnTo>
                    <a:pt x="1" y="526"/>
                  </a:lnTo>
                  <a:lnTo>
                    <a:pt x="636" y="526"/>
                  </a:lnTo>
                  <a:lnTo>
                    <a:pt x="63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2" name="Google Shape;122;p2"/>
            <p:cNvSpPr/>
            <p:nvPr/>
          </p:nvSpPr>
          <p:spPr>
            <a:xfrm>
              <a:off x="1400150" y="3066700"/>
              <a:ext cx="12825" cy="18900"/>
            </a:xfrm>
            <a:custGeom>
              <a:avLst/>
              <a:gdLst/>
              <a:ahLst/>
              <a:cxnLst/>
              <a:rect l="l" t="t" r="r" b="b"/>
              <a:pathLst>
                <a:path w="513" h="756" extrusionOk="0">
                  <a:moveTo>
                    <a:pt x="257" y="1"/>
                  </a:moveTo>
                  <a:lnTo>
                    <a:pt x="1" y="231"/>
                  </a:lnTo>
                  <a:lnTo>
                    <a:pt x="1" y="756"/>
                  </a:lnTo>
                  <a:lnTo>
                    <a:pt x="338" y="542"/>
                  </a:lnTo>
                  <a:lnTo>
                    <a:pt x="513" y="542"/>
                  </a:lnTo>
                  <a:lnTo>
                    <a:pt x="513" y="231"/>
                  </a:lnTo>
                  <a:lnTo>
                    <a:pt x="257" y="1"/>
                  </a:ln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3" name="Google Shape;123;p2"/>
            <p:cNvSpPr/>
            <p:nvPr/>
          </p:nvSpPr>
          <p:spPr>
            <a:xfrm>
              <a:off x="1380225" y="3066700"/>
              <a:ext cx="26350" cy="7475"/>
            </a:xfrm>
            <a:custGeom>
              <a:avLst/>
              <a:gdLst/>
              <a:ahLst/>
              <a:cxnLst/>
              <a:rect l="l" t="t" r="r" b="b"/>
              <a:pathLst>
                <a:path w="1054" h="299" extrusionOk="0">
                  <a:moveTo>
                    <a:pt x="338" y="1"/>
                  </a:moveTo>
                  <a:lnTo>
                    <a:pt x="1" y="299"/>
                  </a:lnTo>
                  <a:lnTo>
                    <a:pt x="717" y="299"/>
                  </a:lnTo>
                  <a:lnTo>
                    <a:pt x="1054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4" name="Google Shape;124;p2"/>
            <p:cNvSpPr/>
            <p:nvPr/>
          </p:nvSpPr>
          <p:spPr>
            <a:xfrm>
              <a:off x="1380225" y="3074150"/>
              <a:ext cx="17925" cy="1000"/>
            </a:xfrm>
            <a:custGeom>
              <a:avLst/>
              <a:gdLst/>
              <a:ahLst/>
              <a:cxnLst/>
              <a:rect l="l" t="t" r="r" b="b"/>
              <a:pathLst>
                <a:path w="717" h="40" extrusionOk="0">
                  <a:moveTo>
                    <a:pt x="1" y="1"/>
                  </a:moveTo>
                  <a:lnTo>
                    <a:pt x="1" y="40"/>
                  </a:lnTo>
                  <a:lnTo>
                    <a:pt x="717" y="40"/>
                  </a:lnTo>
                  <a:lnTo>
                    <a:pt x="717" y="1"/>
                  </a:lnTo>
                  <a:close/>
                </a:path>
              </a:pathLst>
            </a:custGeom>
            <a:solidFill>
              <a:srgbClr val="EDE8C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" name="Google Shape;125;p2"/>
            <p:cNvSpPr/>
            <p:nvPr/>
          </p:nvSpPr>
          <p:spPr>
            <a:xfrm>
              <a:off x="1398125" y="3066700"/>
              <a:ext cx="8450" cy="8450"/>
            </a:xfrm>
            <a:custGeom>
              <a:avLst/>
              <a:gdLst/>
              <a:ahLst/>
              <a:cxnLst/>
              <a:rect l="l" t="t" r="r" b="b"/>
              <a:pathLst>
                <a:path w="338" h="338" extrusionOk="0">
                  <a:moveTo>
                    <a:pt x="338" y="1"/>
                  </a:moveTo>
                  <a:lnTo>
                    <a:pt x="1" y="299"/>
                  </a:lnTo>
                  <a:lnTo>
                    <a:pt x="1" y="338"/>
                  </a:lnTo>
                  <a:lnTo>
                    <a:pt x="338" y="40"/>
                  </a:lnTo>
                  <a:lnTo>
                    <a:pt x="338" y="1"/>
                  </a:lnTo>
                  <a:close/>
                </a:path>
              </a:pathLst>
            </a:custGeom>
            <a:solidFill>
              <a:srgbClr val="A8A27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" name="Google Shape;126;p2"/>
            <p:cNvSpPr/>
            <p:nvPr/>
          </p:nvSpPr>
          <p:spPr>
            <a:xfrm>
              <a:off x="1406550" y="3066700"/>
              <a:ext cx="8450" cy="8450"/>
            </a:xfrm>
            <a:custGeom>
              <a:avLst/>
              <a:gdLst/>
              <a:ahLst/>
              <a:cxnLst/>
              <a:rect l="l" t="t" r="r" b="b"/>
              <a:pathLst>
                <a:path w="338" h="338" extrusionOk="0">
                  <a:moveTo>
                    <a:pt x="1" y="1"/>
                  </a:moveTo>
                  <a:lnTo>
                    <a:pt x="1" y="40"/>
                  </a:lnTo>
                  <a:lnTo>
                    <a:pt x="338" y="338"/>
                  </a:lnTo>
                  <a:lnTo>
                    <a:pt x="338" y="29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A8A27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" name="Google Shape;127;p2"/>
            <p:cNvSpPr/>
            <p:nvPr/>
          </p:nvSpPr>
          <p:spPr>
            <a:xfrm>
              <a:off x="1431175" y="3150700"/>
              <a:ext cx="35825" cy="40525"/>
            </a:xfrm>
            <a:custGeom>
              <a:avLst/>
              <a:gdLst/>
              <a:ahLst/>
              <a:cxnLst/>
              <a:rect l="l" t="t" r="r" b="b"/>
              <a:pathLst>
                <a:path w="1433" h="1621" extrusionOk="0">
                  <a:moveTo>
                    <a:pt x="1" y="1"/>
                  </a:moveTo>
                  <a:lnTo>
                    <a:pt x="1" y="1621"/>
                  </a:lnTo>
                  <a:lnTo>
                    <a:pt x="1433" y="1621"/>
                  </a:lnTo>
                  <a:lnTo>
                    <a:pt x="1433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" name="Google Shape;128;p2"/>
            <p:cNvSpPr/>
            <p:nvPr/>
          </p:nvSpPr>
          <p:spPr>
            <a:xfrm>
              <a:off x="1429900" y="3151750"/>
              <a:ext cx="2350" cy="39475"/>
            </a:xfrm>
            <a:custGeom>
              <a:avLst/>
              <a:gdLst/>
              <a:ahLst/>
              <a:cxnLst/>
              <a:rect l="l" t="t" r="r" b="b"/>
              <a:pathLst>
                <a:path w="94" h="1579" extrusionOk="0">
                  <a:moveTo>
                    <a:pt x="0" y="1"/>
                  </a:moveTo>
                  <a:lnTo>
                    <a:pt x="0" y="1579"/>
                  </a:lnTo>
                  <a:lnTo>
                    <a:pt x="94" y="1579"/>
                  </a:lnTo>
                  <a:lnTo>
                    <a:pt x="94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" name="Google Shape;129;p2"/>
            <p:cNvSpPr/>
            <p:nvPr/>
          </p:nvSpPr>
          <p:spPr>
            <a:xfrm>
              <a:off x="1463575" y="3151750"/>
              <a:ext cx="2475" cy="39475"/>
            </a:xfrm>
            <a:custGeom>
              <a:avLst/>
              <a:gdLst/>
              <a:ahLst/>
              <a:cxnLst/>
              <a:rect l="l" t="t" r="r" b="b"/>
              <a:pathLst>
                <a:path w="99" h="1579" extrusionOk="0">
                  <a:moveTo>
                    <a:pt x="1" y="1"/>
                  </a:moveTo>
                  <a:lnTo>
                    <a:pt x="1" y="1579"/>
                  </a:lnTo>
                  <a:lnTo>
                    <a:pt x="98" y="1579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0" name="Google Shape;130;p2"/>
            <p:cNvSpPr/>
            <p:nvPr/>
          </p:nvSpPr>
          <p:spPr>
            <a:xfrm>
              <a:off x="1446725" y="3151750"/>
              <a:ext cx="2375" cy="39475"/>
            </a:xfrm>
            <a:custGeom>
              <a:avLst/>
              <a:gdLst/>
              <a:ahLst/>
              <a:cxnLst/>
              <a:rect l="l" t="t" r="r" b="b"/>
              <a:pathLst>
                <a:path w="95" h="1579" extrusionOk="0">
                  <a:moveTo>
                    <a:pt x="1" y="1"/>
                  </a:moveTo>
                  <a:lnTo>
                    <a:pt x="1" y="1579"/>
                  </a:lnTo>
                  <a:lnTo>
                    <a:pt x="95" y="1579"/>
                  </a:lnTo>
                  <a:lnTo>
                    <a:pt x="95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1" name="Google Shape;131;p2"/>
            <p:cNvSpPr/>
            <p:nvPr/>
          </p:nvSpPr>
          <p:spPr>
            <a:xfrm>
              <a:off x="1429900" y="3151750"/>
              <a:ext cx="36150" cy="2375"/>
            </a:xfrm>
            <a:custGeom>
              <a:avLst/>
              <a:gdLst/>
              <a:ahLst/>
              <a:cxnLst/>
              <a:rect l="l" t="t" r="r" b="b"/>
              <a:pathLst>
                <a:path w="1446" h="95" extrusionOk="0">
                  <a:moveTo>
                    <a:pt x="0" y="1"/>
                  </a:moveTo>
                  <a:lnTo>
                    <a:pt x="0" y="95"/>
                  </a:lnTo>
                  <a:lnTo>
                    <a:pt x="1445" y="95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2" name="Google Shape;132;p2"/>
            <p:cNvSpPr/>
            <p:nvPr/>
          </p:nvSpPr>
          <p:spPr>
            <a:xfrm>
              <a:off x="1429900" y="3170950"/>
              <a:ext cx="36150" cy="2450"/>
            </a:xfrm>
            <a:custGeom>
              <a:avLst/>
              <a:gdLst/>
              <a:ahLst/>
              <a:cxnLst/>
              <a:rect l="l" t="t" r="r" b="b"/>
              <a:pathLst>
                <a:path w="1446" h="98" extrusionOk="0">
                  <a:moveTo>
                    <a:pt x="0" y="1"/>
                  </a:moveTo>
                  <a:lnTo>
                    <a:pt x="0" y="98"/>
                  </a:lnTo>
                  <a:lnTo>
                    <a:pt x="1445" y="98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3" name="Google Shape;133;p2"/>
            <p:cNvSpPr/>
            <p:nvPr/>
          </p:nvSpPr>
          <p:spPr>
            <a:xfrm>
              <a:off x="1446725" y="3151750"/>
              <a:ext cx="19325" cy="20600"/>
            </a:xfrm>
            <a:custGeom>
              <a:avLst/>
              <a:gdLst/>
              <a:ahLst/>
              <a:cxnLst/>
              <a:rect l="l" t="t" r="r" b="b"/>
              <a:pathLst>
                <a:path w="773" h="824" extrusionOk="0">
                  <a:moveTo>
                    <a:pt x="675" y="1"/>
                  </a:moveTo>
                  <a:lnTo>
                    <a:pt x="1" y="824"/>
                  </a:lnTo>
                  <a:lnTo>
                    <a:pt x="95" y="824"/>
                  </a:lnTo>
                  <a:lnTo>
                    <a:pt x="772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4" name="Google Shape;134;p2"/>
            <p:cNvSpPr/>
            <p:nvPr/>
          </p:nvSpPr>
          <p:spPr>
            <a:xfrm>
              <a:off x="1429900" y="3151750"/>
              <a:ext cx="19200" cy="20600"/>
            </a:xfrm>
            <a:custGeom>
              <a:avLst/>
              <a:gdLst/>
              <a:ahLst/>
              <a:cxnLst/>
              <a:rect l="l" t="t" r="r" b="b"/>
              <a:pathLst>
                <a:path w="768" h="824" extrusionOk="0">
                  <a:moveTo>
                    <a:pt x="0" y="1"/>
                  </a:moveTo>
                  <a:lnTo>
                    <a:pt x="674" y="824"/>
                  </a:lnTo>
                  <a:lnTo>
                    <a:pt x="768" y="824"/>
                  </a:lnTo>
                  <a:lnTo>
                    <a:pt x="94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5" name="Google Shape;135;p2"/>
            <p:cNvSpPr/>
            <p:nvPr/>
          </p:nvSpPr>
          <p:spPr>
            <a:xfrm>
              <a:off x="1446725" y="3172325"/>
              <a:ext cx="18250" cy="18900"/>
            </a:xfrm>
            <a:custGeom>
              <a:avLst/>
              <a:gdLst/>
              <a:ahLst/>
              <a:cxnLst/>
              <a:rect l="l" t="t" r="r" b="b"/>
              <a:pathLst>
                <a:path w="730" h="756" extrusionOk="0">
                  <a:moveTo>
                    <a:pt x="1" y="1"/>
                  </a:moveTo>
                  <a:lnTo>
                    <a:pt x="636" y="756"/>
                  </a:lnTo>
                  <a:lnTo>
                    <a:pt x="730" y="756"/>
                  </a:lnTo>
                  <a:lnTo>
                    <a:pt x="95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6" name="Google Shape;136;p2"/>
            <p:cNvSpPr/>
            <p:nvPr/>
          </p:nvSpPr>
          <p:spPr>
            <a:xfrm>
              <a:off x="1430850" y="3172325"/>
              <a:ext cx="18250" cy="18900"/>
            </a:xfrm>
            <a:custGeom>
              <a:avLst/>
              <a:gdLst/>
              <a:ahLst/>
              <a:cxnLst/>
              <a:rect l="l" t="t" r="r" b="b"/>
              <a:pathLst>
                <a:path w="730" h="756" extrusionOk="0">
                  <a:moveTo>
                    <a:pt x="636" y="1"/>
                  </a:moveTo>
                  <a:lnTo>
                    <a:pt x="1" y="756"/>
                  </a:lnTo>
                  <a:lnTo>
                    <a:pt x="95" y="756"/>
                  </a:lnTo>
                  <a:lnTo>
                    <a:pt x="730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7" name="Google Shape;137;p2"/>
            <p:cNvSpPr/>
            <p:nvPr/>
          </p:nvSpPr>
          <p:spPr>
            <a:xfrm>
              <a:off x="1431175" y="3150700"/>
              <a:ext cx="2475" cy="40525"/>
            </a:xfrm>
            <a:custGeom>
              <a:avLst/>
              <a:gdLst/>
              <a:ahLst/>
              <a:cxnLst/>
              <a:rect l="l" t="t" r="r" b="b"/>
              <a:pathLst>
                <a:path w="99" h="1621" extrusionOk="0">
                  <a:moveTo>
                    <a:pt x="1" y="1"/>
                  </a:moveTo>
                  <a:lnTo>
                    <a:pt x="1" y="1621"/>
                  </a:lnTo>
                  <a:lnTo>
                    <a:pt x="98" y="1621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8" name="Google Shape;138;p2"/>
            <p:cNvSpPr/>
            <p:nvPr/>
          </p:nvSpPr>
          <p:spPr>
            <a:xfrm>
              <a:off x="1464625" y="3150700"/>
              <a:ext cx="2375" cy="40525"/>
            </a:xfrm>
            <a:custGeom>
              <a:avLst/>
              <a:gdLst/>
              <a:ahLst/>
              <a:cxnLst/>
              <a:rect l="l" t="t" r="r" b="b"/>
              <a:pathLst>
                <a:path w="95" h="1621" extrusionOk="0">
                  <a:moveTo>
                    <a:pt x="1" y="1"/>
                  </a:moveTo>
                  <a:lnTo>
                    <a:pt x="1" y="1621"/>
                  </a:lnTo>
                  <a:lnTo>
                    <a:pt x="95" y="1621"/>
                  </a:lnTo>
                  <a:lnTo>
                    <a:pt x="95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9" name="Google Shape;139;p2"/>
            <p:cNvSpPr/>
            <p:nvPr/>
          </p:nvSpPr>
          <p:spPr>
            <a:xfrm>
              <a:off x="1448125" y="3150700"/>
              <a:ext cx="2050" cy="40525"/>
            </a:xfrm>
            <a:custGeom>
              <a:avLst/>
              <a:gdLst/>
              <a:ahLst/>
              <a:cxnLst/>
              <a:rect l="l" t="t" r="r" b="b"/>
              <a:pathLst>
                <a:path w="82" h="1621" extrusionOk="0">
                  <a:moveTo>
                    <a:pt x="0" y="1"/>
                  </a:moveTo>
                  <a:lnTo>
                    <a:pt x="0" y="1621"/>
                  </a:lnTo>
                  <a:lnTo>
                    <a:pt x="81" y="1621"/>
                  </a:lnTo>
                  <a:lnTo>
                    <a:pt x="81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0" name="Google Shape;140;p2"/>
            <p:cNvSpPr/>
            <p:nvPr/>
          </p:nvSpPr>
          <p:spPr>
            <a:xfrm>
              <a:off x="1431175" y="3150700"/>
              <a:ext cx="35825" cy="2450"/>
            </a:xfrm>
            <a:custGeom>
              <a:avLst/>
              <a:gdLst/>
              <a:ahLst/>
              <a:cxnLst/>
              <a:rect l="l" t="t" r="r" b="b"/>
              <a:pathLst>
                <a:path w="1433" h="98" extrusionOk="0">
                  <a:moveTo>
                    <a:pt x="1" y="1"/>
                  </a:moveTo>
                  <a:lnTo>
                    <a:pt x="1" y="98"/>
                  </a:lnTo>
                  <a:lnTo>
                    <a:pt x="1433" y="98"/>
                  </a:lnTo>
                  <a:lnTo>
                    <a:pt x="1433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1" name="Google Shape;141;p2"/>
            <p:cNvSpPr/>
            <p:nvPr/>
          </p:nvSpPr>
          <p:spPr>
            <a:xfrm>
              <a:off x="1431175" y="3169975"/>
              <a:ext cx="35825" cy="2375"/>
            </a:xfrm>
            <a:custGeom>
              <a:avLst/>
              <a:gdLst/>
              <a:ahLst/>
              <a:cxnLst/>
              <a:rect l="l" t="t" r="r" b="b"/>
              <a:pathLst>
                <a:path w="1433" h="95" extrusionOk="0">
                  <a:moveTo>
                    <a:pt x="1" y="1"/>
                  </a:moveTo>
                  <a:lnTo>
                    <a:pt x="1" y="95"/>
                  </a:lnTo>
                  <a:lnTo>
                    <a:pt x="1433" y="95"/>
                  </a:lnTo>
                  <a:lnTo>
                    <a:pt x="1433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2" name="Google Shape;142;p2"/>
            <p:cNvSpPr/>
            <p:nvPr/>
          </p:nvSpPr>
          <p:spPr>
            <a:xfrm>
              <a:off x="1448125" y="3150700"/>
              <a:ext cx="18875" cy="20275"/>
            </a:xfrm>
            <a:custGeom>
              <a:avLst/>
              <a:gdLst/>
              <a:ahLst/>
              <a:cxnLst/>
              <a:rect l="l" t="t" r="r" b="b"/>
              <a:pathLst>
                <a:path w="755" h="811" extrusionOk="0">
                  <a:moveTo>
                    <a:pt x="661" y="1"/>
                  </a:moveTo>
                  <a:lnTo>
                    <a:pt x="0" y="811"/>
                  </a:lnTo>
                  <a:lnTo>
                    <a:pt x="81" y="811"/>
                  </a:lnTo>
                  <a:lnTo>
                    <a:pt x="755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3" name="Google Shape;143;p2"/>
            <p:cNvSpPr/>
            <p:nvPr/>
          </p:nvSpPr>
          <p:spPr>
            <a:xfrm>
              <a:off x="1431175" y="3150700"/>
              <a:ext cx="19000" cy="20275"/>
            </a:xfrm>
            <a:custGeom>
              <a:avLst/>
              <a:gdLst/>
              <a:ahLst/>
              <a:cxnLst/>
              <a:rect l="l" t="t" r="r" b="b"/>
              <a:pathLst>
                <a:path w="760" h="811" extrusionOk="0">
                  <a:moveTo>
                    <a:pt x="1" y="1"/>
                  </a:moveTo>
                  <a:lnTo>
                    <a:pt x="678" y="811"/>
                  </a:lnTo>
                  <a:lnTo>
                    <a:pt x="759" y="811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4" name="Google Shape;144;p2"/>
            <p:cNvSpPr/>
            <p:nvPr/>
          </p:nvSpPr>
          <p:spPr>
            <a:xfrm>
              <a:off x="1448125" y="3170950"/>
              <a:ext cx="18875" cy="20275"/>
            </a:xfrm>
            <a:custGeom>
              <a:avLst/>
              <a:gdLst/>
              <a:ahLst/>
              <a:cxnLst/>
              <a:rect l="l" t="t" r="r" b="b"/>
              <a:pathLst>
                <a:path w="755" h="811" extrusionOk="0">
                  <a:moveTo>
                    <a:pt x="0" y="1"/>
                  </a:moveTo>
                  <a:lnTo>
                    <a:pt x="661" y="811"/>
                  </a:lnTo>
                  <a:lnTo>
                    <a:pt x="755" y="811"/>
                  </a:lnTo>
                  <a:lnTo>
                    <a:pt x="81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5" name="Google Shape;145;p2"/>
            <p:cNvSpPr/>
            <p:nvPr/>
          </p:nvSpPr>
          <p:spPr>
            <a:xfrm>
              <a:off x="1431175" y="3170950"/>
              <a:ext cx="19000" cy="20275"/>
            </a:xfrm>
            <a:custGeom>
              <a:avLst/>
              <a:gdLst/>
              <a:ahLst/>
              <a:cxnLst/>
              <a:rect l="l" t="t" r="r" b="b"/>
              <a:pathLst>
                <a:path w="760" h="811" extrusionOk="0">
                  <a:moveTo>
                    <a:pt x="678" y="1"/>
                  </a:moveTo>
                  <a:lnTo>
                    <a:pt x="1" y="811"/>
                  </a:lnTo>
                  <a:lnTo>
                    <a:pt x="98" y="811"/>
                  </a:lnTo>
                  <a:lnTo>
                    <a:pt x="759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6" name="Google Shape;146;p2"/>
            <p:cNvSpPr/>
            <p:nvPr/>
          </p:nvSpPr>
          <p:spPr>
            <a:xfrm>
              <a:off x="1438300" y="3111575"/>
              <a:ext cx="21675" cy="24000"/>
            </a:xfrm>
            <a:custGeom>
              <a:avLst/>
              <a:gdLst/>
              <a:ahLst/>
              <a:cxnLst/>
              <a:rect l="l" t="t" r="r" b="b"/>
              <a:pathLst>
                <a:path w="867" h="960" extrusionOk="0">
                  <a:moveTo>
                    <a:pt x="1" y="1"/>
                  </a:moveTo>
                  <a:lnTo>
                    <a:pt x="1" y="960"/>
                  </a:lnTo>
                  <a:lnTo>
                    <a:pt x="866" y="960"/>
                  </a:lnTo>
                  <a:lnTo>
                    <a:pt x="86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7" name="Google Shape;147;p2"/>
            <p:cNvSpPr/>
            <p:nvPr/>
          </p:nvSpPr>
          <p:spPr>
            <a:xfrm>
              <a:off x="1437250" y="3134175"/>
              <a:ext cx="21650" cy="2050"/>
            </a:xfrm>
            <a:custGeom>
              <a:avLst/>
              <a:gdLst/>
              <a:ahLst/>
              <a:cxnLst/>
              <a:rect l="l" t="t" r="r" b="b"/>
              <a:pathLst>
                <a:path w="866" h="82" extrusionOk="0">
                  <a:moveTo>
                    <a:pt x="1" y="1"/>
                  </a:moveTo>
                  <a:lnTo>
                    <a:pt x="1" y="82"/>
                  </a:lnTo>
                  <a:lnTo>
                    <a:pt x="866" y="82"/>
                  </a:lnTo>
                  <a:lnTo>
                    <a:pt x="866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8" name="Google Shape;148;p2"/>
            <p:cNvSpPr/>
            <p:nvPr/>
          </p:nvSpPr>
          <p:spPr>
            <a:xfrm>
              <a:off x="1437250" y="3112625"/>
              <a:ext cx="21650" cy="2375"/>
            </a:xfrm>
            <a:custGeom>
              <a:avLst/>
              <a:gdLst/>
              <a:ahLst/>
              <a:cxnLst/>
              <a:rect l="l" t="t" r="r" b="b"/>
              <a:pathLst>
                <a:path w="866" h="95" extrusionOk="0">
                  <a:moveTo>
                    <a:pt x="1" y="1"/>
                  </a:moveTo>
                  <a:lnTo>
                    <a:pt x="1" y="95"/>
                  </a:lnTo>
                  <a:lnTo>
                    <a:pt x="866" y="95"/>
                  </a:lnTo>
                  <a:lnTo>
                    <a:pt x="866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9" name="Google Shape;149;p2"/>
            <p:cNvSpPr/>
            <p:nvPr/>
          </p:nvSpPr>
          <p:spPr>
            <a:xfrm>
              <a:off x="1437250" y="3112625"/>
              <a:ext cx="2475" cy="23600"/>
            </a:xfrm>
            <a:custGeom>
              <a:avLst/>
              <a:gdLst/>
              <a:ahLst/>
              <a:cxnLst/>
              <a:rect l="l" t="t" r="r" b="b"/>
              <a:pathLst>
                <a:path w="99" h="944" extrusionOk="0">
                  <a:moveTo>
                    <a:pt x="1" y="1"/>
                  </a:moveTo>
                  <a:lnTo>
                    <a:pt x="1" y="944"/>
                  </a:lnTo>
                  <a:lnTo>
                    <a:pt x="98" y="944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0" name="Google Shape;150;p2"/>
            <p:cNvSpPr/>
            <p:nvPr/>
          </p:nvSpPr>
          <p:spPr>
            <a:xfrm>
              <a:off x="1456525" y="3112625"/>
              <a:ext cx="2375" cy="23600"/>
            </a:xfrm>
            <a:custGeom>
              <a:avLst/>
              <a:gdLst/>
              <a:ahLst/>
              <a:cxnLst/>
              <a:rect l="l" t="t" r="r" b="b"/>
              <a:pathLst>
                <a:path w="95" h="944" extrusionOk="0">
                  <a:moveTo>
                    <a:pt x="1" y="1"/>
                  </a:moveTo>
                  <a:lnTo>
                    <a:pt x="1" y="944"/>
                  </a:lnTo>
                  <a:lnTo>
                    <a:pt x="95" y="944"/>
                  </a:lnTo>
                  <a:lnTo>
                    <a:pt x="95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1" name="Google Shape;151;p2"/>
            <p:cNvSpPr/>
            <p:nvPr/>
          </p:nvSpPr>
          <p:spPr>
            <a:xfrm>
              <a:off x="1439700" y="3112625"/>
              <a:ext cx="16850" cy="23600"/>
            </a:xfrm>
            <a:custGeom>
              <a:avLst/>
              <a:gdLst/>
              <a:ahLst/>
              <a:cxnLst/>
              <a:rect l="l" t="t" r="r" b="b"/>
              <a:pathLst>
                <a:path w="674" h="944" extrusionOk="0">
                  <a:moveTo>
                    <a:pt x="0" y="1"/>
                  </a:moveTo>
                  <a:lnTo>
                    <a:pt x="0" y="95"/>
                  </a:lnTo>
                  <a:lnTo>
                    <a:pt x="674" y="944"/>
                  </a:lnTo>
                  <a:lnTo>
                    <a:pt x="674" y="86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2" name="Google Shape;152;p2"/>
            <p:cNvSpPr/>
            <p:nvPr/>
          </p:nvSpPr>
          <p:spPr>
            <a:xfrm>
              <a:off x="1439700" y="3112625"/>
              <a:ext cx="16850" cy="23600"/>
            </a:xfrm>
            <a:custGeom>
              <a:avLst/>
              <a:gdLst/>
              <a:ahLst/>
              <a:cxnLst/>
              <a:rect l="l" t="t" r="r" b="b"/>
              <a:pathLst>
                <a:path w="674" h="944" extrusionOk="0">
                  <a:moveTo>
                    <a:pt x="674" y="1"/>
                  </a:moveTo>
                  <a:lnTo>
                    <a:pt x="0" y="863"/>
                  </a:lnTo>
                  <a:lnTo>
                    <a:pt x="0" y="944"/>
                  </a:lnTo>
                  <a:lnTo>
                    <a:pt x="674" y="95"/>
                  </a:lnTo>
                  <a:lnTo>
                    <a:pt x="674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3" name="Google Shape;153;p2"/>
            <p:cNvSpPr/>
            <p:nvPr/>
          </p:nvSpPr>
          <p:spPr>
            <a:xfrm>
              <a:off x="1438300" y="3133200"/>
              <a:ext cx="21675" cy="2375"/>
            </a:xfrm>
            <a:custGeom>
              <a:avLst/>
              <a:gdLst/>
              <a:ahLst/>
              <a:cxnLst/>
              <a:rect l="l" t="t" r="r" b="b"/>
              <a:pathLst>
                <a:path w="867" h="95" extrusionOk="0">
                  <a:moveTo>
                    <a:pt x="1" y="1"/>
                  </a:moveTo>
                  <a:lnTo>
                    <a:pt x="1" y="95"/>
                  </a:lnTo>
                  <a:lnTo>
                    <a:pt x="866" y="95"/>
                  </a:lnTo>
                  <a:lnTo>
                    <a:pt x="866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4" name="Google Shape;154;p2"/>
            <p:cNvSpPr/>
            <p:nvPr/>
          </p:nvSpPr>
          <p:spPr>
            <a:xfrm>
              <a:off x="1438300" y="3111575"/>
              <a:ext cx="21675" cy="2375"/>
            </a:xfrm>
            <a:custGeom>
              <a:avLst/>
              <a:gdLst/>
              <a:ahLst/>
              <a:cxnLst/>
              <a:rect l="l" t="t" r="r" b="b"/>
              <a:pathLst>
                <a:path w="867" h="95" extrusionOk="0">
                  <a:moveTo>
                    <a:pt x="1" y="1"/>
                  </a:moveTo>
                  <a:lnTo>
                    <a:pt x="1" y="95"/>
                  </a:lnTo>
                  <a:lnTo>
                    <a:pt x="866" y="95"/>
                  </a:lnTo>
                  <a:lnTo>
                    <a:pt x="866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5" name="Google Shape;155;p2"/>
            <p:cNvSpPr/>
            <p:nvPr/>
          </p:nvSpPr>
          <p:spPr>
            <a:xfrm>
              <a:off x="1438300" y="3111575"/>
              <a:ext cx="2375" cy="24000"/>
            </a:xfrm>
            <a:custGeom>
              <a:avLst/>
              <a:gdLst/>
              <a:ahLst/>
              <a:cxnLst/>
              <a:rect l="l" t="t" r="r" b="b"/>
              <a:pathLst>
                <a:path w="95" h="960" extrusionOk="0">
                  <a:moveTo>
                    <a:pt x="1" y="1"/>
                  </a:moveTo>
                  <a:lnTo>
                    <a:pt x="1" y="960"/>
                  </a:lnTo>
                  <a:lnTo>
                    <a:pt x="95" y="960"/>
                  </a:lnTo>
                  <a:lnTo>
                    <a:pt x="95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6" name="Google Shape;156;p2"/>
            <p:cNvSpPr/>
            <p:nvPr/>
          </p:nvSpPr>
          <p:spPr>
            <a:xfrm>
              <a:off x="1457500" y="3111575"/>
              <a:ext cx="2475" cy="24000"/>
            </a:xfrm>
            <a:custGeom>
              <a:avLst/>
              <a:gdLst/>
              <a:ahLst/>
              <a:cxnLst/>
              <a:rect l="l" t="t" r="r" b="b"/>
              <a:pathLst>
                <a:path w="99" h="960" extrusionOk="0">
                  <a:moveTo>
                    <a:pt x="1" y="1"/>
                  </a:moveTo>
                  <a:lnTo>
                    <a:pt x="1" y="960"/>
                  </a:lnTo>
                  <a:lnTo>
                    <a:pt x="98" y="960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" name="Google Shape;157;p2"/>
            <p:cNvSpPr/>
            <p:nvPr/>
          </p:nvSpPr>
          <p:spPr>
            <a:xfrm>
              <a:off x="1440650" y="3111575"/>
              <a:ext cx="16875" cy="24000"/>
            </a:xfrm>
            <a:custGeom>
              <a:avLst/>
              <a:gdLst/>
              <a:ahLst/>
              <a:cxnLst/>
              <a:rect l="l" t="t" r="r" b="b"/>
              <a:pathLst>
                <a:path w="675" h="960" extrusionOk="0">
                  <a:moveTo>
                    <a:pt x="1" y="1"/>
                  </a:moveTo>
                  <a:lnTo>
                    <a:pt x="1" y="95"/>
                  </a:lnTo>
                  <a:lnTo>
                    <a:pt x="675" y="960"/>
                  </a:lnTo>
                  <a:lnTo>
                    <a:pt x="675" y="866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" name="Google Shape;158;p2"/>
            <p:cNvSpPr/>
            <p:nvPr/>
          </p:nvSpPr>
          <p:spPr>
            <a:xfrm>
              <a:off x="1440650" y="3111575"/>
              <a:ext cx="16875" cy="24000"/>
            </a:xfrm>
            <a:custGeom>
              <a:avLst/>
              <a:gdLst/>
              <a:ahLst/>
              <a:cxnLst/>
              <a:rect l="l" t="t" r="r" b="b"/>
              <a:pathLst>
                <a:path w="675" h="960" extrusionOk="0">
                  <a:moveTo>
                    <a:pt x="675" y="1"/>
                  </a:moveTo>
                  <a:lnTo>
                    <a:pt x="1" y="866"/>
                  </a:lnTo>
                  <a:lnTo>
                    <a:pt x="1" y="960"/>
                  </a:lnTo>
                  <a:lnTo>
                    <a:pt x="675" y="95"/>
                  </a:lnTo>
                  <a:lnTo>
                    <a:pt x="675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" name="Google Shape;159;p2"/>
            <p:cNvSpPr/>
            <p:nvPr/>
          </p:nvSpPr>
          <p:spPr>
            <a:xfrm>
              <a:off x="1347825" y="3161875"/>
              <a:ext cx="14525" cy="15175"/>
            </a:xfrm>
            <a:custGeom>
              <a:avLst/>
              <a:gdLst/>
              <a:ahLst/>
              <a:cxnLst/>
              <a:rect l="l" t="t" r="r" b="b"/>
              <a:pathLst>
                <a:path w="581" h="607" extrusionOk="0">
                  <a:moveTo>
                    <a:pt x="1" y="1"/>
                  </a:moveTo>
                  <a:lnTo>
                    <a:pt x="1" y="607"/>
                  </a:lnTo>
                  <a:lnTo>
                    <a:pt x="581" y="607"/>
                  </a:lnTo>
                  <a:lnTo>
                    <a:pt x="581" y="1"/>
                  </a:lnTo>
                  <a:close/>
                </a:path>
              </a:pathLst>
            </a:custGeom>
            <a:solidFill>
              <a:srgbClr val="9C453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" name="Google Shape;160;p2"/>
            <p:cNvSpPr/>
            <p:nvPr/>
          </p:nvSpPr>
          <p:spPr>
            <a:xfrm>
              <a:off x="1347175" y="3176050"/>
              <a:ext cx="14525" cy="1725"/>
            </a:xfrm>
            <a:custGeom>
              <a:avLst/>
              <a:gdLst/>
              <a:ahLst/>
              <a:cxnLst/>
              <a:rect l="l" t="t" r="r" b="b"/>
              <a:pathLst>
                <a:path w="581" h="69" extrusionOk="0">
                  <a:moveTo>
                    <a:pt x="1" y="1"/>
                  </a:moveTo>
                  <a:lnTo>
                    <a:pt x="1" y="69"/>
                  </a:lnTo>
                  <a:lnTo>
                    <a:pt x="581" y="69"/>
                  </a:lnTo>
                  <a:lnTo>
                    <a:pt x="581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" name="Google Shape;161;p2"/>
            <p:cNvSpPr/>
            <p:nvPr/>
          </p:nvSpPr>
          <p:spPr>
            <a:xfrm>
              <a:off x="1347175" y="3162525"/>
              <a:ext cx="14525" cy="2050"/>
            </a:xfrm>
            <a:custGeom>
              <a:avLst/>
              <a:gdLst/>
              <a:ahLst/>
              <a:cxnLst/>
              <a:rect l="l" t="t" r="r" b="b"/>
              <a:pathLst>
                <a:path w="581" h="82" extrusionOk="0">
                  <a:moveTo>
                    <a:pt x="1" y="1"/>
                  </a:moveTo>
                  <a:lnTo>
                    <a:pt x="1" y="82"/>
                  </a:lnTo>
                  <a:lnTo>
                    <a:pt x="581" y="82"/>
                  </a:lnTo>
                  <a:lnTo>
                    <a:pt x="581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" name="Google Shape;162;p2"/>
            <p:cNvSpPr/>
            <p:nvPr/>
          </p:nvSpPr>
          <p:spPr>
            <a:xfrm>
              <a:off x="1347175" y="3162525"/>
              <a:ext cx="1750" cy="15250"/>
            </a:xfrm>
            <a:custGeom>
              <a:avLst/>
              <a:gdLst/>
              <a:ahLst/>
              <a:cxnLst/>
              <a:rect l="l" t="t" r="r" b="b"/>
              <a:pathLst>
                <a:path w="70" h="610" extrusionOk="0">
                  <a:moveTo>
                    <a:pt x="1" y="1"/>
                  </a:moveTo>
                  <a:lnTo>
                    <a:pt x="1" y="610"/>
                  </a:lnTo>
                  <a:lnTo>
                    <a:pt x="69" y="61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" name="Google Shape;163;p2"/>
            <p:cNvSpPr/>
            <p:nvPr/>
          </p:nvSpPr>
          <p:spPr>
            <a:xfrm>
              <a:off x="1359975" y="3163575"/>
              <a:ext cx="1725" cy="14200"/>
            </a:xfrm>
            <a:custGeom>
              <a:avLst/>
              <a:gdLst/>
              <a:ahLst/>
              <a:cxnLst/>
              <a:rect l="l" t="t" r="r" b="b"/>
              <a:pathLst>
                <a:path w="69" h="568" extrusionOk="0">
                  <a:moveTo>
                    <a:pt x="1" y="1"/>
                  </a:moveTo>
                  <a:lnTo>
                    <a:pt x="1" y="568"/>
                  </a:lnTo>
                  <a:lnTo>
                    <a:pt x="69" y="568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" name="Google Shape;164;p2"/>
            <p:cNvSpPr/>
            <p:nvPr/>
          </p:nvSpPr>
          <p:spPr>
            <a:xfrm>
              <a:off x="1347825" y="3175400"/>
              <a:ext cx="14525" cy="1650"/>
            </a:xfrm>
            <a:custGeom>
              <a:avLst/>
              <a:gdLst/>
              <a:ahLst/>
              <a:cxnLst/>
              <a:rect l="l" t="t" r="r" b="b"/>
              <a:pathLst>
                <a:path w="581" h="66" extrusionOk="0">
                  <a:moveTo>
                    <a:pt x="1" y="1"/>
                  </a:moveTo>
                  <a:lnTo>
                    <a:pt x="1" y="66"/>
                  </a:lnTo>
                  <a:lnTo>
                    <a:pt x="581" y="66"/>
                  </a:lnTo>
                  <a:lnTo>
                    <a:pt x="581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" name="Google Shape;165;p2"/>
            <p:cNvSpPr/>
            <p:nvPr/>
          </p:nvSpPr>
          <p:spPr>
            <a:xfrm>
              <a:off x="1347825" y="3161875"/>
              <a:ext cx="14525" cy="1725"/>
            </a:xfrm>
            <a:custGeom>
              <a:avLst/>
              <a:gdLst/>
              <a:ahLst/>
              <a:cxnLst/>
              <a:rect l="l" t="t" r="r" b="b"/>
              <a:pathLst>
                <a:path w="581" h="69" extrusionOk="0">
                  <a:moveTo>
                    <a:pt x="1" y="1"/>
                  </a:moveTo>
                  <a:lnTo>
                    <a:pt x="1" y="69"/>
                  </a:lnTo>
                  <a:lnTo>
                    <a:pt x="581" y="69"/>
                  </a:lnTo>
                  <a:lnTo>
                    <a:pt x="581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" name="Google Shape;166;p2"/>
            <p:cNvSpPr/>
            <p:nvPr/>
          </p:nvSpPr>
          <p:spPr>
            <a:xfrm>
              <a:off x="1347825" y="3161875"/>
              <a:ext cx="1725" cy="15175"/>
            </a:xfrm>
            <a:custGeom>
              <a:avLst/>
              <a:gdLst/>
              <a:ahLst/>
              <a:cxnLst/>
              <a:rect l="l" t="t" r="r" b="b"/>
              <a:pathLst>
                <a:path w="69" h="607" extrusionOk="0">
                  <a:moveTo>
                    <a:pt x="1" y="1"/>
                  </a:moveTo>
                  <a:lnTo>
                    <a:pt x="1" y="607"/>
                  </a:lnTo>
                  <a:lnTo>
                    <a:pt x="69" y="607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" name="Google Shape;167;p2"/>
            <p:cNvSpPr/>
            <p:nvPr/>
          </p:nvSpPr>
          <p:spPr>
            <a:xfrm>
              <a:off x="1360725" y="3161875"/>
              <a:ext cx="1625" cy="15175"/>
            </a:xfrm>
            <a:custGeom>
              <a:avLst/>
              <a:gdLst/>
              <a:ahLst/>
              <a:cxnLst/>
              <a:rect l="l" t="t" r="r" b="b"/>
              <a:pathLst>
                <a:path w="65" h="607" extrusionOk="0">
                  <a:moveTo>
                    <a:pt x="0" y="1"/>
                  </a:moveTo>
                  <a:lnTo>
                    <a:pt x="0" y="607"/>
                  </a:lnTo>
                  <a:lnTo>
                    <a:pt x="65" y="607"/>
                  </a:lnTo>
                  <a:lnTo>
                    <a:pt x="65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" name="Google Shape;168;p2"/>
            <p:cNvSpPr/>
            <p:nvPr/>
          </p:nvSpPr>
          <p:spPr>
            <a:xfrm>
              <a:off x="1360725" y="3161875"/>
              <a:ext cx="14525" cy="15175"/>
            </a:xfrm>
            <a:custGeom>
              <a:avLst/>
              <a:gdLst/>
              <a:ahLst/>
              <a:cxnLst/>
              <a:rect l="l" t="t" r="r" b="b"/>
              <a:pathLst>
                <a:path w="581" h="607" extrusionOk="0">
                  <a:moveTo>
                    <a:pt x="0" y="1"/>
                  </a:moveTo>
                  <a:lnTo>
                    <a:pt x="0" y="607"/>
                  </a:lnTo>
                  <a:lnTo>
                    <a:pt x="580" y="607"/>
                  </a:lnTo>
                  <a:lnTo>
                    <a:pt x="580" y="1"/>
                  </a:lnTo>
                  <a:close/>
                </a:path>
              </a:pathLst>
            </a:custGeom>
            <a:solidFill>
              <a:srgbClr val="9C453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" name="Google Shape;169;p2"/>
            <p:cNvSpPr/>
            <p:nvPr/>
          </p:nvSpPr>
          <p:spPr>
            <a:xfrm>
              <a:off x="1360725" y="3176050"/>
              <a:ext cx="13775" cy="1725"/>
            </a:xfrm>
            <a:custGeom>
              <a:avLst/>
              <a:gdLst/>
              <a:ahLst/>
              <a:cxnLst/>
              <a:rect l="l" t="t" r="r" b="b"/>
              <a:pathLst>
                <a:path w="551" h="69" extrusionOk="0">
                  <a:moveTo>
                    <a:pt x="0" y="1"/>
                  </a:moveTo>
                  <a:lnTo>
                    <a:pt x="0" y="69"/>
                  </a:lnTo>
                  <a:lnTo>
                    <a:pt x="551" y="69"/>
                  </a:lnTo>
                  <a:lnTo>
                    <a:pt x="551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" name="Google Shape;170;p2"/>
            <p:cNvSpPr/>
            <p:nvPr/>
          </p:nvSpPr>
          <p:spPr>
            <a:xfrm>
              <a:off x="1360725" y="3162525"/>
              <a:ext cx="13775" cy="2050"/>
            </a:xfrm>
            <a:custGeom>
              <a:avLst/>
              <a:gdLst/>
              <a:ahLst/>
              <a:cxnLst/>
              <a:rect l="l" t="t" r="r" b="b"/>
              <a:pathLst>
                <a:path w="551" h="82" extrusionOk="0">
                  <a:moveTo>
                    <a:pt x="0" y="1"/>
                  </a:moveTo>
                  <a:lnTo>
                    <a:pt x="0" y="82"/>
                  </a:lnTo>
                  <a:lnTo>
                    <a:pt x="551" y="82"/>
                  </a:lnTo>
                  <a:lnTo>
                    <a:pt x="551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" name="Google Shape;171;p2"/>
            <p:cNvSpPr/>
            <p:nvPr/>
          </p:nvSpPr>
          <p:spPr>
            <a:xfrm>
              <a:off x="1372875" y="3162525"/>
              <a:ext cx="1625" cy="15250"/>
            </a:xfrm>
            <a:custGeom>
              <a:avLst/>
              <a:gdLst/>
              <a:ahLst/>
              <a:cxnLst/>
              <a:rect l="l" t="t" r="r" b="b"/>
              <a:pathLst>
                <a:path w="65" h="610" extrusionOk="0">
                  <a:moveTo>
                    <a:pt x="0" y="1"/>
                  </a:moveTo>
                  <a:lnTo>
                    <a:pt x="0" y="610"/>
                  </a:lnTo>
                  <a:lnTo>
                    <a:pt x="65" y="610"/>
                  </a:lnTo>
                  <a:lnTo>
                    <a:pt x="65" y="1"/>
                  </a:lnTo>
                  <a:close/>
                </a:path>
              </a:pathLst>
            </a:custGeom>
            <a:solidFill>
              <a:srgbClr val="7228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" name="Google Shape;172;p2"/>
            <p:cNvSpPr/>
            <p:nvPr/>
          </p:nvSpPr>
          <p:spPr>
            <a:xfrm>
              <a:off x="1360725" y="3175400"/>
              <a:ext cx="14525" cy="1650"/>
            </a:xfrm>
            <a:custGeom>
              <a:avLst/>
              <a:gdLst/>
              <a:ahLst/>
              <a:cxnLst/>
              <a:rect l="l" t="t" r="r" b="b"/>
              <a:pathLst>
                <a:path w="581" h="66" extrusionOk="0">
                  <a:moveTo>
                    <a:pt x="0" y="1"/>
                  </a:moveTo>
                  <a:lnTo>
                    <a:pt x="0" y="66"/>
                  </a:lnTo>
                  <a:lnTo>
                    <a:pt x="580" y="66"/>
                  </a:lnTo>
                  <a:lnTo>
                    <a:pt x="580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" name="Google Shape;173;p2"/>
            <p:cNvSpPr/>
            <p:nvPr/>
          </p:nvSpPr>
          <p:spPr>
            <a:xfrm>
              <a:off x="1360725" y="3161875"/>
              <a:ext cx="14525" cy="1725"/>
            </a:xfrm>
            <a:custGeom>
              <a:avLst/>
              <a:gdLst/>
              <a:ahLst/>
              <a:cxnLst/>
              <a:rect l="l" t="t" r="r" b="b"/>
              <a:pathLst>
                <a:path w="581" h="69" extrusionOk="0">
                  <a:moveTo>
                    <a:pt x="0" y="1"/>
                  </a:moveTo>
                  <a:lnTo>
                    <a:pt x="0" y="69"/>
                  </a:lnTo>
                  <a:lnTo>
                    <a:pt x="580" y="69"/>
                  </a:lnTo>
                  <a:lnTo>
                    <a:pt x="580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" name="Google Shape;174;p2"/>
            <p:cNvSpPr/>
            <p:nvPr/>
          </p:nvSpPr>
          <p:spPr>
            <a:xfrm>
              <a:off x="1360725" y="3161875"/>
              <a:ext cx="1625" cy="15175"/>
            </a:xfrm>
            <a:custGeom>
              <a:avLst/>
              <a:gdLst/>
              <a:ahLst/>
              <a:cxnLst/>
              <a:rect l="l" t="t" r="r" b="b"/>
              <a:pathLst>
                <a:path w="65" h="607" extrusionOk="0">
                  <a:moveTo>
                    <a:pt x="0" y="1"/>
                  </a:moveTo>
                  <a:lnTo>
                    <a:pt x="0" y="607"/>
                  </a:lnTo>
                  <a:lnTo>
                    <a:pt x="65" y="607"/>
                  </a:lnTo>
                  <a:lnTo>
                    <a:pt x="65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" name="Google Shape;175;p2"/>
            <p:cNvSpPr/>
            <p:nvPr/>
          </p:nvSpPr>
          <p:spPr>
            <a:xfrm>
              <a:off x="1373500" y="3161875"/>
              <a:ext cx="1750" cy="15175"/>
            </a:xfrm>
            <a:custGeom>
              <a:avLst/>
              <a:gdLst/>
              <a:ahLst/>
              <a:cxnLst/>
              <a:rect l="l" t="t" r="r" b="b"/>
              <a:pathLst>
                <a:path w="70" h="607" extrusionOk="0">
                  <a:moveTo>
                    <a:pt x="1" y="1"/>
                  </a:moveTo>
                  <a:lnTo>
                    <a:pt x="1" y="607"/>
                  </a:lnTo>
                  <a:lnTo>
                    <a:pt x="69" y="607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CF9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76" name="Google Shape;176;p2"/>
          <p:cNvGrpSpPr/>
          <p:nvPr/>
        </p:nvGrpSpPr>
        <p:grpSpPr>
          <a:xfrm>
            <a:off x="1877374" y="3335323"/>
            <a:ext cx="227817" cy="1042223"/>
            <a:chOff x="1093750" y="2975250"/>
            <a:chExt cx="48625" cy="222450"/>
          </a:xfrm>
        </p:grpSpPr>
        <p:sp>
          <p:nvSpPr>
            <p:cNvPr id="177" name="Google Shape;177;p2"/>
            <p:cNvSpPr/>
            <p:nvPr/>
          </p:nvSpPr>
          <p:spPr>
            <a:xfrm>
              <a:off x="1098125" y="3024825"/>
              <a:ext cx="40200" cy="172150"/>
            </a:xfrm>
            <a:custGeom>
              <a:avLst/>
              <a:gdLst/>
              <a:ahLst/>
              <a:cxnLst/>
              <a:rect l="l" t="t" r="r" b="b"/>
              <a:pathLst>
                <a:path w="1608" h="6886" extrusionOk="0">
                  <a:moveTo>
                    <a:pt x="567" y="1"/>
                  </a:moveTo>
                  <a:cubicBezTo>
                    <a:pt x="554" y="1"/>
                    <a:pt x="541" y="14"/>
                    <a:pt x="541" y="30"/>
                  </a:cubicBezTo>
                  <a:lnTo>
                    <a:pt x="0" y="6860"/>
                  </a:lnTo>
                  <a:cubicBezTo>
                    <a:pt x="0" y="6873"/>
                    <a:pt x="13" y="6886"/>
                    <a:pt x="26" y="6886"/>
                  </a:cubicBezTo>
                  <a:cubicBezTo>
                    <a:pt x="39" y="6886"/>
                    <a:pt x="55" y="6886"/>
                    <a:pt x="55" y="6873"/>
                  </a:cubicBezTo>
                  <a:lnTo>
                    <a:pt x="593" y="56"/>
                  </a:lnTo>
                  <a:lnTo>
                    <a:pt x="1011" y="56"/>
                  </a:lnTo>
                  <a:lnTo>
                    <a:pt x="1552" y="6873"/>
                  </a:lnTo>
                  <a:cubicBezTo>
                    <a:pt x="1552" y="6886"/>
                    <a:pt x="1552" y="6886"/>
                    <a:pt x="1578" y="6886"/>
                  </a:cubicBezTo>
                  <a:cubicBezTo>
                    <a:pt x="1594" y="6886"/>
                    <a:pt x="1607" y="6873"/>
                    <a:pt x="1594" y="6860"/>
                  </a:cubicBezTo>
                  <a:lnTo>
                    <a:pt x="1053" y="30"/>
                  </a:lnTo>
                  <a:cubicBezTo>
                    <a:pt x="1053" y="14"/>
                    <a:pt x="1053" y="1"/>
                    <a:pt x="1040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" name="Google Shape;178;p2"/>
            <p:cNvSpPr/>
            <p:nvPr/>
          </p:nvSpPr>
          <p:spPr>
            <a:xfrm>
              <a:off x="1097475" y="3024175"/>
              <a:ext cx="41475" cy="173525"/>
            </a:xfrm>
            <a:custGeom>
              <a:avLst/>
              <a:gdLst/>
              <a:ahLst/>
              <a:cxnLst/>
              <a:rect l="l" t="t" r="r" b="b"/>
              <a:pathLst>
                <a:path w="1659" h="6941" extrusionOk="0">
                  <a:moveTo>
                    <a:pt x="593" y="1"/>
                  </a:moveTo>
                  <a:cubicBezTo>
                    <a:pt x="567" y="1"/>
                    <a:pt x="538" y="27"/>
                    <a:pt x="538" y="56"/>
                  </a:cubicBezTo>
                  <a:lnTo>
                    <a:pt x="0" y="6886"/>
                  </a:lnTo>
                  <a:cubicBezTo>
                    <a:pt x="0" y="6899"/>
                    <a:pt x="0" y="6912"/>
                    <a:pt x="13" y="6925"/>
                  </a:cubicBezTo>
                  <a:cubicBezTo>
                    <a:pt x="26" y="6941"/>
                    <a:pt x="26" y="6941"/>
                    <a:pt x="52" y="6941"/>
                  </a:cubicBezTo>
                  <a:cubicBezTo>
                    <a:pt x="81" y="6941"/>
                    <a:pt x="107" y="6925"/>
                    <a:pt x="107" y="6899"/>
                  </a:cubicBezTo>
                  <a:lnTo>
                    <a:pt x="648" y="108"/>
                  </a:lnTo>
                  <a:lnTo>
                    <a:pt x="1011" y="108"/>
                  </a:lnTo>
                  <a:lnTo>
                    <a:pt x="1552" y="6899"/>
                  </a:lnTo>
                  <a:cubicBezTo>
                    <a:pt x="1552" y="6925"/>
                    <a:pt x="1565" y="6941"/>
                    <a:pt x="1604" y="6941"/>
                  </a:cubicBezTo>
                  <a:cubicBezTo>
                    <a:pt x="1620" y="6941"/>
                    <a:pt x="1633" y="6941"/>
                    <a:pt x="1646" y="6925"/>
                  </a:cubicBezTo>
                  <a:cubicBezTo>
                    <a:pt x="1646" y="6912"/>
                    <a:pt x="1659" y="6899"/>
                    <a:pt x="1646" y="6886"/>
                  </a:cubicBezTo>
                  <a:lnTo>
                    <a:pt x="1105" y="56"/>
                  </a:lnTo>
                  <a:cubicBezTo>
                    <a:pt x="1105" y="27"/>
                    <a:pt x="1092" y="1"/>
                    <a:pt x="1066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" name="Google Shape;179;p2"/>
            <p:cNvSpPr/>
            <p:nvPr/>
          </p:nvSpPr>
          <p:spPr>
            <a:xfrm>
              <a:off x="1107600" y="3024825"/>
              <a:ext cx="20900" cy="52025"/>
            </a:xfrm>
            <a:custGeom>
              <a:avLst/>
              <a:gdLst/>
              <a:ahLst/>
              <a:cxnLst/>
              <a:rect l="l" t="t" r="r" b="b"/>
              <a:pathLst>
                <a:path w="836" h="2081" extrusionOk="0">
                  <a:moveTo>
                    <a:pt x="418" y="487"/>
                  </a:moveTo>
                  <a:lnTo>
                    <a:pt x="700" y="960"/>
                  </a:lnTo>
                  <a:lnTo>
                    <a:pt x="418" y="1391"/>
                  </a:lnTo>
                  <a:lnTo>
                    <a:pt x="146" y="960"/>
                  </a:lnTo>
                  <a:lnTo>
                    <a:pt x="418" y="487"/>
                  </a:lnTo>
                  <a:close/>
                  <a:moveTo>
                    <a:pt x="418" y="1488"/>
                  </a:moveTo>
                  <a:lnTo>
                    <a:pt x="768" y="2026"/>
                  </a:lnTo>
                  <a:lnTo>
                    <a:pt x="81" y="2026"/>
                  </a:lnTo>
                  <a:lnTo>
                    <a:pt x="418" y="1488"/>
                  </a:lnTo>
                  <a:close/>
                  <a:moveTo>
                    <a:pt x="175" y="1"/>
                  </a:moveTo>
                  <a:cubicBezTo>
                    <a:pt x="162" y="14"/>
                    <a:pt x="162" y="30"/>
                    <a:pt x="162" y="43"/>
                  </a:cubicBezTo>
                  <a:lnTo>
                    <a:pt x="389" y="435"/>
                  </a:lnTo>
                  <a:lnTo>
                    <a:pt x="94" y="947"/>
                  </a:lnTo>
                  <a:cubicBezTo>
                    <a:pt x="81" y="947"/>
                    <a:pt x="81" y="960"/>
                    <a:pt x="94" y="973"/>
                  </a:cubicBezTo>
                  <a:lnTo>
                    <a:pt x="389" y="1433"/>
                  </a:lnTo>
                  <a:lnTo>
                    <a:pt x="0" y="2039"/>
                  </a:lnTo>
                  <a:lnTo>
                    <a:pt x="0" y="2068"/>
                  </a:lnTo>
                  <a:cubicBezTo>
                    <a:pt x="13" y="2081"/>
                    <a:pt x="13" y="2081"/>
                    <a:pt x="26" y="2081"/>
                  </a:cubicBezTo>
                  <a:lnTo>
                    <a:pt x="810" y="2081"/>
                  </a:lnTo>
                  <a:cubicBezTo>
                    <a:pt x="823" y="2081"/>
                    <a:pt x="836" y="2081"/>
                    <a:pt x="836" y="2068"/>
                  </a:cubicBezTo>
                  <a:lnTo>
                    <a:pt x="836" y="2039"/>
                  </a:lnTo>
                  <a:lnTo>
                    <a:pt x="457" y="1433"/>
                  </a:lnTo>
                  <a:lnTo>
                    <a:pt x="755" y="973"/>
                  </a:lnTo>
                  <a:lnTo>
                    <a:pt x="755" y="947"/>
                  </a:lnTo>
                  <a:lnTo>
                    <a:pt x="457" y="435"/>
                  </a:lnTo>
                  <a:lnTo>
                    <a:pt x="674" y="43"/>
                  </a:lnTo>
                  <a:cubicBezTo>
                    <a:pt x="687" y="30"/>
                    <a:pt x="674" y="14"/>
                    <a:pt x="674" y="1"/>
                  </a:cubicBezTo>
                  <a:cubicBezTo>
                    <a:pt x="661" y="1"/>
                    <a:pt x="632" y="1"/>
                    <a:pt x="632" y="14"/>
                  </a:cubicBezTo>
                  <a:lnTo>
                    <a:pt x="418" y="380"/>
                  </a:lnTo>
                  <a:lnTo>
                    <a:pt x="214" y="14"/>
                  </a:lnTo>
                  <a:cubicBezTo>
                    <a:pt x="201" y="1"/>
                    <a:pt x="188" y="1"/>
                    <a:pt x="175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" name="Google Shape;180;p2"/>
            <p:cNvSpPr/>
            <p:nvPr/>
          </p:nvSpPr>
          <p:spPr>
            <a:xfrm>
              <a:off x="1106850" y="3024150"/>
              <a:ext cx="22625" cy="53350"/>
            </a:xfrm>
            <a:custGeom>
              <a:avLst/>
              <a:gdLst/>
              <a:ahLst/>
              <a:cxnLst/>
              <a:rect l="l" t="t" r="r" b="b"/>
              <a:pathLst>
                <a:path w="905" h="2134" extrusionOk="0">
                  <a:moveTo>
                    <a:pt x="448" y="569"/>
                  </a:moveTo>
                  <a:lnTo>
                    <a:pt x="691" y="987"/>
                  </a:lnTo>
                  <a:lnTo>
                    <a:pt x="448" y="1366"/>
                  </a:lnTo>
                  <a:lnTo>
                    <a:pt x="205" y="987"/>
                  </a:lnTo>
                  <a:lnTo>
                    <a:pt x="448" y="569"/>
                  </a:lnTo>
                  <a:close/>
                  <a:moveTo>
                    <a:pt x="448" y="1567"/>
                  </a:moveTo>
                  <a:lnTo>
                    <a:pt x="743" y="2027"/>
                  </a:lnTo>
                  <a:lnTo>
                    <a:pt x="150" y="2027"/>
                  </a:lnTo>
                  <a:lnTo>
                    <a:pt x="448" y="1567"/>
                  </a:lnTo>
                  <a:close/>
                  <a:moveTo>
                    <a:pt x="683" y="1"/>
                  </a:moveTo>
                  <a:cubicBezTo>
                    <a:pt x="663" y="1"/>
                    <a:pt x="644" y="12"/>
                    <a:pt x="636" y="28"/>
                  </a:cubicBezTo>
                  <a:lnTo>
                    <a:pt x="448" y="352"/>
                  </a:lnTo>
                  <a:lnTo>
                    <a:pt x="257" y="28"/>
                  </a:lnTo>
                  <a:cubicBezTo>
                    <a:pt x="249" y="13"/>
                    <a:pt x="237" y="6"/>
                    <a:pt x="223" y="6"/>
                  </a:cubicBezTo>
                  <a:cubicBezTo>
                    <a:pt x="214" y="6"/>
                    <a:pt x="203" y="10"/>
                    <a:pt x="192" y="15"/>
                  </a:cubicBezTo>
                  <a:cubicBezTo>
                    <a:pt x="176" y="15"/>
                    <a:pt x="163" y="28"/>
                    <a:pt x="163" y="41"/>
                  </a:cubicBezTo>
                  <a:lnTo>
                    <a:pt x="163" y="83"/>
                  </a:lnTo>
                  <a:lnTo>
                    <a:pt x="393" y="462"/>
                  </a:lnTo>
                  <a:lnTo>
                    <a:pt x="95" y="961"/>
                  </a:lnTo>
                  <a:cubicBezTo>
                    <a:pt x="82" y="974"/>
                    <a:pt x="82" y="987"/>
                    <a:pt x="95" y="1013"/>
                  </a:cubicBezTo>
                  <a:lnTo>
                    <a:pt x="380" y="1460"/>
                  </a:lnTo>
                  <a:lnTo>
                    <a:pt x="14" y="2053"/>
                  </a:lnTo>
                  <a:cubicBezTo>
                    <a:pt x="1" y="2066"/>
                    <a:pt x="1" y="2095"/>
                    <a:pt x="1" y="2108"/>
                  </a:cubicBezTo>
                  <a:cubicBezTo>
                    <a:pt x="14" y="2134"/>
                    <a:pt x="43" y="2134"/>
                    <a:pt x="56" y="2134"/>
                  </a:cubicBezTo>
                  <a:lnTo>
                    <a:pt x="840" y="2134"/>
                  </a:lnTo>
                  <a:cubicBezTo>
                    <a:pt x="866" y="2134"/>
                    <a:pt x="879" y="2134"/>
                    <a:pt x="892" y="2108"/>
                  </a:cubicBezTo>
                  <a:cubicBezTo>
                    <a:pt x="905" y="2095"/>
                    <a:pt x="905" y="2066"/>
                    <a:pt x="892" y="2053"/>
                  </a:cubicBezTo>
                  <a:lnTo>
                    <a:pt x="516" y="1460"/>
                  </a:lnTo>
                  <a:lnTo>
                    <a:pt x="798" y="1013"/>
                  </a:lnTo>
                  <a:cubicBezTo>
                    <a:pt x="811" y="987"/>
                    <a:pt x="811" y="974"/>
                    <a:pt x="798" y="961"/>
                  </a:cubicBezTo>
                  <a:lnTo>
                    <a:pt x="516" y="462"/>
                  </a:lnTo>
                  <a:lnTo>
                    <a:pt x="730" y="83"/>
                  </a:lnTo>
                  <a:cubicBezTo>
                    <a:pt x="730" y="70"/>
                    <a:pt x="743" y="57"/>
                    <a:pt x="730" y="41"/>
                  </a:cubicBezTo>
                  <a:cubicBezTo>
                    <a:pt x="730" y="28"/>
                    <a:pt x="717" y="15"/>
                    <a:pt x="717" y="15"/>
                  </a:cubicBezTo>
                  <a:cubicBezTo>
                    <a:pt x="707" y="5"/>
                    <a:pt x="695" y="1"/>
                    <a:pt x="683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" name="Google Shape;181;p2"/>
            <p:cNvSpPr/>
            <p:nvPr/>
          </p:nvSpPr>
          <p:spPr>
            <a:xfrm>
              <a:off x="1104500" y="3075550"/>
              <a:ext cx="24325" cy="38725"/>
            </a:xfrm>
            <a:custGeom>
              <a:avLst/>
              <a:gdLst/>
              <a:ahLst/>
              <a:cxnLst/>
              <a:rect l="l" t="t" r="r" b="b"/>
              <a:pathLst>
                <a:path w="973" h="1549" extrusionOk="0">
                  <a:moveTo>
                    <a:pt x="928" y="0"/>
                  </a:moveTo>
                  <a:cubicBezTo>
                    <a:pt x="922" y="0"/>
                    <a:pt x="918" y="3"/>
                    <a:pt x="918" y="10"/>
                  </a:cubicBezTo>
                  <a:lnTo>
                    <a:pt x="14" y="1510"/>
                  </a:lnTo>
                  <a:cubicBezTo>
                    <a:pt x="1" y="1523"/>
                    <a:pt x="1" y="1536"/>
                    <a:pt x="14" y="1549"/>
                  </a:cubicBezTo>
                  <a:lnTo>
                    <a:pt x="27" y="1549"/>
                  </a:lnTo>
                  <a:cubicBezTo>
                    <a:pt x="43" y="1549"/>
                    <a:pt x="56" y="1549"/>
                    <a:pt x="56" y="1536"/>
                  </a:cubicBezTo>
                  <a:lnTo>
                    <a:pt x="960" y="39"/>
                  </a:lnTo>
                  <a:cubicBezTo>
                    <a:pt x="973" y="26"/>
                    <a:pt x="960" y="10"/>
                    <a:pt x="947" y="10"/>
                  </a:cubicBezTo>
                  <a:cubicBezTo>
                    <a:pt x="941" y="3"/>
                    <a:pt x="933" y="0"/>
                    <a:pt x="928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" name="Google Shape;182;p2"/>
            <p:cNvSpPr/>
            <p:nvPr/>
          </p:nvSpPr>
          <p:spPr>
            <a:xfrm>
              <a:off x="1103875" y="3074925"/>
              <a:ext cx="25600" cy="40075"/>
            </a:xfrm>
            <a:custGeom>
              <a:avLst/>
              <a:gdLst/>
              <a:ahLst/>
              <a:cxnLst/>
              <a:rect l="l" t="t" r="r" b="b"/>
              <a:pathLst>
                <a:path w="1024" h="1603" extrusionOk="0">
                  <a:moveTo>
                    <a:pt x="958" y="0"/>
                  </a:moveTo>
                  <a:cubicBezTo>
                    <a:pt x="942" y="0"/>
                    <a:pt x="925" y="7"/>
                    <a:pt x="917" y="22"/>
                  </a:cubicBezTo>
                  <a:lnTo>
                    <a:pt x="13" y="1522"/>
                  </a:lnTo>
                  <a:cubicBezTo>
                    <a:pt x="0" y="1548"/>
                    <a:pt x="0" y="1574"/>
                    <a:pt x="26" y="1590"/>
                  </a:cubicBezTo>
                  <a:cubicBezTo>
                    <a:pt x="39" y="1603"/>
                    <a:pt x="52" y="1603"/>
                    <a:pt x="52" y="1603"/>
                  </a:cubicBezTo>
                  <a:cubicBezTo>
                    <a:pt x="81" y="1603"/>
                    <a:pt x="94" y="1590"/>
                    <a:pt x="107" y="1574"/>
                  </a:cubicBezTo>
                  <a:lnTo>
                    <a:pt x="1011" y="77"/>
                  </a:lnTo>
                  <a:cubicBezTo>
                    <a:pt x="1024" y="51"/>
                    <a:pt x="1011" y="22"/>
                    <a:pt x="985" y="9"/>
                  </a:cubicBezTo>
                  <a:cubicBezTo>
                    <a:pt x="980" y="4"/>
                    <a:pt x="969" y="0"/>
                    <a:pt x="958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" name="Google Shape;183;p2"/>
            <p:cNvSpPr/>
            <p:nvPr/>
          </p:nvSpPr>
          <p:spPr>
            <a:xfrm>
              <a:off x="1101100" y="3075550"/>
              <a:ext cx="34125" cy="82625"/>
            </a:xfrm>
            <a:custGeom>
              <a:avLst/>
              <a:gdLst/>
              <a:ahLst/>
              <a:cxnLst/>
              <a:rect l="l" t="t" r="r" b="b"/>
              <a:pathLst>
                <a:path w="1365" h="3305" extrusionOk="0">
                  <a:moveTo>
                    <a:pt x="1135" y="1549"/>
                  </a:moveTo>
                  <a:lnTo>
                    <a:pt x="678" y="2252"/>
                  </a:lnTo>
                  <a:lnTo>
                    <a:pt x="218" y="1549"/>
                  </a:lnTo>
                  <a:close/>
                  <a:moveTo>
                    <a:pt x="678" y="2346"/>
                  </a:moveTo>
                  <a:lnTo>
                    <a:pt x="1284" y="3250"/>
                  </a:lnTo>
                  <a:lnTo>
                    <a:pt x="82" y="3250"/>
                  </a:lnTo>
                  <a:lnTo>
                    <a:pt x="678" y="2346"/>
                  </a:lnTo>
                  <a:close/>
                  <a:moveTo>
                    <a:pt x="292" y="0"/>
                  </a:moveTo>
                  <a:cubicBezTo>
                    <a:pt x="286" y="0"/>
                    <a:pt x="280" y="3"/>
                    <a:pt x="273" y="10"/>
                  </a:cubicBezTo>
                  <a:cubicBezTo>
                    <a:pt x="260" y="10"/>
                    <a:pt x="260" y="26"/>
                    <a:pt x="260" y="39"/>
                  </a:cubicBezTo>
                  <a:lnTo>
                    <a:pt x="1151" y="1497"/>
                  </a:lnTo>
                  <a:lnTo>
                    <a:pt x="163" y="1497"/>
                  </a:lnTo>
                  <a:cubicBezTo>
                    <a:pt x="163" y="1497"/>
                    <a:pt x="150" y="1497"/>
                    <a:pt x="150" y="1510"/>
                  </a:cubicBezTo>
                  <a:cubicBezTo>
                    <a:pt x="137" y="1523"/>
                    <a:pt x="137" y="1523"/>
                    <a:pt x="150" y="1536"/>
                  </a:cubicBezTo>
                  <a:lnTo>
                    <a:pt x="649" y="2294"/>
                  </a:lnTo>
                  <a:lnTo>
                    <a:pt x="1" y="3266"/>
                  </a:lnTo>
                  <a:lnTo>
                    <a:pt x="1" y="3292"/>
                  </a:lnTo>
                  <a:cubicBezTo>
                    <a:pt x="17" y="3305"/>
                    <a:pt x="17" y="3305"/>
                    <a:pt x="30" y="3305"/>
                  </a:cubicBezTo>
                  <a:lnTo>
                    <a:pt x="1326" y="3305"/>
                  </a:lnTo>
                  <a:cubicBezTo>
                    <a:pt x="1339" y="3305"/>
                    <a:pt x="1352" y="3305"/>
                    <a:pt x="1352" y="3292"/>
                  </a:cubicBezTo>
                  <a:cubicBezTo>
                    <a:pt x="1365" y="3292"/>
                    <a:pt x="1352" y="3279"/>
                    <a:pt x="1352" y="3266"/>
                  </a:cubicBezTo>
                  <a:lnTo>
                    <a:pt x="717" y="2294"/>
                  </a:lnTo>
                  <a:lnTo>
                    <a:pt x="1216" y="1536"/>
                  </a:lnTo>
                  <a:lnTo>
                    <a:pt x="1216" y="1523"/>
                  </a:lnTo>
                  <a:lnTo>
                    <a:pt x="1216" y="1510"/>
                  </a:lnTo>
                  <a:lnTo>
                    <a:pt x="312" y="10"/>
                  </a:lnTo>
                  <a:cubicBezTo>
                    <a:pt x="305" y="3"/>
                    <a:pt x="299" y="0"/>
                    <a:pt x="292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4" name="Google Shape;184;p2"/>
            <p:cNvSpPr/>
            <p:nvPr/>
          </p:nvSpPr>
          <p:spPr>
            <a:xfrm>
              <a:off x="1100450" y="3074925"/>
              <a:ext cx="35525" cy="83900"/>
            </a:xfrm>
            <a:custGeom>
              <a:avLst/>
              <a:gdLst/>
              <a:ahLst/>
              <a:cxnLst/>
              <a:rect l="l" t="t" r="r" b="b"/>
              <a:pathLst>
                <a:path w="1421" h="3356" extrusionOk="0">
                  <a:moveTo>
                    <a:pt x="1122" y="1603"/>
                  </a:moveTo>
                  <a:lnTo>
                    <a:pt x="704" y="2222"/>
                  </a:lnTo>
                  <a:lnTo>
                    <a:pt x="299" y="1603"/>
                  </a:lnTo>
                  <a:close/>
                  <a:moveTo>
                    <a:pt x="704" y="2426"/>
                  </a:moveTo>
                  <a:lnTo>
                    <a:pt x="1258" y="3249"/>
                  </a:lnTo>
                  <a:lnTo>
                    <a:pt x="150" y="3249"/>
                  </a:lnTo>
                  <a:lnTo>
                    <a:pt x="704" y="2426"/>
                  </a:lnTo>
                  <a:close/>
                  <a:moveTo>
                    <a:pt x="317" y="0"/>
                  </a:moveTo>
                  <a:cubicBezTo>
                    <a:pt x="308" y="0"/>
                    <a:pt x="297" y="4"/>
                    <a:pt x="286" y="9"/>
                  </a:cubicBezTo>
                  <a:cubicBezTo>
                    <a:pt x="257" y="22"/>
                    <a:pt x="244" y="51"/>
                    <a:pt x="270" y="77"/>
                  </a:cubicBezTo>
                  <a:lnTo>
                    <a:pt x="1122" y="1493"/>
                  </a:lnTo>
                  <a:lnTo>
                    <a:pt x="189" y="1493"/>
                  </a:lnTo>
                  <a:cubicBezTo>
                    <a:pt x="176" y="1493"/>
                    <a:pt x="150" y="1509"/>
                    <a:pt x="150" y="1522"/>
                  </a:cubicBezTo>
                  <a:cubicBezTo>
                    <a:pt x="137" y="1535"/>
                    <a:pt x="137" y="1561"/>
                    <a:pt x="150" y="1574"/>
                  </a:cubicBezTo>
                  <a:lnTo>
                    <a:pt x="636" y="2319"/>
                  </a:lnTo>
                  <a:lnTo>
                    <a:pt x="14" y="3275"/>
                  </a:lnTo>
                  <a:cubicBezTo>
                    <a:pt x="1" y="3291"/>
                    <a:pt x="1" y="3317"/>
                    <a:pt x="1" y="3330"/>
                  </a:cubicBezTo>
                  <a:cubicBezTo>
                    <a:pt x="14" y="3343"/>
                    <a:pt x="27" y="3356"/>
                    <a:pt x="56" y="3356"/>
                  </a:cubicBezTo>
                  <a:lnTo>
                    <a:pt x="1352" y="3356"/>
                  </a:lnTo>
                  <a:cubicBezTo>
                    <a:pt x="1378" y="3356"/>
                    <a:pt x="1391" y="3343"/>
                    <a:pt x="1404" y="3330"/>
                  </a:cubicBezTo>
                  <a:cubicBezTo>
                    <a:pt x="1420" y="3317"/>
                    <a:pt x="1420" y="3291"/>
                    <a:pt x="1404" y="3275"/>
                  </a:cubicBezTo>
                  <a:lnTo>
                    <a:pt x="772" y="2319"/>
                  </a:lnTo>
                  <a:lnTo>
                    <a:pt x="1271" y="1574"/>
                  </a:lnTo>
                  <a:lnTo>
                    <a:pt x="1271" y="1535"/>
                  </a:lnTo>
                  <a:lnTo>
                    <a:pt x="1271" y="1522"/>
                  </a:lnTo>
                  <a:lnTo>
                    <a:pt x="351" y="22"/>
                  </a:lnTo>
                  <a:cubicBezTo>
                    <a:pt x="343" y="7"/>
                    <a:pt x="331" y="0"/>
                    <a:pt x="317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5" name="Google Shape;185;p2"/>
            <p:cNvSpPr/>
            <p:nvPr/>
          </p:nvSpPr>
          <p:spPr>
            <a:xfrm>
              <a:off x="1101100" y="3156875"/>
              <a:ext cx="36900" cy="35725"/>
            </a:xfrm>
            <a:custGeom>
              <a:avLst/>
              <a:gdLst/>
              <a:ahLst/>
              <a:cxnLst/>
              <a:rect l="l" t="t" r="r" b="b"/>
              <a:pathLst>
                <a:path w="1476" h="1429" extrusionOk="0">
                  <a:moveTo>
                    <a:pt x="30" y="1"/>
                  </a:moveTo>
                  <a:cubicBezTo>
                    <a:pt x="24" y="1"/>
                    <a:pt x="17" y="5"/>
                    <a:pt x="17" y="13"/>
                  </a:cubicBezTo>
                  <a:cubicBezTo>
                    <a:pt x="1" y="26"/>
                    <a:pt x="1" y="39"/>
                    <a:pt x="17" y="52"/>
                  </a:cubicBezTo>
                  <a:lnTo>
                    <a:pt x="1420" y="1416"/>
                  </a:lnTo>
                  <a:cubicBezTo>
                    <a:pt x="1420" y="1429"/>
                    <a:pt x="1433" y="1429"/>
                    <a:pt x="1433" y="1429"/>
                  </a:cubicBezTo>
                  <a:cubicBezTo>
                    <a:pt x="1446" y="1429"/>
                    <a:pt x="1446" y="1429"/>
                    <a:pt x="1459" y="1416"/>
                  </a:cubicBezTo>
                  <a:cubicBezTo>
                    <a:pt x="1475" y="1416"/>
                    <a:pt x="1475" y="1390"/>
                    <a:pt x="1459" y="1390"/>
                  </a:cubicBezTo>
                  <a:lnTo>
                    <a:pt x="43" y="13"/>
                  </a:lnTo>
                  <a:cubicBezTo>
                    <a:pt x="43" y="5"/>
                    <a:pt x="37" y="1"/>
                    <a:pt x="30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6" name="Google Shape;186;p2"/>
            <p:cNvSpPr/>
            <p:nvPr/>
          </p:nvSpPr>
          <p:spPr>
            <a:xfrm>
              <a:off x="1098425" y="3156875"/>
              <a:ext cx="36800" cy="35725"/>
            </a:xfrm>
            <a:custGeom>
              <a:avLst/>
              <a:gdLst/>
              <a:ahLst/>
              <a:cxnLst/>
              <a:rect l="l" t="t" r="r" b="b"/>
              <a:pathLst>
                <a:path w="1472" h="1429" extrusionOk="0">
                  <a:moveTo>
                    <a:pt x="1440" y="1"/>
                  </a:moveTo>
                  <a:cubicBezTo>
                    <a:pt x="1433" y="1"/>
                    <a:pt x="1427" y="5"/>
                    <a:pt x="1420" y="13"/>
                  </a:cubicBezTo>
                  <a:lnTo>
                    <a:pt x="14" y="1390"/>
                  </a:lnTo>
                  <a:cubicBezTo>
                    <a:pt x="1" y="1390"/>
                    <a:pt x="1" y="1416"/>
                    <a:pt x="1" y="1416"/>
                  </a:cubicBezTo>
                  <a:cubicBezTo>
                    <a:pt x="14" y="1429"/>
                    <a:pt x="14" y="1429"/>
                    <a:pt x="27" y="1429"/>
                  </a:cubicBezTo>
                  <a:cubicBezTo>
                    <a:pt x="27" y="1429"/>
                    <a:pt x="43" y="1429"/>
                    <a:pt x="43" y="1416"/>
                  </a:cubicBezTo>
                  <a:lnTo>
                    <a:pt x="1459" y="52"/>
                  </a:lnTo>
                  <a:cubicBezTo>
                    <a:pt x="1472" y="39"/>
                    <a:pt x="1472" y="26"/>
                    <a:pt x="1459" y="13"/>
                  </a:cubicBezTo>
                  <a:cubicBezTo>
                    <a:pt x="1452" y="5"/>
                    <a:pt x="1446" y="1"/>
                    <a:pt x="1440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7" name="Google Shape;187;p2"/>
            <p:cNvSpPr/>
            <p:nvPr/>
          </p:nvSpPr>
          <p:spPr>
            <a:xfrm>
              <a:off x="1104500" y="3046775"/>
              <a:ext cx="27000" cy="3100"/>
            </a:xfrm>
            <a:custGeom>
              <a:avLst/>
              <a:gdLst/>
              <a:ahLst/>
              <a:cxnLst/>
              <a:rect l="l" t="t" r="r" b="b"/>
              <a:pathLst>
                <a:path w="1080" h="124" extrusionOk="0">
                  <a:moveTo>
                    <a:pt x="56" y="1"/>
                  </a:moveTo>
                  <a:cubicBezTo>
                    <a:pt x="27" y="1"/>
                    <a:pt x="1" y="27"/>
                    <a:pt x="1" y="56"/>
                  </a:cubicBezTo>
                  <a:lnTo>
                    <a:pt x="1" y="69"/>
                  </a:lnTo>
                  <a:cubicBezTo>
                    <a:pt x="1" y="95"/>
                    <a:pt x="27" y="124"/>
                    <a:pt x="56" y="124"/>
                  </a:cubicBezTo>
                  <a:lnTo>
                    <a:pt x="1028" y="124"/>
                  </a:lnTo>
                  <a:cubicBezTo>
                    <a:pt x="1067" y="124"/>
                    <a:pt x="1080" y="95"/>
                    <a:pt x="1080" y="69"/>
                  </a:cubicBezTo>
                  <a:lnTo>
                    <a:pt x="1080" y="56"/>
                  </a:lnTo>
                  <a:cubicBezTo>
                    <a:pt x="1080" y="27"/>
                    <a:pt x="1067" y="1"/>
                    <a:pt x="1028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8" name="Google Shape;188;p2"/>
            <p:cNvSpPr/>
            <p:nvPr/>
          </p:nvSpPr>
          <p:spPr>
            <a:xfrm>
              <a:off x="1103875" y="3046125"/>
              <a:ext cx="28375" cy="4400"/>
            </a:xfrm>
            <a:custGeom>
              <a:avLst/>
              <a:gdLst/>
              <a:ahLst/>
              <a:cxnLst/>
              <a:rect l="l" t="t" r="r" b="b"/>
              <a:pathLst>
                <a:path w="1135" h="176" extrusionOk="0">
                  <a:moveTo>
                    <a:pt x="1053" y="53"/>
                  </a:moveTo>
                  <a:cubicBezTo>
                    <a:pt x="1066" y="53"/>
                    <a:pt x="1079" y="69"/>
                    <a:pt x="1079" y="82"/>
                  </a:cubicBezTo>
                  <a:lnTo>
                    <a:pt x="1079" y="95"/>
                  </a:lnTo>
                  <a:cubicBezTo>
                    <a:pt x="1079" y="108"/>
                    <a:pt x="1066" y="121"/>
                    <a:pt x="1053" y="121"/>
                  </a:cubicBezTo>
                  <a:lnTo>
                    <a:pt x="81" y="121"/>
                  </a:lnTo>
                  <a:cubicBezTo>
                    <a:pt x="68" y="121"/>
                    <a:pt x="52" y="108"/>
                    <a:pt x="52" y="95"/>
                  </a:cubicBezTo>
                  <a:lnTo>
                    <a:pt x="52" y="82"/>
                  </a:lnTo>
                  <a:cubicBezTo>
                    <a:pt x="52" y="69"/>
                    <a:pt x="68" y="53"/>
                    <a:pt x="81" y="53"/>
                  </a:cubicBezTo>
                  <a:close/>
                  <a:moveTo>
                    <a:pt x="81" y="1"/>
                  </a:moveTo>
                  <a:cubicBezTo>
                    <a:pt x="39" y="1"/>
                    <a:pt x="0" y="40"/>
                    <a:pt x="0" y="82"/>
                  </a:cubicBezTo>
                  <a:lnTo>
                    <a:pt x="0" y="95"/>
                  </a:lnTo>
                  <a:cubicBezTo>
                    <a:pt x="0" y="134"/>
                    <a:pt x="39" y="176"/>
                    <a:pt x="81" y="176"/>
                  </a:cubicBezTo>
                  <a:lnTo>
                    <a:pt x="1053" y="176"/>
                  </a:lnTo>
                  <a:cubicBezTo>
                    <a:pt x="1105" y="176"/>
                    <a:pt x="1134" y="134"/>
                    <a:pt x="1134" y="95"/>
                  </a:cubicBezTo>
                  <a:lnTo>
                    <a:pt x="1134" y="82"/>
                  </a:lnTo>
                  <a:cubicBezTo>
                    <a:pt x="1134" y="40"/>
                    <a:pt x="1105" y="1"/>
                    <a:pt x="1053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9" name="Google Shape;189;p2"/>
            <p:cNvSpPr/>
            <p:nvPr/>
          </p:nvSpPr>
          <p:spPr>
            <a:xfrm>
              <a:off x="1117300" y="3024825"/>
              <a:ext cx="1400" cy="172150"/>
            </a:xfrm>
            <a:custGeom>
              <a:avLst/>
              <a:gdLst/>
              <a:ahLst/>
              <a:cxnLst/>
              <a:rect l="l" t="t" r="r" b="b"/>
              <a:pathLst>
                <a:path w="56" h="6886" extrusionOk="0">
                  <a:moveTo>
                    <a:pt x="30" y="1"/>
                  </a:moveTo>
                  <a:cubicBezTo>
                    <a:pt x="17" y="1"/>
                    <a:pt x="1" y="14"/>
                    <a:pt x="1" y="30"/>
                  </a:cubicBezTo>
                  <a:lnTo>
                    <a:pt x="1" y="6860"/>
                  </a:lnTo>
                  <a:cubicBezTo>
                    <a:pt x="1" y="6873"/>
                    <a:pt x="17" y="6886"/>
                    <a:pt x="30" y="6886"/>
                  </a:cubicBezTo>
                  <a:cubicBezTo>
                    <a:pt x="43" y="6886"/>
                    <a:pt x="56" y="6873"/>
                    <a:pt x="56" y="6860"/>
                  </a:cubicBezTo>
                  <a:lnTo>
                    <a:pt x="56" y="30"/>
                  </a:lnTo>
                  <a:cubicBezTo>
                    <a:pt x="56" y="14"/>
                    <a:pt x="43" y="1"/>
                    <a:pt x="30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0" name="Google Shape;190;p2"/>
            <p:cNvSpPr/>
            <p:nvPr/>
          </p:nvSpPr>
          <p:spPr>
            <a:xfrm>
              <a:off x="1116650" y="3024175"/>
              <a:ext cx="2700" cy="173525"/>
            </a:xfrm>
            <a:custGeom>
              <a:avLst/>
              <a:gdLst/>
              <a:ahLst/>
              <a:cxnLst/>
              <a:rect l="l" t="t" r="r" b="b"/>
              <a:pathLst>
                <a:path w="108" h="6941" extrusionOk="0">
                  <a:moveTo>
                    <a:pt x="56" y="1"/>
                  </a:moveTo>
                  <a:cubicBezTo>
                    <a:pt x="27" y="1"/>
                    <a:pt x="1" y="27"/>
                    <a:pt x="1" y="56"/>
                  </a:cubicBezTo>
                  <a:lnTo>
                    <a:pt x="1" y="6886"/>
                  </a:lnTo>
                  <a:cubicBezTo>
                    <a:pt x="1" y="6925"/>
                    <a:pt x="27" y="6941"/>
                    <a:pt x="56" y="6941"/>
                  </a:cubicBezTo>
                  <a:cubicBezTo>
                    <a:pt x="82" y="6941"/>
                    <a:pt x="108" y="6925"/>
                    <a:pt x="108" y="6886"/>
                  </a:cubicBezTo>
                  <a:lnTo>
                    <a:pt x="108" y="56"/>
                  </a:lnTo>
                  <a:cubicBezTo>
                    <a:pt x="108" y="27"/>
                    <a:pt x="82" y="1"/>
                    <a:pt x="56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1" name="Google Shape;191;p2"/>
            <p:cNvSpPr/>
            <p:nvPr/>
          </p:nvSpPr>
          <p:spPr>
            <a:xfrm>
              <a:off x="1115700" y="2996800"/>
              <a:ext cx="5025" cy="5125"/>
            </a:xfrm>
            <a:custGeom>
              <a:avLst/>
              <a:gdLst/>
              <a:ahLst/>
              <a:cxnLst/>
              <a:rect l="l" t="t" r="r" b="b"/>
              <a:pathLst>
                <a:path w="201" h="205" extrusionOk="0">
                  <a:moveTo>
                    <a:pt x="94" y="1"/>
                  </a:moveTo>
                  <a:cubicBezTo>
                    <a:pt x="39" y="1"/>
                    <a:pt x="0" y="56"/>
                    <a:pt x="0" y="111"/>
                  </a:cubicBezTo>
                  <a:cubicBezTo>
                    <a:pt x="0" y="163"/>
                    <a:pt x="39" y="205"/>
                    <a:pt x="94" y="205"/>
                  </a:cubicBezTo>
                  <a:cubicBezTo>
                    <a:pt x="146" y="205"/>
                    <a:pt x="201" y="163"/>
                    <a:pt x="201" y="111"/>
                  </a:cubicBezTo>
                  <a:cubicBezTo>
                    <a:pt x="201" y="56"/>
                    <a:pt x="146" y="1"/>
                    <a:pt x="94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2" name="Google Shape;192;p2"/>
            <p:cNvSpPr/>
            <p:nvPr/>
          </p:nvSpPr>
          <p:spPr>
            <a:xfrm>
              <a:off x="1114950" y="2996150"/>
              <a:ext cx="6425" cy="6425"/>
            </a:xfrm>
            <a:custGeom>
              <a:avLst/>
              <a:gdLst/>
              <a:ahLst/>
              <a:cxnLst/>
              <a:rect l="l" t="t" r="r" b="b"/>
              <a:pathLst>
                <a:path w="257" h="257" extrusionOk="0">
                  <a:moveTo>
                    <a:pt x="124" y="56"/>
                  </a:moveTo>
                  <a:cubicBezTo>
                    <a:pt x="163" y="56"/>
                    <a:pt x="205" y="95"/>
                    <a:pt x="205" y="137"/>
                  </a:cubicBezTo>
                  <a:cubicBezTo>
                    <a:pt x="205" y="176"/>
                    <a:pt x="163" y="205"/>
                    <a:pt x="124" y="205"/>
                  </a:cubicBezTo>
                  <a:cubicBezTo>
                    <a:pt x="82" y="205"/>
                    <a:pt x="56" y="176"/>
                    <a:pt x="56" y="137"/>
                  </a:cubicBezTo>
                  <a:cubicBezTo>
                    <a:pt x="56" y="95"/>
                    <a:pt x="82" y="56"/>
                    <a:pt x="124" y="56"/>
                  </a:cubicBezTo>
                  <a:close/>
                  <a:moveTo>
                    <a:pt x="124" y="1"/>
                  </a:moveTo>
                  <a:cubicBezTo>
                    <a:pt x="56" y="1"/>
                    <a:pt x="1" y="56"/>
                    <a:pt x="1" y="137"/>
                  </a:cubicBezTo>
                  <a:cubicBezTo>
                    <a:pt x="1" y="205"/>
                    <a:pt x="56" y="257"/>
                    <a:pt x="124" y="257"/>
                  </a:cubicBezTo>
                  <a:cubicBezTo>
                    <a:pt x="192" y="257"/>
                    <a:pt x="257" y="205"/>
                    <a:pt x="257" y="137"/>
                  </a:cubicBezTo>
                  <a:cubicBezTo>
                    <a:pt x="257" y="56"/>
                    <a:pt x="192" y="1"/>
                    <a:pt x="124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3" name="Google Shape;193;p2"/>
            <p:cNvSpPr/>
            <p:nvPr/>
          </p:nvSpPr>
          <p:spPr>
            <a:xfrm>
              <a:off x="1114000" y="2975925"/>
              <a:ext cx="7050" cy="17250"/>
            </a:xfrm>
            <a:custGeom>
              <a:avLst/>
              <a:gdLst/>
              <a:ahLst/>
              <a:cxnLst/>
              <a:rect l="l" t="t" r="r" b="b"/>
              <a:pathLst>
                <a:path w="282" h="690" extrusionOk="0">
                  <a:moveTo>
                    <a:pt x="240" y="0"/>
                  </a:moveTo>
                  <a:cubicBezTo>
                    <a:pt x="192" y="0"/>
                    <a:pt x="109" y="101"/>
                    <a:pt x="68" y="217"/>
                  </a:cubicBezTo>
                  <a:cubicBezTo>
                    <a:pt x="0" y="366"/>
                    <a:pt x="162" y="690"/>
                    <a:pt x="162" y="690"/>
                  </a:cubicBezTo>
                  <a:cubicBezTo>
                    <a:pt x="162" y="690"/>
                    <a:pt x="282" y="107"/>
                    <a:pt x="269" y="26"/>
                  </a:cubicBezTo>
                  <a:cubicBezTo>
                    <a:pt x="263" y="8"/>
                    <a:pt x="253" y="0"/>
                    <a:pt x="240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4" name="Google Shape;194;p2"/>
            <p:cNvSpPr/>
            <p:nvPr/>
          </p:nvSpPr>
          <p:spPr>
            <a:xfrm>
              <a:off x="1113250" y="2975250"/>
              <a:ext cx="8550" cy="19950"/>
            </a:xfrm>
            <a:custGeom>
              <a:avLst/>
              <a:gdLst/>
              <a:ahLst/>
              <a:cxnLst/>
              <a:rect l="l" t="t" r="r" b="b"/>
              <a:pathLst>
                <a:path w="342" h="798" extrusionOk="0">
                  <a:moveTo>
                    <a:pt x="273" y="53"/>
                  </a:moveTo>
                  <a:lnTo>
                    <a:pt x="273" y="69"/>
                  </a:lnTo>
                  <a:cubicBezTo>
                    <a:pt x="286" y="108"/>
                    <a:pt x="231" y="406"/>
                    <a:pt x="179" y="636"/>
                  </a:cubicBezTo>
                  <a:cubicBezTo>
                    <a:pt x="137" y="513"/>
                    <a:pt x="82" y="338"/>
                    <a:pt x="111" y="257"/>
                  </a:cubicBezTo>
                  <a:cubicBezTo>
                    <a:pt x="163" y="134"/>
                    <a:pt x="244" y="53"/>
                    <a:pt x="273" y="53"/>
                  </a:cubicBezTo>
                  <a:close/>
                  <a:moveTo>
                    <a:pt x="273" y="1"/>
                  </a:moveTo>
                  <a:cubicBezTo>
                    <a:pt x="205" y="1"/>
                    <a:pt x="111" y="121"/>
                    <a:pt x="69" y="231"/>
                  </a:cubicBezTo>
                  <a:cubicBezTo>
                    <a:pt x="1" y="393"/>
                    <a:pt x="163" y="717"/>
                    <a:pt x="163" y="730"/>
                  </a:cubicBezTo>
                  <a:lnTo>
                    <a:pt x="205" y="798"/>
                  </a:lnTo>
                  <a:lnTo>
                    <a:pt x="218" y="717"/>
                  </a:lnTo>
                  <a:cubicBezTo>
                    <a:pt x="244" y="620"/>
                    <a:pt x="341" y="134"/>
                    <a:pt x="325" y="53"/>
                  </a:cubicBezTo>
                  <a:cubicBezTo>
                    <a:pt x="312" y="14"/>
                    <a:pt x="299" y="1"/>
                    <a:pt x="273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5" name="Google Shape;195;p2"/>
            <p:cNvSpPr/>
            <p:nvPr/>
          </p:nvSpPr>
          <p:spPr>
            <a:xfrm>
              <a:off x="1104600" y="2979350"/>
              <a:ext cx="9725" cy="15125"/>
            </a:xfrm>
            <a:custGeom>
              <a:avLst/>
              <a:gdLst/>
              <a:ahLst/>
              <a:cxnLst/>
              <a:rect l="l" t="t" r="r" b="b"/>
              <a:pathLst>
                <a:path w="389" h="605" extrusionOk="0">
                  <a:moveTo>
                    <a:pt x="65" y="1"/>
                  </a:moveTo>
                  <a:cubicBezTo>
                    <a:pt x="17" y="1"/>
                    <a:pt x="0" y="141"/>
                    <a:pt x="23" y="281"/>
                  </a:cubicBezTo>
                  <a:cubicBezTo>
                    <a:pt x="65" y="443"/>
                    <a:pt x="389" y="605"/>
                    <a:pt x="389" y="605"/>
                  </a:cubicBezTo>
                  <a:cubicBezTo>
                    <a:pt x="389" y="605"/>
                    <a:pt x="146" y="51"/>
                    <a:pt x="91" y="12"/>
                  </a:cubicBezTo>
                  <a:cubicBezTo>
                    <a:pt x="82" y="4"/>
                    <a:pt x="73" y="1"/>
                    <a:pt x="65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6" name="Google Shape;196;p2"/>
            <p:cNvSpPr/>
            <p:nvPr/>
          </p:nvSpPr>
          <p:spPr>
            <a:xfrm>
              <a:off x="1103875" y="2978575"/>
              <a:ext cx="11850" cy="17275"/>
            </a:xfrm>
            <a:custGeom>
              <a:avLst/>
              <a:gdLst/>
              <a:ahLst/>
              <a:cxnLst/>
              <a:rect l="l" t="t" r="r" b="b"/>
              <a:pathLst>
                <a:path w="474" h="691" extrusionOk="0">
                  <a:moveTo>
                    <a:pt x="94" y="56"/>
                  </a:moveTo>
                  <a:cubicBezTo>
                    <a:pt x="133" y="82"/>
                    <a:pt x="269" y="367"/>
                    <a:pt x="363" y="568"/>
                  </a:cubicBezTo>
                  <a:cubicBezTo>
                    <a:pt x="256" y="503"/>
                    <a:pt x="107" y="393"/>
                    <a:pt x="81" y="299"/>
                  </a:cubicBezTo>
                  <a:cubicBezTo>
                    <a:pt x="52" y="163"/>
                    <a:pt x="81" y="69"/>
                    <a:pt x="94" y="56"/>
                  </a:cubicBezTo>
                  <a:close/>
                  <a:moveTo>
                    <a:pt x="94" y="1"/>
                  </a:moveTo>
                  <a:cubicBezTo>
                    <a:pt x="81" y="1"/>
                    <a:pt x="68" y="1"/>
                    <a:pt x="52" y="30"/>
                  </a:cubicBezTo>
                  <a:cubicBezTo>
                    <a:pt x="13" y="69"/>
                    <a:pt x="0" y="192"/>
                    <a:pt x="26" y="312"/>
                  </a:cubicBezTo>
                  <a:cubicBezTo>
                    <a:pt x="68" y="487"/>
                    <a:pt x="392" y="649"/>
                    <a:pt x="405" y="649"/>
                  </a:cubicBezTo>
                  <a:lnTo>
                    <a:pt x="473" y="691"/>
                  </a:lnTo>
                  <a:lnTo>
                    <a:pt x="444" y="623"/>
                  </a:lnTo>
                  <a:cubicBezTo>
                    <a:pt x="405" y="529"/>
                    <a:pt x="201" y="69"/>
                    <a:pt x="133" y="17"/>
                  </a:cubicBezTo>
                  <a:cubicBezTo>
                    <a:pt x="120" y="1"/>
                    <a:pt x="107" y="1"/>
                    <a:pt x="94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7" name="Google Shape;197;p2"/>
            <p:cNvSpPr/>
            <p:nvPr/>
          </p:nvSpPr>
          <p:spPr>
            <a:xfrm>
              <a:off x="1095175" y="2990075"/>
              <a:ext cx="16825" cy="7800"/>
            </a:xfrm>
            <a:custGeom>
              <a:avLst/>
              <a:gdLst/>
              <a:ahLst/>
              <a:cxnLst/>
              <a:rect l="l" t="t" r="r" b="b"/>
              <a:pathLst>
                <a:path w="673" h="312" extrusionOk="0">
                  <a:moveTo>
                    <a:pt x="67" y="0"/>
                  </a:moveTo>
                  <a:cubicBezTo>
                    <a:pt x="1" y="0"/>
                    <a:pt x="69" y="141"/>
                    <a:pt x="199" y="244"/>
                  </a:cubicBezTo>
                  <a:cubicBezTo>
                    <a:pt x="260" y="298"/>
                    <a:pt x="381" y="312"/>
                    <a:pt x="485" y="312"/>
                  </a:cubicBezTo>
                  <a:cubicBezTo>
                    <a:pt x="586" y="312"/>
                    <a:pt x="672" y="299"/>
                    <a:pt x="672" y="299"/>
                  </a:cubicBezTo>
                  <a:cubicBezTo>
                    <a:pt x="672" y="299"/>
                    <a:pt x="157" y="1"/>
                    <a:pt x="76" y="1"/>
                  </a:cubicBezTo>
                  <a:cubicBezTo>
                    <a:pt x="73" y="0"/>
                    <a:pt x="69" y="0"/>
                    <a:pt x="67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8" name="Google Shape;198;p2"/>
            <p:cNvSpPr/>
            <p:nvPr/>
          </p:nvSpPr>
          <p:spPr>
            <a:xfrm>
              <a:off x="1095025" y="2989425"/>
              <a:ext cx="19000" cy="9100"/>
            </a:xfrm>
            <a:custGeom>
              <a:avLst/>
              <a:gdLst/>
              <a:ahLst/>
              <a:cxnLst/>
              <a:rect l="l" t="t" r="r" b="b"/>
              <a:pathLst>
                <a:path w="760" h="364" extrusionOk="0">
                  <a:moveTo>
                    <a:pt x="82" y="53"/>
                  </a:moveTo>
                  <a:cubicBezTo>
                    <a:pt x="137" y="53"/>
                    <a:pt x="393" y="189"/>
                    <a:pt x="597" y="312"/>
                  </a:cubicBezTo>
                  <a:lnTo>
                    <a:pt x="474" y="312"/>
                  </a:lnTo>
                  <a:cubicBezTo>
                    <a:pt x="354" y="312"/>
                    <a:pt x="260" y="296"/>
                    <a:pt x="218" y="257"/>
                  </a:cubicBezTo>
                  <a:cubicBezTo>
                    <a:pt x="111" y="163"/>
                    <a:pt x="69" y="69"/>
                    <a:pt x="82" y="53"/>
                  </a:cubicBezTo>
                  <a:close/>
                  <a:moveTo>
                    <a:pt x="82" y="1"/>
                  </a:moveTo>
                  <a:cubicBezTo>
                    <a:pt x="56" y="1"/>
                    <a:pt x="30" y="14"/>
                    <a:pt x="30" y="27"/>
                  </a:cubicBezTo>
                  <a:cubicBezTo>
                    <a:pt x="1" y="95"/>
                    <a:pt x="82" y="215"/>
                    <a:pt x="179" y="296"/>
                  </a:cubicBezTo>
                  <a:cubicBezTo>
                    <a:pt x="231" y="338"/>
                    <a:pt x="341" y="364"/>
                    <a:pt x="474" y="364"/>
                  </a:cubicBezTo>
                  <a:cubicBezTo>
                    <a:pt x="584" y="364"/>
                    <a:pt x="678" y="351"/>
                    <a:pt x="691" y="351"/>
                  </a:cubicBezTo>
                  <a:lnTo>
                    <a:pt x="759" y="338"/>
                  </a:lnTo>
                  <a:lnTo>
                    <a:pt x="691" y="296"/>
                  </a:lnTo>
                  <a:cubicBezTo>
                    <a:pt x="610" y="257"/>
                    <a:pt x="163" y="1"/>
                    <a:pt x="82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99" name="Google Shape;199;p2"/>
            <p:cNvSpPr/>
            <p:nvPr/>
          </p:nvSpPr>
          <p:spPr>
            <a:xfrm>
              <a:off x="1093750" y="3001575"/>
              <a:ext cx="18250" cy="6125"/>
            </a:xfrm>
            <a:custGeom>
              <a:avLst/>
              <a:gdLst/>
              <a:ahLst/>
              <a:cxnLst/>
              <a:rect l="l" t="t" r="r" b="b"/>
              <a:pathLst>
                <a:path w="730" h="245" extrusionOk="0">
                  <a:moveTo>
                    <a:pt x="729" y="1"/>
                  </a:moveTo>
                  <a:cubicBezTo>
                    <a:pt x="729" y="1"/>
                    <a:pt x="133" y="53"/>
                    <a:pt x="68" y="95"/>
                  </a:cubicBezTo>
                  <a:cubicBezTo>
                    <a:pt x="0" y="150"/>
                    <a:pt x="149" y="231"/>
                    <a:pt x="311" y="244"/>
                  </a:cubicBezTo>
                  <a:cubicBezTo>
                    <a:pt x="315" y="244"/>
                    <a:pt x="319" y="244"/>
                    <a:pt x="323" y="244"/>
                  </a:cubicBezTo>
                  <a:cubicBezTo>
                    <a:pt x="486" y="244"/>
                    <a:pt x="729" y="1"/>
                    <a:pt x="729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0" name="Google Shape;200;p2"/>
            <p:cNvSpPr/>
            <p:nvPr/>
          </p:nvSpPr>
          <p:spPr>
            <a:xfrm>
              <a:off x="1094375" y="3000525"/>
              <a:ext cx="19650" cy="7800"/>
            </a:xfrm>
            <a:custGeom>
              <a:avLst/>
              <a:gdLst/>
              <a:ahLst/>
              <a:cxnLst/>
              <a:rect l="l" t="t" r="r" b="b"/>
              <a:pathLst>
                <a:path w="786" h="312" extrusionOk="0">
                  <a:moveTo>
                    <a:pt x="636" y="69"/>
                  </a:moveTo>
                  <a:lnTo>
                    <a:pt x="636" y="69"/>
                  </a:lnTo>
                  <a:cubicBezTo>
                    <a:pt x="542" y="150"/>
                    <a:pt x="393" y="257"/>
                    <a:pt x="299" y="257"/>
                  </a:cubicBezTo>
                  <a:cubicBezTo>
                    <a:pt x="150" y="244"/>
                    <a:pt x="56" y="192"/>
                    <a:pt x="56" y="163"/>
                  </a:cubicBezTo>
                  <a:lnTo>
                    <a:pt x="69" y="163"/>
                  </a:lnTo>
                  <a:cubicBezTo>
                    <a:pt x="108" y="137"/>
                    <a:pt x="406" y="95"/>
                    <a:pt x="636" y="69"/>
                  </a:cubicBezTo>
                  <a:close/>
                  <a:moveTo>
                    <a:pt x="785" y="1"/>
                  </a:moveTo>
                  <a:lnTo>
                    <a:pt x="704" y="14"/>
                  </a:lnTo>
                  <a:cubicBezTo>
                    <a:pt x="610" y="14"/>
                    <a:pt x="108" y="69"/>
                    <a:pt x="27" y="124"/>
                  </a:cubicBezTo>
                  <a:cubicBezTo>
                    <a:pt x="1" y="137"/>
                    <a:pt x="1" y="176"/>
                    <a:pt x="1" y="176"/>
                  </a:cubicBezTo>
                  <a:cubicBezTo>
                    <a:pt x="14" y="244"/>
                    <a:pt x="163" y="299"/>
                    <a:pt x="286" y="312"/>
                  </a:cubicBezTo>
                  <a:lnTo>
                    <a:pt x="299" y="312"/>
                  </a:lnTo>
                  <a:cubicBezTo>
                    <a:pt x="474" y="312"/>
                    <a:pt x="717" y="69"/>
                    <a:pt x="730" y="56"/>
                  </a:cubicBezTo>
                  <a:lnTo>
                    <a:pt x="785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1" name="Google Shape;201;p2"/>
            <p:cNvSpPr/>
            <p:nvPr/>
          </p:nvSpPr>
          <p:spPr>
            <a:xfrm>
              <a:off x="1102225" y="3004575"/>
              <a:ext cx="12100" cy="13100"/>
            </a:xfrm>
            <a:custGeom>
              <a:avLst/>
              <a:gdLst/>
              <a:ahLst/>
              <a:cxnLst/>
              <a:rect l="l" t="t" r="r" b="b"/>
              <a:pathLst>
                <a:path w="484" h="524" extrusionOk="0">
                  <a:moveTo>
                    <a:pt x="484" y="1"/>
                  </a:moveTo>
                  <a:lnTo>
                    <a:pt x="484" y="1"/>
                  </a:lnTo>
                  <a:cubicBezTo>
                    <a:pt x="484" y="1"/>
                    <a:pt x="37" y="393"/>
                    <a:pt x="11" y="474"/>
                  </a:cubicBezTo>
                  <a:cubicBezTo>
                    <a:pt x="0" y="508"/>
                    <a:pt x="23" y="523"/>
                    <a:pt x="63" y="523"/>
                  </a:cubicBezTo>
                  <a:cubicBezTo>
                    <a:pt x="119" y="523"/>
                    <a:pt x="210" y="495"/>
                    <a:pt x="296" y="448"/>
                  </a:cubicBezTo>
                  <a:cubicBezTo>
                    <a:pt x="429" y="367"/>
                    <a:pt x="484" y="1"/>
                    <a:pt x="484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2" name="Google Shape;202;p2"/>
            <p:cNvSpPr/>
            <p:nvPr/>
          </p:nvSpPr>
          <p:spPr>
            <a:xfrm>
              <a:off x="1101850" y="3002875"/>
              <a:ext cx="13450" cy="15575"/>
            </a:xfrm>
            <a:custGeom>
              <a:avLst/>
              <a:gdLst/>
              <a:ahLst/>
              <a:cxnLst/>
              <a:rect l="l" t="t" r="r" b="b"/>
              <a:pathLst>
                <a:path w="538" h="623" extrusionOk="0">
                  <a:moveTo>
                    <a:pt x="457" y="150"/>
                  </a:moveTo>
                  <a:lnTo>
                    <a:pt x="457" y="150"/>
                  </a:lnTo>
                  <a:cubicBezTo>
                    <a:pt x="431" y="260"/>
                    <a:pt x="376" y="435"/>
                    <a:pt x="295" y="487"/>
                  </a:cubicBezTo>
                  <a:cubicBezTo>
                    <a:pt x="201" y="542"/>
                    <a:pt x="120" y="568"/>
                    <a:pt x="81" y="568"/>
                  </a:cubicBezTo>
                  <a:cubicBezTo>
                    <a:pt x="68" y="568"/>
                    <a:pt x="52" y="555"/>
                    <a:pt x="52" y="555"/>
                  </a:cubicBezTo>
                  <a:cubicBezTo>
                    <a:pt x="68" y="503"/>
                    <a:pt x="295" y="299"/>
                    <a:pt x="457" y="150"/>
                  </a:cubicBezTo>
                  <a:close/>
                  <a:moveTo>
                    <a:pt x="538" y="1"/>
                  </a:moveTo>
                  <a:lnTo>
                    <a:pt x="486" y="56"/>
                  </a:lnTo>
                  <a:cubicBezTo>
                    <a:pt x="405" y="124"/>
                    <a:pt x="39" y="461"/>
                    <a:pt x="0" y="529"/>
                  </a:cubicBezTo>
                  <a:cubicBezTo>
                    <a:pt x="0" y="555"/>
                    <a:pt x="0" y="584"/>
                    <a:pt x="13" y="584"/>
                  </a:cubicBezTo>
                  <a:cubicBezTo>
                    <a:pt x="26" y="610"/>
                    <a:pt x="39" y="623"/>
                    <a:pt x="81" y="623"/>
                  </a:cubicBezTo>
                  <a:cubicBezTo>
                    <a:pt x="149" y="623"/>
                    <a:pt x="243" y="584"/>
                    <a:pt x="324" y="542"/>
                  </a:cubicBezTo>
                  <a:cubicBezTo>
                    <a:pt x="473" y="448"/>
                    <a:pt x="525" y="82"/>
                    <a:pt x="525" y="69"/>
                  </a:cubicBezTo>
                  <a:lnTo>
                    <a:pt x="538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3" name="Google Shape;203;p2"/>
            <p:cNvSpPr/>
            <p:nvPr/>
          </p:nvSpPr>
          <p:spPr>
            <a:xfrm>
              <a:off x="1114950" y="3005950"/>
              <a:ext cx="7475" cy="17075"/>
            </a:xfrm>
            <a:custGeom>
              <a:avLst/>
              <a:gdLst/>
              <a:ahLst/>
              <a:cxnLst/>
              <a:rect l="l" t="t" r="r" b="b"/>
              <a:pathLst>
                <a:path w="299" h="683" extrusionOk="0">
                  <a:moveTo>
                    <a:pt x="124" y="1"/>
                  </a:moveTo>
                  <a:cubicBezTo>
                    <a:pt x="124" y="1"/>
                    <a:pt x="1" y="581"/>
                    <a:pt x="30" y="662"/>
                  </a:cubicBezTo>
                  <a:cubicBezTo>
                    <a:pt x="33" y="676"/>
                    <a:pt x="40" y="683"/>
                    <a:pt x="51" y="683"/>
                  </a:cubicBezTo>
                  <a:cubicBezTo>
                    <a:pt x="91" y="683"/>
                    <a:pt x="177" y="591"/>
                    <a:pt x="231" y="474"/>
                  </a:cubicBezTo>
                  <a:cubicBezTo>
                    <a:pt x="299" y="312"/>
                    <a:pt x="124" y="1"/>
                    <a:pt x="124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4" name="Google Shape;204;p2"/>
            <p:cNvSpPr/>
            <p:nvPr/>
          </p:nvSpPr>
          <p:spPr>
            <a:xfrm>
              <a:off x="1114325" y="3003925"/>
              <a:ext cx="8750" cy="19625"/>
            </a:xfrm>
            <a:custGeom>
              <a:avLst/>
              <a:gdLst/>
              <a:ahLst/>
              <a:cxnLst/>
              <a:rect l="l" t="t" r="r" b="b"/>
              <a:pathLst>
                <a:path w="350" h="785" extrusionOk="0">
                  <a:moveTo>
                    <a:pt x="162" y="163"/>
                  </a:moveTo>
                  <a:cubicBezTo>
                    <a:pt x="201" y="270"/>
                    <a:pt x="269" y="445"/>
                    <a:pt x="230" y="542"/>
                  </a:cubicBezTo>
                  <a:cubicBezTo>
                    <a:pt x="175" y="662"/>
                    <a:pt x="107" y="730"/>
                    <a:pt x="81" y="730"/>
                  </a:cubicBezTo>
                  <a:lnTo>
                    <a:pt x="68" y="730"/>
                  </a:lnTo>
                  <a:cubicBezTo>
                    <a:pt x="68" y="688"/>
                    <a:pt x="120" y="380"/>
                    <a:pt x="162" y="163"/>
                  </a:cubicBezTo>
                  <a:close/>
                  <a:moveTo>
                    <a:pt x="136" y="1"/>
                  </a:moveTo>
                  <a:lnTo>
                    <a:pt x="120" y="69"/>
                  </a:lnTo>
                  <a:cubicBezTo>
                    <a:pt x="107" y="163"/>
                    <a:pt x="0" y="662"/>
                    <a:pt x="26" y="743"/>
                  </a:cubicBezTo>
                  <a:cubicBezTo>
                    <a:pt x="26" y="769"/>
                    <a:pt x="55" y="785"/>
                    <a:pt x="81" y="785"/>
                  </a:cubicBezTo>
                  <a:cubicBezTo>
                    <a:pt x="149" y="785"/>
                    <a:pt x="230" y="675"/>
                    <a:pt x="282" y="555"/>
                  </a:cubicBezTo>
                  <a:cubicBezTo>
                    <a:pt x="350" y="393"/>
                    <a:pt x="175" y="82"/>
                    <a:pt x="175" y="69"/>
                  </a:cubicBezTo>
                  <a:lnTo>
                    <a:pt x="136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5" name="Google Shape;205;p2"/>
            <p:cNvSpPr/>
            <p:nvPr/>
          </p:nvSpPr>
          <p:spPr>
            <a:xfrm>
              <a:off x="1121775" y="3004575"/>
              <a:ext cx="10000" cy="15175"/>
            </a:xfrm>
            <a:custGeom>
              <a:avLst/>
              <a:gdLst/>
              <a:ahLst/>
              <a:cxnLst/>
              <a:rect l="l" t="t" r="r" b="b"/>
              <a:pathLst>
                <a:path w="400" h="607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243" y="542"/>
                    <a:pt x="308" y="597"/>
                  </a:cubicBezTo>
                  <a:cubicBezTo>
                    <a:pt x="317" y="604"/>
                    <a:pt x="325" y="607"/>
                    <a:pt x="332" y="607"/>
                  </a:cubicBezTo>
                  <a:cubicBezTo>
                    <a:pt x="382" y="607"/>
                    <a:pt x="400" y="466"/>
                    <a:pt x="363" y="325"/>
                  </a:cubicBezTo>
                  <a:cubicBezTo>
                    <a:pt x="324" y="16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6" name="Google Shape;206;p2"/>
            <p:cNvSpPr/>
            <p:nvPr/>
          </p:nvSpPr>
          <p:spPr>
            <a:xfrm>
              <a:off x="1120375" y="3003275"/>
              <a:ext cx="11875" cy="17200"/>
            </a:xfrm>
            <a:custGeom>
              <a:avLst/>
              <a:gdLst/>
              <a:ahLst/>
              <a:cxnLst/>
              <a:rect l="l" t="t" r="r" b="b"/>
              <a:pathLst>
                <a:path w="475" h="688" extrusionOk="0">
                  <a:moveTo>
                    <a:pt x="121" y="121"/>
                  </a:moveTo>
                  <a:lnTo>
                    <a:pt x="121" y="121"/>
                  </a:lnTo>
                  <a:cubicBezTo>
                    <a:pt x="218" y="176"/>
                    <a:pt x="364" y="283"/>
                    <a:pt x="393" y="377"/>
                  </a:cubicBezTo>
                  <a:cubicBezTo>
                    <a:pt x="419" y="513"/>
                    <a:pt x="406" y="620"/>
                    <a:pt x="380" y="633"/>
                  </a:cubicBezTo>
                  <a:cubicBezTo>
                    <a:pt x="338" y="594"/>
                    <a:pt x="202" y="325"/>
                    <a:pt x="121" y="121"/>
                  </a:cubicBezTo>
                  <a:close/>
                  <a:moveTo>
                    <a:pt x="1" y="1"/>
                  </a:moveTo>
                  <a:lnTo>
                    <a:pt x="27" y="66"/>
                  </a:lnTo>
                  <a:cubicBezTo>
                    <a:pt x="69" y="163"/>
                    <a:pt x="283" y="620"/>
                    <a:pt x="351" y="675"/>
                  </a:cubicBezTo>
                  <a:cubicBezTo>
                    <a:pt x="364" y="675"/>
                    <a:pt x="380" y="688"/>
                    <a:pt x="380" y="688"/>
                  </a:cubicBezTo>
                  <a:cubicBezTo>
                    <a:pt x="393" y="688"/>
                    <a:pt x="419" y="675"/>
                    <a:pt x="432" y="662"/>
                  </a:cubicBezTo>
                  <a:cubicBezTo>
                    <a:pt x="461" y="620"/>
                    <a:pt x="474" y="487"/>
                    <a:pt x="445" y="364"/>
                  </a:cubicBezTo>
                  <a:cubicBezTo>
                    <a:pt x="406" y="202"/>
                    <a:pt x="82" y="40"/>
                    <a:pt x="69" y="27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7" name="Google Shape;207;p2"/>
            <p:cNvSpPr/>
            <p:nvPr/>
          </p:nvSpPr>
          <p:spPr>
            <a:xfrm>
              <a:off x="1124125" y="3001050"/>
              <a:ext cx="16850" cy="7925"/>
            </a:xfrm>
            <a:custGeom>
              <a:avLst/>
              <a:gdLst/>
              <a:ahLst/>
              <a:cxnLst/>
              <a:rect l="l" t="t" r="r" b="b"/>
              <a:pathLst>
                <a:path w="674" h="317" extrusionOk="0">
                  <a:moveTo>
                    <a:pt x="236" y="1"/>
                  </a:moveTo>
                  <a:cubicBezTo>
                    <a:pt x="114" y="1"/>
                    <a:pt x="0" y="22"/>
                    <a:pt x="0" y="22"/>
                  </a:cubicBezTo>
                  <a:cubicBezTo>
                    <a:pt x="0" y="22"/>
                    <a:pt x="512" y="317"/>
                    <a:pt x="593" y="317"/>
                  </a:cubicBezTo>
                  <a:cubicBezTo>
                    <a:pt x="674" y="317"/>
                    <a:pt x="606" y="171"/>
                    <a:pt x="486" y="61"/>
                  </a:cubicBezTo>
                  <a:cubicBezTo>
                    <a:pt x="432" y="14"/>
                    <a:pt x="331" y="1"/>
                    <a:pt x="236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8" name="Google Shape;208;p2"/>
            <p:cNvSpPr/>
            <p:nvPr/>
          </p:nvSpPr>
          <p:spPr>
            <a:xfrm>
              <a:off x="1122100" y="3000200"/>
              <a:ext cx="18875" cy="9500"/>
            </a:xfrm>
            <a:custGeom>
              <a:avLst/>
              <a:gdLst/>
              <a:ahLst/>
              <a:cxnLst/>
              <a:rect l="l" t="t" r="r" b="b"/>
              <a:pathLst>
                <a:path w="755" h="380" extrusionOk="0">
                  <a:moveTo>
                    <a:pt x="295" y="56"/>
                  </a:moveTo>
                  <a:cubicBezTo>
                    <a:pt x="418" y="56"/>
                    <a:pt x="499" y="82"/>
                    <a:pt x="538" y="124"/>
                  </a:cubicBezTo>
                  <a:cubicBezTo>
                    <a:pt x="648" y="205"/>
                    <a:pt x="687" y="312"/>
                    <a:pt x="687" y="325"/>
                  </a:cubicBezTo>
                  <a:lnTo>
                    <a:pt x="674" y="325"/>
                  </a:lnTo>
                  <a:cubicBezTo>
                    <a:pt x="635" y="325"/>
                    <a:pt x="363" y="176"/>
                    <a:pt x="162" y="69"/>
                  </a:cubicBezTo>
                  <a:cubicBezTo>
                    <a:pt x="201" y="69"/>
                    <a:pt x="243" y="56"/>
                    <a:pt x="295" y="56"/>
                  </a:cubicBezTo>
                  <a:close/>
                  <a:moveTo>
                    <a:pt x="295" y="1"/>
                  </a:moveTo>
                  <a:cubicBezTo>
                    <a:pt x="175" y="1"/>
                    <a:pt x="81" y="27"/>
                    <a:pt x="81" y="27"/>
                  </a:cubicBezTo>
                  <a:lnTo>
                    <a:pt x="0" y="43"/>
                  </a:lnTo>
                  <a:lnTo>
                    <a:pt x="68" y="69"/>
                  </a:lnTo>
                  <a:cubicBezTo>
                    <a:pt x="162" y="124"/>
                    <a:pt x="593" y="380"/>
                    <a:pt x="674" y="380"/>
                  </a:cubicBezTo>
                  <a:cubicBezTo>
                    <a:pt x="700" y="380"/>
                    <a:pt x="729" y="367"/>
                    <a:pt x="742" y="338"/>
                  </a:cubicBezTo>
                  <a:cubicBezTo>
                    <a:pt x="755" y="286"/>
                    <a:pt x="674" y="163"/>
                    <a:pt x="580" y="82"/>
                  </a:cubicBezTo>
                  <a:cubicBezTo>
                    <a:pt x="525" y="27"/>
                    <a:pt x="431" y="1"/>
                    <a:pt x="295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09" name="Google Shape;209;p2"/>
            <p:cNvSpPr/>
            <p:nvPr/>
          </p:nvSpPr>
          <p:spPr>
            <a:xfrm>
              <a:off x="1124125" y="2991450"/>
              <a:ext cx="18250" cy="6100"/>
            </a:xfrm>
            <a:custGeom>
              <a:avLst/>
              <a:gdLst/>
              <a:ahLst/>
              <a:cxnLst/>
              <a:rect l="l" t="t" r="r" b="b"/>
              <a:pathLst>
                <a:path w="730" h="244" extrusionOk="0">
                  <a:moveTo>
                    <a:pt x="406" y="0"/>
                  </a:moveTo>
                  <a:cubicBezTo>
                    <a:pt x="244" y="0"/>
                    <a:pt x="0" y="244"/>
                    <a:pt x="0" y="244"/>
                  </a:cubicBezTo>
                  <a:cubicBezTo>
                    <a:pt x="0" y="244"/>
                    <a:pt x="593" y="176"/>
                    <a:pt x="661" y="134"/>
                  </a:cubicBezTo>
                  <a:cubicBezTo>
                    <a:pt x="729" y="95"/>
                    <a:pt x="580" y="14"/>
                    <a:pt x="418" y="1"/>
                  </a:cubicBezTo>
                  <a:cubicBezTo>
                    <a:pt x="414" y="1"/>
                    <a:pt x="410" y="0"/>
                    <a:pt x="406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0" name="Google Shape;210;p2"/>
            <p:cNvSpPr/>
            <p:nvPr/>
          </p:nvSpPr>
          <p:spPr>
            <a:xfrm>
              <a:off x="1122400" y="2990725"/>
              <a:ext cx="19650" cy="7800"/>
            </a:xfrm>
            <a:custGeom>
              <a:avLst/>
              <a:gdLst/>
              <a:ahLst/>
              <a:cxnLst/>
              <a:rect l="l" t="t" r="r" b="b"/>
              <a:pathLst>
                <a:path w="786" h="312" extrusionOk="0">
                  <a:moveTo>
                    <a:pt x="487" y="56"/>
                  </a:moveTo>
                  <a:cubicBezTo>
                    <a:pt x="623" y="69"/>
                    <a:pt x="717" y="124"/>
                    <a:pt x="717" y="137"/>
                  </a:cubicBezTo>
                  <a:cubicBezTo>
                    <a:pt x="675" y="163"/>
                    <a:pt x="380" y="205"/>
                    <a:pt x="150" y="231"/>
                  </a:cubicBezTo>
                  <a:cubicBezTo>
                    <a:pt x="231" y="163"/>
                    <a:pt x="364" y="56"/>
                    <a:pt x="474" y="56"/>
                  </a:cubicBezTo>
                  <a:close/>
                  <a:moveTo>
                    <a:pt x="474" y="0"/>
                  </a:moveTo>
                  <a:cubicBezTo>
                    <a:pt x="300" y="0"/>
                    <a:pt x="56" y="244"/>
                    <a:pt x="56" y="260"/>
                  </a:cubicBezTo>
                  <a:lnTo>
                    <a:pt x="1" y="312"/>
                  </a:lnTo>
                  <a:lnTo>
                    <a:pt x="69" y="299"/>
                  </a:lnTo>
                  <a:cubicBezTo>
                    <a:pt x="176" y="286"/>
                    <a:pt x="675" y="231"/>
                    <a:pt x="743" y="192"/>
                  </a:cubicBezTo>
                  <a:cubicBezTo>
                    <a:pt x="785" y="163"/>
                    <a:pt x="769" y="137"/>
                    <a:pt x="769" y="124"/>
                  </a:cubicBezTo>
                  <a:cubicBezTo>
                    <a:pt x="756" y="56"/>
                    <a:pt x="607" y="17"/>
                    <a:pt x="487" y="1"/>
                  </a:cubicBezTo>
                  <a:cubicBezTo>
                    <a:pt x="483" y="0"/>
                    <a:pt x="478" y="0"/>
                    <a:pt x="474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1" name="Google Shape;211;p2"/>
            <p:cNvSpPr/>
            <p:nvPr/>
          </p:nvSpPr>
          <p:spPr>
            <a:xfrm>
              <a:off x="1121775" y="2981275"/>
              <a:ext cx="12050" cy="13200"/>
            </a:xfrm>
            <a:custGeom>
              <a:avLst/>
              <a:gdLst/>
              <a:ahLst/>
              <a:cxnLst/>
              <a:rect l="l" t="t" r="r" b="b"/>
              <a:pathLst>
                <a:path w="482" h="528" extrusionOk="0">
                  <a:moveTo>
                    <a:pt x="424" y="0"/>
                  </a:moveTo>
                  <a:cubicBezTo>
                    <a:pt x="370" y="0"/>
                    <a:pt x="281" y="29"/>
                    <a:pt x="201" y="84"/>
                  </a:cubicBezTo>
                  <a:cubicBezTo>
                    <a:pt x="52" y="165"/>
                    <a:pt x="0" y="528"/>
                    <a:pt x="0" y="528"/>
                  </a:cubicBezTo>
                  <a:cubicBezTo>
                    <a:pt x="0" y="528"/>
                    <a:pt x="444" y="123"/>
                    <a:pt x="470" y="42"/>
                  </a:cubicBezTo>
                  <a:cubicBezTo>
                    <a:pt x="482" y="14"/>
                    <a:pt x="462" y="0"/>
                    <a:pt x="424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2" name="Google Shape;212;p2"/>
            <p:cNvSpPr/>
            <p:nvPr/>
          </p:nvSpPr>
          <p:spPr>
            <a:xfrm>
              <a:off x="1120700" y="2980600"/>
              <a:ext cx="13875" cy="15575"/>
            </a:xfrm>
            <a:custGeom>
              <a:avLst/>
              <a:gdLst/>
              <a:ahLst/>
              <a:cxnLst/>
              <a:rect l="l" t="t" r="r" b="b"/>
              <a:pathLst>
                <a:path w="555" h="623" extrusionOk="0">
                  <a:moveTo>
                    <a:pt x="487" y="56"/>
                  </a:moveTo>
                  <a:lnTo>
                    <a:pt x="487" y="69"/>
                  </a:lnTo>
                  <a:cubicBezTo>
                    <a:pt x="474" y="111"/>
                    <a:pt x="257" y="325"/>
                    <a:pt x="82" y="474"/>
                  </a:cubicBezTo>
                  <a:cubicBezTo>
                    <a:pt x="108" y="354"/>
                    <a:pt x="163" y="179"/>
                    <a:pt x="257" y="124"/>
                  </a:cubicBezTo>
                  <a:cubicBezTo>
                    <a:pt x="338" y="82"/>
                    <a:pt x="419" y="56"/>
                    <a:pt x="461" y="56"/>
                  </a:cubicBezTo>
                  <a:close/>
                  <a:moveTo>
                    <a:pt x="461" y="1"/>
                  </a:moveTo>
                  <a:cubicBezTo>
                    <a:pt x="406" y="1"/>
                    <a:pt x="312" y="30"/>
                    <a:pt x="231" y="82"/>
                  </a:cubicBezTo>
                  <a:cubicBezTo>
                    <a:pt x="82" y="179"/>
                    <a:pt x="14" y="529"/>
                    <a:pt x="14" y="542"/>
                  </a:cubicBezTo>
                  <a:lnTo>
                    <a:pt x="1" y="623"/>
                  </a:lnTo>
                  <a:lnTo>
                    <a:pt x="1" y="623"/>
                  </a:lnTo>
                  <a:lnTo>
                    <a:pt x="69" y="568"/>
                  </a:lnTo>
                  <a:cubicBezTo>
                    <a:pt x="137" y="503"/>
                    <a:pt x="513" y="163"/>
                    <a:pt x="542" y="82"/>
                  </a:cubicBezTo>
                  <a:cubicBezTo>
                    <a:pt x="555" y="56"/>
                    <a:pt x="542" y="43"/>
                    <a:pt x="542" y="30"/>
                  </a:cubicBezTo>
                  <a:cubicBezTo>
                    <a:pt x="529" y="17"/>
                    <a:pt x="500" y="1"/>
                    <a:pt x="461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13" name="Google Shape;213;p2"/>
          <p:cNvGrpSpPr/>
          <p:nvPr/>
        </p:nvGrpSpPr>
        <p:grpSpPr>
          <a:xfrm>
            <a:off x="3500931" y="4608749"/>
            <a:ext cx="1856791" cy="372004"/>
            <a:chOff x="547325" y="3326225"/>
            <a:chExt cx="215625" cy="43200"/>
          </a:xfrm>
        </p:grpSpPr>
        <p:sp>
          <p:nvSpPr>
            <p:cNvPr id="214" name="Google Shape;214;p2"/>
            <p:cNvSpPr/>
            <p:nvPr/>
          </p:nvSpPr>
          <p:spPr>
            <a:xfrm>
              <a:off x="644825" y="3347850"/>
              <a:ext cx="28700" cy="18250"/>
            </a:xfrm>
            <a:custGeom>
              <a:avLst/>
              <a:gdLst/>
              <a:ahLst/>
              <a:cxnLst/>
              <a:rect l="l" t="t" r="r" b="b"/>
              <a:pathLst>
                <a:path w="1148" h="730" extrusionOk="0">
                  <a:moveTo>
                    <a:pt x="137" y="1"/>
                  </a:moveTo>
                  <a:lnTo>
                    <a:pt x="124" y="14"/>
                  </a:lnTo>
                  <a:lnTo>
                    <a:pt x="124" y="53"/>
                  </a:lnTo>
                  <a:cubicBezTo>
                    <a:pt x="137" y="69"/>
                    <a:pt x="124" y="95"/>
                    <a:pt x="108" y="95"/>
                  </a:cubicBezTo>
                  <a:cubicBezTo>
                    <a:pt x="82" y="134"/>
                    <a:pt x="43" y="163"/>
                    <a:pt x="14" y="202"/>
                  </a:cubicBezTo>
                  <a:lnTo>
                    <a:pt x="14" y="215"/>
                  </a:lnTo>
                  <a:cubicBezTo>
                    <a:pt x="1" y="231"/>
                    <a:pt x="14" y="257"/>
                    <a:pt x="43" y="257"/>
                  </a:cubicBezTo>
                  <a:cubicBezTo>
                    <a:pt x="56" y="270"/>
                    <a:pt x="69" y="270"/>
                    <a:pt x="82" y="270"/>
                  </a:cubicBezTo>
                  <a:lnTo>
                    <a:pt x="95" y="257"/>
                  </a:lnTo>
                  <a:cubicBezTo>
                    <a:pt x="108" y="257"/>
                    <a:pt x="124" y="270"/>
                    <a:pt x="137" y="283"/>
                  </a:cubicBezTo>
                  <a:cubicBezTo>
                    <a:pt x="150" y="296"/>
                    <a:pt x="176" y="296"/>
                    <a:pt x="205" y="296"/>
                  </a:cubicBezTo>
                  <a:cubicBezTo>
                    <a:pt x="218" y="296"/>
                    <a:pt x="244" y="312"/>
                    <a:pt x="244" y="325"/>
                  </a:cubicBezTo>
                  <a:cubicBezTo>
                    <a:pt x="257" y="338"/>
                    <a:pt x="257" y="338"/>
                    <a:pt x="257" y="351"/>
                  </a:cubicBezTo>
                  <a:lnTo>
                    <a:pt x="270" y="364"/>
                  </a:lnTo>
                  <a:lnTo>
                    <a:pt x="270" y="393"/>
                  </a:lnTo>
                  <a:cubicBezTo>
                    <a:pt x="270" y="406"/>
                    <a:pt x="286" y="432"/>
                    <a:pt x="299" y="445"/>
                  </a:cubicBezTo>
                  <a:cubicBezTo>
                    <a:pt x="312" y="474"/>
                    <a:pt x="312" y="487"/>
                    <a:pt x="325" y="500"/>
                  </a:cubicBezTo>
                  <a:cubicBezTo>
                    <a:pt x="338" y="500"/>
                    <a:pt x="351" y="513"/>
                    <a:pt x="367" y="513"/>
                  </a:cubicBezTo>
                  <a:cubicBezTo>
                    <a:pt x="380" y="513"/>
                    <a:pt x="393" y="513"/>
                    <a:pt x="393" y="526"/>
                  </a:cubicBezTo>
                  <a:lnTo>
                    <a:pt x="393" y="568"/>
                  </a:lnTo>
                  <a:lnTo>
                    <a:pt x="393" y="581"/>
                  </a:lnTo>
                  <a:lnTo>
                    <a:pt x="393" y="594"/>
                  </a:lnTo>
                  <a:cubicBezTo>
                    <a:pt x="406" y="607"/>
                    <a:pt x="406" y="620"/>
                    <a:pt x="393" y="636"/>
                  </a:cubicBezTo>
                  <a:cubicBezTo>
                    <a:pt x="393" y="662"/>
                    <a:pt x="380" y="688"/>
                    <a:pt x="367" y="717"/>
                  </a:cubicBezTo>
                  <a:lnTo>
                    <a:pt x="367" y="730"/>
                  </a:lnTo>
                  <a:lnTo>
                    <a:pt x="406" y="730"/>
                  </a:lnTo>
                  <a:cubicBezTo>
                    <a:pt x="406" y="717"/>
                    <a:pt x="406" y="717"/>
                    <a:pt x="419" y="701"/>
                  </a:cubicBezTo>
                  <a:lnTo>
                    <a:pt x="432" y="688"/>
                  </a:lnTo>
                  <a:cubicBezTo>
                    <a:pt x="419" y="662"/>
                    <a:pt x="432" y="620"/>
                    <a:pt x="448" y="594"/>
                  </a:cubicBezTo>
                  <a:lnTo>
                    <a:pt x="461" y="594"/>
                  </a:lnTo>
                  <a:cubicBezTo>
                    <a:pt x="461" y="607"/>
                    <a:pt x="474" y="636"/>
                    <a:pt x="461" y="662"/>
                  </a:cubicBezTo>
                  <a:cubicBezTo>
                    <a:pt x="461" y="675"/>
                    <a:pt x="448" y="688"/>
                    <a:pt x="432" y="701"/>
                  </a:cubicBezTo>
                  <a:lnTo>
                    <a:pt x="487" y="701"/>
                  </a:lnTo>
                  <a:cubicBezTo>
                    <a:pt x="487" y="688"/>
                    <a:pt x="487" y="688"/>
                    <a:pt x="500" y="675"/>
                  </a:cubicBezTo>
                  <a:lnTo>
                    <a:pt x="500" y="662"/>
                  </a:lnTo>
                  <a:lnTo>
                    <a:pt x="500" y="607"/>
                  </a:lnTo>
                  <a:lnTo>
                    <a:pt x="500" y="539"/>
                  </a:lnTo>
                  <a:cubicBezTo>
                    <a:pt x="500" y="539"/>
                    <a:pt x="500" y="513"/>
                    <a:pt x="513" y="500"/>
                  </a:cubicBezTo>
                  <a:lnTo>
                    <a:pt x="529" y="500"/>
                  </a:lnTo>
                  <a:cubicBezTo>
                    <a:pt x="586" y="500"/>
                    <a:pt x="654" y="542"/>
                    <a:pt x="716" y="542"/>
                  </a:cubicBezTo>
                  <a:cubicBezTo>
                    <a:pt x="725" y="542"/>
                    <a:pt x="734" y="541"/>
                    <a:pt x="743" y="539"/>
                  </a:cubicBezTo>
                  <a:cubicBezTo>
                    <a:pt x="785" y="539"/>
                    <a:pt x="824" y="526"/>
                    <a:pt x="853" y="500"/>
                  </a:cubicBezTo>
                  <a:lnTo>
                    <a:pt x="905" y="500"/>
                  </a:lnTo>
                  <a:cubicBezTo>
                    <a:pt x="905" y="500"/>
                    <a:pt x="918" y="513"/>
                    <a:pt x="918" y="526"/>
                  </a:cubicBezTo>
                  <a:lnTo>
                    <a:pt x="918" y="539"/>
                  </a:lnTo>
                  <a:lnTo>
                    <a:pt x="934" y="539"/>
                  </a:lnTo>
                  <a:lnTo>
                    <a:pt x="934" y="526"/>
                  </a:lnTo>
                  <a:cubicBezTo>
                    <a:pt x="934" y="513"/>
                    <a:pt x="947" y="513"/>
                    <a:pt x="960" y="513"/>
                  </a:cubicBezTo>
                  <a:cubicBezTo>
                    <a:pt x="947" y="526"/>
                    <a:pt x="947" y="526"/>
                    <a:pt x="960" y="539"/>
                  </a:cubicBezTo>
                  <a:lnTo>
                    <a:pt x="960" y="513"/>
                  </a:lnTo>
                  <a:lnTo>
                    <a:pt x="973" y="513"/>
                  </a:lnTo>
                  <a:cubicBezTo>
                    <a:pt x="973" y="513"/>
                    <a:pt x="986" y="513"/>
                    <a:pt x="986" y="500"/>
                  </a:cubicBezTo>
                  <a:cubicBezTo>
                    <a:pt x="999" y="500"/>
                    <a:pt x="986" y="487"/>
                    <a:pt x="999" y="487"/>
                  </a:cubicBezTo>
                  <a:cubicBezTo>
                    <a:pt x="1015" y="487"/>
                    <a:pt x="1015" y="500"/>
                    <a:pt x="1015" y="500"/>
                  </a:cubicBezTo>
                  <a:cubicBezTo>
                    <a:pt x="1028" y="513"/>
                    <a:pt x="1028" y="539"/>
                    <a:pt x="1041" y="539"/>
                  </a:cubicBezTo>
                  <a:lnTo>
                    <a:pt x="1041" y="555"/>
                  </a:lnTo>
                  <a:lnTo>
                    <a:pt x="1054" y="568"/>
                  </a:lnTo>
                  <a:lnTo>
                    <a:pt x="1054" y="581"/>
                  </a:lnTo>
                  <a:cubicBezTo>
                    <a:pt x="1067" y="607"/>
                    <a:pt x="1067" y="636"/>
                    <a:pt x="1067" y="662"/>
                  </a:cubicBezTo>
                  <a:cubicBezTo>
                    <a:pt x="1067" y="675"/>
                    <a:pt x="1067" y="688"/>
                    <a:pt x="1054" y="701"/>
                  </a:cubicBezTo>
                  <a:cubicBezTo>
                    <a:pt x="1054" y="717"/>
                    <a:pt x="1041" y="717"/>
                    <a:pt x="1041" y="717"/>
                  </a:cubicBezTo>
                  <a:cubicBezTo>
                    <a:pt x="1054" y="730"/>
                    <a:pt x="1080" y="730"/>
                    <a:pt x="1096" y="730"/>
                  </a:cubicBezTo>
                  <a:lnTo>
                    <a:pt x="1096" y="717"/>
                  </a:lnTo>
                  <a:cubicBezTo>
                    <a:pt x="1109" y="701"/>
                    <a:pt x="1122" y="701"/>
                    <a:pt x="1122" y="701"/>
                  </a:cubicBezTo>
                  <a:lnTo>
                    <a:pt x="1122" y="675"/>
                  </a:lnTo>
                  <a:lnTo>
                    <a:pt x="1122" y="649"/>
                  </a:lnTo>
                  <a:cubicBezTo>
                    <a:pt x="1135" y="636"/>
                    <a:pt x="1122" y="620"/>
                    <a:pt x="1122" y="607"/>
                  </a:cubicBezTo>
                  <a:cubicBezTo>
                    <a:pt x="1135" y="581"/>
                    <a:pt x="1148" y="568"/>
                    <a:pt x="1148" y="539"/>
                  </a:cubicBezTo>
                  <a:cubicBezTo>
                    <a:pt x="1148" y="526"/>
                    <a:pt x="1135" y="513"/>
                    <a:pt x="1135" y="513"/>
                  </a:cubicBezTo>
                  <a:lnTo>
                    <a:pt x="1135" y="500"/>
                  </a:lnTo>
                  <a:cubicBezTo>
                    <a:pt x="1148" y="474"/>
                    <a:pt x="1148" y="458"/>
                    <a:pt x="1135" y="445"/>
                  </a:cubicBezTo>
                  <a:lnTo>
                    <a:pt x="1135" y="432"/>
                  </a:lnTo>
                  <a:lnTo>
                    <a:pt x="1135" y="419"/>
                  </a:lnTo>
                  <a:lnTo>
                    <a:pt x="1135" y="406"/>
                  </a:lnTo>
                  <a:cubicBezTo>
                    <a:pt x="1135" y="393"/>
                    <a:pt x="1135" y="377"/>
                    <a:pt x="1122" y="364"/>
                  </a:cubicBezTo>
                  <a:lnTo>
                    <a:pt x="1122" y="325"/>
                  </a:lnTo>
                  <a:lnTo>
                    <a:pt x="1122" y="244"/>
                  </a:lnTo>
                  <a:cubicBezTo>
                    <a:pt x="1122" y="215"/>
                    <a:pt x="1122" y="202"/>
                    <a:pt x="1109" y="189"/>
                  </a:cubicBezTo>
                  <a:cubicBezTo>
                    <a:pt x="1096" y="163"/>
                    <a:pt x="1080" y="150"/>
                    <a:pt x="1054" y="134"/>
                  </a:cubicBezTo>
                  <a:cubicBezTo>
                    <a:pt x="1026" y="114"/>
                    <a:pt x="1000" y="108"/>
                    <a:pt x="971" y="108"/>
                  </a:cubicBezTo>
                  <a:cubicBezTo>
                    <a:pt x="943" y="108"/>
                    <a:pt x="913" y="114"/>
                    <a:pt x="879" y="121"/>
                  </a:cubicBezTo>
                  <a:cubicBezTo>
                    <a:pt x="837" y="134"/>
                    <a:pt x="798" y="134"/>
                    <a:pt x="756" y="150"/>
                  </a:cubicBezTo>
                  <a:lnTo>
                    <a:pt x="662" y="150"/>
                  </a:lnTo>
                  <a:cubicBezTo>
                    <a:pt x="623" y="150"/>
                    <a:pt x="581" y="134"/>
                    <a:pt x="542" y="134"/>
                  </a:cubicBezTo>
                  <a:cubicBezTo>
                    <a:pt x="461" y="121"/>
                    <a:pt x="380" y="108"/>
                    <a:pt x="299" y="95"/>
                  </a:cubicBezTo>
                  <a:lnTo>
                    <a:pt x="270" y="95"/>
                  </a:lnTo>
                  <a:cubicBezTo>
                    <a:pt x="257" y="95"/>
                    <a:pt x="257" y="82"/>
                    <a:pt x="244" y="82"/>
                  </a:cubicBezTo>
                  <a:lnTo>
                    <a:pt x="218" y="82"/>
                  </a:lnTo>
                  <a:lnTo>
                    <a:pt x="218" y="69"/>
                  </a:lnTo>
                  <a:cubicBezTo>
                    <a:pt x="205" y="53"/>
                    <a:pt x="176" y="53"/>
                    <a:pt x="176" y="53"/>
                  </a:cubicBezTo>
                  <a:lnTo>
                    <a:pt x="163" y="40"/>
                  </a:lnTo>
                  <a:lnTo>
                    <a:pt x="163" y="14"/>
                  </a:lnTo>
                  <a:cubicBezTo>
                    <a:pt x="150" y="14"/>
                    <a:pt x="150" y="27"/>
                    <a:pt x="150" y="40"/>
                  </a:cubicBezTo>
                  <a:lnTo>
                    <a:pt x="137" y="27"/>
                  </a:lnTo>
                  <a:cubicBezTo>
                    <a:pt x="137" y="14"/>
                    <a:pt x="137" y="1"/>
                    <a:pt x="150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" name="Google Shape;215;p2"/>
            <p:cNvSpPr/>
            <p:nvPr/>
          </p:nvSpPr>
          <p:spPr>
            <a:xfrm>
              <a:off x="689700" y="3342425"/>
              <a:ext cx="25725" cy="17925"/>
            </a:xfrm>
            <a:custGeom>
              <a:avLst/>
              <a:gdLst/>
              <a:ahLst/>
              <a:cxnLst/>
              <a:rect l="l" t="t" r="r" b="b"/>
              <a:pathLst>
                <a:path w="1029" h="717" extrusionOk="0">
                  <a:moveTo>
                    <a:pt x="1002" y="163"/>
                  </a:moveTo>
                  <a:cubicBezTo>
                    <a:pt x="1015" y="163"/>
                    <a:pt x="1015" y="176"/>
                    <a:pt x="1015" y="176"/>
                  </a:cubicBezTo>
                  <a:cubicBezTo>
                    <a:pt x="1002" y="218"/>
                    <a:pt x="1002" y="257"/>
                    <a:pt x="1002" y="299"/>
                  </a:cubicBezTo>
                  <a:cubicBezTo>
                    <a:pt x="986" y="338"/>
                    <a:pt x="986" y="380"/>
                    <a:pt x="973" y="432"/>
                  </a:cubicBezTo>
                  <a:cubicBezTo>
                    <a:pt x="973" y="419"/>
                    <a:pt x="973" y="406"/>
                    <a:pt x="960" y="393"/>
                  </a:cubicBezTo>
                  <a:cubicBezTo>
                    <a:pt x="960" y="351"/>
                    <a:pt x="973" y="325"/>
                    <a:pt x="973" y="286"/>
                  </a:cubicBezTo>
                  <a:cubicBezTo>
                    <a:pt x="973" y="257"/>
                    <a:pt x="986" y="244"/>
                    <a:pt x="986" y="218"/>
                  </a:cubicBezTo>
                  <a:cubicBezTo>
                    <a:pt x="1002" y="205"/>
                    <a:pt x="1002" y="176"/>
                    <a:pt x="1002" y="163"/>
                  </a:cubicBezTo>
                  <a:close/>
                  <a:moveTo>
                    <a:pt x="597" y="1"/>
                  </a:moveTo>
                  <a:cubicBezTo>
                    <a:pt x="529" y="1"/>
                    <a:pt x="461" y="14"/>
                    <a:pt x="393" y="14"/>
                  </a:cubicBezTo>
                  <a:lnTo>
                    <a:pt x="325" y="14"/>
                  </a:lnTo>
                  <a:cubicBezTo>
                    <a:pt x="299" y="27"/>
                    <a:pt x="273" y="27"/>
                    <a:pt x="257" y="43"/>
                  </a:cubicBezTo>
                  <a:cubicBezTo>
                    <a:pt x="231" y="56"/>
                    <a:pt x="205" y="82"/>
                    <a:pt x="192" y="108"/>
                  </a:cubicBezTo>
                  <a:cubicBezTo>
                    <a:pt x="176" y="150"/>
                    <a:pt x="163" y="189"/>
                    <a:pt x="150" y="218"/>
                  </a:cubicBezTo>
                  <a:cubicBezTo>
                    <a:pt x="137" y="231"/>
                    <a:pt x="137" y="231"/>
                    <a:pt x="124" y="244"/>
                  </a:cubicBezTo>
                  <a:cubicBezTo>
                    <a:pt x="111" y="270"/>
                    <a:pt x="111" y="299"/>
                    <a:pt x="111" y="325"/>
                  </a:cubicBezTo>
                  <a:cubicBezTo>
                    <a:pt x="111" y="351"/>
                    <a:pt x="95" y="393"/>
                    <a:pt x="69" y="406"/>
                  </a:cubicBezTo>
                  <a:lnTo>
                    <a:pt x="56" y="406"/>
                  </a:lnTo>
                  <a:cubicBezTo>
                    <a:pt x="56" y="397"/>
                    <a:pt x="50" y="388"/>
                    <a:pt x="46" y="388"/>
                  </a:cubicBezTo>
                  <a:cubicBezTo>
                    <a:pt x="44" y="388"/>
                    <a:pt x="43" y="389"/>
                    <a:pt x="43" y="393"/>
                  </a:cubicBezTo>
                  <a:lnTo>
                    <a:pt x="30" y="393"/>
                  </a:lnTo>
                  <a:lnTo>
                    <a:pt x="30" y="419"/>
                  </a:lnTo>
                  <a:cubicBezTo>
                    <a:pt x="30" y="419"/>
                    <a:pt x="30" y="432"/>
                    <a:pt x="43" y="432"/>
                  </a:cubicBezTo>
                  <a:lnTo>
                    <a:pt x="43" y="448"/>
                  </a:lnTo>
                  <a:lnTo>
                    <a:pt x="43" y="461"/>
                  </a:lnTo>
                  <a:cubicBezTo>
                    <a:pt x="43" y="461"/>
                    <a:pt x="30" y="474"/>
                    <a:pt x="30" y="487"/>
                  </a:cubicBezTo>
                  <a:cubicBezTo>
                    <a:pt x="14" y="487"/>
                    <a:pt x="14" y="500"/>
                    <a:pt x="30" y="513"/>
                  </a:cubicBezTo>
                  <a:cubicBezTo>
                    <a:pt x="30" y="529"/>
                    <a:pt x="30" y="529"/>
                    <a:pt x="43" y="542"/>
                  </a:cubicBezTo>
                  <a:cubicBezTo>
                    <a:pt x="43" y="542"/>
                    <a:pt x="43" y="555"/>
                    <a:pt x="30" y="568"/>
                  </a:cubicBezTo>
                  <a:lnTo>
                    <a:pt x="30" y="610"/>
                  </a:lnTo>
                  <a:cubicBezTo>
                    <a:pt x="14" y="623"/>
                    <a:pt x="1" y="636"/>
                    <a:pt x="1" y="649"/>
                  </a:cubicBezTo>
                  <a:lnTo>
                    <a:pt x="14" y="662"/>
                  </a:lnTo>
                  <a:cubicBezTo>
                    <a:pt x="14" y="676"/>
                    <a:pt x="23" y="679"/>
                    <a:pt x="35" y="679"/>
                  </a:cubicBezTo>
                  <a:cubicBezTo>
                    <a:pt x="47" y="679"/>
                    <a:pt x="62" y="675"/>
                    <a:pt x="69" y="675"/>
                  </a:cubicBezTo>
                  <a:lnTo>
                    <a:pt x="82" y="662"/>
                  </a:lnTo>
                  <a:lnTo>
                    <a:pt x="95" y="649"/>
                  </a:lnTo>
                  <a:cubicBezTo>
                    <a:pt x="111" y="636"/>
                    <a:pt x="124" y="636"/>
                    <a:pt x="124" y="623"/>
                  </a:cubicBezTo>
                  <a:cubicBezTo>
                    <a:pt x="137" y="623"/>
                    <a:pt x="137" y="610"/>
                    <a:pt x="137" y="610"/>
                  </a:cubicBezTo>
                  <a:lnTo>
                    <a:pt x="150" y="594"/>
                  </a:lnTo>
                  <a:cubicBezTo>
                    <a:pt x="150" y="594"/>
                    <a:pt x="150" y="581"/>
                    <a:pt x="163" y="581"/>
                  </a:cubicBezTo>
                  <a:cubicBezTo>
                    <a:pt x="176" y="568"/>
                    <a:pt x="176" y="555"/>
                    <a:pt x="176" y="542"/>
                  </a:cubicBezTo>
                  <a:lnTo>
                    <a:pt x="176" y="487"/>
                  </a:lnTo>
                  <a:lnTo>
                    <a:pt x="205" y="487"/>
                  </a:lnTo>
                  <a:cubicBezTo>
                    <a:pt x="212" y="490"/>
                    <a:pt x="219" y="492"/>
                    <a:pt x="226" y="492"/>
                  </a:cubicBezTo>
                  <a:cubicBezTo>
                    <a:pt x="244" y="492"/>
                    <a:pt x="261" y="480"/>
                    <a:pt x="273" y="461"/>
                  </a:cubicBezTo>
                  <a:cubicBezTo>
                    <a:pt x="273" y="474"/>
                    <a:pt x="286" y="487"/>
                    <a:pt x="299" y="487"/>
                  </a:cubicBezTo>
                  <a:lnTo>
                    <a:pt x="312" y="500"/>
                  </a:lnTo>
                  <a:cubicBezTo>
                    <a:pt x="325" y="555"/>
                    <a:pt x="312" y="594"/>
                    <a:pt x="299" y="636"/>
                  </a:cubicBezTo>
                  <a:cubicBezTo>
                    <a:pt x="286" y="649"/>
                    <a:pt x="286" y="662"/>
                    <a:pt x="273" y="675"/>
                  </a:cubicBezTo>
                  <a:cubicBezTo>
                    <a:pt x="282" y="675"/>
                    <a:pt x="290" y="682"/>
                    <a:pt x="303" y="682"/>
                  </a:cubicBezTo>
                  <a:cubicBezTo>
                    <a:pt x="309" y="682"/>
                    <a:pt x="316" y="680"/>
                    <a:pt x="325" y="675"/>
                  </a:cubicBezTo>
                  <a:lnTo>
                    <a:pt x="325" y="662"/>
                  </a:lnTo>
                  <a:lnTo>
                    <a:pt x="338" y="662"/>
                  </a:lnTo>
                  <a:lnTo>
                    <a:pt x="338" y="636"/>
                  </a:lnTo>
                  <a:cubicBezTo>
                    <a:pt x="354" y="623"/>
                    <a:pt x="354" y="610"/>
                    <a:pt x="354" y="594"/>
                  </a:cubicBezTo>
                  <a:cubicBezTo>
                    <a:pt x="354" y="568"/>
                    <a:pt x="354" y="542"/>
                    <a:pt x="367" y="529"/>
                  </a:cubicBezTo>
                  <a:cubicBezTo>
                    <a:pt x="380" y="542"/>
                    <a:pt x="380" y="555"/>
                    <a:pt x="380" y="568"/>
                  </a:cubicBezTo>
                  <a:cubicBezTo>
                    <a:pt x="393" y="594"/>
                    <a:pt x="393" y="623"/>
                    <a:pt x="380" y="636"/>
                  </a:cubicBezTo>
                  <a:cubicBezTo>
                    <a:pt x="380" y="649"/>
                    <a:pt x="367" y="649"/>
                    <a:pt x="367" y="662"/>
                  </a:cubicBezTo>
                  <a:lnTo>
                    <a:pt x="419" y="662"/>
                  </a:lnTo>
                  <a:cubicBezTo>
                    <a:pt x="419" y="649"/>
                    <a:pt x="435" y="649"/>
                    <a:pt x="435" y="649"/>
                  </a:cubicBezTo>
                  <a:lnTo>
                    <a:pt x="435" y="636"/>
                  </a:lnTo>
                  <a:cubicBezTo>
                    <a:pt x="435" y="610"/>
                    <a:pt x="419" y="594"/>
                    <a:pt x="419" y="568"/>
                  </a:cubicBezTo>
                  <a:lnTo>
                    <a:pt x="419" y="542"/>
                  </a:lnTo>
                  <a:lnTo>
                    <a:pt x="419" y="513"/>
                  </a:lnTo>
                  <a:cubicBezTo>
                    <a:pt x="419" y="500"/>
                    <a:pt x="419" y="487"/>
                    <a:pt x="406" y="487"/>
                  </a:cubicBezTo>
                  <a:lnTo>
                    <a:pt x="406" y="461"/>
                  </a:lnTo>
                  <a:lnTo>
                    <a:pt x="406" y="432"/>
                  </a:lnTo>
                  <a:cubicBezTo>
                    <a:pt x="419" y="419"/>
                    <a:pt x="435" y="419"/>
                    <a:pt x="435" y="406"/>
                  </a:cubicBezTo>
                  <a:lnTo>
                    <a:pt x="461" y="406"/>
                  </a:lnTo>
                  <a:cubicBezTo>
                    <a:pt x="500" y="406"/>
                    <a:pt x="555" y="419"/>
                    <a:pt x="597" y="432"/>
                  </a:cubicBezTo>
                  <a:cubicBezTo>
                    <a:pt x="610" y="432"/>
                    <a:pt x="610" y="448"/>
                    <a:pt x="623" y="448"/>
                  </a:cubicBezTo>
                  <a:lnTo>
                    <a:pt x="704" y="448"/>
                  </a:lnTo>
                  <a:cubicBezTo>
                    <a:pt x="712" y="443"/>
                    <a:pt x="721" y="441"/>
                    <a:pt x="731" y="441"/>
                  </a:cubicBezTo>
                  <a:cubicBezTo>
                    <a:pt x="754" y="441"/>
                    <a:pt x="780" y="452"/>
                    <a:pt x="798" y="461"/>
                  </a:cubicBezTo>
                  <a:lnTo>
                    <a:pt x="798" y="500"/>
                  </a:lnTo>
                  <a:lnTo>
                    <a:pt x="811" y="487"/>
                  </a:lnTo>
                  <a:cubicBezTo>
                    <a:pt x="824" y="487"/>
                    <a:pt x="824" y="474"/>
                    <a:pt x="824" y="474"/>
                  </a:cubicBezTo>
                  <a:lnTo>
                    <a:pt x="840" y="474"/>
                  </a:lnTo>
                  <a:lnTo>
                    <a:pt x="840" y="487"/>
                  </a:lnTo>
                  <a:cubicBezTo>
                    <a:pt x="853" y="542"/>
                    <a:pt x="853" y="594"/>
                    <a:pt x="824" y="636"/>
                  </a:cubicBezTo>
                  <a:cubicBezTo>
                    <a:pt x="824" y="662"/>
                    <a:pt x="811" y="675"/>
                    <a:pt x="798" y="691"/>
                  </a:cubicBezTo>
                  <a:cubicBezTo>
                    <a:pt x="798" y="704"/>
                    <a:pt x="798" y="704"/>
                    <a:pt x="811" y="704"/>
                  </a:cubicBezTo>
                  <a:cubicBezTo>
                    <a:pt x="824" y="704"/>
                    <a:pt x="840" y="704"/>
                    <a:pt x="840" y="691"/>
                  </a:cubicBezTo>
                  <a:lnTo>
                    <a:pt x="866" y="691"/>
                  </a:lnTo>
                  <a:lnTo>
                    <a:pt x="866" y="675"/>
                  </a:lnTo>
                  <a:cubicBezTo>
                    <a:pt x="866" y="662"/>
                    <a:pt x="866" y="649"/>
                    <a:pt x="879" y="636"/>
                  </a:cubicBezTo>
                  <a:cubicBezTo>
                    <a:pt x="879" y="623"/>
                    <a:pt x="905" y="500"/>
                    <a:pt x="905" y="500"/>
                  </a:cubicBezTo>
                  <a:cubicBezTo>
                    <a:pt x="921" y="500"/>
                    <a:pt x="921" y="513"/>
                    <a:pt x="921" y="513"/>
                  </a:cubicBezTo>
                  <a:cubicBezTo>
                    <a:pt x="921" y="529"/>
                    <a:pt x="934" y="542"/>
                    <a:pt x="934" y="542"/>
                  </a:cubicBezTo>
                  <a:cubicBezTo>
                    <a:pt x="947" y="568"/>
                    <a:pt x="947" y="581"/>
                    <a:pt x="947" y="610"/>
                  </a:cubicBezTo>
                  <a:lnTo>
                    <a:pt x="947" y="623"/>
                  </a:lnTo>
                  <a:lnTo>
                    <a:pt x="947" y="649"/>
                  </a:lnTo>
                  <a:lnTo>
                    <a:pt x="947" y="691"/>
                  </a:lnTo>
                  <a:cubicBezTo>
                    <a:pt x="934" y="691"/>
                    <a:pt x="934" y="704"/>
                    <a:pt x="934" y="717"/>
                  </a:cubicBezTo>
                  <a:lnTo>
                    <a:pt x="973" y="704"/>
                  </a:lnTo>
                  <a:cubicBezTo>
                    <a:pt x="986" y="704"/>
                    <a:pt x="986" y="691"/>
                    <a:pt x="986" y="691"/>
                  </a:cubicBezTo>
                  <a:lnTo>
                    <a:pt x="1002" y="691"/>
                  </a:lnTo>
                  <a:lnTo>
                    <a:pt x="1002" y="675"/>
                  </a:lnTo>
                  <a:cubicBezTo>
                    <a:pt x="986" y="662"/>
                    <a:pt x="986" y="649"/>
                    <a:pt x="986" y="636"/>
                  </a:cubicBezTo>
                  <a:lnTo>
                    <a:pt x="986" y="568"/>
                  </a:lnTo>
                  <a:cubicBezTo>
                    <a:pt x="986" y="555"/>
                    <a:pt x="1002" y="542"/>
                    <a:pt x="1002" y="542"/>
                  </a:cubicBezTo>
                  <a:lnTo>
                    <a:pt x="1002" y="500"/>
                  </a:lnTo>
                  <a:lnTo>
                    <a:pt x="1015" y="487"/>
                  </a:lnTo>
                  <a:cubicBezTo>
                    <a:pt x="1015" y="461"/>
                    <a:pt x="1028" y="432"/>
                    <a:pt x="1015" y="419"/>
                  </a:cubicBezTo>
                  <a:cubicBezTo>
                    <a:pt x="1015" y="393"/>
                    <a:pt x="1002" y="367"/>
                    <a:pt x="1002" y="338"/>
                  </a:cubicBezTo>
                  <a:cubicBezTo>
                    <a:pt x="1002" y="325"/>
                    <a:pt x="1015" y="299"/>
                    <a:pt x="1015" y="286"/>
                  </a:cubicBezTo>
                  <a:cubicBezTo>
                    <a:pt x="1028" y="244"/>
                    <a:pt x="1028" y="218"/>
                    <a:pt x="1028" y="189"/>
                  </a:cubicBezTo>
                  <a:cubicBezTo>
                    <a:pt x="1028" y="163"/>
                    <a:pt x="1028" y="124"/>
                    <a:pt x="1015" y="95"/>
                  </a:cubicBezTo>
                  <a:cubicBezTo>
                    <a:pt x="1015" y="69"/>
                    <a:pt x="986" y="43"/>
                    <a:pt x="960" y="27"/>
                  </a:cubicBezTo>
                  <a:cubicBezTo>
                    <a:pt x="941" y="7"/>
                    <a:pt x="917" y="1"/>
                    <a:pt x="892" y="1"/>
                  </a:cubicBezTo>
                  <a:cubicBezTo>
                    <a:pt x="866" y="1"/>
                    <a:pt x="838" y="7"/>
                    <a:pt x="811" y="14"/>
                  </a:cubicBezTo>
                  <a:cubicBezTo>
                    <a:pt x="743" y="14"/>
                    <a:pt x="678" y="14"/>
                    <a:pt x="597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" name="Google Shape;216;p2"/>
            <p:cNvSpPr/>
            <p:nvPr/>
          </p:nvSpPr>
          <p:spPr>
            <a:xfrm>
              <a:off x="731900" y="3330925"/>
              <a:ext cx="31050" cy="22300"/>
            </a:xfrm>
            <a:custGeom>
              <a:avLst/>
              <a:gdLst/>
              <a:ahLst/>
              <a:cxnLst/>
              <a:rect l="l" t="t" r="r" b="b"/>
              <a:pathLst>
                <a:path w="1242" h="892" extrusionOk="0">
                  <a:moveTo>
                    <a:pt x="879" y="1"/>
                  </a:moveTo>
                  <a:lnTo>
                    <a:pt x="879" y="17"/>
                  </a:lnTo>
                  <a:cubicBezTo>
                    <a:pt x="866" y="30"/>
                    <a:pt x="879" y="56"/>
                    <a:pt x="879" y="69"/>
                  </a:cubicBezTo>
                  <a:cubicBezTo>
                    <a:pt x="879" y="82"/>
                    <a:pt x="892" y="98"/>
                    <a:pt x="905" y="98"/>
                  </a:cubicBezTo>
                  <a:cubicBezTo>
                    <a:pt x="918" y="111"/>
                    <a:pt x="934" y="111"/>
                    <a:pt x="947" y="111"/>
                  </a:cubicBezTo>
                  <a:cubicBezTo>
                    <a:pt x="947" y="111"/>
                    <a:pt x="947" y="124"/>
                    <a:pt x="934" y="124"/>
                  </a:cubicBezTo>
                  <a:lnTo>
                    <a:pt x="892" y="124"/>
                  </a:lnTo>
                  <a:cubicBezTo>
                    <a:pt x="888" y="120"/>
                    <a:pt x="883" y="118"/>
                    <a:pt x="879" y="118"/>
                  </a:cubicBezTo>
                  <a:cubicBezTo>
                    <a:pt x="870" y="118"/>
                    <a:pt x="862" y="124"/>
                    <a:pt x="853" y="124"/>
                  </a:cubicBezTo>
                  <a:lnTo>
                    <a:pt x="743" y="124"/>
                  </a:lnTo>
                  <a:cubicBezTo>
                    <a:pt x="743" y="124"/>
                    <a:pt x="730" y="124"/>
                    <a:pt x="717" y="137"/>
                  </a:cubicBezTo>
                  <a:lnTo>
                    <a:pt x="691" y="137"/>
                  </a:lnTo>
                  <a:cubicBezTo>
                    <a:pt x="683" y="143"/>
                    <a:pt x="672" y="147"/>
                    <a:pt x="661" y="147"/>
                  </a:cubicBezTo>
                  <a:cubicBezTo>
                    <a:pt x="649" y="147"/>
                    <a:pt x="636" y="143"/>
                    <a:pt x="623" y="137"/>
                  </a:cubicBezTo>
                  <a:lnTo>
                    <a:pt x="432" y="137"/>
                  </a:lnTo>
                  <a:cubicBezTo>
                    <a:pt x="406" y="137"/>
                    <a:pt x="380" y="137"/>
                    <a:pt x="351" y="124"/>
                  </a:cubicBezTo>
                  <a:lnTo>
                    <a:pt x="312" y="124"/>
                  </a:lnTo>
                  <a:cubicBezTo>
                    <a:pt x="299" y="124"/>
                    <a:pt x="286" y="111"/>
                    <a:pt x="270" y="111"/>
                  </a:cubicBezTo>
                  <a:lnTo>
                    <a:pt x="231" y="111"/>
                  </a:lnTo>
                  <a:cubicBezTo>
                    <a:pt x="218" y="98"/>
                    <a:pt x="205" y="98"/>
                    <a:pt x="176" y="98"/>
                  </a:cubicBezTo>
                  <a:cubicBezTo>
                    <a:pt x="163" y="98"/>
                    <a:pt x="150" y="82"/>
                    <a:pt x="124" y="82"/>
                  </a:cubicBezTo>
                  <a:lnTo>
                    <a:pt x="95" y="98"/>
                  </a:lnTo>
                  <a:cubicBezTo>
                    <a:pt x="95" y="111"/>
                    <a:pt x="82" y="124"/>
                    <a:pt x="82" y="124"/>
                  </a:cubicBezTo>
                  <a:cubicBezTo>
                    <a:pt x="69" y="137"/>
                    <a:pt x="43" y="163"/>
                    <a:pt x="27" y="179"/>
                  </a:cubicBezTo>
                  <a:cubicBezTo>
                    <a:pt x="14" y="205"/>
                    <a:pt x="14" y="231"/>
                    <a:pt x="14" y="244"/>
                  </a:cubicBezTo>
                  <a:cubicBezTo>
                    <a:pt x="27" y="286"/>
                    <a:pt x="27" y="312"/>
                    <a:pt x="27" y="354"/>
                  </a:cubicBezTo>
                  <a:lnTo>
                    <a:pt x="27" y="461"/>
                  </a:lnTo>
                  <a:cubicBezTo>
                    <a:pt x="14" y="474"/>
                    <a:pt x="14" y="487"/>
                    <a:pt x="14" y="503"/>
                  </a:cubicBezTo>
                  <a:cubicBezTo>
                    <a:pt x="1" y="529"/>
                    <a:pt x="14" y="555"/>
                    <a:pt x="14" y="584"/>
                  </a:cubicBezTo>
                  <a:cubicBezTo>
                    <a:pt x="14" y="597"/>
                    <a:pt x="14" y="623"/>
                    <a:pt x="27" y="623"/>
                  </a:cubicBezTo>
                  <a:lnTo>
                    <a:pt x="43" y="597"/>
                  </a:lnTo>
                  <a:lnTo>
                    <a:pt x="43" y="555"/>
                  </a:lnTo>
                  <a:lnTo>
                    <a:pt x="43" y="422"/>
                  </a:lnTo>
                  <a:cubicBezTo>
                    <a:pt x="82" y="474"/>
                    <a:pt x="95" y="542"/>
                    <a:pt x="69" y="597"/>
                  </a:cubicBezTo>
                  <a:cubicBezTo>
                    <a:pt x="56" y="610"/>
                    <a:pt x="56" y="623"/>
                    <a:pt x="56" y="623"/>
                  </a:cubicBezTo>
                  <a:lnTo>
                    <a:pt x="69" y="636"/>
                  </a:lnTo>
                  <a:cubicBezTo>
                    <a:pt x="82" y="649"/>
                    <a:pt x="82" y="678"/>
                    <a:pt x="82" y="691"/>
                  </a:cubicBezTo>
                  <a:cubicBezTo>
                    <a:pt x="82" y="717"/>
                    <a:pt x="95" y="746"/>
                    <a:pt x="95" y="772"/>
                  </a:cubicBezTo>
                  <a:cubicBezTo>
                    <a:pt x="108" y="798"/>
                    <a:pt x="108" y="827"/>
                    <a:pt x="82" y="853"/>
                  </a:cubicBezTo>
                  <a:lnTo>
                    <a:pt x="108" y="853"/>
                  </a:lnTo>
                  <a:cubicBezTo>
                    <a:pt x="124" y="866"/>
                    <a:pt x="124" y="866"/>
                    <a:pt x="124" y="879"/>
                  </a:cubicBezTo>
                  <a:lnTo>
                    <a:pt x="176" y="879"/>
                  </a:lnTo>
                  <a:cubicBezTo>
                    <a:pt x="189" y="866"/>
                    <a:pt x="189" y="866"/>
                    <a:pt x="189" y="853"/>
                  </a:cubicBezTo>
                  <a:lnTo>
                    <a:pt x="205" y="853"/>
                  </a:lnTo>
                  <a:lnTo>
                    <a:pt x="205" y="840"/>
                  </a:lnTo>
                  <a:cubicBezTo>
                    <a:pt x="205" y="827"/>
                    <a:pt x="205" y="827"/>
                    <a:pt x="189" y="811"/>
                  </a:cubicBezTo>
                  <a:cubicBezTo>
                    <a:pt x="163" y="772"/>
                    <a:pt x="150" y="746"/>
                    <a:pt x="163" y="704"/>
                  </a:cubicBezTo>
                  <a:lnTo>
                    <a:pt x="163" y="665"/>
                  </a:lnTo>
                  <a:cubicBezTo>
                    <a:pt x="176" y="649"/>
                    <a:pt x="176" y="649"/>
                    <a:pt x="176" y="636"/>
                  </a:cubicBezTo>
                  <a:cubicBezTo>
                    <a:pt x="176" y="623"/>
                    <a:pt x="176" y="610"/>
                    <a:pt x="189" y="597"/>
                  </a:cubicBezTo>
                  <a:lnTo>
                    <a:pt x="205" y="568"/>
                  </a:lnTo>
                  <a:lnTo>
                    <a:pt x="205" y="584"/>
                  </a:lnTo>
                  <a:lnTo>
                    <a:pt x="218" y="584"/>
                  </a:lnTo>
                  <a:cubicBezTo>
                    <a:pt x="231" y="584"/>
                    <a:pt x="231" y="555"/>
                    <a:pt x="231" y="542"/>
                  </a:cubicBezTo>
                  <a:cubicBezTo>
                    <a:pt x="244" y="542"/>
                    <a:pt x="244" y="529"/>
                    <a:pt x="257" y="529"/>
                  </a:cubicBezTo>
                  <a:lnTo>
                    <a:pt x="257" y="516"/>
                  </a:lnTo>
                  <a:cubicBezTo>
                    <a:pt x="270" y="516"/>
                    <a:pt x="270" y="516"/>
                    <a:pt x="270" y="503"/>
                  </a:cubicBezTo>
                  <a:lnTo>
                    <a:pt x="286" y="503"/>
                  </a:lnTo>
                  <a:cubicBezTo>
                    <a:pt x="299" y="516"/>
                    <a:pt x="312" y="529"/>
                    <a:pt x="325" y="529"/>
                  </a:cubicBezTo>
                  <a:cubicBezTo>
                    <a:pt x="338" y="542"/>
                    <a:pt x="367" y="555"/>
                    <a:pt x="393" y="555"/>
                  </a:cubicBezTo>
                  <a:cubicBezTo>
                    <a:pt x="406" y="568"/>
                    <a:pt x="432" y="568"/>
                    <a:pt x="461" y="568"/>
                  </a:cubicBezTo>
                  <a:cubicBezTo>
                    <a:pt x="500" y="568"/>
                    <a:pt x="555" y="568"/>
                    <a:pt x="610" y="555"/>
                  </a:cubicBezTo>
                  <a:lnTo>
                    <a:pt x="675" y="555"/>
                  </a:lnTo>
                  <a:cubicBezTo>
                    <a:pt x="691" y="568"/>
                    <a:pt x="704" y="597"/>
                    <a:pt x="704" y="623"/>
                  </a:cubicBezTo>
                  <a:cubicBezTo>
                    <a:pt x="717" y="649"/>
                    <a:pt x="704" y="678"/>
                    <a:pt x="717" y="704"/>
                  </a:cubicBezTo>
                  <a:cubicBezTo>
                    <a:pt x="717" y="717"/>
                    <a:pt x="717" y="717"/>
                    <a:pt x="730" y="730"/>
                  </a:cubicBezTo>
                  <a:lnTo>
                    <a:pt x="730" y="798"/>
                  </a:lnTo>
                  <a:lnTo>
                    <a:pt x="730" y="840"/>
                  </a:lnTo>
                  <a:cubicBezTo>
                    <a:pt x="730" y="840"/>
                    <a:pt x="717" y="840"/>
                    <a:pt x="717" y="853"/>
                  </a:cubicBezTo>
                  <a:cubicBezTo>
                    <a:pt x="717" y="866"/>
                    <a:pt x="730" y="879"/>
                    <a:pt x="730" y="879"/>
                  </a:cubicBezTo>
                  <a:lnTo>
                    <a:pt x="743" y="892"/>
                  </a:lnTo>
                  <a:lnTo>
                    <a:pt x="785" y="892"/>
                  </a:lnTo>
                  <a:cubicBezTo>
                    <a:pt x="798" y="892"/>
                    <a:pt x="811" y="892"/>
                    <a:pt x="811" y="879"/>
                  </a:cubicBezTo>
                  <a:cubicBezTo>
                    <a:pt x="811" y="879"/>
                    <a:pt x="798" y="866"/>
                    <a:pt x="811" y="866"/>
                  </a:cubicBezTo>
                  <a:cubicBezTo>
                    <a:pt x="824" y="879"/>
                    <a:pt x="824" y="879"/>
                    <a:pt x="837" y="879"/>
                  </a:cubicBezTo>
                  <a:lnTo>
                    <a:pt x="837" y="866"/>
                  </a:lnTo>
                  <a:lnTo>
                    <a:pt x="853" y="866"/>
                  </a:lnTo>
                  <a:cubicBezTo>
                    <a:pt x="853" y="853"/>
                    <a:pt x="837" y="840"/>
                    <a:pt x="824" y="840"/>
                  </a:cubicBezTo>
                  <a:cubicBezTo>
                    <a:pt x="811" y="811"/>
                    <a:pt x="811" y="798"/>
                    <a:pt x="811" y="772"/>
                  </a:cubicBezTo>
                  <a:cubicBezTo>
                    <a:pt x="798" y="759"/>
                    <a:pt x="798" y="746"/>
                    <a:pt x="811" y="730"/>
                  </a:cubicBezTo>
                  <a:cubicBezTo>
                    <a:pt x="811" y="717"/>
                    <a:pt x="824" y="704"/>
                    <a:pt x="824" y="691"/>
                  </a:cubicBezTo>
                  <a:cubicBezTo>
                    <a:pt x="837" y="678"/>
                    <a:pt x="837" y="649"/>
                    <a:pt x="837" y="623"/>
                  </a:cubicBezTo>
                  <a:cubicBezTo>
                    <a:pt x="853" y="636"/>
                    <a:pt x="866" y="636"/>
                    <a:pt x="879" y="636"/>
                  </a:cubicBezTo>
                  <a:lnTo>
                    <a:pt x="892" y="623"/>
                  </a:lnTo>
                  <a:cubicBezTo>
                    <a:pt x="905" y="623"/>
                    <a:pt x="918" y="623"/>
                    <a:pt x="934" y="610"/>
                  </a:cubicBezTo>
                  <a:lnTo>
                    <a:pt x="934" y="597"/>
                  </a:lnTo>
                  <a:cubicBezTo>
                    <a:pt x="947" y="584"/>
                    <a:pt x="973" y="568"/>
                    <a:pt x="986" y="542"/>
                  </a:cubicBezTo>
                  <a:lnTo>
                    <a:pt x="986" y="474"/>
                  </a:lnTo>
                  <a:cubicBezTo>
                    <a:pt x="999" y="448"/>
                    <a:pt x="1015" y="422"/>
                    <a:pt x="1028" y="393"/>
                  </a:cubicBezTo>
                  <a:lnTo>
                    <a:pt x="1041" y="393"/>
                  </a:lnTo>
                  <a:cubicBezTo>
                    <a:pt x="1041" y="393"/>
                    <a:pt x="1054" y="393"/>
                    <a:pt x="1054" y="380"/>
                  </a:cubicBezTo>
                  <a:cubicBezTo>
                    <a:pt x="1067" y="380"/>
                    <a:pt x="1080" y="393"/>
                    <a:pt x="1096" y="393"/>
                  </a:cubicBezTo>
                  <a:cubicBezTo>
                    <a:pt x="1096" y="393"/>
                    <a:pt x="1096" y="380"/>
                    <a:pt x="1109" y="380"/>
                  </a:cubicBezTo>
                  <a:lnTo>
                    <a:pt x="1122" y="380"/>
                  </a:lnTo>
                  <a:lnTo>
                    <a:pt x="1122" y="367"/>
                  </a:lnTo>
                  <a:cubicBezTo>
                    <a:pt x="1135" y="341"/>
                    <a:pt x="1122" y="325"/>
                    <a:pt x="1109" y="299"/>
                  </a:cubicBezTo>
                  <a:cubicBezTo>
                    <a:pt x="1109" y="286"/>
                    <a:pt x="1109" y="286"/>
                    <a:pt x="1122" y="273"/>
                  </a:cubicBezTo>
                  <a:lnTo>
                    <a:pt x="1122" y="205"/>
                  </a:lnTo>
                  <a:lnTo>
                    <a:pt x="1122" y="179"/>
                  </a:lnTo>
                  <a:cubicBezTo>
                    <a:pt x="1135" y="179"/>
                    <a:pt x="1135" y="192"/>
                    <a:pt x="1148" y="192"/>
                  </a:cubicBezTo>
                  <a:cubicBezTo>
                    <a:pt x="1161" y="205"/>
                    <a:pt x="1177" y="205"/>
                    <a:pt x="1190" y="205"/>
                  </a:cubicBezTo>
                  <a:cubicBezTo>
                    <a:pt x="1190" y="205"/>
                    <a:pt x="1190" y="192"/>
                    <a:pt x="1203" y="192"/>
                  </a:cubicBezTo>
                  <a:cubicBezTo>
                    <a:pt x="1216" y="179"/>
                    <a:pt x="1229" y="179"/>
                    <a:pt x="1242" y="179"/>
                  </a:cubicBezTo>
                  <a:lnTo>
                    <a:pt x="1242" y="163"/>
                  </a:lnTo>
                  <a:lnTo>
                    <a:pt x="1242" y="150"/>
                  </a:lnTo>
                  <a:lnTo>
                    <a:pt x="1229" y="137"/>
                  </a:lnTo>
                  <a:cubicBezTo>
                    <a:pt x="1216" y="137"/>
                    <a:pt x="1216" y="124"/>
                    <a:pt x="1203" y="124"/>
                  </a:cubicBezTo>
                  <a:lnTo>
                    <a:pt x="1148" y="124"/>
                  </a:lnTo>
                  <a:cubicBezTo>
                    <a:pt x="1135" y="124"/>
                    <a:pt x="1122" y="111"/>
                    <a:pt x="1122" y="111"/>
                  </a:cubicBezTo>
                  <a:cubicBezTo>
                    <a:pt x="1135" y="111"/>
                    <a:pt x="1148" y="98"/>
                    <a:pt x="1177" y="98"/>
                  </a:cubicBezTo>
                  <a:cubicBezTo>
                    <a:pt x="1177" y="98"/>
                    <a:pt x="1190" y="98"/>
                    <a:pt x="1190" y="82"/>
                  </a:cubicBezTo>
                  <a:cubicBezTo>
                    <a:pt x="1190" y="82"/>
                    <a:pt x="1203" y="82"/>
                    <a:pt x="1203" y="69"/>
                  </a:cubicBezTo>
                  <a:cubicBezTo>
                    <a:pt x="1216" y="56"/>
                    <a:pt x="1229" y="30"/>
                    <a:pt x="1229" y="1"/>
                  </a:cubicBezTo>
                  <a:lnTo>
                    <a:pt x="1229" y="1"/>
                  </a:lnTo>
                  <a:cubicBezTo>
                    <a:pt x="1216" y="17"/>
                    <a:pt x="1216" y="30"/>
                    <a:pt x="1203" y="43"/>
                  </a:cubicBezTo>
                  <a:cubicBezTo>
                    <a:pt x="1190" y="56"/>
                    <a:pt x="1190" y="69"/>
                    <a:pt x="1177" y="69"/>
                  </a:cubicBezTo>
                  <a:cubicBezTo>
                    <a:pt x="1167" y="73"/>
                    <a:pt x="1159" y="75"/>
                    <a:pt x="1152" y="75"/>
                  </a:cubicBezTo>
                  <a:cubicBezTo>
                    <a:pt x="1138" y="75"/>
                    <a:pt x="1126" y="69"/>
                    <a:pt x="1109" y="69"/>
                  </a:cubicBezTo>
                  <a:lnTo>
                    <a:pt x="1096" y="69"/>
                  </a:lnTo>
                  <a:cubicBezTo>
                    <a:pt x="1079" y="54"/>
                    <a:pt x="1059" y="47"/>
                    <a:pt x="1039" y="47"/>
                  </a:cubicBezTo>
                  <a:cubicBezTo>
                    <a:pt x="1025" y="47"/>
                    <a:pt x="1011" y="50"/>
                    <a:pt x="999" y="56"/>
                  </a:cubicBezTo>
                  <a:cubicBezTo>
                    <a:pt x="986" y="69"/>
                    <a:pt x="973" y="69"/>
                    <a:pt x="960" y="82"/>
                  </a:cubicBezTo>
                  <a:cubicBezTo>
                    <a:pt x="947" y="82"/>
                    <a:pt x="934" y="82"/>
                    <a:pt x="918" y="69"/>
                  </a:cubicBezTo>
                  <a:cubicBezTo>
                    <a:pt x="892" y="69"/>
                    <a:pt x="892" y="30"/>
                    <a:pt x="879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" name="Google Shape;217;p2"/>
            <p:cNvSpPr/>
            <p:nvPr/>
          </p:nvSpPr>
          <p:spPr>
            <a:xfrm>
              <a:off x="547325" y="3326225"/>
              <a:ext cx="31025" cy="22300"/>
            </a:xfrm>
            <a:custGeom>
              <a:avLst/>
              <a:gdLst/>
              <a:ahLst/>
              <a:cxnLst/>
              <a:rect l="l" t="t" r="r" b="b"/>
              <a:pathLst>
                <a:path w="1241" h="892" extrusionOk="0">
                  <a:moveTo>
                    <a:pt x="878" y="1"/>
                  </a:moveTo>
                  <a:cubicBezTo>
                    <a:pt x="865" y="27"/>
                    <a:pt x="878" y="43"/>
                    <a:pt x="878" y="69"/>
                  </a:cubicBezTo>
                  <a:cubicBezTo>
                    <a:pt x="878" y="82"/>
                    <a:pt x="891" y="82"/>
                    <a:pt x="904" y="95"/>
                  </a:cubicBezTo>
                  <a:cubicBezTo>
                    <a:pt x="913" y="95"/>
                    <a:pt x="921" y="101"/>
                    <a:pt x="931" y="101"/>
                  </a:cubicBezTo>
                  <a:cubicBezTo>
                    <a:pt x="936" y="101"/>
                    <a:pt x="941" y="99"/>
                    <a:pt x="946" y="95"/>
                  </a:cubicBezTo>
                  <a:lnTo>
                    <a:pt x="946" y="95"/>
                  </a:lnTo>
                  <a:cubicBezTo>
                    <a:pt x="946" y="108"/>
                    <a:pt x="946" y="108"/>
                    <a:pt x="930" y="124"/>
                  </a:cubicBezTo>
                  <a:cubicBezTo>
                    <a:pt x="917" y="124"/>
                    <a:pt x="904" y="108"/>
                    <a:pt x="891" y="108"/>
                  </a:cubicBezTo>
                  <a:cubicBezTo>
                    <a:pt x="878" y="108"/>
                    <a:pt x="865" y="108"/>
                    <a:pt x="849" y="124"/>
                  </a:cubicBezTo>
                  <a:lnTo>
                    <a:pt x="716" y="124"/>
                  </a:lnTo>
                  <a:cubicBezTo>
                    <a:pt x="716" y="124"/>
                    <a:pt x="703" y="137"/>
                    <a:pt x="687" y="137"/>
                  </a:cubicBezTo>
                  <a:lnTo>
                    <a:pt x="460" y="137"/>
                  </a:lnTo>
                  <a:cubicBezTo>
                    <a:pt x="444" y="137"/>
                    <a:pt x="444" y="124"/>
                    <a:pt x="431" y="124"/>
                  </a:cubicBezTo>
                  <a:cubicBezTo>
                    <a:pt x="414" y="124"/>
                    <a:pt x="396" y="130"/>
                    <a:pt x="378" y="130"/>
                  </a:cubicBezTo>
                  <a:cubicBezTo>
                    <a:pt x="369" y="130"/>
                    <a:pt x="360" y="128"/>
                    <a:pt x="350" y="124"/>
                  </a:cubicBezTo>
                  <a:lnTo>
                    <a:pt x="311" y="124"/>
                  </a:lnTo>
                  <a:cubicBezTo>
                    <a:pt x="298" y="108"/>
                    <a:pt x="282" y="108"/>
                    <a:pt x="269" y="108"/>
                  </a:cubicBezTo>
                  <a:cubicBezTo>
                    <a:pt x="256" y="108"/>
                    <a:pt x="243" y="108"/>
                    <a:pt x="230" y="95"/>
                  </a:cubicBezTo>
                  <a:lnTo>
                    <a:pt x="175" y="95"/>
                  </a:lnTo>
                  <a:cubicBezTo>
                    <a:pt x="162" y="82"/>
                    <a:pt x="149" y="82"/>
                    <a:pt x="120" y="82"/>
                  </a:cubicBezTo>
                  <a:cubicBezTo>
                    <a:pt x="107" y="82"/>
                    <a:pt x="94" y="82"/>
                    <a:pt x="94" y="95"/>
                  </a:cubicBezTo>
                  <a:cubicBezTo>
                    <a:pt x="81" y="95"/>
                    <a:pt x="81" y="108"/>
                    <a:pt x="81" y="124"/>
                  </a:cubicBezTo>
                  <a:cubicBezTo>
                    <a:pt x="55" y="137"/>
                    <a:pt x="39" y="150"/>
                    <a:pt x="26" y="176"/>
                  </a:cubicBezTo>
                  <a:cubicBezTo>
                    <a:pt x="13" y="205"/>
                    <a:pt x="13" y="218"/>
                    <a:pt x="13" y="244"/>
                  </a:cubicBezTo>
                  <a:cubicBezTo>
                    <a:pt x="13" y="286"/>
                    <a:pt x="26" y="312"/>
                    <a:pt x="26" y="338"/>
                  </a:cubicBezTo>
                  <a:lnTo>
                    <a:pt x="26" y="461"/>
                  </a:lnTo>
                  <a:cubicBezTo>
                    <a:pt x="13" y="474"/>
                    <a:pt x="13" y="487"/>
                    <a:pt x="13" y="500"/>
                  </a:cubicBezTo>
                  <a:cubicBezTo>
                    <a:pt x="0" y="529"/>
                    <a:pt x="13" y="542"/>
                    <a:pt x="13" y="568"/>
                  </a:cubicBezTo>
                  <a:cubicBezTo>
                    <a:pt x="13" y="581"/>
                    <a:pt x="13" y="623"/>
                    <a:pt x="26" y="623"/>
                  </a:cubicBezTo>
                  <a:lnTo>
                    <a:pt x="39" y="594"/>
                  </a:lnTo>
                  <a:lnTo>
                    <a:pt x="39" y="555"/>
                  </a:lnTo>
                  <a:lnTo>
                    <a:pt x="39" y="406"/>
                  </a:lnTo>
                  <a:cubicBezTo>
                    <a:pt x="81" y="461"/>
                    <a:pt x="81" y="542"/>
                    <a:pt x="68" y="594"/>
                  </a:cubicBezTo>
                  <a:cubicBezTo>
                    <a:pt x="55" y="610"/>
                    <a:pt x="55" y="610"/>
                    <a:pt x="55" y="623"/>
                  </a:cubicBezTo>
                  <a:lnTo>
                    <a:pt x="68" y="636"/>
                  </a:lnTo>
                  <a:cubicBezTo>
                    <a:pt x="81" y="649"/>
                    <a:pt x="81" y="675"/>
                    <a:pt x="81" y="691"/>
                  </a:cubicBezTo>
                  <a:cubicBezTo>
                    <a:pt x="81" y="717"/>
                    <a:pt x="94" y="743"/>
                    <a:pt x="94" y="772"/>
                  </a:cubicBezTo>
                  <a:cubicBezTo>
                    <a:pt x="107" y="798"/>
                    <a:pt x="107" y="824"/>
                    <a:pt x="81" y="837"/>
                  </a:cubicBezTo>
                  <a:cubicBezTo>
                    <a:pt x="94" y="853"/>
                    <a:pt x="107" y="853"/>
                    <a:pt x="107" y="853"/>
                  </a:cubicBezTo>
                  <a:cubicBezTo>
                    <a:pt x="107" y="853"/>
                    <a:pt x="120" y="866"/>
                    <a:pt x="120" y="879"/>
                  </a:cubicBezTo>
                  <a:lnTo>
                    <a:pt x="175" y="879"/>
                  </a:lnTo>
                  <a:cubicBezTo>
                    <a:pt x="188" y="866"/>
                    <a:pt x="188" y="853"/>
                    <a:pt x="188" y="853"/>
                  </a:cubicBezTo>
                  <a:lnTo>
                    <a:pt x="201" y="837"/>
                  </a:lnTo>
                  <a:cubicBezTo>
                    <a:pt x="201" y="824"/>
                    <a:pt x="201" y="811"/>
                    <a:pt x="188" y="798"/>
                  </a:cubicBezTo>
                  <a:cubicBezTo>
                    <a:pt x="162" y="772"/>
                    <a:pt x="149" y="730"/>
                    <a:pt x="162" y="691"/>
                  </a:cubicBezTo>
                  <a:lnTo>
                    <a:pt x="162" y="662"/>
                  </a:lnTo>
                  <a:cubicBezTo>
                    <a:pt x="175" y="649"/>
                    <a:pt x="175" y="636"/>
                    <a:pt x="175" y="623"/>
                  </a:cubicBezTo>
                  <a:cubicBezTo>
                    <a:pt x="175" y="623"/>
                    <a:pt x="175" y="610"/>
                    <a:pt x="188" y="594"/>
                  </a:cubicBezTo>
                  <a:lnTo>
                    <a:pt x="201" y="568"/>
                  </a:lnTo>
                  <a:lnTo>
                    <a:pt x="201" y="581"/>
                  </a:lnTo>
                  <a:lnTo>
                    <a:pt x="217" y="581"/>
                  </a:lnTo>
                  <a:cubicBezTo>
                    <a:pt x="230" y="568"/>
                    <a:pt x="230" y="555"/>
                    <a:pt x="230" y="542"/>
                  </a:cubicBezTo>
                  <a:lnTo>
                    <a:pt x="256" y="513"/>
                  </a:lnTo>
                  <a:lnTo>
                    <a:pt x="269" y="500"/>
                  </a:lnTo>
                  <a:lnTo>
                    <a:pt x="282" y="500"/>
                  </a:lnTo>
                  <a:cubicBezTo>
                    <a:pt x="298" y="513"/>
                    <a:pt x="311" y="513"/>
                    <a:pt x="324" y="529"/>
                  </a:cubicBezTo>
                  <a:cubicBezTo>
                    <a:pt x="337" y="542"/>
                    <a:pt x="363" y="555"/>
                    <a:pt x="392" y="555"/>
                  </a:cubicBezTo>
                  <a:cubicBezTo>
                    <a:pt x="405" y="555"/>
                    <a:pt x="431" y="568"/>
                    <a:pt x="444" y="568"/>
                  </a:cubicBezTo>
                  <a:cubicBezTo>
                    <a:pt x="499" y="568"/>
                    <a:pt x="554" y="568"/>
                    <a:pt x="593" y="555"/>
                  </a:cubicBezTo>
                  <a:cubicBezTo>
                    <a:pt x="612" y="555"/>
                    <a:pt x="630" y="549"/>
                    <a:pt x="644" y="549"/>
                  </a:cubicBezTo>
                  <a:cubicBezTo>
                    <a:pt x="651" y="549"/>
                    <a:pt x="657" y="551"/>
                    <a:pt x="661" y="555"/>
                  </a:cubicBezTo>
                  <a:cubicBezTo>
                    <a:pt x="687" y="568"/>
                    <a:pt x="703" y="594"/>
                    <a:pt x="703" y="623"/>
                  </a:cubicBezTo>
                  <a:cubicBezTo>
                    <a:pt x="716" y="649"/>
                    <a:pt x="703" y="675"/>
                    <a:pt x="716" y="704"/>
                  </a:cubicBezTo>
                  <a:cubicBezTo>
                    <a:pt x="716" y="704"/>
                    <a:pt x="716" y="717"/>
                    <a:pt x="729" y="730"/>
                  </a:cubicBezTo>
                  <a:lnTo>
                    <a:pt x="729" y="785"/>
                  </a:lnTo>
                  <a:lnTo>
                    <a:pt x="729" y="824"/>
                  </a:lnTo>
                  <a:cubicBezTo>
                    <a:pt x="729" y="837"/>
                    <a:pt x="716" y="837"/>
                    <a:pt x="716" y="837"/>
                  </a:cubicBezTo>
                  <a:cubicBezTo>
                    <a:pt x="716" y="853"/>
                    <a:pt x="729" y="866"/>
                    <a:pt x="729" y="879"/>
                  </a:cubicBezTo>
                  <a:lnTo>
                    <a:pt x="742" y="892"/>
                  </a:lnTo>
                  <a:lnTo>
                    <a:pt x="784" y="892"/>
                  </a:lnTo>
                  <a:cubicBezTo>
                    <a:pt x="797" y="892"/>
                    <a:pt x="810" y="892"/>
                    <a:pt x="810" y="879"/>
                  </a:cubicBezTo>
                  <a:cubicBezTo>
                    <a:pt x="810" y="879"/>
                    <a:pt x="797" y="866"/>
                    <a:pt x="810" y="866"/>
                  </a:cubicBezTo>
                  <a:lnTo>
                    <a:pt x="836" y="866"/>
                  </a:lnTo>
                  <a:lnTo>
                    <a:pt x="849" y="853"/>
                  </a:lnTo>
                  <a:cubicBezTo>
                    <a:pt x="849" y="853"/>
                    <a:pt x="836" y="837"/>
                    <a:pt x="823" y="824"/>
                  </a:cubicBezTo>
                  <a:cubicBezTo>
                    <a:pt x="810" y="811"/>
                    <a:pt x="810" y="785"/>
                    <a:pt x="810" y="772"/>
                  </a:cubicBezTo>
                  <a:cubicBezTo>
                    <a:pt x="797" y="756"/>
                    <a:pt x="797" y="743"/>
                    <a:pt x="810" y="730"/>
                  </a:cubicBezTo>
                  <a:cubicBezTo>
                    <a:pt x="810" y="717"/>
                    <a:pt x="823" y="704"/>
                    <a:pt x="823" y="691"/>
                  </a:cubicBezTo>
                  <a:cubicBezTo>
                    <a:pt x="836" y="662"/>
                    <a:pt x="836" y="649"/>
                    <a:pt x="836" y="623"/>
                  </a:cubicBezTo>
                  <a:lnTo>
                    <a:pt x="891" y="623"/>
                  </a:lnTo>
                  <a:cubicBezTo>
                    <a:pt x="904" y="610"/>
                    <a:pt x="917" y="610"/>
                    <a:pt x="930" y="610"/>
                  </a:cubicBezTo>
                  <a:lnTo>
                    <a:pt x="930" y="594"/>
                  </a:lnTo>
                  <a:cubicBezTo>
                    <a:pt x="946" y="568"/>
                    <a:pt x="972" y="568"/>
                    <a:pt x="972" y="542"/>
                  </a:cubicBezTo>
                  <a:cubicBezTo>
                    <a:pt x="985" y="513"/>
                    <a:pt x="985" y="500"/>
                    <a:pt x="985" y="474"/>
                  </a:cubicBezTo>
                  <a:cubicBezTo>
                    <a:pt x="998" y="448"/>
                    <a:pt x="1011" y="419"/>
                    <a:pt x="1027" y="393"/>
                  </a:cubicBezTo>
                  <a:lnTo>
                    <a:pt x="1027" y="380"/>
                  </a:lnTo>
                  <a:lnTo>
                    <a:pt x="1040" y="393"/>
                  </a:lnTo>
                  <a:lnTo>
                    <a:pt x="1053" y="380"/>
                  </a:lnTo>
                  <a:cubicBezTo>
                    <a:pt x="1066" y="380"/>
                    <a:pt x="1079" y="393"/>
                    <a:pt x="1092" y="393"/>
                  </a:cubicBezTo>
                  <a:cubicBezTo>
                    <a:pt x="1092" y="380"/>
                    <a:pt x="1092" y="380"/>
                    <a:pt x="1108" y="367"/>
                  </a:cubicBezTo>
                  <a:lnTo>
                    <a:pt x="1121" y="367"/>
                  </a:lnTo>
                  <a:cubicBezTo>
                    <a:pt x="1134" y="338"/>
                    <a:pt x="1121" y="312"/>
                    <a:pt x="1108" y="299"/>
                  </a:cubicBezTo>
                  <a:lnTo>
                    <a:pt x="1108" y="270"/>
                  </a:lnTo>
                  <a:cubicBezTo>
                    <a:pt x="1121" y="244"/>
                    <a:pt x="1121" y="231"/>
                    <a:pt x="1121" y="205"/>
                  </a:cubicBezTo>
                  <a:lnTo>
                    <a:pt x="1121" y="189"/>
                  </a:lnTo>
                  <a:lnTo>
                    <a:pt x="1121" y="176"/>
                  </a:lnTo>
                  <a:cubicBezTo>
                    <a:pt x="1134" y="176"/>
                    <a:pt x="1134" y="189"/>
                    <a:pt x="1147" y="189"/>
                  </a:cubicBezTo>
                  <a:cubicBezTo>
                    <a:pt x="1156" y="189"/>
                    <a:pt x="1164" y="196"/>
                    <a:pt x="1174" y="196"/>
                  </a:cubicBezTo>
                  <a:cubicBezTo>
                    <a:pt x="1179" y="196"/>
                    <a:pt x="1184" y="194"/>
                    <a:pt x="1189" y="189"/>
                  </a:cubicBezTo>
                  <a:lnTo>
                    <a:pt x="1202" y="189"/>
                  </a:lnTo>
                  <a:cubicBezTo>
                    <a:pt x="1215" y="176"/>
                    <a:pt x="1228" y="176"/>
                    <a:pt x="1241" y="163"/>
                  </a:cubicBezTo>
                  <a:lnTo>
                    <a:pt x="1241" y="150"/>
                  </a:lnTo>
                  <a:lnTo>
                    <a:pt x="1228" y="137"/>
                  </a:lnTo>
                  <a:cubicBezTo>
                    <a:pt x="1215" y="124"/>
                    <a:pt x="1215" y="124"/>
                    <a:pt x="1202" y="124"/>
                  </a:cubicBezTo>
                  <a:lnTo>
                    <a:pt x="1189" y="108"/>
                  </a:lnTo>
                  <a:cubicBezTo>
                    <a:pt x="1189" y="108"/>
                    <a:pt x="1173" y="108"/>
                    <a:pt x="1160" y="124"/>
                  </a:cubicBezTo>
                  <a:lnTo>
                    <a:pt x="1147" y="124"/>
                  </a:lnTo>
                  <a:cubicBezTo>
                    <a:pt x="1134" y="124"/>
                    <a:pt x="1121" y="108"/>
                    <a:pt x="1121" y="95"/>
                  </a:cubicBezTo>
                  <a:lnTo>
                    <a:pt x="1173" y="95"/>
                  </a:lnTo>
                  <a:cubicBezTo>
                    <a:pt x="1173" y="82"/>
                    <a:pt x="1189" y="82"/>
                    <a:pt x="1189" y="82"/>
                  </a:cubicBezTo>
                  <a:lnTo>
                    <a:pt x="1202" y="69"/>
                  </a:lnTo>
                  <a:cubicBezTo>
                    <a:pt x="1215" y="43"/>
                    <a:pt x="1228" y="27"/>
                    <a:pt x="1228" y="1"/>
                  </a:cubicBezTo>
                  <a:cubicBezTo>
                    <a:pt x="1215" y="1"/>
                    <a:pt x="1215" y="14"/>
                    <a:pt x="1202" y="27"/>
                  </a:cubicBezTo>
                  <a:cubicBezTo>
                    <a:pt x="1189" y="43"/>
                    <a:pt x="1189" y="56"/>
                    <a:pt x="1160" y="69"/>
                  </a:cubicBezTo>
                  <a:lnTo>
                    <a:pt x="1092" y="69"/>
                  </a:lnTo>
                  <a:cubicBezTo>
                    <a:pt x="1077" y="54"/>
                    <a:pt x="1057" y="47"/>
                    <a:pt x="1038" y="47"/>
                  </a:cubicBezTo>
                  <a:cubicBezTo>
                    <a:pt x="1024" y="47"/>
                    <a:pt x="1010" y="51"/>
                    <a:pt x="998" y="56"/>
                  </a:cubicBezTo>
                  <a:cubicBezTo>
                    <a:pt x="985" y="56"/>
                    <a:pt x="972" y="69"/>
                    <a:pt x="959" y="69"/>
                  </a:cubicBezTo>
                  <a:cubicBezTo>
                    <a:pt x="955" y="73"/>
                    <a:pt x="950" y="75"/>
                    <a:pt x="945" y="75"/>
                  </a:cubicBezTo>
                  <a:cubicBezTo>
                    <a:pt x="936" y="75"/>
                    <a:pt x="926" y="69"/>
                    <a:pt x="917" y="69"/>
                  </a:cubicBezTo>
                  <a:cubicBezTo>
                    <a:pt x="891" y="69"/>
                    <a:pt x="878" y="27"/>
                    <a:pt x="878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" name="Google Shape;218;p2"/>
            <p:cNvSpPr/>
            <p:nvPr/>
          </p:nvSpPr>
          <p:spPr>
            <a:xfrm>
              <a:off x="581750" y="3348175"/>
              <a:ext cx="35075" cy="21250"/>
            </a:xfrm>
            <a:custGeom>
              <a:avLst/>
              <a:gdLst/>
              <a:ahLst/>
              <a:cxnLst/>
              <a:rect l="l" t="t" r="r" b="b"/>
              <a:pathLst>
                <a:path w="1403" h="850" extrusionOk="0">
                  <a:moveTo>
                    <a:pt x="282" y="1"/>
                  </a:moveTo>
                  <a:cubicBezTo>
                    <a:pt x="256" y="1"/>
                    <a:pt x="217" y="1"/>
                    <a:pt x="188" y="14"/>
                  </a:cubicBezTo>
                  <a:cubicBezTo>
                    <a:pt x="169" y="14"/>
                    <a:pt x="148" y="11"/>
                    <a:pt x="128" y="11"/>
                  </a:cubicBezTo>
                  <a:cubicBezTo>
                    <a:pt x="108" y="11"/>
                    <a:pt x="88" y="14"/>
                    <a:pt x="68" y="27"/>
                  </a:cubicBezTo>
                  <a:cubicBezTo>
                    <a:pt x="68" y="27"/>
                    <a:pt x="55" y="40"/>
                    <a:pt x="39" y="56"/>
                  </a:cubicBezTo>
                  <a:cubicBezTo>
                    <a:pt x="26" y="56"/>
                    <a:pt x="26" y="69"/>
                    <a:pt x="26" y="82"/>
                  </a:cubicBezTo>
                  <a:cubicBezTo>
                    <a:pt x="13" y="95"/>
                    <a:pt x="13" y="121"/>
                    <a:pt x="13" y="137"/>
                  </a:cubicBezTo>
                  <a:lnTo>
                    <a:pt x="13" y="231"/>
                  </a:lnTo>
                  <a:lnTo>
                    <a:pt x="13" y="364"/>
                  </a:lnTo>
                  <a:lnTo>
                    <a:pt x="13" y="432"/>
                  </a:lnTo>
                  <a:cubicBezTo>
                    <a:pt x="13" y="445"/>
                    <a:pt x="0" y="474"/>
                    <a:pt x="0" y="487"/>
                  </a:cubicBezTo>
                  <a:cubicBezTo>
                    <a:pt x="0" y="500"/>
                    <a:pt x="0" y="500"/>
                    <a:pt x="13" y="513"/>
                  </a:cubicBezTo>
                  <a:cubicBezTo>
                    <a:pt x="13" y="526"/>
                    <a:pt x="0" y="542"/>
                    <a:pt x="13" y="555"/>
                  </a:cubicBezTo>
                  <a:lnTo>
                    <a:pt x="13" y="607"/>
                  </a:lnTo>
                  <a:cubicBezTo>
                    <a:pt x="13" y="607"/>
                    <a:pt x="13" y="623"/>
                    <a:pt x="26" y="636"/>
                  </a:cubicBezTo>
                  <a:lnTo>
                    <a:pt x="55" y="649"/>
                  </a:lnTo>
                  <a:cubicBezTo>
                    <a:pt x="55" y="623"/>
                    <a:pt x="39" y="607"/>
                    <a:pt x="39" y="594"/>
                  </a:cubicBezTo>
                  <a:cubicBezTo>
                    <a:pt x="55" y="581"/>
                    <a:pt x="55" y="555"/>
                    <a:pt x="39" y="542"/>
                  </a:cubicBezTo>
                  <a:lnTo>
                    <a:pt x="39" y="526"/>
                  </a:lnTo>
                  <a:cubicBezTo>
                    <a:pt x="26" y="513"/>
                    <a:pt x="55" y="500"/>
                    <a:pt x="55" y="474"/>
                  </a:cubicBezTo>
                  <a:cubicBezTo>
                    <a:pt x="55" y="461"/>
                    <a:pt x="39" y="445"/>
                    <a:pt x="39" y="432"/>
                  </a:cubicBezTo>
                  <a:cubicBezTo>
                    <a:pt x="26" y="393"/>
                    <a:pt x="39" y="351"/>
                    <a:pt x="39" y="312"/>
                  </a:cubicBezTo>
                  <a:cubicBezTo>
                    <a:pt x="26" y="270"/>
                    <a:pt x="26" y="244"/>
                    <a:pt x="39" y="202"/>
                  </a:cubicBezTo>
                  <a:cubicBezTo>
                    <a:pt x="39" y="244"/>
                    <a:pt x="55" y="283"/>
                    <a:pt x="68" y="325"/>
                  </a:cubicBezTo>
                  <a:cubicBezTo>
                    <a:pt x="94" y="364"/>
                    <a:pt x="107" y="406"/>
                    <a:pt x="94" y="461"/>
                  </a:cubicBezTo>
                  <a:cubicBezTo>
                    <a:pt x="94" y="474"/>
                    <a:pt x="81" y="500"/>
                    <a:pt x="68" y="513"/>
                  </a:cubicBezTo>
                  <a:cubicBezTo>
                    <a:pt x="68" y="526"/>
                    <a:pt x="55" y="526"/>
                    <a:pt x="68" y="542"/>
                  </a:cubicBezTo>
                  <a:lnTo>
                    <a:pt x="68" y="555"/>
                  </a:lnTo>
                  <a:cubicBezTo>
                    <a:pt x="81" y="568"/>
                    <a:pt x="81" y="594"/>
                    <a:pt x="81" y="607"/>
                  </a:cubicBezTo>
                  <a:cubicBezTo>
                    <a:pt x="81" y="636"/>
                    <a:pt x="94" y="675"/>
                    <a:pt x="94" y="704"/>
                  </a:cubicBezTo>
                  <a:lnTo>
                    <a:pt x="94" y="743"/>
                  </a:lnTo>
                  <a:cubicBezTo>
                    <a:pt x="81" y="743"/>
                    <a:pt x="81" y="756"/>
                    <a:pt x="81" y="756"/>
                  </a:cubicBezTo>
                  <a:cubicBezTo>
                    <a:pt x="68" y="769"/>
                    <a:pt x="68" y="769"/>
                    <a:pt x="81" y="769"/>
                  </a:cubicBezTo>
                  <a:lnTo>
                    <a:pt x="94" y="785"/>
                  </a:lnTo>
                  <a:cubicBezTo>
                    <a:pt x="94" y="785"/>
                    <a:pt x="94" y="798"/>
                    <a:pt x="107" y="811"/>
                  </a:cubicBezTo>
                  <a:cubicBezTo>
                    <a:pt x="107" y="817"/>
                    <a:pt x="110" y="821"/>
                    <a:pt x="115" y="821"/>
                  </a:cubicBezTo>
                  <a:cubicBezTo>
                    <a:pt x="121" y="821"/>
                    <a:pt x="128" y="817"/>
                    <a:pt x="136" y="811"/>
                  </a:cubicBezTo>
                  <a:lnTo>
                    <a:pt x="175" y="811"/>
                  </a:lnTo>
                  <a:cubicBezTo>
                    <a:pt x="175" y="798"/>
                    <a:pt x="162" y="798"/>
                    <a:pt x="162" y="785"/>
                  </a:cubicBezTo>
                  <a:lnTo>
                    <a:pt x="162" y="756"/>
                  </a:lnTo>
                  <a:lnTo>
                    <a:pt x="149" y="756"/>
                  </a:lnTo>
                  <a:lnTo>
                    <a:pt x="149" y="743"/>
                  </a:lnTo>
                  <a:cubicBezTo>
                    <a:pt x="136" y="717"/>
                    <a:pt x="136" y="688"/>
                    <a:pt x="136" y="675"/>
                  </a:cubicBezTo>
                  <a:lnTo>
                    <a:pt x="136" y="636"/>
                  </a:lnTo>
                  <a:lnTo>
                    <a:pt x="136" y="623"/>
                  </a:lnTo>
                  <a:lnTo>
                    <a:pt x="149" y="594"/>
                  </a:lnTo>
                  <a:cubicBezTo>
                    <a:pt x="149" y="636"/>
                    <a:pt x="162" y="662"/>
                    <a:pt x="175" y="688"/>
                  </a:cubicBezTo>
                  <a:cubicBezTo>
                    <a:pt x="188" y="704"/>
                    <a:pt x="188" y="717"/>
                    <a:pt x="201" y="730"/>
                  </a:cubicBezTo>
                  <a:lnTo>
                    <a:pt x="201" y="743"/>
                  </a:lnTo>
                  <a:lnTo>
                    <a:pt x="201" y="769"/>
                  </a:lnTo>
                  <a:lnTo>
                    <a:pt x="201" y="785"/>
                  </a:lnTo>
                  <a:lnTo>
                    <a:pt x="217" y="785"/>
                  </a:lnTo>
                  <a:cubicBezTo>
                    <a:pt x="217" y="785"/>
                    <a:pt x="230" y="798"/>
                    <a:pt x="230" y="811"/>
                  </a:cubicBezTo>
                  <a:cubicBezTo>
                    <a:pt x="230" y="811"/>
                    <a:pt x="230" y="824"/>
                    <a:pt x="243" y="824"/>
                  </a:cubicBezTo>
                  <a:cubicBezTo>
                    <a:pt x="250" y="824"/>
                    <a:pt x="270" y="827"/>
                    <a:pt x="287" y="827"/>
                  </a:cubicBezTo>
                  <a:cubicBezTo>
                    <a:pt x="304" y="827"/>
                    <a:pt x="318" y="824"/>
                    <a:pt x="311" y="811"/>
                  </a:cubicBezTo>
                  <a:cubicBezTo>
                    <a:pt x="311" y="811"/>
                    <a:pt x="311" y="798"/>
                    <a:pt x="298" y="798"/>
                  </a:cubicBezTo>
                  <a:cubicBezTo>
                    <a:pt x="298" y="798"/>
                    <a:pt x="298" y="785"/>
                    <a:pt x="282" y="785"/>
                  </a:cubicBezTo>
                  <a:cubicBezTo>
                    <a:pt x="282" y="769"/>
                    <a:pt x="282" y="756"/>
                    <a:pt x="269" y="743"/>
                  </a:cubicBezTo>
                  <a:cubicBezTo>
                    <a:pt x="269" y="730"/>
                    <a:pt x="256" y="730"/>
                    <a:pt x="256" y="717"/>
                  </a:cubicBezTo>
                  <a:cubicBezTo>
                    <a:pt x="243" y="704"/>
                    <a:pt x="243" y="688"/>
                    <a:pt x="243" y="675"/>
                  </a:cubicBezTo>
                  <a:cubicBezTo>
                    <a:pt x="230" y="649"/>
                    <a:pt x="230" y="607"/>
                    <a:pt x="230" y="568"/>
                  </a:cubicBezTo>
                  <a:lnTo>
                    <a:pt x="230" y="555"/>
                  </a:lnTo>
                  <a:cubicBezTo>
                    <a:pt x="243" y="568"/>
                    <a:pt x="243" y="568"/>
                    <a:pt x="256" y="581"/>
                  </a:cubicBezTo>
                  <a:lnTo>
                    <a:pt x="256" y="594"/>
                  </a:lnTo>
                  <a:lnTo>
                    <a:pt x="269" y="594"/>
                  </a:lnTo>
                  <a:lnTo>
                    <a:pt x="269" y="581"/>
                  </a:lnTo>
                  <a:lnTo>
                    <a:pt x="269" y="542"/>
                  </a:lnTo>
                  <a:cubicBezTo>
                    <a:pt x="282" y="526"/>
                    <a:pt x="298" y="526"/>
                    <a:pt x="298" y="513"/>
                  </a:cubicBezTo>
                  <a:lnTo>
                    <a:pt x="311" y="513"/>
                  </a:lnTo>
                  <a:lnTo>
                    <a:pt x="311" y="526"/>
                  </a:lnTo>
                  <a:cubicBezTo>
                    <a:pt x="324" y="526"/>
                    <a:pt x="324" y="542"/>
                    <a:pt x="337" y="555"/>
                  </a:cubicBezTo>
                  <a:lnTo>
                    <a:pt x="350" y="568"/>
                  </a:lnTo>
                  <a:lnTo>
                    <a:pt x="350" y="555"/>
                  </a:lnTo>
                  <a:lnTo>
                    <a:pt x="350" y="542"/>
                  </a:lnTo>
                  <a:lnTo>
                    <a:pt x="350" y="513"/>
                  </a:lnTo>
                  <a:lnTo>
                    <a:pt x="337" y="500"/>
                  </a:lnTo>
                  <a:cubicBezTo>
                    <a:pt x="337" y="487"/>
                    <a:pt x="350" y="487"/>
                    <a:pt x="363" y="474"/>
                  </a:cubicBezTo>
                  <a:lnTo>
                    <a:pt x="379" y="474"/>
                  </a:lnTo>
                  <a:cubicBezTo>
                    <a:pt x="444" y="500"/>
                    <a:pt x="512" y="500"/>
                    <a:pt x="580" y="500"/>
                  </a:cubicBezTo>
                  <a:cubicBezTo>
                    <a:pt x="635" y="500"/>
                    <a:pt x="703" y="487"/>
                    <a:pt x="755" y="487"/>
                  </a:cubicBezTo>
                  <a:lnTo>
                    <a:pt x="755" y="568"/>
                  </a:lnTo>
                  <a:cubicBezTo>
                    <a:pt x="755" y="581"/>
                    <a:pt x="768" y="594"/>
                    <a:pt x="755" y="607"/>
                  </a:cubicBezTo>
                  <a:lnTo>
                    <a:pt x="755" y="623"/>
                  </a:lnTo>
                  <a:lnTo>
                    <a:pt x="742" y="636"/>
                  </a:lnTo>
                  <a:cubicBezTo>
                    <a:pt x="742" y="662"/>
                    <a:pt x="755" y="704"/>
                    <a:pt x="742" y="730"/>
                  </a:cubicBezTo>
                  <a:lnTo>
                    <a:pt x="742" y="743"/>
                  </a:lnTo>
                  <a:cubicBezTo>
                    <a:pt x="729" y="756"/>
                    <a:pt x="742" y="769"/>
                    <a:pt x="742" y="798"/>
                  </a:cubicBezTo>
                  <a:lnTo>
                    <a:pt x="742" y="811"/>
                  </a:lnTo>
                  <a:lnTo>
                    <a:pt x="755" y="811"/>
                  </a:lnTo>
                  <a:lnTo>
                    <a:pt x="755" y="837"/>
                  </a:lnTo>
                  <a:lnTo>
                    <a:pt x="810" y="837"/>
                  </a:lnTo>
                  <a:lnTo>
                    <a:pt x="810" y="811"/>
                  </a:lnTo>
                  <a:cubicBezTo>
                    <a:pt x="810" y="811"/>
                    <a:pt x="797" y="811"/>
                    <a:pt x="797" y="798"/>
                  </a:cubicBezTo>
                  <a:cubicBezTo>
                    <a:pt x="784" y="785"/>
                    <a:pt x="784" y="769"/>
                    <a:pt x="797" y="756"/>
                  </a:cubicBezTo>
                  <a:cubicBezTo>
                    <a:pt x="810" y="756"/>
                    <a:pt x="823" y="756"/>
                    <a:pt x="836" y="743"/>
                  </a:cubicBezTo>
                  <a:cubicBezTo>
                    <a:pt x="836" y="730"/>
                    <a:pt x="836" y="730"/>
                    <a:pt x="823" y="717"/>
                  </a:cubicBezTo>
                  <a:cubicBezTo>
                    <a:pt x="823" y="704"/>
                    <a:pt x="810" y="688"/>
                    <a:pt x="810" y="688"/>
                  </a:cubicBezTo>
                  <a:lnTo>
                    <a:pt x="797" y="675"/>
                  </a:lnTo>
                  <a:lnTo>
                    <a:pt x="810" y="675"/>
                  </a:lnTo>
                  <a:cubicBezTo>
                    <a:pt x="810" y="662"/>
                    <a:pt x="823" y="649"/>
                    <a:pt x="823" y="636"/>
                  </a:cubicBezTo>
                  <a:cubicBezTo>
                    <a:pt x="836" y="623"/>
                    <a:pt x="836" y="607"/>
                    <a:pt x="849" y="607"/>
                  </a:cubicBezTo>
                  <a:cubicBezTo>
                    <a:pt x="865" y="636"/>
                    <a:pt x="865" y="675"/>
                    <a:pt x="865" y="704"/>
                  </a:cubicBezTo>
                  <a:lnTo>
                    <a:pt x="865" y="730"/>
                  </a:lnTo>
                  <a:cubicBezTo>
                    <a:pt x="865" y="730"/>
                    <a:pt x="865" y="743"/>
                    <a:pt x="878" y="743"/>
                  </a:cubicBezTo>
                  <a:cubicBezTo>
                    <a:pt x="878" y="743"/>
                    <a:pt x="891" y="743"/>
                    <a:pt x="891" y="756"/>
                  </a:cubicBezTo>
                  <a:cubicBezTo>
                    <a:pt x="891" y="769"/>
                    <a:pt x="904" y="769"/>
                    <a:pt x="917" y="769"/>
                  </a:cubicBezTo>
                  <a:lnTo>
                    <a:pt x="946" y="769"/>
                  </a:lnTo>
                  <a:cubicBezTo>
                    <a:pt x="946" y="743"/>
                    <a:pt x="930" y="730"/>
                    <a:pt x="917" y="717"/>
                  </a:cubicBezTo>
                  <a:lnTo>
                    <a:pt x="904" y="717"/>
                  </a:lnTo>
                  <a:lnTo>
                    <a:pt x="904" y="704"/>
                  </a:lnTo>
                  <a:cubicBezTo>
                    <a:pt x="904" y="675"/>
                    <a:pt x="904" y="649"/>
                    <a:pt x="917" y="636"/>
                  </a:cubicBezTo>
                  <a:cubicBezTo>
                    <a:pt x="917" y="623"/>
                    <a:pt x="930" y="607"/>
                    <a:pt x="917" y="607"/>
                  </a:cubicBezTo>
                  <a:lnTo>
                    <a:pt x="917" y="568"/>
                  </a:lnTo>
                  <a:cubicBezTo>
                    <a:pt x="930" y="581"/>
                    <a:pt x="946" y="594"/>
                    <a:pt x="959" y="594"/>
                  </a:cubicBezTo>
                  <a:lnTo>
                    <a:pt x="985" y="594"/>
                  </a:lnTo>
                  <a:lnTo>
                    <a:pt x="985" y="581"/>
                  </a:lnTo>
                  <a:lnTo>
                    <a:pt x="998" y="581"/>
                  </a:lnTo>
                  <a:cubicBezTo>
                    <a:pt x="1011" y="594"/>
                    <a:pt x="1027" y="594"/>
                    <a:pt x="1040" y="594"/>
                  </a:cubicBezTo>
                  <a:lnTo>
                    <a:pt x="1053" y="581"/>
                  </a:lnTo>
                  <a:lnTo>
                    <a:pt x="1066" y="594"/>
                  </a:lnTo>
                  <a:cubicBezTo>
                    <a:pt x="1079" y="594"/>
                    <a:pt x="1079" y="594"/>
                    <a:pt x="1079" y="607"/>
                  </a:cubicBezTo>
                  <a:cubicBezTo>
                    <a:pt x="1092" y="607"/>
                    <a:pt x="1092" y="623"/>
                    <a:pt x="1092" y="636"/>
                  </a:cubicBezTo>
                  <a:cubicBezTo>
                    <a:pt x="1092" y="636"/>
                    <a:pt x="1108" y="649"/>
                    <a:pt x="1108" y="662"/>
                  </a:cubicBezTo>
                  <a:cubicBezTo>
                    <a:pt x="1121" y="675"/>
                    <a:pt x="1108" y="704"/>
                    <a:pt x="1121" y="717"/>
                  </a:cubicBezTo>
                  <a:lnTo>
                    <a:pt x="1121" y="730"/>
                  </a:lnTo>
                  <a:cubicBezTo>
                    <a:pt x="1134" y="730"/>
                    <a:pt x="1134" y="743"/>
                    <a:pt x="1134" y="743"/>
                  </a:cubicBezTo>
                  <a:cubicBezTo>
                    <a:pt x="1134" y="769"/>
                    <a:pt x="1134" y="798"/>
                    <a:pt x="1121" y="811"/>
                  </a:cubicBezTo>
                  <a:cubicBezTo>
                    <a:pt x="1121" y="824"/>
                    <a:pt x="1121" y="824"/>
                    <a:pt x="1134" y="837"/>
                  </a:cubicBezTo>
                  <a:lnTo>
                    <a:pt x="1134" y="850"/>
                  </a:lnTo>
                  <a:lnTo>
                    <a:pt x="1147" y="850"/>
                  </a:lnTo>
                  <a:cubicBezTo>
                    <a:pt x="1160" y="850"/>
                    <a:pt x="1189" y="850"/>
                    <a:pt x="1189" y="837"/>
                  </a:cubicBezTo>
                  <a:cubicBezTo>
                    <a:pt x="1173" y="824"/>
                    <a:pt x="1173" y="811"/>
                    <a:pt x="1160" y="811"/>
                  </a:cubicBezTo>
                  <a:lnTo>
                    <a:pt x="1160" y="798"/>
                  </a:lnTo>
                  <a:cubicBezTo>
                    <a:pt x="1147" y="798"/>
                    <a:pt x="1147" y="785"/>
                    <a:pt x="1147" y="785"/>
                  </a:cubicBezTo>
                  <a:cubicBezTo>
                    <a:pt x="1147" y="756"/>
                    <a:pt x="1160" y="743"/>
                    <a:pt x="1160" y="717"/>
                  </a:cubicBezTo>
                  <a:lnTo>
                    <a:pt x="1160" y="688"/>
                  </a:lnTo>
                  <a:cubicBezTo>
                    <a:pt x="1173" y="688"/>
                    <a:pt x="1160" y="675"/>
                    <a:pt x="1160" y="662"/>
                  </a:cubicBezTo>
                  <a:lnTo>
                    <a:pt x="1160" y="649"/>
                  </a:lnTo>
                  <a:cubicBezTo>
                    <a:pt x="1160" y="636"/>
                    <a:pt x="1160" y="636"/>
                    <a:pt x="1173" y="623"/>
                  </a:cubicBezTo>
                  <a:lnTo>
                    <a:pt x="1173" y="607"/>
                  </a:lnTo>
                  <a:cubicBezTo>
                    <a:pt x="1189" y="607"/>
                    <a:pt x="1189" y="594"/>
                    <a:pt x="1202" y="594"/>
                  </a:cubicBezTo>
                  <a:cubicBezTo>
                    <a:pt x="1202" y="581"/>
                    <a:pt x="1215" y="581"/>
                    <a:pt x="1215" y="568"/>
                  </a:cubicBezTo>
                  <a:cubicBezTo>
                    <a:pt x="1241" y="568"/>
                    <a:pt x="1254" y="555"/>
                    <a:pt x="1254" y="542"/>
                  </a:cubicBezTo>
                  <a:cubicBezTo>
                    <a:pt x="1254" y="526"/>
                    <a:pt x="1254" y="513"/>
                    <a:pt x="1270" y="513"/>
                  </a:cubicBezTo>
                  <a:lnTo>
                    <a:pt x="1309" y="513"/>
                  </a:lnTo>
                  <a:cubicBezTo>
                    <a:pt x="1322" y="500"/>
                    <a:pt x="1322" y="487"/>
                    <a:pt x="1322" y="461"/>
                  </a:cubicBezTo>
                  <a:lnTo>
                    <a:pt x="1322" y="419"/>
                  </a:lnTo>
                  <a:lnTo>
                    <a:pt x="1335" y="419"/>
                  </a:lnTo>
                  <a:cubicBezTo>
                    <a:pt x="1364" y="419"/>
                    <a:pt x="1390" y="406"/>
                    <a:pt x="1403" y="393"/>
                  </a:cubicBezTo>
                  <a:lnTo>
                    <a:pt x="1403" y="380"/>
                  </a:lnTo>
                  <a:cubicBezTo>
                    <a:pt x="1403" y="380"/>
                    <a:pt x="1403" y="364"/>
                    <a:pt x="1390" y="364"/>
                  </a:cubicBezTo>
                  <a:lnTo>
                    <a:pt x="1364" y="364"/>
                  </a:lnTo>
                  <a:cubicBezTo>
                    <a:pt x="1351" y="364"/>
                    <a:pt x="1335" y="380"/>
                    <a:pt x="1322" y="380"/>
                  </a:cubicBezTo>
                  <a:cubicBezTo>
                    <a:pt x="1313" y="368"/>
                    <a:pt x="1297" y="358"/>
                    <a:pt x="1284" y="358"/>
                  </a:cubicBezTo>
                  <a:cubicBezTo>
                    <a:pt x="1279" y="358"/>
                    <a:pt x="1274" y="360"/>
                    <a:pt x="1270" y="364"/>
                  </a:cubicBezTo>
                  <a:lnTo>
                    <a:pt x="1241" y="364"/>
                  </a:lnTo>
                  <a:cubicBezTo>
                    <a:pt x="1241" y="380"/>
                    <a:pt x="1228" y="380"/>
                    <a:pt x="1228" y="380"/>
                  </a:cubicBezTo>
                  <a:cubicBezTo>
                    <a:pt x="1215" y="380"/>
                    <a:pt x="1215" y="364"/>
                    <a:pt x="1202" y="364"/>
                  </a:cubicBezTo>
                  <a:cubicBezTo>
                    <a:pt x="1189" y="364"/>
                    <a:pt x="1173" y="380"/>
                    <a:pt x="1160" y="380"/>
                  </a:cubicBezTo>
                  <a:lnTo>
                    <a:pt x="1092" y="380"/>
                  </a:lnTo>
                  <a:cubicBezTo>
                    <a:pt x="1092" y="364"/>
                    <a:pt x="1092" y="351"/>
                    <a:pt x="1108" y="338"/>
                  </a:cubicBezTo>
                  <a:cubicBezTo>
                    <a:pt x="1108" y="325"/>
                    <a:pt x="1121" y="325"/>
                    <a:pt x="1134" y="325"/>
                  </a:cubicBezTo>
                  <a:cubicBezTo>
                    <a:pt x="1147" y="325"/>
                    <a:pt x="1147" y="338"/>
                    <a:pt x="1160" y="338"/>
                  </a:cubicBezTo>
                  <a:lnTo>
                    <a:pt x="1215" y="338"/>
                  </a:lnTo>
                  <a:cubicBezTo>
                    <a:pt x="1228" y="325"/>
                    <a:pt x="1228" y="325"/>
                    <a:pt x="1241" y="312"/>
                  </a:cubicBezTo>
                  <a:cubicBezTo>
                    <a:pt x="1241" y="299"/>
                    <a:pt x="1228" y="283"/>
                    <a:pt x="1228" y="270"/>
                  </a:cubicBezTo>
                  <a:lnTo>
                    <a:pt x="1228" y="257"/>
                  </a:lnTo>
                  <a:lnTo>
                    <a:pt x="1228" y="244"/>
                  </a:lnTo>
                  <a:cubicBezTo>
                    <a:pt x="1228" y="218"/>
                    <a:pt x="1241" y="176"/>
                    <a:pt x="1254" y="137"/>
                  </a:cubicBezTo>
                  <a:lnTo>
                    <a:pt x="1270" y="137"/>
                  </a:lnTo>
                  <a:cubicBezTo>
                    <a:pt x="1309" y="137"/>
                    <a:pt x="1335" y="121"/>
                    <a:pt x="1351" y="82"/>
                  </a:cubicBezTo>
                  <a:lnTo>
                    <a:pt x="1364" y="82"/>
                  </a:lnTo>
                  <a:lnTo>
                    <a:pt x="1351" y="69"/>
                  </a:lnTo>
                  <a:lnTo>
                    <a:pt x="1283" y="69"/>
                  </a:lnTo>
                  <a:cubicBezTo>
                    <a:pt x="1283" y="69"/>
                    <a:pt x="1277" y="75"/>
                    <a:pt x="1269" y="75"/>
                  </a:cubicBezTo>
                  <a:cubicBezTo>
                    <a:pt x="1264" y="75"/>
                    <a:pt x="1259" y="73"/>
                    <a:pt x="1254" y="69"/>
                  </a:cubicBezTo>
                  <a:cubicBezTo>
                    <a:pt x="1241" y="69"/>
                    <a:pt x="1241" y="56"/>
                    <a:pt x="1228" y="40"/>
                  </a:cubicBezTo>
                  <a:lnTo>
                    <a:pt x="1215" y="40"/>
                  </a:lnTo>
                  <a:cubicBezTo>
                    <a:pt x="1202" y="40"/>
                    <a:pt x="1202" y="27"/>
                    <a:pt x="1202" y="27"/>
                  </a:cubicBezTo>
                  <a:cubicBezTo>
                    <a:pt x="1194" y="12"/>
                    <a:pt x="1181" y="5"/>
                    <a:pt x="1167" y="5"/>
                  </a:cubicBezTo>
                  <a:cubicBezTo>
                    <a:pt x="1156" y="5"/>
                    <a:pt x="1145" y="8"/>
                    <a:pt x="1134" y="14"/>
                  </a:cubicBezTo>
                  <a:cubicBezTo>
                    <a:pt x="1121" y="27"/>
                    <a:pt x="1108" y="56"/>
                    <a:pt x="1066" y="56"/>
                  </a:cubicBezTo>
                  <a:cubicBezTo>
                    <a:pt x="1053" y="56"/>
                    <a:pt x="1040" y="40"/>
                    <a:pt x="1027" y="40"/>
                  </a:cubicBezTo>
                  <a:cubicBezTo>
                    <a:pt x="1011" y="40"/>
                    <a:pt x="985" y="56"/>
                    <a:pt x="972" y="56"/>
                  </a:cubicBezTo>
                  <a:cubicBezTo>
                    <a:pt x="946" y="56"/>
                    <a:pt x="904" y="40"/>
                    <a:pt x="878" y="40"/>
                  </a:cubicBezTo>
                  <a:cubicBezTo>
                    <a:pt x="865" y="40"/>
                    <a:pt x="836" y="56"/>
                    <a:pt x="810" y="56"/>
                  </a:cubicBezTo>
                  <a:cubicBezTo>
                    <a:pt x="784" y="56"/>
                    <a:pt x="755" y="56"/>
                    <a:pt x="742" y="69"/>
                  </a:cubicBezTo>
                  <a:cubicBezTo>
                    <a:pt x="687" y="69"/>
                    <a:pt x="635" y="56"/>
                    <a:pt x="580" y="56"/>
                  </a:cubicBezTo>
                  <a:cubicBezTo>
                    <a:pt x="512" y="40"/>
                    <a:pt x="444" y="27"/>
                    <a:pt x="379" y="14"/>
                  </a:cubicBezTo>
                  <a:cubicBezTo>
                    <a:pt x="350" y="14"/>
                    <a:pt x="311" y="1"/>
                    <a:pt x="282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19" name="Google Shape;219;p2"/>
          <p:cNvGrpSpPr/>
          <p:nvPr/>
        </p:nvGrpSpPr>
        <p:grpSpPr>
          <a:xfrm>
            <a:off x="3327847" y="5251605"/>
            <a:ext cx="6440259" cy="1606399"/>
            <a:chOff x="1578025" y="3447725"/>
            <a:chExt cx="680750" cy="169800"/>
          </a:xfrm>
        </p:grpSpPr>
        <p:sp>
          <p:nvSpPr>
            <p:cNvPr id="220" name="Google Shape;220;p2"/>
            <p:cNvSpPr/>
            <p:nvPr/>
          </p:nvSpPr>
          <p:spPr>
            <a:xfrm>
              <a:off x="1597975" y="3447725"/>
              <a:ext cx="13875" cy="73575"/>
            </a:xfrm>
            <a:custGeom>
              <a:avLst/>
              <a:gdLst/>
              <a:ahLst/>
              <a:cxnLst/>
              <a:rect l="l" t="t" r="r" b="b"/>
              <a:pathLst>
                <a:path w="555" h="2943" extrusionOk="0">
                  <a:moveTo>
                    <a:pt x="0" y="1"/>
                  </a:moveTo>
                  <a:lnTo>
                    <a:pt x="282" y="2862"/>
                  </a:lnTo>
                  <a:lnTo>
                    <a:pt x="554" y="2943"/>
                  </a:lnTo>
                  <a:lnTo>
                    <a:pt x="473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" name="Google Shape;221;p2"/>
            <p:cNvSpPr/>
            <p:nvPr/>
          </p:nvSpPr>
          <p:spPr>
            <a:xfrm>
              <a:off x="1597975" y="3447725"/>
              <a:ext cx="8425" cy="30725"/>
            </a:xfrm>
            <a:custGeom>
              <a:avLst/>
              <a:gdLst/>
              <a:ahLst/>
              <a:cxnLst/>
              <a:rect l="l" t="t" r="r" b="b"/>
              <a:pathLst>
                <a:path w="337" h="1229" extrusionOk="0">
                  <a:moveTo>
                    <a:pt x="0" y="1"/>
                  </a:moveTo>
                  <a:lnTo>
                    <a:pt x="120" y="1229"/>
                  </a:lnTo>
                  <a:lnTo>
                    <a:pt x="81" y="56"/>
                  </a:lnTo>
                  <a:lnTo>
                    <a:pt x="33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" name="Google Shape;222;p2"/>
            <p:cNvSpPr/>
            <p:nvPr/>
          </p:nvSpPr>
          <p:spPr>
            <a:xfrm>
              <a:off x="1606375" y="3447725"/>
              <a:ext cx="5475" cy="73575"/>
            </a:xfrm>
            <a:custGeom>
              <a:avLst/>
              <a:gdLst/>
              <a:ahLst/>
              <a:cxnLst/>
              <a:rect l="l" t="t" r="r" b="b"/>
              <a:pathLst>
                <a:path w="219" h="2943" extrusionOk="0">
                  <a:moveTo>
                    <a:pt x="1" y="1"/>
                  </a:moveTo>
                  <a:lnTo>
                    <a:pt x="40" y="2891"/>
                  </a:lnTo>
                  <a:lnTo>
                    <a:pt x="218" y="2943"/>
                  </a:lnTo>
                  <a:lnTo>
                    <a:pt x="13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" name="Google Shape;223;p2"/>
            <p:cNvSpPr/>
            <p:nvPr/>
          </p:nvSpPr>
          <p:spPr>
            <a:xfrm>
              <a:off x="1714025" y="3459875"/>
              <a:ext cx="12500" cy="92850"/>
            </a:xfrm>
            <a:custGeom>
              <a:avLst/>
              <a:gdLst/>
              <a:ahLst/>
              <a:cxnLst/>
              <a:rect l="l" t="t" r="r" b="b"/>
              <a:pathLst>
                <a:path w="500" h="3714" extrusionOk="0">
                  <a:moveTo>
                    <a:pt x="1" y="1"/>
                  </a:moveTo>
                  <a:lnTo>
                    <a:pt x="231" y="3646"/>
                  </a:lnTo>
                  <a:lnTo>
                    <a:pt x="500" y="3714"/>
                  </a:lnTo>
                  <a:lnTo>
                    <a:pt x="500" y="56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" name="Google Shape;224;p2"/>
            <p:cNvSpPr/>
            <p:nvPr/>
          </p:nvSpPr>
          <p:spPr>
            <a:xfrm>
              <a:off x="1714025" y="3459875"/>
              <a:ext cx="8125" cy="57375"/>
            </a:xfrm>
            <a:custGeom>
              <a:avLst/>
              <a:gdLst/>
              <a:ahLst/>
              <a:cxnLst/>
              <a:rect l="l" t="t" r="r" b="b"/>
              <a:pathLst>
                <a:path w="325" h="2295" extrusionOk="0">
                  <a:moveTo>
                    <a:pt x="1" y="1"/>
                  </a:moveTo>
                  <a:lnTo>
                    <a:pt x="150" y="2294"/>
                  </a:lnTo>
                  <a:lnTo>
                    <a:pt x="150" y="2294"/>
                  </a:lnTo>
                  <a:cubicBezTo>
                    <a:pt x="148" y="2251"/>
                    <a:pt x="82" y="69"/>
                    <a:pt x="82" y="69"/>
                  </a:cubicBezTo>
                  <a:lnTo>
                    <a:pt x="325" y="43"/>
                  </a:lnTo>
                  <a:lnTo>
                    <a:pt x="1" y="1"/>
                  </a:lnTo>
                  <a:close/>
                  <a:moveTo>
                    <a:pt x="150" y="2294"/>
                  </a:moveTo>
                  <a:cubicBezTo>
                    <a:pt x="150" y="2295"/>
                    <a:pt x="150" y="2295"/>
                    <a:pt x="150" y="2295"/>
                  </a:cubicBezTo>
                  <a:cubicBezTo>
                    <a:pt x="150" y="2295"/>
                    <a:pt x="150" y="2295"/>
                    <a:pt x="150" y="2295"/>
                  </a:cubicBezTo>
                  <a:lnTo>
                    <a:pt x="150" y="2294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" name="Google Shape;225;p2"/>
            <p:cNvSpPr/>
            <p:nvPr/>
          </p:nvSpPr>
          <p:spPr>
            <a:xfrm>
              <a:off x="1722125" y="3460925"/>
              <a:ext cx="4400" cy="91800"/>
            </a:xfrm>
            <a:custGeom>
              <a:avLst/>
              <a:gdLst/>
              <a:ahLst/>
              <a:cxnLst/>
              <a:rect l="l" t="t" r="r" b="b"/>
              <a:pathLst>
                <a:path w="176" h="3672" extrusionOk="0">
                  <a:moveTo>
                    <a:pt x="1" y="1"/>
                  </a:moveTo>
                  <a:lnTo>
                    <a:pt x="56" y="3630"/>
                  </a:lnTo>
                  <a:lnTo>
                    <a:pt x="176" y="3672"/>
                  </a:lnTo>
                  <a:lnTo>
                    <a:pt x="176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" name="Google Shape;226;p2"/>
            <p:cNvSpPr/>
            <p:nvPr/>
          </p:nvSpPr>
          <p:spPr>
            <a:xfrm>
              <a:off x="1838625" y="3482800"/>
              <a:ext cx="14200" cy="114475"/>
            </a:xfrm>
            <a:custGeom>
              <a:avLst/>
              <a:gdLst/>
              <a:ahLst/>
              <a:cxnLst/>
              <a:rect l="l" t="t" r="r" b="b"/>
              <a:pathLst>
                <a:path w="568" h="4579" extrusionOk="0">
                  <a:moveTo>
                    <a:pt x="0" y="1"/>
                  </a:moveTo>
                  <a:lnTo>
                    <a:pt x="282" y="4485"/>
                  </a:lnTo>
                  <a:lnTo>
                    <a:pt x="567" y="4579"/>
                  </a:lnTo>
                  <a:lnTo>
                    <a:pt x="567" y="6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" name="Google Shape;227;p2"/>
            <p:cNvSpPr/>
            <p:nvPr/>
          </p:nvSpPr>
          <p:spPr>
            <a:xfrm>
              <a:off x="1838625" y="3482800"/>
              <a:ext cx="10150" cy="71300"/>
            </a:xfrm>
            <a:custGeom>
              <a:avLst/>
              <a:gdLst/>
              <a:ahLst/>
              <a:cxnLst/>
              <a:rect l="l" t="t" r="r" b="b"/>
              <a:pathLst>
                <a:path w="406" h="2852" extrusionOk="0">
                  <a:moveTo>
                    <a:pt x="0" y="1"/>
                  </a:moveTo>
                  <a:lnTo>
                    <a:pt x="175" y="2852"/>
                  </a:lnTo>
                  <a:lnTo>
                    <a:pt x="81" y="82"/>
                  </a:lnTo>
                  <a:lnTo>
                    <a:pt x="405" y="5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" name="Google Shape;228;p2"/>
            <p:cNvSpPr/>
            <p:nvPr/>
          </p:nvSpPr>
          <p:spPr>
            <a:xfrm>
              <a:off x="1848750" y="3484175"/>
              <a:ext cx="4075" cy="113100"/>
            </a:xfrm>
            <a:custGeom>
              <a:avLst/>
              <a:gdLst/>
              <a:ahLst/>
              <a:cxnLst/>
              <a:rect l="l" t="t" r="r" b="b"/>
              <a:pathLst>
                <a:path w="163" h="4524" extrusionOk="0">
                  <a:moveTo>
                    <a:pt x="0" y="1"/>
                  </a:moveTo>
                  <a:lnTo>
                    <a:pt x="26" y="4482"/>
                  </a:lnTo>
                  <a:lnTo>
                    <a:pt x="162" y="4524"/>
                  </a:lnTo>
                  <a:lnTo>
                    <a:pt x="162" y="1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" name="Google Shape;229;p2"/>
            <p:cNvSpPr/>
            <p:nvPr/>
          </p:nvSpPr>
          <p:spPr>
            <a:xfrm>
              <a:off x="1974300" y="3511550"/>
              <a:ext cx="17825" cy="105975"/>
            </a:xfrm>
            <a:custGeom>
              <a:avLst/>
              <a:gdLst/>
              <a:ahLst/>
              <a:cxnLst/>
              <a:rect l="l" t="t" r="r" b="b"/>
              <a:pathLst>
                <a:path w="713" h="4239" extrusionOk="0">
                  <a:moveTo>
                    <a:pt x="0" y="1"/>
                  </a:moveTo>
                  <a:lnTo>
                    <a:pt x="282" y="4239"/>
                  </a:lnTo>
                  <a:lnTo>
                    <a:pt x="713" y="4239"/>
                  </a:lnTo>
                  <a:lnTo>
                    <a:pt x="713" y="147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" name="Google Shape;230;p2"/>
            <p:cNvSpPr/>
            <p:nvPr/>
          </p:nvSpPr>
          <p:spPr>
            <a:xfrm>
              <a:off x="1974300" y="3511550"/>
              <a:ext cx="11750" cy="84350"/>
            </a:xfrm>
            <a:custGeom>
              <a:avLst/>
              <a:gdLst/>
              <a:ahLst/>
              <a:cxnLst/>
              <a:rect l="l" t="t" r="r" b="b"/>
              <a:pathLst>
                <a:path w="470" h="3374" extrusionOk="0">
                  <a:moveTo>
                    <a:pt x="0" y="1"/>
                  </a:moveTo>
                  <a:lnTo>
                    <a:pt x="227" y="3374"/>
                  </a:lnTo>
                  <a:lnTo>
                    <a:pt x="94" y="95"/>
                  </a:lnTo>
                  <a:lnTo>
                    <a:pt x="470" y="9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" name="Google Shape;231;p2"/>
            <p:cNvSpPr/>
            <p:nvPr/>
          </p:nvSpPr>
          <p:spPr>
            <a:xfrm>
              <a:off x="1986025" y="3513900"/>
              <a:ext cx="6100" cy="103625"/>
            </a:xfrm>
            <a:custGeom>
              <a:avLst/>
              <a:gdLst/>
              <a:ahLst/>
              <a:cxnLst/>
              <a:rect l="l" t="t" r="r" b="b"/>
              <a:pathLst>
                <a:path w="244" h="4145" extrusionOk="0">
                  <a:moveTo>
                    <a:pt x="1" y="1"/>
                  </a:moveTo>
                  <a:lnTo>
                    <a:pt x="30" y="4145"/>
                  </a:lnTo>
                  <a:lnTo>
                    <a:pt x="244" y="4145"/>
                  </a:lnTo>
                  <a:lnTo>
                    <a:pt x="244" y="5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" name="Google Shape;232;p2"/>
            <p:cNvSpPr/>
            <p:nvPr/>
          </p:nvSpPr>
          <p:spPr>
            <a:xfrm>
              <a:off x="2118375" y="3544925"/>
              <a:ext cx="17925" cy="72600"/>
            </a:xfrm>
            <a:custGeom>
              <a:avLst/>
              <a:gdLst/>
              <a:ahLst/>
              <a:cxnLst/>
              <a:rect l="l" t="t" r="r" b="b"/>
              <a:pathLst>
                <a:path w="717" h="2904" extrusionOk="0">
                  <a:moveTo>
                    <a:pt x="1" y="1"/>
                  </a:moveTo>
                  <a:lnTo>
                    <a:pt x="69" y="2904"/>
                  </a:lnTo>
                  <a:lnTo>
                    <a:pt x="581" y="2904"/>
                  </a:lnTo>
                  <a:lnTo>
                    <a:pt x="717" y="13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" name="Google Shape;233;p2"/>
            <p:cNvSpPr/>
            <p:nvPr/>
          </p:nvSpPr>
          <p:spPr>
            <a:xfrm>
              <a:off x="2118375" y="3544925"/>
              <a:ext cx="10475" cy="70575"/>
            </a:xfrm>
            <a:custGeom>
              <a:avLst/>
              <a:gdLst/>
              <a:ahLst/>
              <a:cxnLst/>
              <a:rect l="l" t="t" r="r" b="b"/>
              <a:pathLst>
                <a:path w="419" h="2823" extrusionOk="0">
                  <a:moveTo>
                    <a:pt x="1" y="1"/>
                  </a:moveTo>
                  <a:lnTo>
                    <a:pt x="69" y="2823"/>
                  </a:lnTo>
                  <a:lnTo>
                    <a:pt x="95" y="95"/>
                  </a:lnTo>
                  <a:lnTo>
                    <a:pt x="419" y="82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" name="Google Shape;234;p2"/>
            <p:cNvSpPr/>
            <p:nvPr/>
          </p:nvSpPr>
          <p:spPr>
            <a:xfrm>
              <a:off x="2128825" y="3546950"/>
              <a:ext cx="7475" cy="70575"/>
            </a:xfrm>
            <a:custGeom>
              <a:avLst/>
              <a:gdLst/>
              <a:ahLst/>
              <a:cxnLst/>
              <a:rect l="l" t="t" r="r" b="b"/>
              <a:pathLst>
                <a:path w="299" h="2823" extrusionOk="0">
                  <a:moveTo>
                    <a:pt x="1" y="1"/>
                  </a:moveTo>
                  <a:lnTo>
                    <a:pt x="1" y="2823"/>
                  </a:lnTo>
                  <a:lnTo>
                    <a:pt x="163" y="2823"/>
                  </a:lnTo>
                  <a:lnTo>
                    <a:pt x="299" y="56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" name="Google Shape;235;p2"/>
            <p:cNvSpPr/>
            <p:nvPr/>
          </p:nvSpPr>
          <p:spPr>
            <a:xfrm>
              <a:off x="1578025" y="3457850"/>
              <a:ext cx="680750" cy="159675"/>
            </a:xfrm>
            <a:custGeom>
              <a:avLst/>
              <a:gdLst/>
              <a:ahLst/>
              <a:cxnLst/>
              <a:rect l="l" t="t" r="r" b="b"/>
              <a:pathLst>
                <a:path w="27230" h="6387" extrusionOk="0">
                  <a:moveTo>
                    <a:pt x="445" y="1"/>
                  </a:moveTo>
                  <a:lnTo>
                    <a:pt x="1" y="95"/>
                  </a:lnTo>
                  <a:lnTo>
                    <a:pt x="406" y="270"/>
                  </a:lnTo>
                  <a:cubicBezTo>
                    <a:pt x="5969" y="772"/>
                    <a:pt x="18158" y="3834"/>
                    <a:pt x="26015" y="6387"/>
                  </a:cubicBezTo>
                  <a:lnTo>
                    <a:pt x="27230" y="6387"/>
                  </a:lnTo>
                  <a:cubicBezTo>
                    <a:pt x="20290" y="3769"/>
                    <a:pt x="6468" y="461"/>
                    <a:pt x="445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" name="Google Shape;236;p2"/>
            <p:cNvSpPr/>
            <p:nvPr/>
          </p:nvSpPr>
          <p:spPr>
            <a:xfrm>
              <a:off x="1578025" y="3460200"/>
              <a:ext cx="663575" cy="157325"/>
            </a:xfrm>
            <a:custGeom>
              <a:avLst/>
              <a:gdLst/>
              <a:ahLst/>
              <a:cxnLst/>
              <a:rect l="l" t="t" r="r" b="b"/>
              <a:pathLst>
                <a:path w="26543" h="6293" extrusionOk="0">
                  <a:moveTo>
                    <a:pt x="1" y="1"/>
                  </a:moveTo>
                  <a:lnTo>
                    <a:pt x="69" y="218"/>
                  </a:lnTo>
                  <a:cubicBezTo>
                    <a:pt x="5629" y="717"/>
                    <a:pt x="17267" y="3390"/>
                    <a:pt x="25678" y="6293"/>
                  </a:cubicBezTo>
                  <a:lnTo>
                    <a:pt x="26543" y="6293"/>
                  </a:lnTo>
                  <a:cubicBezTo>
                    <a:pt x="19603" y="3675"/>
                    <a:pt x="6021" y="448"/>
                    <a:pt x="1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" name="Google Shape;237;p2"/>
            <p:cNvSpPr/>
            <p:nvPr/>
          </p:nvSpPr>
          <p:spPr>
            <a:xfrm>
              <a:off x="1578025" y="3460200"/>
              <a:ext cx="663575" cy="157325"/>
            </a:xfrm>
            <a:custGeom>
              <a:avLst/>
              <a:gdLst/>
              <a:ahLst/>
              <a:cxnLst/>
              <a:rect l="l" t="t" r="r" b="b"/>
              <a:pathLst>
                <a:path w="26543" h="6293" extrusionOk="0">
                  <a:moveTo>
                    <a:pt x="1" y="1"/>
                  </a:moveTo>
                  <a:lnTo>
                    <a:pt x="27" y="82"/>
                  </a:lnTo>
                  <a:cubicBezTo>
                    <a:pt x="5995" y="529"/>
                    <a:pt x="19360" y="3688"/>
                    <a:pt x="26339" y="6293"/>
                  </a:cubicBezTo>
                  <a:lnTo>
                    <a:pt x="26543" y="6293"/>
                  </a:lnTo>
                  <a:cubicBezTo>
                    <a:pt x="19603" y="3675"/>
                    <a:pt x="6021" y="448"/>
                    <a:pt x="1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" name="Google Shape;238;p2"/>
            <p:cNvSpPr/>
            <p:nvPr/>
          </p:nvSpPr>
          <p:spPr>
            <a:xfrm>
              <a:off x="1578025" y="3479475"/>
              <a:ext cx="527925" cy="138050"/>
            </a:xfrm>
            <a:custGeom>
              <a:avLst/>
              <a:gdLst/>
              <a:ahLst/>
              <a:cxnLst/>
              <a:rect l="l" t="t" r="r" b="b"/>
              <a:pathLst>
                <a:path w="21117" h="5522" extrusionOk="0">
                  <a:moveTo>
                    <a:pt x="445" y="1"/>
                  </a:moveTo>
                  <a:lnTo>
                    <a:pt x="1" y="82"/>
                  </a:lnTo>
                  <a:lnTo>
                    <a:pt x="393" y="270"/>
                  </a:lnTo>
                  <a:cubicBezTo>
                    <a:pt x="5091" y="688"/>
                    <a:pt x="12556" y="3212"/>
                    <a:pt x="19496" y="5522"/>
                  </a:cubicBezTo>
                  <a:lnTo>
                    <a:pt x="21116" y="5522"/>
                  </a:lnTo>
                  <a:cubicBezTo>
                    <a:pt x="14892" y="3280"/>
                    <a:pt x="7777" y="1067"/>
                    <a:pt x="445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" name="Google Shape;239;p2"/>
            <p:cNvSpPr/>
            <p:nvPr/>
          </p:nvSpPr>
          <p:spPr>
            <a:xfrm>
              <a:off x="1578025" y="3481500"/>
              <a:ext cx="510975" cy="136025"/>
            </a:xfrm>
            <a:custGeom>
              <a:avLst/>
              <a:gdLst/>
              <a:ahLst/>
              <a:cxnLst/>
              <a:rect l="l" t="t" r="r" b="b"/>
              <a:pathLst>
                <a:path w="20439" h="5441" extrusionOk="0">
                  <a:moveTo>
                    <a:pt x="1" y="1"/>
                  </a:moveTo>
                  <a:lnTo>
                    <a:pt x="56" y="215"/>
                  </a:lnTo>
                  <a:cubicBezTo>
                    <a:pt x="7372" y="1310"/>
                    <a:pt x="12718" y="3131"/>
                    <a:pt x="19347" y="5441"/>
                  </a:cubicBezTo>
                  <a:lnTo>
                    <a:pt x="20439" y="5441"/>
                  </a:lnTo>
                  <a:cubicBezTo>
                    <a:pt x="14377" y="3228"/>
                    <a:pt x="7670" y="1106"/>
                    <a:pt x="1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0" name="Google Shape;240;p2"/>
            <p:cNvSpPr/>
            <p:nvPr/>
          </p:nvSpPr>
          <p:spPr>
            <a:xfrm>
              <a:off x="1578025" y="3481500"/>
              <a:ext cx="510975" cy="136025"/>
            </a:xfrm>
            <a:custGeom>
              <a:avLst/>
              <a:gdLst/>
              <a:ahLst/>
              <a:cxnLst/>
              <a:rect l="l" t="t" r="r" b="b"/>
              <a:pathLst>
                <a:path w="20439" h="5441" extrusionOk="0">
                  <a:moveTo>
                    <a:pt x="1" y="1"/>
                  </a:moveTo>
                  <a:lnTo>
                    <a:pt x="14" y="53"/>
                  </a:lnTo>
                  <a:cubicBezTo>
                    <a:pt x="7628" y="1161"/>
                    <a:pt x="14270" y="3254"/>
                    <a:pt x="20290" y="5441"/>
                  </a:cubicBezTo>
                  <a:lnTo>
                    <a:pt x="20439" y="5441"/>
                  </a:lnTo>
                  <a:cubicBezTo>
                    <a:pt x="14377" y="3228"/>
                    <a:pt x="7670" y="1106"/>
                    <a:pt x="1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41" name="Google Shape;241;p2"/>
          <p:cNvSpPr txBox="1">
            <a:spLocks noGrp="1"/>
          </p:cNvSpPr>
          <p:nvPr>
            <p:ph type="ctrTitle"/>
          </p:nvPr>
        </p:nvSpPr>
        <p:spPr>
          <a:xfrm>
            <a:off x="1572433" y="955967"/>
            <a:ext cx="9047200" cy="163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9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242" name="Google Shape;242;p2"/>
          <p:cNvSpPr txBox="1">
            <a:spLocks noGrp="1"/>
          </p:cNvSpPr>
          <p:nvPr>
            <p:ph type="subTitle" idx="1"/>
          </p:nvPr>
        </p:nvSpPr>
        <p:spPr>
          <a:xfrm>
            <a:off x="3248600" y="2543368"/>
            <a:ext cx="5694800" cy="72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984649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p4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6" name="Google Shape;256;p4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60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Livvic"/>
              <a:buAutoNum type="arabicPeriod"/>
              <a:defRPr sz="1467">
                <a:latin typeface="Open Sans"/>
                <a:ea typeface="Open Sans"/>
                <a:cs typeface="Open Sans"/>
                <a:sym typeface="Open Sans"/>
              </a:defRPr>
            </a:lvl1pPr>
            <a:lvl2pPr marL="1219170" lvl="1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alphaLcPeriod"/>
              <a:defRPr/>
            </a:lvl2pPr>
            <a:lvl3pPr marL="1828754" lvl="2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romanLcPeriod"/>
              <a:defRPr/>
            </a:lvl3pPr>
            <a:lvl4pPr marL="2438339" lvl="3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arabicPeriod"/>
              <a:defRPr/>
            </a:lvl4pPr>
            <a:lvl5pPr marL="3047924" lvl="4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alphaLcPeriod"/>
              <a:defRPr/>
            </a:lvl5pPr>
            <a:lvl6pPr marL="3657509" lvl="5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romanLcPeriod"/>
              <a:defRPr/>
            </a:lvl6pPr>
            <a:lvl7pPr marL="4267093" lvl="6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arabicPeriod"/>
              <a:defRPr/>
            </a:lvl7pPr>
            <a:lvl8pPr marL="4876678" lvl="7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alphaLcPeriod"/>
              <a:defRPr/>
            </a:lvl8pPr>
            <a:lvl9pPr marL="5486263" lvl="8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Condensed Light"/>
              <a:buAutoNum type="romanLcPeriod"/>
              <a:defRPr/>
            </a:lvl9pPr>
          </a:lstStyle>
          <a:p>
            <a:endParaRPr/>
          </a:p>
        </p:txBody>
      </p:sp>
      <p:sp>
        <p:nvSpPr>
          <p:cNvPr id="257" name="Google Shape;257;p4"/>
          <p:cNvSpPr/>
          <p:nvPr/>
        </p:nvSpPr>
        <p:spPr>
          <a:xfrm>
            <a:off x="4812697" y="6068285"/>
            <a:ext cx="7379247" cy="718689"/>
          </a:xfrm>
          <a:custGeom>
            <a:avLst/>
            <a:gdLst/>
            <a:ahLst/>
            <a:cxnLst/>
            <a:rect l="l" t="t" r="r" b="b"/>
            <a:pathLst>
              <a:path w="32291" h="10923" extrusionOk="0">
                <a:moveTo>
                  <a:pt x="32291" y="1"/>
                </a:moveTo>
                <a:cubicBezTo>
                  <a:pt x="31915" y="189"/>
                  <a:pt x="31293" y="432"/>
                  <a:pt x="30509" y="542"/>
                </a:cubicBezTo>
                <a:cubicBezTo>
                  <a:pt x="29229" y="704"/>
                  <a:pt x="28795" y="1109"/>
                  <a:pt x="27797" y="1352"/>
                </a:cubicBezTo>
                <a:cubicBezTo>
                  <a:pt x="27649" y="1387"/>
                  <a:pt x="27508" y="1402"/>
                  <a:pt x="27371" y="1402"/>
                </a:cubicBezTo>
                <a:cubicBezTo>
                  <a:pt x="26657" y="1402"/>
                  <a:pt x="26030" y="1004"/>
                  <a:pt x="25053" y="1004"/>
                </a:cubicBezTo>
                <a:cubicBezTo>
                  <a:pt x="24922" y="1004"/>
                  <a:pt x="24783" y="1012"/>
                  <a:pt x="24638" y="1028"/>
                </a:cubicBezTo>
                <a:cubicBezTo>
                  <a:pt x="23206" y="1190"/>
                  <a:pt x="23491" y="1676"/>
                  <a:pt x="21492" y="1757"/>
                </a:cubicBezTo>
                <a:cubicBezTo>
                  <a:pt x="19480" y="1838"/>
                  <a:pt x="20345" y="2405"/>
                  <a:pt x="18197" y="2742"/>
                </a:cubicBezTo>
                <a:cubicBezTo>
                  <a:pt x="16039" y="3066"/>
                  <a:pt x="17186" y="3309"/>
                  <a:pt x="15903" y="3552"/>
                </a:cubicBezTo>
                <a:cubicBezTo>
                  <a:pt x="14607" y="3795"/>
                  <a:pt x="14607" y="4038"/>
                  <a:pt x="14040" y="4362"/>
                </a:cubicBezTo>
                <a:cubicBezTo>
                  <a:pt x="13909" y="4435"/>
                  <a:pt x="13771" y="4463"/>
                  <a:pt x="13611" y="4463"/>
                </a:cubicBezTo>
                <a:cubicBezTo>
                  <a:pt x="13111" y="4463"/>
                  <a:pt x="12398" y="4192"/>
                  <a:pt x="11017" y="4192"/>
                </a:cubicBezTo>
                <a:cubicBezTo>
                  <a:pt x="10884" y="4192"/>
                  <a:pt x="10745" y="4194"/>
                  <a:pt x="10599" y="4200"/>
                </a:cubicBezTo>
                <a:cubicBezTo>
                  <a:pt x="8451" y="4281"/>
                  <a:pt x="8020" y="5023"/>
                  <a:pt x="8020" y="5023"/>
                </a:cubicBezTo>
                <a:lnTo>
                  <a:pt x="7019" y="4767"/>
                </a:lnTo>
                <a:cubicBezTo>
                  <a:pt x="6852" y="4751"/>
                  <a:pt x="6696" y="4744"/>
                  <a:pt x="6550" y="4744"/>
                </a:cubicBezTo>
                <a:cubicBezTo>
                  <a:pt x="5178" y="4744"/>
                  <a:pt x="4628" y="5378"/>
                  <a:pt x="3727" y="5671"/>
                </a:cubicBezTo>
                <a:cubicBezTo>
                  <a:pt x="2713" y="5995"/>
                  <a:pt x="1" y="5995"/>
                  <a:pt x="1" y="5995"/>
                </a:cubicBezTo>
                <a:cubicBezTo>
                  <a:pt x="1" y="5995"/>
                  <a:pt x="1851" y="9073"/>
                  <a:pt x="3092" y="10923"/>
                </a:cubicBezTo>
                <a:lnTo>
                  <a:pt x="32291" y="10923"/>
                </a:lnTo>
                <a:lnTo>
                  <a:pt x="32291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8" name="Google Shape;258;p4"/>
          <p:cNvSpPr/>
          <p:nvPr/>
        </p:nvSpPr>
        <p:spPr>
          <a:xfrm>
            <a:off x="17" y="6188361"/>
            <a:ext cx="4195460" cy="717571"/>
          </a:xfrm>
          <a:custGeom>
            <a:avLst/>
            <a:gdLst/>
            <a:ahLst/>
            <a:cxnLst/>
            <a:rect l="l" t="t" r="r" b="b"/>
            <a:pathLst>
              <a:path w="18359" h="10906" extrusionOk="0">
                <a:moveTo>
                  <a:pt x="1" y="0"/>
                </a:moveTo>
                <a:lnTo>
                  <a:pt x="1" y="10906"/>
                </a:lnTo>
                <a:lnTo>
                  <a:pt x="16606" y="10906"/>
                </a:lnTo>
                <a:cubicBezTo>
                  <a:pt x="17306" y="9072"/>
                  <a:pt x="18359" y="5994"/>
                  <a:pt x="18359" y="5994"/>
                </a:cubicBezTo>
                <a:cubicBezTo>
                  <a:pt x="18359" y="5994"/>
                  <a:pt x="16820" y="5994"/>
                  <a:pt x="16240" y="5670"/>
                </a:cubicBezTo>
                <a:cubicBezTo>
                  <a:pt x="15727" y="5377"/>
                  <a:pt x="15413" y="4740"/>
                  <a:pt x="14640" y="4740"/>
                </a:cubicBezTo>
                <a:cubicBezTo>
                  <a:pt x="14557" y="4740"/>
                  <a:pt x="14470" y="4747"/>
                  <a:pt x="14377" y="4763"/>
                </a:cubicBezTo>
                <a:lnTo>
                  <a:pt x="13797" y="5006"/>
                </a:lnTo>
                <a:cubicBezTo>
                  <a:pt x="13797" y="5006"/>
                  <a:pt x="13554" y="4277"/>
                  <a:pt x="12339" y="4196"/>
                </a:cubicBezTo>
                <a:cubicBezTo>
                  <a:pt x="12272" y="4192"/>
                  <a:pt x="12208" y="4191"/>
                  <a:pt x="12146" y="4191"/>
                </a:cubicBezTo>
                <a:cubicBezTo>
                  <a:pt x="11730" y="4191"/>
                  <a:pt x="11411" y="4261"/>
                  <a:pt x="11166" y="4332"/>
                </a:cubicBezTo>
                <a:cubicBezTo>
                  <a:pt x="10937" y="4396"/>
                  <a:pt x="10767" y="4462"/>
                  <a:pt x="10627" y="4462"/>
                </a:cubicBezTo>
                <a:cubicBezTo>
                  <a:pt x="10535" y="4462"/>
                  <a:pt x="10456" y="4434"/>
                  <a:pt x="10382" y="4358"/>
                </a:cubicBezTo>
                <a:cubicBezTo>
                  <a:pt x="10058" y="4034"/>
                  <a:pt x="10058" y="3791"/>
                  <a:pt x="9316" y="3548"/>
                </a:cubicBezTo>
                <a:cubicBezTo>
                  <a:pt x="8587" y="3305"/>
                  <a:pt x="9235" y="3062"/>
                  <a:pt x="8020" y="2725"/>
                </a:cubicBezTo>
                <a:cubicBezTo>
                  <a:pt x="6792" y="2401"/>
                  <a:pt x="7278" y="1834"/>
                  <a:pt x="6144" y="1753"/>
                </a:cubicBezTo>
                <a:cubicBezTo>
                  <a:pt x="4994" y="1672"/>
                  <a:pt x="5156" y="1186"/>
                  <a:pt x="4346" y="1024"/>
                </a:cubicBezTo>
                <a:cubicBezTo>
                  <a:pt x="4259" y="1006"/>
                  <a:pt x="4178" y="998"/>
                  <a:pt x="4100" y="998"/>
                </a:cubicBezTo>
                <a:cubicBezTo>
                  <a:pt x="3826" y="998"/>
                  <a:pt x="3599" y="1095"/>
                  <a:pt x="3390" y="1199"/>
                </a:cubicBezTo>
                <a:cubicBezTo>
                  <a:pt x="3183" y="1297"/>
                  <a:pt x="2992" y="1396"/>
                  <a:pt x="2789" y="1396"/>
                </a:cubicBezTo>
                <a:cubicBezTo>
                  <a:pt x="2712" y="1396"/>
                  <a:pt x="2633" y="1382"/>
                  <a:pt x="2551" y="1348"/>
                </a:cubicBezTo>
                <a:cubicBezTo>
                  <a:pt x="1984" y="1105"/>
                  <a:pt x="1741" y="687"/>
                  <a:pt x="999" y="525"/>
                </a:cubicBezTo>
                <a:cubicBezTo>
                  <a:pt x="568" y="431"/>
                  <a:pt x="202" y="188"/>
                  <a:pt x="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9" name="Google Shape;259;p4"/>
          <p:cNvSpPr/>
          <p:nvPr/>
        </p:nvSpPr>
        <p:spPr>
          <a:xfrm>
            <a:off x="17" y="6420221"/>
            <a:ext cx="12191948" cy="450191"/>
          </a:xfrm>
          <a:custGeom>
            <a:avLst/>
            <a:gdLst/>
            <a:ahLst/>
            <a:cxnLst/>
            <a:rect l="l" t="t" r="r" b="b"/>
            <a:pathLst>
              <a:path w="53351" h="10705" extrusionOk="0">
                <a:moveTo>
                  <a:pt x="1" y="0"/>
                </a:moveTo>
                <a:lnTo>
                  <a:pt x="1" y="10705"/>
                </a:lnTo>
                <a:lnTo>
                  <a:pt x="53351" y="6075"/>
                </a:lnTo>
                <a:lnTo>
                  <a:pt x="53351" y="431"/>
                </a:lnTo>
                <a:cubicBezTo>
                  <a:pt x="50211" y="280"/>
                  <a:pt x="46158" y="14"/>
                  <a:pt x="42519" y="14"/>
                </a:cubicBezTo>
                <a:cubicBezTo>
                  <a:pt x="40918" y="14"/>
                  <a:pt x="39398" y="65"/>
                  <a:pt x="38071" y="201"/>
                </a:cubicBezTo>
                <a:cubicBezTo>
                  <a:pt x="36591" y="351"/>
                  <a:pt x="33181" y="406"/>
                  <a:pt x="28961" y="406"/>
                </a:cubicBezTo>
                <a:cubicBezTo>
                  <a:pt x="18777" y="406"/>
                  <a:pt x="3875" y="85"/>
                  <a:pt x="1" y="0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0" name="Google Shape;260;p4"/>
          <p:cNvSpPr/>
          <p:nvPr/>
        </p:nvSpPr>
        <p:spPr>
          <a:xfrm>
            <a:off x="17" y="6415552"/>
            <a:ext cx="9464980" cy="429248"/>
          </a:xfrm>
          <a:custGeom>
            <a:avLst/>
            <a:gdLst/>
            <a:ahLst/>
            <a:cxnLst/>
            <a:rect l="l" t="t" r="r" b="b"/>
            <a:pathLst>
              <a:path w="41418" h="10207" extrusionOk="0">
                <a:moveTo>
                  <a:pt x="1" y="1"/>
                </a:moveTo>
                <a:lnTo>
                  <a:pt x="1" y="10207"/>
                </a:lnTo>
                <a:lnTo>
                  <a:pt x="22383" y="10207"/>
                </a:lnTo>
                <a:cubicBezTo>
                  <a:pt x="22383" y="10207"/>
                  <a:pt x="36882" y="5658"/>
                  <a:pt x="41418" y="2703"/>
                </a:cubicBezTo>
                <a:cubicBezTo>
                  <a:pt x="30227" y="691"/>
                  <a:pt x="7006" y="124"/>
                  <a:pt x="1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1" name="Google Shape;261;p4"/>
          <p:cNvSpPr/>
          <p:nvPr/>
        </p:nvSpPr>
        <p:spPr>
          <a:xfrm>
            <a:off x="16" y="6415553"/>
            <a:ext cx="4168037" cy="349807"/>
          </a:xfrm>
          <a:custGeom>
            <a:avLst/>
            <a:gdLst/>
            <a:ahLst/>
            <a:cxnLst/>
            <a:rect l="l" t="t" r="r" b="b"/>
            <a:pathLst>
              <a:path w="18239" h="8318" extrusionOk="0">
                <a:moveTo>
                  <a:pt x="1" y="1"/>
                </a:moveTo>
                <a:lnTo>
                  <a:pt x="1" y="8318"/>
                </a:lnTo>
                <a:lnTo>
                  <a:pt x="13690" y="5279"/>
                </a:lnTo>
                <a:lnTo>
                  <a:pt x="4469" y="2917"/>
                </a:lnTo>
                <a:cubicBezTo>
                  <a:pt x="4469" y="2917"/>
                  <a:pt x="9883" y="2823"/>
                  <a:pt x="13959" y="2823"/>
                </a:cubicBezTo>
                <a:cubicBezTo>
                  <a:pt x="15997" y="2823"/>
                  <a:pt x="17711" y="2849"/>
                  <a:pt x="18239" y="2917"/>
                </a:cubicBezTo>
                <a:cubicBezTo>
                  <a:pt x="17131" y="2243"/>
                  <a:pt x="14594" y="1582"/>
                  <a:pt x="11704" y="1015"/>
                </a:cubicBezTo>
                <a:cubicBezTo>
                  <a:pt x="6737" y="380"/>
                  <a:pt x="2175" y="11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2" name="Google Shape;262;p4"/>
          <p:cNvSpPr/>
          <p:nvPr/>
        </p:nvSpPr>
        <p:spPr>
          <a:xfrm>
            <a:off x="16" y="6496464"/>
            <a:ext cx="8835627" cy="348336"/>
          </a:xfrm>
          <a:custGeom>
            <a:avLst/>
            <a:gdLst/>
            <a:ahLst/>
            <a:cxnLst/>
            <a:rect l="l" t="t" r="r" b="b"/>
            <a:pathLst>
              <a:path w="38664" h="8283" extrusionOk="0">
                <a:moveTo>
                  <a:pt x="12036" y="1"/>
                </a:moveTo>
                <a:cubicBezTo>
                  <a:pt x="7298" y="1"/>
                  <a:pt x="3031" y="77"/>
                  <a:pt x="1" y="157"/>
                </a:cubicBezTo>
                <a:lnTo>
                  <a:pt x="1" y="8283"/>
                </a:lnTo>
                <a:lnTo>
                  <a:pt x="1715" y="8283"/>
                </a:lnTo>
                <a:cubicBezTo>
                  <a:pt x="11678" y="6177"/>
                  <a:pt x="26974" y="3141"/>
                  <a:pt x="36963" y="2208"/>
                </a:cubicBezTo>
                <a:cubicBezTo>
                  <a:pt x="37585" y="1897"/>
                  <a:pt x="38165" y="1589"/>
                  <a:pt x="38664" y="1291"/>
                </a:cubicBezTo>
                <a:cubicBezTo>
                  <a:pt x="31493" y="270"/>
                  <a:pt x="20933" y="1"/>
                  <a:pt x="12036" y="1"/>
                </a:cubicBezTo>
                <a:close/>
              </a:path>
            </a:pathLst>
          </a:custGeom>
          <a:solidFill>
            <a:srgbClr val="CEDE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3" name="Google Shape;263;p4"/>
          <p:cNvSpPr/>
          <p:nvPr/>
        </p:nvSpPr>
        <p:spPr>
          <a:xfrm>
            <a:off x="4398846" y="6454284"/>
            <a:ext cx="7793103" cy="507595"/>
          </a:xfrm>
          <a:custGeom>
            <a:avLst/>
            <a:gdLst/>
            <a:ahLst/>
            <a:cxnLst/>
            <a:rect l="l" t="t" r="r" b="b"/>
            <a:pathLst>
              <a:path w="34102" h="12070" extrusionOk="0">
                <a:moveTo>
                  <a:pt x="34102" y="0"/>
                </a:moveTo>
                <a:cubicBezTo>
                  <a:pt x="29744" y="107"/>
                  <a:pt x="22224" y="862"/>
                  <a:pt x="15216" y="1889"/>
                </a:cubicBezTo>
                <a:cubicBezTo>
                  <a:pt x="5104" y="3373"/>
                  <a:pt x="1" y="4063"/>
                  <a:pt x="1" y="4063"/>
                </a:cubicBezTo>
                <a:lnTo>
                  <a:pt x="27152" y="12069"/>
                </a:lnTo>
                <a:lnTo>
                  <a:pt x="34102" y="12069"/>
                </a:lnTo>
                <a:lnTo>
                  <a:pt x="3410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4" name="Google Shape;264;p4"/>
          <p:cNvSpPr/>
          <p:nvPr/>
        </p:nvSpPr>
        <p:spPr>
          <a:xfrm>
            <a:off x="6444969" y="6596634"/>
            <a:ext cx="5746977" cy="365233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5" name="Google Shape;265;p4"/>
          <p:cNvSpPr/>
          <p:nvPr/>
        </p:nvSpPr>
        <p:spPr>
          <a:xfrm>
            <a:off x="17" y="6519510"/>
            <a:ext cx="12191948" cy="442369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773328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5"/>
          <p:cNvSpPr/>
          <p:nvPr/>
        </p:nvSpPr>
        <p:spPr>
          <a:xfrm>
            <a:off x="-1574334" y="719334"/>
            <a:ext cx="4479511" cy="1661797"/>
          </a:xfrm>
          <a:custGeom>
            <a:avLst/>
            <a:gdLst/>
            <a:ahLst/>
            <a:cxnLst/>
            <a:rect l="l" t="t" r="r" b="b"/>
            <a:pathLst>
              <a:path w="14823" h="5499" extrusionOk="0">
                <a:moveTo>
                  <a:pt x="4461" y="1"/>
                </a:moveTo>
                <a:cubicBezTo>
                  <a:pt x="4182" y="1"/>
                  <a:pt x="3903" y="52"/>
                  <a:pt x="3645" y="152"/>
                </a:cubicBezTo>
                <a:cubicBezTo>
                  <a:pt x="3253" y="301"/>
                  <a:pt x="2874" y="612"/>
                  <a:pt x="2835" y="1030"/>
                </a:cubicBezTo>
                <a:cubicBezTo>
                  <a:pt x="2602" y="909"/>
                  <a:pt x="2348" y="802"/>
                  <a:pt x="2087" y="802"/>
                </a:cubicBezTo>
                <a:cubicBezTo>
                  <a:pt x="1999" y="802"/>
                  <a:pt x="1910" y="814"/>
                  <a:pt x="1821" y="842"/>
                </a:cubicBezTo>
                <a:cubicBezTo>
                  <a:pt x="1458" y="949"/>
                  <a:pt x="1134" y="1328"/>
                  <a:pt x="1202" y="1704"/>
                </a:cubicBezTo>
                <a:cubicBezTo>
                  <a:pt x="1072" y="1585"/>
                  <a:pt x="895" y="1525"/>
                  <a:pt x="716" y="1525"/>
                </a:cubicBezTo>
                <a:cubicBezTo>
                  <a:pt x="614" y="1525"/>
                  <a:pt x="511" y="1545"/>
                  <a:pt x="418" y="1584"/>
                </a:cubicBezTo>
                <a:cubicBezTo>
                  <a:pt x="201" y="1678"/>
                  <a:pt x="39" y="1895"/>
                  <a:pt x="0" y="2109"/>
                </a:cubicBezTo>
                <a:lnTo>
                  <a:pt x="0" y="5255"/>
                </a:lnTo>
                <a:cubicBezTo>
                  <a:pt x="162" y="5365"/>
                  <a:pt x="350" y="5417"/>
                  <a:pt x="541" y="5417"/>
                </a:cubicBezTo>
                <a:cubicBezTo>
                  <a:pt x="946" y="5417"/>
                  <a:pt x="1322" y="5135"/>
                  <a:pt x="1445" y="4756"/>
                </a:cubicBezTo>
                <a:cubicBezTo>
                  <a:pt x="1615" y="4991"/>
                  <a:pt x="1908" y="5114"/>
                  <a:pt x="2201" y="5114"/>
                </a:cubicBezTo>
                <a:cubicBezTo>
                  <a:pt x="2446" y="5114"/>
                  <a:pt x="2690" y="5028"/>
                  <a:pt x="2861" y="4850"/>
                </a:cubicBezTo>
                <a:cubicBezTo>
                  <a:pt x="2974" y="4936"/>
                  <a:pt x="3114" y="4977"/>
                  <a:pt x="3255" y="4977"/>
                </a:cubicBezTo>
                <a:cubicBezTo>
                  <a:pt x="3470" y="4977"/>
                  <a:pt x="3689" y="4881"/>
                  <a:pt x="3820" y="4701"/>
                </a:cubicBezTo>
                <a:cubicBezTo>
                  <a:pt x="4008" y="5041"/>
                  <a:pt x="4400" y="5268"/>
                  <a:pt x="4792" y="5284"/>
                </a:cubicBezTo>
                <a:cubicBezTo>
                  <a:pt x="4803" y="5284"/>
                  <a:pt x="4814" y="5285"/>
                  <a:pt x="4825" y="5285"/>
                </a:cubicBezTo>
                <a:cubicBezTo>
                  <a:pt x="5207" y="5285"/>
                  <a:pt x="5595" y="5071"/>
                  <a:pt x="5806" y="4756"/>
                </a:cubicBezTo>
                <a:cubicBezTo>
                  <a:pt x="6093" y="5129"/>
                  <a:pt x="6566" y="5319"/>
                  <a:pt x="7036" y="5319"/>
                </a:cubicBezTo>
                <a:cubicBezTo>
                  <a:pt x="7468" y="5319"/>
                  <a:pt x="7897" y="5159"/>
                  <a:pt x="8181" y="4837"/>
                </a:cubicBezTo>
                <a:cubicBezTo>
                  <a:pt x="8256" y="5037"/>
                  <a:pt x="8457" y="5190"/>
                  <a:pt x="8668" y="5190"/>
                </a:cubicBezTo>
                <a:cubicBezTo>
                  <a:pt x="8686" y="5190"/>
                  <a:pt x="8704" y="5189"/>
                  <a:pt x="8722" y="5187"/>
                </a:cubicBezTo>
                <a:cubicBezTo>
                  <a:pt x="8949" y="5161"/>
                  <a:pt x="9153" y="4960"/>
                  <a:pt x="9179" y="4730"/>
                </a:cubicBezTo>
                <a:cubicBezTo>
                  <a:pt x="9311" y="4887"/>
                  <a:pt x="9512" y="4965"/>
                  <a:pt x="9711" y="4965"/>
                </a:cubicBezTo>
                <a:cubicBezTo>
                  <a:pt x="9924" y="4965"/>
                  <a:pt x="10136" y="4876"/>
                  <a:pt x="10261" y="4701"/>
                </a:cubicBezTo>
                <a:cubicBezTo>
                  <a:pt x="10411" y="5147"/>
                  <a:pt x="10883" y="5416"/>
                  <a:pt x="11343" y="5416"/>
                </a:cubicBezTo>
                <a:cubicBezTo>
                  <a:pt x="11582" y="5416"/>
                  <a:pt x="11816" y="5344"/>
                  <a:pt x="12001" y="5187"/>
                </a:cubicBezTo>
                <a:cubicBezTo>
                  <a:pt x="12074" y="5388"/>
                  <a:pt x="12283" y="5499"/>
                  <a:pt x="12490" y="5499"/>
                </a:cubicBezTo>
                <a:cubicBezTo>
                  <a:pt x="12632" y="5499"/>
                  <a:pt x="12772" y="5447"/>
                  <a:pt x="12866" y="5336"/>
                </a:cubicBezTo>
                <a:cubicBezTo>
                  <a:pt x="12937" y="5426"/>
                  <a:pt x="13052" y="5470"/>
                  <a:pt x="13169" y="5470"/>
                </a:cubicBezTo>
                <a:cubicBezTo>
                  <a:pt x="13298" y="5470"/>
                  <a:pt x="13429" y="5416"/>
                  <a:pt x="13501" y="5310"/>
                </a:cubicBezTo>
                <a:cubicBezTo>
                  <a:pt x="13684" y="5355"/>
                  <a:pt x="13874" y="5379"/>
                  <a:pt x="14065" y="5379"/>
                </a:cubicBezTo>
                <a:cubicBezTo>
                  <a:pt x="14323" y="5379"/>
                  <a:pt x="14582" y="5335"/>
                  <a:pt x="14823" y="5242"/>
                </a:cubicBezTo>
                <a:cubicBezTo>
                  <a:pt x="14682" y="5186"/>
                  <a:pt x="14529" y="5156"/>
                  <a:pt x="14377" y="5156"/>
                </a:cubicBezTo>
                <a:cubicBezTo>
                  <a:pt x="14309" y="5156"/>
                  <a:pt x="14242" y="5162"/>
                  <a:pt x="14175" y="5174"/>
                </a:cubicBezTo>
                <a:cubicBezTo>
                  <a:pt x="14091" y="4958"/>
                  <a:pt x="13855" y="4835"/>
                  <a:pt x="13625" y="4835"/>
                </a:cubicBezTo>
                <a:cubicBezTo>
                  <a:pt x="13482" y="4835"/>
                  <a:pt x="13341" y="4883"/>
                  <a:pt x="13242" y="4986"/>
                </a:cubicBezTo>
                <a:cubicBezTo>
                  <a:pt x="13265" y="4789"/>
                  <a:pt x="13075" y="4618"/>
                  <a:pt x="12895" y="4618"/>
                </a:cubicBezTo>
                <a:cubicBezTo>
                  <a:pt x="12852" y="4618"/>
                  <a:pt x="12811" y="4628"/>
                  <a:pt x="12772" y="4649"/>
                </a:cubicBezTo>
                <a:cubicBezTo>
                  <a:pt x="12837" y="4432"/>
                  <a:pt x="12636" y="4202"/>
                  <a:pt x="12419" y="4150"/>
                </a:cubicBezTo>
                <a:cubicBezTo>
                  <a:pt x="12353" y="4134"/>
                  <a:pt x="12287" y="4127"/>
                  <a:pt x="12221" y="4127"/>
                </a:cubicBezTo>
                <a:cubicBezTo>
                  <a:pt x="12059" y="4127"/>
                  <a:pt x="11900" y="4169"/>
                  <a:pt x="11745" y="4215"/>
                </a:cubicBezTo>
                <a:cubicBezTo>
                  <a:pt x="11865" y="4121"/>
                  <a:pt x="11894" y="3920"/>
                  <a:pt x="11784" y="3797"/>
                </a:cubicBezTo>
                <a:cubicBezTo>
                  <a:pt x="11734" y="3733"/>
                  <a:pt x="11654" y="3703"/>
                  <a:pt x="11572" y="3703"/>
                </a:cubicBezTo>
                <a:cubicBezTo>
                  <a:pt x="11499" y="3703"/>
                  <a:pt x="11424" y="3727"/>
                  <a:pt x="11366" y="3771"/>
                </a:cubicBezTo>
                <a:cubicBezTo>
                  <a:pt x="11353" y="3379"/>
                  <a:pt x="11204" y="2974"/>
                  <a:pt x="10867" y="2757"/>
                </a:cubicBezTo>
                <a:cubicBezTo>
                  <a:pt x="10762" y="2691"/>
                  <a:pt x="10633" y="2660"/>
                  <a:pt x="10504" y="2660"/>
                </a:cubicBezTo>
                <a:cubicBezTo>
                  <a:pt x="10237" y="2660"/>
                  <a:pt x="9967" y="2795"/>
                  <a:pt x="9895" y="3042"/>
                </a:cubicBezTo>
                <a:cubicBezTo>
                  <a:pt x="9895" y="2935"/>
                  <a:pt x="9776" y="2850"/>
                  <a:pt x="9670" y="2850"/>
                </a:cubicBezTo>
                <a:cubicBezTo>
                  <a:pt x="9628" y="2850"/>
                  <a:pt x="9588" y="2863"/>
                  <a:pt x="9558" y="2893"/>
                </a:cubicBezTo>
                <a:cubicBezTo>
                  <a:pt x="9626" y="2731"/>
                  <a:pt x="9626" y="2514"/>
                  <a:pt x="9503" y="2381"/>
                </a:cubicBezTo>
                <a:cubicBezTo>
                  <a:pt x="9444" y="2314"/>
                  <a:pt x="9353" y="2280"/>
                  <a:pt x="9264" y="2280"/>
                </a:cubicBezTo>
                <a:cubicBezTo>
                  <a:pt x="9171" y="2280"/>
                  <a:pt x="9080" y="2318"/>
                  <a:pt x="9030" y="2394"/>
                </a:cubicBezTo>
                <a:cubicBezTo>
                  <a:pt x="9017" y="2015"/>
                  <a:pt x="8693" y="1678"/>
                  <a:pt x="8317" y="1652"/>
                </a:cubicBezTo>
                <a:cubicBezTo>
                  <a:pt x="8301" y="1651"/>
                  <a:pt x="8284" y="1650"/>
                  <a:pt x="8267" y="1650"/>
                </a:cubicBezTo>
                <a:cubicBezTo>
                  <a:pt x="7906" y="1650"/>
                  <a:pt x="7557" y="1950"/>
                  <a:pt x="7507" y="2300"/>
                </a:cubicBezTo>
                <a:cubicBezTo>
                  <a:pt x="7406" y="1976"/>
                  <a:pt x="7065" y="1759"/>
                  <a:pt x="6725" y="1759"/>
                </a:cubicBezTo>
                <a:cubicBezTo>
                  <a:pt x="6609" y="1759"/>
                  <a:pt x="6493" y="1785"/>
                  <a:pt x="6386" y="1840"/>
                </a:cubicBezTo>
                <a:cubicBezTo>
                  <a:pt x="6425" y="1205"/>
                  <a:pt x="6049" y="586"/>
                  <a:pt x="5495" y="262"/>
                </a:cubicBezTo>
                <a:cubicBezTo>
                  <a:pt x="5182" y="86"/>
                  <a:pt x="4822" y="1"/>
                  <a:pt x="4461" y="1"/>
                </a:cubicBezTo>
                <a:close/>
              </a:path>
            </a:pathLst>
          </a:custGeom>
          <a:solidFill>
            <a:srgbClr val="FFFFFF">
              <a:alpha val="553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8" name="Google Shape;268;p5"/>
          <p:cNvSpPr/>
          <p:nvPr/>
        </p:nvSpPr>
        <p:spPr>
          <a:xfrm>
            <a:off x="-412167" y="1543974"/>
            <a:ext cx="2945241" cy="1889959"/>
          </a:xfrm>
          <a:custGeom>
            <a:avLst/>
            <a:gdLst/>
            <a:ahLst/>
            <a:cxnLst/>
            <a:rect l="l" t="t" r="r" b="b"/>
            <a:pathLst>
              <a:path w="9746" h="6254" extrusionOk="0">
                <a:moveTo>
                  <a:pt x="0" y="1"/>
                </a:moveTo>
                <a:lnTo>
                  <a:pt x="0" y="6092"/>
                </a:lnTo>
                <a:cubicBezTo>
                  <a:pt x="39" y="6131"/>
                  <a:pt x="94" y="6157"/>
                  <a:pt x="162" y="6186"/>
                </a:cubicBezTo>
                <a:cubicBezTo>
                  <a:pt x="282" y="6238"/>
                  <a:pt x="405" y="6254"/>
                  <a:pt x="541" y="6254"/>
                </a:cubicBezTo>
                <a:cubicBezTo>
                  <a:pt x="849" y="6254"/>
                  <a:pt x="1160" y="6092"/>
                  <a:pt x="1335" y="5833"/>
                </a:cubicBezTo>
                <a:cubicBezTo>
                  <a:pt x="1371" y="6021"/>
                  <a:pt x="1570" y="6139"/>
                  <a:pt x="1763" y="6139"/>
                </a:cubicBezTo>
                <a:cubicBezTo>
                  <a:pt x="1792" y="6139"/>
                  <a:pt x="1822" y="6136"/>
                  <a:pt x="1850" y="6131"/>
                </a:cubicBezTo>
                <a:cubicBezTo>
                  <a:pt x="2064" y="6076"/>
                  <a:pt x="2242" y="5930"/>
                  <a:pt x="2388" y="5781"/>
                </a:cubicBezTo>
                <a:cubicBezTo>
                  <a:pt x="2709" y="6054"/>
                  <a:pt x="3132" y="6222"/>
                  <a:pt x="3560" y="6222"/>
                </a:cubicBezTo>
                <a:cubicBezTo>
                  <a:pt x="3619" y="6222"/>
                  <a:pt x="3679" y="6219"/>
                  <a:pt x="3739" y="6212"/>
                </a:cubicBezTo>
                <a:cubicBezTo>
                  <a:pt x="4225" y="6173"/>
                  <a:pt x="4685" y="5930"/>
                  <a:pt x="4980" y="5551"/>
                </a:cubicBezTo>
                <a:cubicBezTo>
                  <a:pt x="5085" y="5759"/>
                  <a:pt x="5328" y="5857"/>
                  <a:pt x="5556" y="5857"/>
                </a:cubicBezTo>
                <a:cubicBezTo>
                  <a:pt x="5595" y="5857"/>
                  <a:pt x="5633" y="5855"/>
                  <a:pt x="5670" y="5849"/>
                </a:cubicBezTo>
                <a:cubicBezTo>
                  <a:pt x="5939" y="5807"/>
                  <a:pt x="6169" y="5658"/>
                  <a:pt x="6399" y="5509"/>
                </a:cubicBezTo>
                <a:cubicBezTo>
                  <a:pt x="6464" y="5683"/>
                  <a:pt x="6653" y="5781"/>
                  <a:pt x="6838" y="5781"/>
                </a:cubicBezTo>
                <a:cubicBezTo>
                  <a:pt x="6955" y="5781"/>
                  <a:pt x="7071" y="5742"/>
                  <a:pt x="7154" y="5658"/>
                </a:cubicBezTo>
                <a:cubicBezTo>
                  <a:pt x="7291" y="5764"/>
                  <a:pt x="7465" y="5815"/>
                  <a:pt x="7640" y="5815"/>
                </a:cubicBezTo>
                <a:cubicBezTo>
                  <a:pt x="7844" y="5815"/>
                  <a:pt x="8049" y="5744"/>
                  <a:pt x="8194" y="5606"/>
                </a:cubicBezTo>
                <a:cubicBezTo>
                  <a:pt x="8274" y="5684"/>
                  <a:pt x="8385" y="5725"/>
                  <a:pt x="8496" y="5725"/>
                </a:cubicBezTo>
                <a:cubicBezTo>
                  <a:pt x="8591" y="5725"/>
                  <a:pt x="8686" y="5695"/>
                  <a:pt x="8761" y="5632"/>
                </a:cubicBezTo>
                <a:cubicBezTo>
                  <a:pt x="8798" y="5704"/>
                  <a:pt x="8883" y="5727"/>
                  <a:pt x="8971" y="5727"/>
                </a:cubicBezTo>
                <a:cubicBezTo>
                  <a:pt x="9014" y="5727"/>
                  <a:pt x="9058" y="5721"/>
                  <a:pt x="9098" y="5713"/>
                </a:cubicBezTo>
                <a:cubicBezTo>
                  <a:pt x="9260" y="5700"/>
                  <a:pt x="9435" y="5671"/>
                  <a:pt x="9597" y="5645"/>
                </a:cubicBezTo>
                <a:cubicBezTo>
                  <a:pt x="9626" y="5645"/>
                  <a:pt x="9652" y="5632"/>
                  <a:pt x="9678" y="5619"/>
                </a:cubicBezTo>
                <a:cubicBezTo>
                  <a:pt x="9746" y="5551"/>
                  <a:pt x="9626" y="5457"/>
                  <a:pt x="9532" y="5457"/>
                </a:cubicBezTo>
                <a:cubicBezTo>
                  <a:pt x="9435" y="5457"/>
                  <a:pt x="9328" y="5483"/>
                  <a:pt x="9247" y="5538"/>
                </a:cubicBezTo>
                <a:cubicBezTo>
                  <a:pt x="9227" y="5452"/>
                  <a:pt x="9148" y="5402"/>
                  <a:pt x="9070" y="5402"/>
                </a:cubicBezTo>
                <a:cubicBezTo>
                  <a:pt x="9047" y="5402"/>
                  <a:pt x="9025" y="5406"/>
                  <a:pt x="9004" y="5415"/>
                </a:cubicBezTo>
                <a:cubicBezTo>
                  <a:pt x="8978" y="5444"/>
                  <a:pt x="8949" y="5457"/>
                  <a:pt x="8923" y="5470"/>
                </a:cubicBezTo>
                <a:cubicBezTo>
                  <a:pt x="8916" y="5471"/>
                  <a:pt x="8910" y="5472"/>
                  <a:pt x="8903" y="5472"/>
                </a:cubicBezTo>
                <a:cubicBezTo>
                  <a:pt x="8833" y="5472"/>
                  <a:pt x="8783" y="5410"/>
                  <a:pt x="8735" y="5363"/>
                </a:cubicBezTo>
                <a:cubicBezTo>
                  <a:pt x="8599" y="5201"/>
                  <a:pt x="8437" y="5065"/>
                  <a:pt x="8236" y="5010"/>
                </a:cubicBezTo>
                <a:cubicBezTo>
                  <a:pt x="8180" y="4996"/>
                  <a:pt x="8123" y="4988"/>
                  <a:pt x="8066" y="4988"/>
                </a:cubicBezTo>
                <a:cubicBezTo>
                  <a:pt x="7913" y="4988"/>
                  <a:pt x="7761" y="5041"/>
                  <a:pt x="7653" y="5159"/>
                </a:cubicBezTo>
                <a:cubicBezTo>
                  <a:pt x="7721" y="5078"/>
                  <a:pt x="7303" y="4848"/>
                  <a:pt x="7248" y="4835"/>
                </a:cubicBezTo>
                <a:cubicBezTo>
                  <a:pt x="7178" y="4810"/>
                  <a:pt x="7108" y="4795"/>
                  <a:pt x="7040" y="4795"/>
                </a:cubicBezTo>
                <a:cubicBezTo>
                  <a:pt x="6927" y="4795"/>
                  <a:pt x="6821" y="4835"/>
                  <a:pt x="6736" y="4929"/>
                </a:cubicBezTo>
                <a:cubicBezTo>
                  <a:pt x="6655" y="4537"/>
                  <a:pt x="6344" y="4200"/>
                  <a:pt x="5952" y="4106"/>
                </a:cubicBezTo>
                <a:cubicBezTo>
                  <a:pt x="5874" y="4087"/>
                  <a:pt x="5794" y="4078"/>
                  <a:pt x="5714" y="4078"/>
                </a:cubicBezTo>
                <a:cubicBezTo>
                  <a:pt x="5392" y="4078"/>
                  <a:pt x="5067" y="4223"/>
                  <a:pt x="4873" y="4472"/>
                </a:cubicBezTo>
                <a:cubicBezTo>
                  <a:pt x="4873" y="4275"/>
                  <a:pt x="4674" y="4135"/>
                  <a:pt x="4483" y="4135"/>
                </a:cubicBezTo>
                <a:cubicBezTo>
                  <a:pt x="4410" y="4135"/>
                  <a:pt x="4339" y="4155"/>
                  <a:pt x="4280" y="4200"/>
                </a:cubicBezTo>
                <a:cubicBezTo>
                  <a:pt x="4307" y="3976"/>
                  <a:pt x="4076" y="3810"/>
                  <a:pt x="3865" y="3810"/>
                </a:cubicBezTo>
                <a:cubicBezTo>
                  <a:pt x="3771" y="3810"/>
                  <a:pt x="3681" y="3843"/>
                  <a:pt x="3619" y="3918"/>
                </a:cubicBezTo>
                <a:cubicBezTo>
                  <a:pt x="3765" y="3458"/>
                  <a:pt x="3551" y="2904"/>
                  <a:pt x="3133" y="2690"/>
                </a:cubicBezTo>
                <a:cubicBezTo>
                  <a:pt x="2993" y="2620"/>
                  <a:pt x="2838" y="2587"/>
                  <a:pt x="2683" y="2587"/>
                </a:cubicBezTo>
                <a:cubicBezTo>
                  <a:pt x="2358" y="2587"/>
                  <a:pt x="2032" y="2734"/>
                  <a:pt x="1850" y="2998"/>
                </a:cubicBezTo>
                <a:cubicBezTo>
                  <a:pt x="1837" y="2674"/>
                  <a:pt x="1837" y="2337"/>
                  <a:pt x="1675" y="2055"/>
                </a:cubicBezTo>
                <a:cubicBezTo>
                  <a:pt x="1540" y="1839"/>
                  <a:pt x="1299" y="1679"/>
                  <a:pt x="1060" y="1679"/>
                </a:cubicBezTo>
                <a:cubicBezTo>
                  <a:pt x="984" y="1679"/>
                  <a:pt x="908" y="1695"/>
                  <a:pt x="836" y="1731"/>
                </a:cubicBezTo>
                <a:cubicBezTo>
                  <a:pt x="983" y="1498"/>
                  <a:pt x="753" y="1153"/>
                  <a:pt x="486" y="1153"/>
                </a:cubicBezTo>
                <a:cubicBezTo>
                  <a:pt x="459" y="1153"/>
                  <a:pt x="432" y="1157"/>
                  <a:pt x="405" y="1164"/>
                </a:cubicBezTo>
                <a:cubicBezTo>
                  <a:pt x="593" y="1109"/>
                  <a:pt x="486" y="584"/>
                  <a:pt x="431" y="474"/>
                </a:cubicBezTo>
                <a:cubicBezTo>
                  <a:pt x="350" y="260"/>
                  <a:pt x="188" y="98"/>
                  <a:pt x="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9" name="Google Shape;269;p5"/>
          <p:cNvSpPr/>
          <p:nvPr/>
        </p:nvSpPr>
        <p:spPr>
          <a:xfrm>
            <a:off x="8579326" y="3868752"/>
            <a:ext cx="4035276" cy="1851277"/>
          </a:xfrm>
          <a:custGeom>
            <a:avLst/>
            <a:gdLst/>
            <a:ahLst/>
            <a:cxnLst/>
            <a:rect l="l" t="t" r="r" b="b"/>
            <a:pathLst>
              <a:path w="13353" h="6126" extrusionOk="0">
                <a:moveTo>
                  <a:pt x="13095" y="1"/>
                </a:moveTo>
                <a:cubicBezTo>
                  <a:pt x="13024" y="1"/>
                  <a:pt x="12953" y="8"/>
                  <a:pt x="12880" y="21"/>
                </a:cubicBezTo>
                <a:cubicBezTo>
                  <a:pt x="12313" y="102"/>
                  <a:pt x="11921" y="588"/>
                  <a:pt x="11840" y="1139"/>
                </a:cubicBezTo>
                <a:cubicBezTo>
                  <a:pt x="11652" y="925"/>
                  <a:pt x="11302" y="750"/>
                  <a:pt x="11017" y="750"/>
                </a:cubicBezTo>
                <a:cubicBezTo>
                  <a:pt x="11003" y="749"/>
                  <a:pt x="10989" y="748"/>
                  <a:pt x="10975" y="748"/>
                </a:cubicBezTo>
                <a:cubicBezTo>
                  <a:pt x="10799" y="748"/>
                  <a:pt x="10615" y="841"/>
                  <a:pt x="10492" y="964"/>
                </a:cubicBezTo>
                <a:cubicBezTo>
                  <a:pt x="10343" y="1113"/>
                  <a:pt x="10275" y="1317"/>
                  <a:pt x="10288" y="1518"/>
                </a:cubicBezTo>
                <a:cubicBezTo>
                  <a:pt x="10211" y="1506"/>
                  <a:pt x="10129" y="1493"/>
                  <a:pt x="10048" y="1493"/>
                </a:cubicBezTo>
                <a:cubicBezTo>
                  <a:pt x="9957" y="1493"/>
                  <a:pt x="9868" y="1509"/>
                  <a:pt x="9789" y="1560"/>
                </a:cubicBezTo>
                <a:cubicBezTo>
                  <a:pt x="9666" y="1654"/>
                  <a:pt x="9614" y="1816"/>
                  <a:pt x="9666" y="1965"/>
                </a:cubicBezTo>
                <a:cubicBezTo>
                  <a:pt x="9465" y="1774"/>
                  <a:pt x="9180" y="1654"/>
                  <a:pt x="8911" y="1654"/>
                </a:cubicBezTo>
                <a:cubicBezTo>
                  <a:pt x="8629" y="1654"/>
                  <a:pt x="8344" y="1803"/>
                  <a:pt x="8195" y="2030"/>
                </a:cubicBezTo>
                <a:cubicBezTo>
                  <a:pt x="8114" y="2153"/>
                  <a:pt x="8075" y="2302"/>
                  <a:pt x="8033" y="2451"/>
                </a:cubicBezTo>
                <a:cubicBezTo>
                  <a:pt x="7981" y="2678"/>
                  <a:pt x="8020" y="2882"/>
                  <a:pt x="8007" y="3112"/>
                </a:cubicBezTo>
                <a:cubicBezTo>
                  <a:pt x="7888" y="3061"/>
                  <a:pt x="7763" y="3015"/>
                  <a:pt x="7636" y="3015"/>
                </a:cubicBezTo>
                <a:cubicBezTo>
                  <a:pt x="7562" y="3015"/>
                  <a:pt x="7488" y="3030"/>
                  <a:pt x="7414" y="3070"/>
                </a:cubicBezTo>
                <a:cubicBezTo>
                  <a:pt x="7210" y="3164"/>
                  <a:pt x="7090" y="3368"/>
                  <a:pt x="7074" y="3585"/>
                </a:cubicBezTo>
                <a:cubicBezTo>
                  <a:pt x="6891" y="3395"/>
                  <a:pt x="6691" y="3317"/>
                  <a:pt x="6491" y="3317"/>
                </a:cubicBezTo>
                <a:cubicBezTo>
                  <a:pt x="5877" y="3317"/>
                  <a:pt x="5255" y="4053"/>
                  <a:pt x="5091" y="4583"/>
                </a:cubicBezTo>
                <a:cubicBezTo>
                  <a:pt x="4916" y="4366"/>
                  <a:pt x="4699" y="4152"/>
                  <a:pt x="4417" y="4110"/>
                </a:cubicBezTo>
                <a:cubicBezTo>
                  <a:pt x="4396" y="4107"/>
                  <a:pt x="4374" y="4106"/>
                  <a:pt x="4352" y="4106"/>
                </a:cubicBezTo>
                <a:cubicBezTo>
                  <a:pt x="4085" y="4106"/>
                  <a:pt x="3813" y="4319"/>
                  <a:pt x="3876" y="4583"/>
                </a:cubicBezTo>
                <a:cubicBezTo>
                  <a:pt x="3687" y="4484"/>
                  <a:pt x="3490" y="4393"/>
                  <a:pt x="3289" y="4393"/>
                </a:cubicBezTo>
                <a:cubicBezTo>
                  <a:pt x="3273" y="4393"/>
                  <a:pt x="3257" y="4394"/>
                  <a:pt x="3241" y="4395"/>
                </a:cubicBezTo>
                <a:cubicBezTo>
                  <a:pt x="2972" y="4421"/>
                  <a:pt x="2849" y="4609"/>
                  <a:pt x="2755" y="4826"/>
                </a:cubicBezTo>
                <a:cubicBezTo>
                  <a:pt x="2679" y="4710"/>
                  <a:pt x="2540" y="4643"/>
                  <a:pt x="2403" y="4643"/>
                </a:cubicBezTo>
                <a:cubicBezTo>
                  <a:pt x="2348" y="4643"/>
                  <a:pt x="2293" y="4654"/>
                  <a:pt x="2243" y="4677"/>
                </a:cubicBezTo>
                <a:cubicBezTo>
                  <a:pt x="2052" y="4745"/>
                  <a:pt x="1932" y="4933"/>
                  <a:pt x="1919" y="5137"/>
                </a:cubicBezTo>
                <a:cubicBezTo>
                  <a:pt x="1878" y="5027"/>
                  <a:pt x="1766" y="4961"/>
                  <a:pt x="1650" y="4961"/>
                </a:cubicBezTo>
                <a:cubicBezTo>
                  <a:pt x="1608" y="4961"/>
                  <a:pt x="1566" y="4970"/>
                  <a:pt x="1527" y="4988"/>
                </a:cubicBezTo>
                <a:cubicBezTo>
                  <a:pt x="1378" y="5043"/>
                  <a:pt x="1297" y="5189"/>
                  <a:pt x="1271" y="5351"/>
                </a:cubicBezTo>
                <a:cubicBezTo>
                  <a:pt x="1189" y="5294"/>
                  <a:pt x="1103" y="5258"/>
                  <a:pt x="1015" y="5258"/>
                </a:cubicBezTo>
                <a:cubicBezTo>
                  <a:pt x="956" y="5258"/>
                  <a:pt x="897" y="5274"/>
                  <a:pt x="837" y="5312"/>
                </a:cubicBezTo>
                <a:cubicBezTo>
                  <a:pt x="798" y="5351"/>
                  <a:pt x="743" y="5406"/>
                  <a:pt x="691" y="5432"/>
                </a:cubicBezTo>
                <a:cubicBezTo>
                  <a:pt x="623" y="5461"/>
                  <a:pt x="542" y="5461"/>
                  <a:pt x="474" y="5461"/>
                </a:cubicBezTo>
                <a:lnTo>
                  <a:pt x="43" y="5461"/>
                </a:lnTo>
                <a:cubicBezTo>
                  <a:pt x="1" y="5513"/>
                  <a:pt x="69" y="5581"/>
                  <a:pt x="137" y="5610"/>
                </a:cubicBezTo>
                <a:cubicBezTo>
                  <a:pt x="284" y="5676"/>
                  <a:pt x="459" y="5710"/>
                  <a:pt x="636" y="5710"/>
                </a:cubicBezTo>
                <a:cubicBezTo>
                  <a:pt x="813" y="5710"/>
                  <a:pt x="992" y="5676"/>
                  <a:pt x="1148" y="5610"/>
                </a:cubicBezTo>
                <a:cubicBezTo>
                  <a:pt x="1221" y="5677"/>
                  <a:pt x="1320" y="5708"/>
                  <a:pt x="1422" y="5708"/>
                </a:cubicBezTo>
                <a:cubicBezTo>
                  <a:pt x="1588" y="5708"/>
                  <a:pt x="1762" y="5625"/>
                  <a:pt x="1838" y="5474"/>
                </a:cubicBezTo>
                <a:cubicBezTo>
                  <a:pt x="1917" y="5516"/>
                  <a:pt x="2010" y="5537"/>
                  <a:pt x="2104" y="5537"/>
                </a:cubicBezTo>
                <a:cubicBezTo>
                  <a:pt x="2219" y="5537"/>
                  <a:pt x="2335" y="5507"/>
                  <a:pt x="2431" y="5448"/>
                </a:cubicBezTo>
                <a:cubicBezTo>
                  <a:pt x="2623" y="5738"/>
                  <a:pt x="2969" y="5948"/>
                  <a:pt x="3307" y="5948"/>
                </a:cubicBezTo>
                <a:cubicBezTo>
                  <a:pt x="3517" y="5948"/>
                  <a:pt x="3724" y="5867"/>
                  <a:pt x="3889" y="5675"/>
                </a:cubicBezTo>
                <a:cubicBezTo>
                  <a:pt x="3955" y="5950"/>
                  <a:pt x="4250" y="6126"/>
                  <a:pt x="4540" y="6126"/>
                </a:cubicBezTo>
                <a:cubicBezTo>
                  <a:pt x="4608" y="6126"/>
                  <a:pt x="4676" y="6116"/>
                  <a:pt x="4741" y="6096"/>
                </a:cubicBezTo>
                <a:cubicBezTo>
                  <a:pt x="5078" y="5999"/>
                  <a:pt x="5308" y="5662"/>
                  <a:pt x="5373" y="5325"/>
                </a:cubicBezTo>
                <a:lnTo>
                  <a:pt x="5373" y="5325"/>
                </a:lnTo>
                <a:cubicBezTo>
                  <a:pt x="5334" y="5529"/>
                  <a:pt x="6037" y="5756"/>
                  <a:pt x="6157" y="5785"/>
                </a:cubicBezTo>
                <a:cubicBezTo>
                  <a:pt x="6211" y="5792"/>
                  <a:pt x="6262" y="5796"/>
                  <a:pt x="6313" y="5796"/>
                </a:cubicBezTo>
                <a:cubicBezTo>
                  <a:pt x="6617" y="5796"/>
                  <a:pt x="6866" y="5672"/>
                  <a:pt x="7155" y="5555"/>
                </a:cubicBezTo>
                <a:cubicBezTo>
                  <a:pt x="7171" y="5662"/>
                  <a:pt x="7252" y="5772"/>
                  <a:pt x="7359" y="5798"/>
                </a:cubicBezTo>
                <a:cubicBezTo>
                  <a:pt x="7381" y="5803"/>
                  <a:pt x="7403" y="5806"/>
                  <a:pt x="7426" y="5806"/>
                </a:cubicBezTo>
                <a:cubicBezTo>
                  <a:pt x="7514" y="5806"/>
                  <a:pt x="7603" y="5766"/>
                  <a:pt x="7657" y="5691"/>
                </a:cubicBezTo>
                <a:cubicBezTo>
                  <a:pt x="7777" y="5853"/>
                  <a:pt x="7981" y="5947"/>
                  <a:pt x="8182" y="5973"/>
                </a:cubicBezTo>
                <a:cubicBezTo>
                  <a:pt x="8219" y="5978"/>
                  <a:pt x="8255" y="5980"/>
                  <a:pt x="8293" y="5980"/>
                </a:cubicBezTo>
                <a:cubicBezTo>
                  <a:pt x="8462" y="5980"/>
                  <a:pt x="8634" y="5935"/>
                  <a:pt x="8791" y="5879"/>
                </a:cubicBezTo>
                <a:cubicBezTo>
                  <a:pt x="9128" y="5772"/>
                  <a:pt x="9504" y="5568"/>
                  <a:pt x="9763" y="5325"/>
                </a:cubicBezTo>
                <a:cubicBezTo>
                  <a:pt x="9883" y="5662"/>
                  <a:pt x="10233" y="5905"/>
                  <a:pt x="10599" y="5905"/>
                </a:cubicBezTo>
                <a:cubicBezTo>
                  <a:pt x="10608" y="5905"/>
                  <a:pt x="10617" y="5905"/>
                  <a:pt x="10627" y="5905"/>
                </a:cubicBezTo>
                <a:cubicBezTo>
                  <a:pt x="10980" y="5905"/>
                  <a:pt x="11331" y="5666"/>
                  <a:pt x="11464" y="5338"/>
                </a:cubicBezTo>
                <a:cubicBezTo>
                  <a:pt x="11477" y="5649"/>
                  <a:pt x="11720" y="5934"/>
                  <a:pt x="12015" y="5999"/>
                </a:cubicBezTo>
                <a:cubicBezTo>
                  <a:pt x="12055" y="6006"/>
                  <a:pt x="12097" y="6009"/>
                  <a:pt x="12138" y="6009"/>
                </a:cubicBezTo>
                <a:cubicBezTo>
                  <a:pt x="12411" y="6009"/>
                  <a:pt x="12681" y="5855"/>
                  <a:pt x="12799" y="5610"/>
                </a:cubicBezTo>
                <a:cubicBezTo>
                  <a:pt x="12922" y="5811"/>
                  <a:pt x="13123" y="5960"/>
                  <a:pt x="13353" y="6054"/>
                </a:cubicBezTo>
                <a:lnTo>
                  <a:pt x="13353" y="34"/>
                </a:lnTo>
                <a:cubicBezTo>
                  <a:pt x="13265" y="11"/>
                  <a:pt x="13180" y="1"/>
                  <a:pt x="13095" y="1"/>
                </a:cubicBezTo>
                <a:close/>
              </a:path>
            </a:pathLst>
          </a:custGeom>
          <a:solidFill>
            <a:srgbClr val="FFFFFF">
              <a:alpha val="848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0" name="Google Shape;270;p5"/>
          <p:cNvSpPr/>
          <p:nvPr/>
        </p:nvSpPr>
        <p:spPr>
          <a:xfrm>
            <a:off x="5120476" y="5840075"/>
            <a:ext cx="69539" cy="3304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1" name="Google Shape;271;p5"/>
          <p:cNvSpPr/>
          <p:nvPr/>
        </p:nvSpPr>
        <p:spPr>
          <a:xfrm>
            <a:off x="9655822" y="5411579"/>
            <a:ext cx="585505" cy="21472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2" name="Google Shape;272;p5"/>
          <p:cNvSpPr/>
          <p:nvPr/>
        </p:nvSpPr>
        <p:spPr>
          <a:xfrm>
            <a:off x="-75" y="4865040"/>
            <a:ext cx="12192064" cy="1574781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3" name="Google Shape;273;p5"/>
          <p:cNvSpPr/>
          <p:nvPr/>
        </p:nvSpPr>
        <p:spPr>
          <a:xfrm>
            <a:off x="4999803" y="4713997"/>
            <a:ext cx="7192180" cy="1940324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4" name="Google Shape;274;p5"/>
          <p:cNvSpPr/>
          <p:nvPr/>
        </p:nvSpPr>
        <p:spPr>
          <a:xfrm>
            <a:off x="-75" y="5504090"/>
            <a:ext cx="12192064" cy="1353911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5" name="Google Shape;275;p5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6" name="Google Shape;276;p5"/>
          <p:cNvSpPr txBox="1">
            <a:spLocks noGrp="1"/>
          </p:cNvSpPr>
          <p:nvPr>
            <p:ph type="subTitle" idx="1"/>
          </p:nvPr>
        </p:nvSpPr>
        <p:spPr>
          <a:xfrm>
            <a:off x="1824200" y="3782300"/>
            <a:ext cx="3407600" cy="117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277" name="Google Shape;277;p5"/>
          <p:cNvSpPr txBox="1">
            <a:spLocks noGrp="1"/>
          </p:cNvSpPr>
          <p:nvPr>
            <p:ph type="title" idx="2"/>
          </p:nvPr>
        </p:nvSpPr>
        <p:spPr>
          <a:xfrm>
            <a:off x="1824200" y="3151000"/>
            <a:ext cx="3407600" cy="55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  <p:sp>
        <p:nvSpPr>
          <p:cNvPr id="278" name="Google Shape;278;p5"/>
          <p:cNvSpPr txBox="1">
            <a:spLocks noGrp="1"/>
          </p:cNvSpPr>
          <p:nvPr>
            <p:ph type="subTitle" idx="3"/>
          </p:nvPr>
        </p:nvSpPr>
        <p:spPr>
          <a:xfrm>
            <a:off x="6960200" y="3782300"/>
            <a:ext cx="3407600" cy="117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279" name="Google Shape;279;p5"/>
          <p:cNvSpPr txBox="1">
            <a:spLocks noGrp="1"/>
          </p:cNvSpPr>
          <p:nvPr>
            <p:ph type="title" idx="4"/>
          </p:nvPr>
        </p:nvSpPr>
        <p:spPr>
          <a:xfrm>
            <a:off x="6960200" y="3151000"/>
            <a:ext cx="3407600" cy="55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Patrick Hand"/>
              <a:buNone/>
              <a:defRPr>
                <a:latin typeface="Patrick Hand"/>
                <a:ea typeface="Patrick Hand"/>
                <a:cs typeface="Patrick Hand"/>
                <a:sym typeface="Patrick Ha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038433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6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2" name="Google Shape;282;p6"/>
          <p:cNvSpPr/>
          <p:nvPr/>
        </p:nvSpPr>
        <p:spPr>
          <a:xfrm>
            <a:off x="2834733" y="5198367"/>
            <a:ext cx="6522528" cy="1659635"/>
          </a:xfrm>
          <a:custGeom>
            <a:avLst/>
            <a:gdLst/>
            <a:ahLst/>
            <a:cxnLst/>
            <a:rect l="l" t="t" r="r" b="b"/>
            <a:pathLst>
              <a:path w="31630" h="2270" extrusionOk="0">
                <a:moveTo>
                  <a:pt x="15211" y="0"/>
                </a:moveTo>
                <a:cubicBezTo>
                  <a:pt x="9192" y="0"/>
                  <a:pt x="1" y="2270"/>
                  <a:pt x="1" y="2270"/>
                </a:cubicBezTo>
                <a:lnTo>
                  <a:pt x="31523" y="2270"/>
                </a:lnTo>
                <a:cubicBezTo>
                  <a:pt x="31630" y="2121"/>
                  <a:pt x="21641" y="70"/>
                  <a:pt x="15472" y="2"/>
                </a:cubicBezTo>
                <a:cubicBezTo>
                  <a:pt x="15386" y="1"/>
                  <a:pt x="15299" y="0"/>
                  <a:pt x="1521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3" name="Google Shape;283;p6"/>
          <p:cNvSpPr/>
          <p:nvPr/>
        </p:nvSpPr>
        <p:spPr>
          <a:xfrm>
            <a:off x="-2103499" y="1195594"/>
            <a:ext cx="5112172" cy="1175101"/>
          </a:xfrm>
          <a:custGeom>
            <a:avLst/>
            <a:gdLst/>
            <a:ahLst/>
            <a:cxnLst/>
            <a:rect l="l" t="t" r="r" b="b"/>
            <a:pathLst>
              <a:path w="21317" h="4900" extrusionOk="0">
                <a:moveTo>
                  <a:pt x="1" y="1"/>
                </a:moveTo>
                <a:lnTo>
                  <a:pt x="1" y="4900"/>
                </a:lnTo>
                <a:cubicBezTo>
                  <a:pt x="876" y="4806"/>
                  <a:pt x="3225" y="4712"/>
                  <a:pt x="3889" y="4469"/>
                </a:cubicBezTo>
                <a:cubicBezTo>
                  <a:pt x="4550" y="4226"/>
                  <a:pt x="5995" y="4375"/>
                  <a:pt x="7194" y="4281"/>
                </a:cubicBezTo>
                <a:cubicBezTo>
                  <a:pt x="8396" y="4171"/>
                  <a:pt x="9504" y="3795"/>
                  <a:pt x="10327" y="3740"/>
                </a:cubicBezTo>
                <a:lnTo>
                  <a:pt x="10596" y="3740"/>
                </a:lnTo>
                <a:cubicBezTo>
                  <a:pt x="10813" y="3740"/>
                  <a:pt x="11001" y="3753"/>
                  <a:pt x="11205" y="3766"/>
                </a:cubicBezTo>
                <a:cubicBezTo>
                  <a:pt x="11406" y="3782"/>
                  <a:pt x="11636" y="3795"/>
                  <a:pt x="11921" y="3795"/>
                </a:cubicBezTo>
                <a:cubicBezTo>
                  <a:pt x="12190" y="3795"/>
                  <a:pt x="12514" y="3782"/>
                  <a:pt x="12945" y="3740"/>
                </a:cubicBezTo>
                <a:cubicBezTo>
                  <a:pt x="14458" y="3604"/>
                  <a:pt x="18129" y="3552"/>
                  <a:pt x="19049" y="3552"/>
                </a:cubicBezTo>
                <a:cubicBezTo>
                  <a:pt x="19979" y="3552"/>
                  <a:pt x="21317" y="3024"/>
                  <a:pt x="20303" y="2972"/>
                </a:cubicBezTo>
                <a:cubicBezTo>
                  <a:pt x="19305" y="2930"/>
                  <a:pt x="19305" y="2972"/>
                  <a:pt x="18482" y="2742"/>
                </a:cubicBezTo>
                <a:cubicBezTo>
                  <a:pt x="18226" y="2661"/>
                  <a:pt x="17886" y="2632"/>
                  <a:pt x="17523" y="2632"/>
                </a:cubicBezTo>
                <a:cubicBezTo>
                  <a:pt x="17131" y="2632"/>
                  <a:pt x="16713" y="2661"/>
                  <a:pt x="16308" y="2687"/>
                </a:cubicBezTo>
                <a:cubicBezTo>
                  <a:pt x="15903" y="2713"/>
                  <a:pt x="15511" y="2742"/>
                  <a:pt x="15187" y="2742"/>
                </a:cubicBezTo>
                <a:lnTo>
                  <a:pt x="14944" y="2742"/>
                </a:lnTo>
                <a:cubicBezTo>
                  <a:pt x="14014" y="2687"/>
                  <a:pt x="13447" y="2350"/>
                  <a:pt x="13690" y="2175"/>
                </a:cubicBezTo>
                <a:cubicBezTo>
                  <a:pt x="13946" y="1984"/>
                  <a:pt x="16538" y="1822"/>
                  <a:pt x="17549" y="1770"/>
                </a:cubicBezTo>
                <a:cubicBezTo>
                  <a:pt x="18550" y="1728"/>
                  <a:pt x="19386" y="1242"/>
                  <a:pt x="19911" y="1148"/>
                </a:cubicBezTo>
                <a:cubicBezTo>
                  <a:pt x="20141" y="1109"/>
                  <a:pt x="19927" y="1093"/>
                  <a:pt x="19603" y="1093"/>
                </a:cubicBezTo>
                <a:cubicBezTo>
                  <a:pt x="19182" y="1093"/>
                  <a:pt x="18563" y="1122"/>
                  <a:pt x="18482" y="1148"/>
                </a:cubicBezTo>
                <a:lnTo>
                  <a:pt x="18440" y="1148"/>
                </a:lnTo>
                <a:cubicBezTo>
                  <a:pt x="18184" y="1148"/>
                  <a:pt x="16833" y="717"/>
                  <a:pt x="16010" y="704"/>
                </a:cubicBezTo>
                <a:lnTo>
                  <a:pt x="15971" y="704"/>
                </a:lnTo>
                <a:cubicBezTo>
                  <a:pt x="15579" y="704"/>
                  <a:pt x="15323" y="769"/>
                  <a:pt x="15012" y="837"/>
                </a:cubicBezTo>
                <a:cubicBezTo>
                  <a:pt x="14701" y="905"/>
                  <a:pt x="14322" y="960"/>
                  <a:pt x="13690" y="960"/>
                </a:cubicBezTo>
                <a:lnTo>
                  <a:pt x="13366" y="960"/>
                </a:lnTo>
                <a:cubicBezTo>
                  <a:pt x="11772" y="905"/>
                  <a:pt x="12433" y="866"/>
                  <a:pt x="11772" y="730"/>
                </a:cubicBezTo>
                <a:cubicBezTo>
                  <a:pt x="11422" y="649"/>
                  <a:pt x="10962" y="623"/>
                  <a:pt x="10489" y="623"/>
                </a:cubicBezTo>
                <a:cubicBezTo>
                  <a:pt x="10084" y="623"/>
                  <a:pt x="9653" y="649"/>
                  <a:pt x="9261" y="704"/>
                </a:cubicBezTo>
                <a:cubicBezTo>
                  <a:pt x="9193" y="717"/>
                  <a:pt x="9112" y="730"/>
                  <a:pt x="9031" y="730"/>
                </a:cubicBezTo>
                <a:cubicBezTo>
                  <a:pt x="8315" y="730"/>
                  <a:pt x="7696" y="189"/>
                  <a:pt x="6345" y="189"/>
                </a:cubicBezTo>
                <a:cubicBezTo>
                  <a:pt x="4861" y="189"/>
                  <a:pt x="1" y="1"/>
                  <a:pt x="1" y="1"/>
                </a:cubicBezTo>
                <a:close/>
              </a:path>
            </a:pathLst>
          </a:custGeom>
          <a:solidFill>
            <a:srgbClr val="FFFFFF">
              <a:alpha val="6913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4" name="Google Shape;284;p6"/>
          <p:cNvSpPr/>
          <p:nvPr/>
        </p:nvSpPr>
        <p:spPr>
          <a:xfrm>
            <a:off x="7821396" y="111234"/>
            <a:ext cx="4426056" cy="958308"/>
          </a:xfrm>
          <a:custGeom>
            <a:avLst/>
            <a:gdLst/>
            <a:ahLst/>
            <a:cxnLst/>
            <a:rect l="l" t="t" r="r" b="b"/>
            <a:pathLst>
              <a:path w="18456" h="3996" extrusionOk="0">
                <a:moveTo>
                  <a:pt x="18456" y="1"/>
                </a:moveTo>
                <a:cubicBezTo>
                  <a:pt x="18456" y="1"/>
                  <a:pt x="17944" y="202"/>
                  <a:pt x="17607" y="202"/>
                </a:cubicBezTo>
                <a:lnTo>
                  <a:pt x="17241" y="202"/>
                </a:lnTo>
                <a:cubicBezTo>
                  <a:pt x="16324" y="202"/>
                  <a:pt x="13907" y="215"/>
                  <a:pt x="12828" y="474"/>
                </a:cubicBezTo>
                <a:cubicBezTo>
                  <a:pt x="11477" y="782"/>
                  <a:pt x="12543" y="701"/>
                  <a:pt x="11221" y="905"/>
                </a:cubicBezTo>
                <a:cubicBezTo>
                  <a:pt x="9912" y="1093"/>
                  <a:pt x="10019" y="1135"/>
                  <a:pt x="9358" y="1297"/>
                </a:cubicBezTo>
                <a:cubicBezTo>
                  <a:pt x="8681" y="1446"/>
                  <a:pt x="7926" y="1365"/>
                  <a:pt x="7184" y="1446"/>
                </a:cubicBezTo>
                <a:cubicBezTo>
                  <a:pt x="6442" y="1527"/>
                  <a:pt x="6562" y="1608"/>
                  <a:pt x="5888" y="1689"/>
                </a:cubicBezTo>
                <a:cubicBezTo>
                  <a:pt x="5279" y="1754"/>
                  <a:pt x="4793" y="1890"/>
                  <a:pt x="4200" y="1890"/>
                </a:cubicBezTo>
                <a:cubicBezTo>
                  <a:pt x="4132" y="1890"/>
                  <a:pt x="4064" y="1877"/>
                  <a:pt x="3983" y="1877"/>
                </a:cubicBezTo>
                <a:cubicBezTo>
                  <a:pt x="3782" y="1864"/>
                  <a:pt x="3432" y="1864"/>
                  <a:pt x="3027" y="1864"/>
                </a:cubicBezTo>
                <a:cubicBezTo>
                  <a:pt x="2094" y="1864"/>
                  <a:pt x="947" y="1890"/>
                  <a:pt x="947" y="1890"/>
                </a:cubicBezTo>
                <a:cubicBezTo>
                  <a:pt x="947" y="1890"/>
                  <a:pt x="1" y="2078"/>
                  <a:pt x="163" y="2078"/>
                </a:cubicBezTo>
                <a:lnTo>
                  <a:pt x="244" y="2078"/>
                </a:lnTo>
                <a:cubicBezTo>
                  <a:pt x="273" y="2065"/>
                  <a:pt x="312" y="2065"/>
                  <a:pt x="367" y="2065"/>
                </a:cubicBezTo>
                <a:cubicBezTo>
                  <a:pt x="853" y="2065"/>
                  <a:pt x="1906" y="2240"/>
                  <a:pt x="3228" y="2350"/>
                </a:cubicBezTo>
                <a:cubicBezTo>
                  <a:pt x="4673" y="2457"/>
                  <a:pt x="5010" y="2389"/>
                  <a:pt x="6306" y="2538"/>
                </a:cubicBezTo>
                <a:cubicBezTo>
                  <a:pt x="6468" y="2564"/>
                  <a:pt x="6643" y="2564"/>
                  <a:pt x="6818" y="2564"/>
                </a:cubicBezTo>
                <a:cubicBezTo>
                  <a:pt x="7210" y="2564"/>
                  <a:pt x="7602" y="2525"/>
                  <a:pt x="7994" y="2483"/>
                </a:cubicBezTo>
                <a:cubicBezTo>
                  <a:pt x="8386" y="2444"/>
                  <a:pt x="8778" y="2402"/>
                  <a:pt x="9128" y="2402"/>
                </a:cubicBezTo>
                <a:cubicBezTo>
                  <a:pt x="9465" y="2402"/>
                  <a:pt x="9789" y="2431"/>
                  <a:pt x="10074" y="2538"/>
                </a:cubicBezTo>
                <a:cubicBezTo>
                  <a:pt x="11140" y="2930"/>
                  <a:pt x="8924" y="2823"/>
                  <a:pt x="8872" y="2969"/>
                </a:cubicBezTo>
                <a:cubicBezTo>
                  <a:pt x="8817" y="3131"/>
                  <a:pt x="9815" y="3131"/>
                  <a:pt x="10680" y="3280"/>
                </a:cubicBezTo>
                <a:cubicBezTo>
                  <a:pt x="11545" y="3442"/>
                  <a:pt x="13703" y="3241"/>
                  <a:pt x="13920" y="3523"/>
                </a:cubicBezTo>
                <a:lnTo>
                  <a:pt x="14137" y="3795"/>
                </a:lnTo>
                <a:cubicBezTo>
                  <a:pt x="14137" y="3795"/>
                  <a:pt x="14461" y="3727"/>
                  <a:pt x="14811" y="3727"/>
                </a:cubicBezTo>
                <a:cubicBezTo>
                  <a:pt x="14986" y="3727"/>
                  <a:pt x="15148" y="3740"/>
                  <a:pt x="15297" y="3795"/>
                </a:cubicBezTo>
                <a:cubicBezTo>
                  <a:pt x="15702" y="3941"/>
                  <a:pt x="15472" y="3941"/>
                  <a:pt x="16162" y="3983"/>
                </a:cubicBezTo>
                <a:cubicBezTo>
                  <a:pt x="16214" y="3996"/>
                  <a:pt x="16269" y="3996"/>
                  <a:pt x="16324" y="3996"/>
                </a:cubicBezTo>
                <a:cubicBezTo>
                  <a:pt x="16619" y="3996"/>
                  <a:pt x="16930" y="3957"/>
                  <a:pt x="17186" y="3915"/>
                </a:cubicBezTo>
                <a:cubicBezTo>
                  <a:pt x="17445" y="3876"/>
                  <a:pt x="17659" y="3821"/>
                  <a:pt x="17769" y="3821"/>
                </a:cubicBezTo>
                <a:cubicBezTo>
                  <a:pt x="17795" y="3821"/>
                  <a:pt x="17808" y="3834"/>
                  <a:pt x="17821" y="3834"/>
                </a:cubicBezTo>
                <a:cubicBezTo>
                  <a:pt x="18012" y="3876"/>
                  <a:pt x="18456" y="3996"/>
                  <a:pt x="18456" y="3996"/>
                </a:cubicBezTo>
                <a:lnTo>
                  <a:pt x="18456" y="1"/>
                </a:lnTo>
                <a:close/>
              </a:path>
            </a:pathLst>
          </a:custGeom>
          <a:solidFill>
            <a:srgbClr val="FFFFFF">
              <a:alpha val="6913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41421906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p7"/>
          <p:cNvSpPr/>
          <p:nvPr/>
        </p:nvSpPr>
        <p:spPr>
          <a:xfrm>
            <a:off x="6780669" y="3194111"/>
            <a:ext cx="5411387" cy="2616965"/>
          </a:xfrm>
          <a:custGeom>
            <a:avLst/>
            <a:gdLst/>
            <a:ahLst/>
            <a:cxnLst/>
            <a:rect l="l" t="t" r="r" b="b"/>
            <a:pathLst>
              <a:path w="23491" h="11360" extrusionOk="0">
                <a:moveTo>
                  <a:pt x="23491" y="1"/>
                </a:moveTo>
                <a:cubicBezTo>
                  <a:pt x="23274" y="179"/>
                  <a:pt x="22924" y="435"/>
                  <a:pt x="22477" y="529"/>
                </a:cubicBezTo>
                <a:cubicBezTo>
                  <a:pt x="21748" y="691"/>
                  <a:pt x="21505" y="1096"/>
                  <a:pt x="20925" y="1339"/>
                </a:cubicBezTo>
                <a:cubicBezTo>
                  <a:pt x="20842" y="1374"/>
                  <a:pt x="20763" y="1389"/>
                  <a:pt x="20686" y="1389"/>
                </a:cubicBezTo>
                <a:cubicBezTo>
                  <a:pt x="20285" y="1389"/>
                  <a:pt x="19929" y="991"/>
                  <a:pt x="19368" y="991"/>
                </a:cubicBezTo>
                <a:cubicBezTo>
                  <a:pt x="19293" y="991"/>
                  <a:pt x="19213" y="999"/>
                  <a:pt x="19130" y="1015"/>
                </a:cubicBezTo>
                <a:cubicBezTo>
                  <a:pt x="18320" y="1177"/>
                  <a:pt x="18482" y="1663"/>
                  <a:pt x="17348" y="1744"/>
                </a:cubicBezTo>
                <a:cubicBezTo>
                  <a:pt x="16201" y="1838"/>
                  <a:pt x="16687" y="2405"/>
                  <a:pt x="15472" y="2729"/>
                </a:cubicBezTo>
                <a:cubicBezTo>
                  <a:pt x="14244" y="3053"/>
                  <a:pt x="14905" y="3296"/>
                  <a:pt x="14163" y="3539"/>
                </a:cubicBezTo>
                <a:cubicBezTo>
                  <a:pt x="13434" y="3782"/>
                  <a:pt x="13434" y="4038"/>
                  <a:pt x="13110" y="4362"/>
                </a:cubicBezTo>
                <a:cubicBezTo>
                  <a:pt x="13037" y="4435"/>
                  <a:pt x="12959" y="4463"/>
                  <a:pt x="12868" y="4463"/>
                </a:cubicBezTo>
                <a:cubicBezTo>
                  <a:pt x="12584" y="4463"/>
                  <a:pt x="12174" y="4192"/>
                  <a:pt x="11390" y="4192"/>
                </a:cubicBezTo>
                <a:cubicBezTo>
                  <a:pt x="11314" y="4192"/>
                  <a:pt x="11235" y="4194"/>
                  <a:pt x="11153" y="4200"/>
                </a:cubicBezTo>
                <a:cubicBezTo>
                  <a:pt x="9922" y="4281"/>
                  <a:pt x="9679" y="5010"/>
                  <a:pt x="9679" y="5010"/>
                </a:cubicBezTo>
                <a:lnTo>
                  <a:pt x="9112" y="4767"/>
                </a:lnTo>
                <a:cubicBezTo>
                  <a:pt x="8994" y="4748"/>
                  <a:pt x="8885" y="4739"/>
                  <a:pt x="8782" y="4739"/>
                </a:cubicBezTo>
                <a:cubicBezTo>
                  <a:pt x="8018" y="4739"/>
                  <a:pt x="7618" y="5230"/>
                  <a:pt x="7236" y="5658"/>
                </a:cubicBezTo>
                <a:cubicBezTo>
                  <a:pt x="3753" y="9559"/>
                  <a:pt x="1" y="10356"/>
                  <a:pt x="1" y="10356"/>
                </a:cubicBezTo>
                <a:cubicBezTo>
                  <a:pt x="1" y="10356"/>
                  <a:pt x="1249" y="11360"/>
                  <a:pt x="3772" y="11360"/>
                </a:cubicBezTo>
                <a:cubicBezTo>
                  <a:pt x="4651" y="11360"/>
                  <a:pt x="5684" y="11238"/>
                  <a:pt x="6873" y="10910"/>
                </a:cubicBezTo>
                <a:lnTo>
                  <a:pt x="23491" y="10910"/>
                </a:lnTo>
                <a:lnTo>
                  <a:pt x="23491" y="1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7" name="Google Shape;287;p7"/>
          <p:cNvSpPr/>
          <p:nvPr/>
        </p:nvSpPr>
        <p:spPr>
          <a:xfrm flipH="1">
            <a:off x="7144167" y="6249298"/>
            <a:ext cx="70951" cy="2221"/>
          </a:xfrm>
          <a:custGeom>
            <a:avLst/>
            <a:gdLst/>
            <a:ahLst/>
            <a:cxnLst/>
            <a:rect l="l" t="t" r="r" b="b"/>
            <a:pathLst>
              <a:path w="231" h="14" extrusionOk="0">
                <a:moveTo>
                  <a:pt x="1" y="1"/>
                </a:moveTo>
                <a:cubicBezTo>
                  <a:pt x="69" y="14"/>
                  <a:pt x="150" y="14"/>
                  <a:pt x="231" y="14"/>
                </a:cubicBezTo>
                <a:cubicBezTo>
                  <a:pt x="150" y="14"/>
                  <a:pt x="69" y="1"/>
                  <a:pt x="1" y="1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8" name="Google Shape;288;p7"/>
          <p:cNvSpPr/>
          <p:nvPr/>
        </p:nvSpPr>
        <p:spPr>
          <a:xfrm flipH="1">
            <a:off x="1990286" y="5961175"/>
            <a:ext cx="597393" cy="14437"/>
          </a:xfrm>
          <a:custGeom>
            <a:avLst/>
            <a:gdLst/>
            <a:ahLst/>
            <a:cxnLst/>
            <a:rect l="l" t="t" r="r" b="b"/>
            <a:pathLst>
              <a:path w="1945" h="91" extrusionOk="0">
                <a:moveTo>
                  <a:pt x="1107" y="0"/>
                </a:moveTo>
                <a:cubicBezTo>
                  <a:pt x="738" y="0"/>
                  <a:pt x="370" y="35"/>
                  <a:pt x="1" y="35"/>
                </a:cubicBezTo>
                <a:cubicBezTo>
                  <a:pt x="649" y="61"/>
                  <a:pt x="1297" y="90"/>
                  <a:pt x="1945" y="90"/>
                </a:cubicBezTo>
                <a:cubicBezTo>
                  <a:pt x="1666" y="20"/>
                  <a:pt x="1386" y="0"/>
                  <a:pt x="1107" y="0"/>
                </a:cubicBezTo>
                <a:close/>
              </a:path>
            </a:pathLst>
          </a:custGeom>
          <a:solidFill>
            <a:srgbClr val="9DCA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9" name="Google Shape;289;p7"/>
          <p:cNvSpPr/>
          <p:nvPr/>
        </p:nvSpPr>
        <p:spPr>
          <a:xfrm flipH="1">
            <a:off x="-16" y="5054767"/>
            <a:ext cx="12192016" cy="1093308"/>
          </a:xfrm>
          <a:custGeom>
            <a:avLst/>
            <a:gdLst/>
            <a:ahLst/>
            <a:cxnLst/>
            <a:rect l="l" t="t" r="r" b="b"/>
            <a:pathLst>
              <a:path w="40501" h="5369" extrusionOk="0">
                <a:moveTo>
                  <a:pt x="34477" y="1"/>
                </a:moveTo>
                <a:cubicBezTo>
                  <a:pt x="31201" y="1"/>
                  <a:pt x="27125" y="3907"/>
                  <a:pt x="23815" y="4222"/>
                </a:cubicBezTo>
                <a:cubicBezTo>
                  <a:pt x="23673" y="4235"/>
                  <a:pt x="23530" y="4242"/>
                  <a:pt x="23385" y="4242"/>
                </a:cubicBezTo>
                <a:cubicBezTo>
                  <a:pt x="20043" y="4242"/>
                  <a:pt x="15781" y="801"/>
                  <a:pt x="11124" y="78"/>
                </a:cubicBezTo>
                <a:cubicBezTo>
                  <a:pt x="10838" y="34"/>
                  <a:pt x="10548" y="13"/>
                  <a:pt x="10254" y="13"/>
                </a:cubicBezTo>
                <a:cubicBezTo>
                  <a:pt x="5549" y="13"/>
                  <a:pt x="1" y="5369"/>
                  <a:pt x="1" y="5369"/>
                </a:cubicBezTo>
                <a:lnTo>
                  <a:pt x="40501" y="5369"/>
                </a:lnTo>
                <a:lnTo>
                  <a:pt x="40501" y="2278"/>
                </a:lnTo>
                <a:cubicBezTo>
                  <a:pt x="40501" y="2278"/>
                  <a:pt x="38071" y="253"/>
                  <a:pt x="34750" y="10"/>
                </a:cubicBezTo>
                <a:cubicBezTo>
                  <a:pt x="34660" y="4"/>
                  <a:pt x="34569" y="1"/>
                  <a:pt x="34477" y="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0" name="Google Shape;290;p7"/>
          <p:cNvSpPr/>
          <p:nvPr/>
        </p:nvSpPr>
        <p:spPr>
          <a:xfrm flipH="1">
            <a:off x="17" y="5436800"/>
            <a:ext cx="12192016" cy="1058891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1" name="Google Shape;291;p7"/>
          <p:cNvSpPr/>
          <p:nvPr/>
        </p:nvSpPr>
        <p:spPr>
          <a:xfrm flipH="1">
            <a:off x="34" y="5158999"/>
            <a:ext cx="7338209" cy="1926275"/>
          </a:xfrm>
          <a:custGeom>
            <a:avLst/>
            <a:gdLst/>
            <a:ahLst/>
            <a:cxnLst/>
            <a:rect l="l" t="t" r="r" b="b"/>
            <a:pathLst>
              <a:path w="14863" h="8685" extrusionOk="0">
                <a:moveTo>
                  <a:pt x="14863" y="1"/>
                </a:moveTo>
                <a:cubicBezTo>
                  <a:pt x="11827" y="1041"/>
                  <a:pt x="6332" y="3095"/>
                  <a:pt x="1" y="6348"/>
                </a:cubicBezTo>
                <a:lnTo>
                  <a:pt x="7913" y="8684"/>
                </a:lnTo>
                <a:lnTo>
                  <a:pt x="14863" y="8684"/>
                </a:lnTo>
                <a:lnTo>
                  <a:pt x="14863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2" name="Google Shape;292;p7"/>
          <p:cNvSpPr/>
          <p:nvPr/>
        </p:nvSpPr>
        <p:spPr>
          <a:xfrm flipH="1">
            <a:off x="242833" y="6092424"/>
            <a:ext cx="11949201" cy="756421"/>
          </a:xfrm>
          <a:custGeom>
            <a:avLst/>
            <a:gdLst/>
            <a:ahLst/>
            <a:cxnLst/>
            <a:rect l="l" t="t" r="r" b="b"/>
            <a:pathLst>
              <a:path w="53351" h="10519" extrusionOk="0">
                <a:moveTo>
                  <a:pt x="1" y="1"/>
                </a:moveTo>
                <a:lnTo>
                  <a:pt x="1" y="10518"/>
                </a:lnTo>
                <a:lnTo>
                  <a:pt x="53351" y="10518"/>
                </a:lnTo>
                <a:lnTo>
                  <a:pt x="53351" y="6857"/>
                </a:lnTo>
                <a:cubicBezTo>
                  <a:pt x="34695" y="1135"/>
                  <a:pt x="10557" y="150"/>
                  <a:pt x="1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3" name="Google Shape;293;p7"/>
          <p:cNvSpPr/>
          <p:nvPr/>
        </p:nvSpPr>
        <p:spPr>
          <a:xfrm flipH="1">
            <a:off x="17" y="6392956"/>
            <a:ext cx="12192016" cy="756440"/>
          </a:xfrm>
          <a:custGeom>
            <a:avLst/>
            <a:gdLst/>
            <a:ahLst/>
            <a:cxnLst/>
            <a:rect l="l" t="t" r="r" b="b"/>
            <a:pathLst>
              <a:path w="40501" h="5738" extrusionOk="0">
                <a:moveTo>
                  <a:pt x="39908" y="0"/>
                </a:moveTo>
                <a:cubicBezTo>
                  <a:pt x="38816" y="0"/>
                  <a:pt x="37402" y="281"/>
                  <a:pt x="33535" y="1577"/>
                </a:cubicBezTo>
                <a:cubicBezTo>
                  <a:pt x="31107" y="2391"/>
                  <a:pt x="27774" y="2887"/>
                  <a:pt x="23712" y="2887"/>
                </a:cubicBezTo>
                <a:cubicBezTo>
                  <a:pt x="20091" y="2887"/>
                  <a:pt x="15891" y="2493"/>
                  <a:pt x="11234" y="1577"/>
                </a:cubicBezTo>
                <a:cubicBezTo>
                  <a:pt x="7940" y="929"/>
                  <a:pt x="5594" y="713"/>
                  <a:pt x="3930" y="713"/>
                </a:cubicBezTo>
                <a:cubicBezTo>
                  <a:pt x="601" y="713"/>
                  <a:pt x="1" y="1577"/>
                  <a:pt x="1" y="1577"/>
                </a:cubicBezTo>
                <a:lnTo>
                  <a:pt x="1" y="2131"/>
                </a:lnTo>
                <a:lnTo>
                  <a:pt x="1" y="2805"/>
                </a:lnTo>
                <a:lnTo>
                  <a:pt x="1" y="2821"/>
                </a:lnTo>
                <a:lnTo>
                  <a:pt x="1" y="5737"/>
                </a:lnTo>
                <a:lnTo>
                  <a:pt x="40501" y="5737"/>
                </a:lnTo>
                <a:lnTo>
                  <a:pt x="40501" y="4574"/>
                </a:lnTo>
                <a:lnTo>
                  <a:pt x="40501" y="579"/>
                </a:lnTo>
                <a:lnTo>
                  <a:pt x="40501" y="25"/>
                </a:lnTo>
                <a:cubicBezTo>
                  <a:pt x="40305" y="10"/>
                  <a:pt x="40112" y="0"/>
                  <a:pt x="3990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4" name="Google Shape;294;p7"/>
          <p:cNvSpPr txBox="1">
            <a:spLocks noGrp="1"/>
          </p:cNvSpPr>
          <p:nvPr>
            <p:ph type="title"/>
          </p:nvPr>
        </p:nvSpPr>
        <p:spPr>
          <a:xfrm>
            <a:off x="960000" y="541780"/>
            <a:ext cx="10272000" cy="69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295" name="Google Shape;295;p7"/>
          <p:cNvSpPr txBox="1">
            <a:spLocks noGrp="1"/>
          </p:cNvSpPr>
          <p:nvPr>
            <p:ph type="subTitle" idx="1"/>
          </p:nvPr>
        </p:nvSpPr>
        <p:spPr>
          <a:xfrm>
            <a:off x="960000" y="1668000"/>
            <a:ext cx="6650800" cy="316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327452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600"/>
              <a:buChar char="●"/>
              <a:defRPr/>
            </a:lvl1pPr>
            <a:lvl2pPr lvl="1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600"/>
              <a:buChar char="○"/>
              <a:defRPr sz="28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8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8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8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8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8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8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9421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93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image" Target="../media/image5.jpg"/><Relationship Id="rId2" Type="http://schemas.openxmlformats.org/officeDocument/2006/relationships/slideLayout" Target="../slideLayouts/slideLayout210.xml"/><Relationship Id="rId16" Type="http://schemas.openxmlformats.org/officeDocument/2006/relationships/theme" Target="../theme/theme13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34" Type="http://schemas.openxmlformats.org/officeDocument/2006/relationships/slideLayout" Target="../slideLayouts/slideLayout92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slideLayout" Target="../slideLayouts/slideLayout90.xml"/><Relationship Id="rId37" Type="http://schemas.openxmlformats.org/officeDocument/2006/relationships/theme" Target="../theme/theme6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89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slideLayout" Target="../slideLayouts/slideLayout120.xml"/><Relationship Id="rId39" Type="http://schemas.openxmlformats.org/officeDocument/2006/relationships/theme" Target="../theme/theme7.xml"/><Relationship Id="rId3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115.xml"/><Relationship Id="rId34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slideLayout" Target="../slideLayouts/slideLayout119.xml"/><Relationship Id="rId33" Type="http://schemas.openxmlformats.org/officeDocument/2006/relationships/slideLayout" Target="../slideLayouts/slideLayout127.xml"/><Relationship Id="rId38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29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32" Type="http://schemas.openxmlformats.org/officeDocument/2006/relationships/slideLayout" Target="../slideLayouts/slideLayout126.xml"/><Relationship Id="rId37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28" Type="http://schemas.openxmlformats.org/officeDocument/2006/relationships/slideLayout" Target="../slideLayouts/slideLayout122.xml"/><Relationship Id="rId36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31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slideLayout" Target="../slideLayouts/slideLayout121.xml"/><Relationship Id="rId30" Type="http://schemas.openxmlformats.org/officeDocument/2006/relationships/slideLayout" Target="../slideLayouts/slideLayout124.xml"/><Relationship Id="rId35" Type="http://schemas.openxmlformats.org/officeDocument/2006/relationships/slideLayout" Target="../slideLayouts/slideLayout12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26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53.xml"/><Relationship Id="rId34" Type="http://schemas.openxmlformats.org/officeDocument/2006/relationships/theme" Target="../theme/theme8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5" Type="http://schemas.openxmlformats.org/officeDocument/2006/relationships/slideLayout" Target="../slideLayouts/slideLayout157.xml"/><Relationship Id="rId33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slideLayout" Target="../slideLayouts/slideLayout152.xml"/><Relationship Id="rId29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24" Type="http://schemas.openxmlformats.org/officeDocument/2006/relationships/slideLayout" Target="../slideLayouts/slideLayout156.xml"/><Relationship Id="rId32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slideLayout" Target="../slideLayouts/slideLayout155.xml"/><Relationship Id="rId28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31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slideLayout" Target="../slideLayouts/slideLayout154.xml"/><Relationship Id="rId27" Type="http://schemas.openxmlformats.org/officeDocument/2006/relationships/slideLayout" Target="../slideLayouts/slideLayout159.xml"/><Relationship Id="rId30" Type="http://schemas.openxmlformats.org/officeDocument/2006/relationships/slideLayout" Target="../slideLayouts/slideLayout16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9Slide.vn - 2019">
            <a:extLst>
              <a:ext uri="{FF2B5EF4-FFF2-40B4-BE49-F238E27FC236}">
                <a16:creationId xmlns:a16="http://schemas.microsoft.com/office/drawing/2014/main" xmlns="" id="{40FF6969-1638-45BA-B1DF-66574F0AD1E7}"/>
              </a:ext>
            </a:extLst>
          </p:cNvPr>
          <p:cNvSpPr txBox="1"/>
          <p:nvPr userDrawn="1"/>
        </p:nvSpPr>
        <p:spPr>
          <a:xfrm>
            <a:off x="0" y="-1604665"/>
            <a:ext cx="12192000" cy="46166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2400">
                <a:solidFill>
                  <a:srgbClr val="CFCFCF"/>
                </a:solidFill>
              </a:rPr>
              <a:t>www.9slide.vn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87A76BE2-03E3-430C-87BF-CCF7A04B2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A75ADF5-CA5B-4871-9C9A-9383514365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6CC4CA2-BFD9-4A50-AE6D-7E063F1814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2D4281-AB9F-40C4-8AED-D396B03B4105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6E59639-3B48-4244-817A-5CDCFCEB1B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E150741-3C1A-4544-8BC8-7AE5A386B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D37DBD-B807-42ED-BB31-B5B2F192B6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150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Capriola" panose="02010603030502060004"/>
              <a:buNone/>
              <a:defRPr sz="3000" b="1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priola" panose="02010603030502060004"/>
              <a:buNone/>
              <a:defRPr sz="2800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priola" panose="02010603030502060004"/>
              <a:buNone/>
              <a:defRPr sz="2800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priola" panose="02010603030502060004"/>
              <a:buNone/>
              <a:defRPr sz="2800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priola" panose="02010603030502060004"/>
              <a:buNone/>
              <a:defRPr sz="2800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priola" panose="02010603030502060004"/>
              <a:buNone/>
              <a:defRPr sz="2800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priola" panose="02010603030502060004"/>
              <a:buNone/>
              <a:defRPr sz="2800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priola" panose="02010603030502060004"/>
              <a:buNone/>
              <a:defRPr sz="2800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priola" panose="02010603030502060004"/>
              <a:buNone/>
              <a:defRPr sz="2800">
                <a:solidFill>
                  <a:schemeClr val="dk1"/>
                </a:solidFill>
                <a:latin typeface="Capriola" panose="02010603030502060004"/>
                <a:ea typeface="Capriola" panose="02010603030502060004"/>
                <a:cs typeface="Capriola" panose="02010603030502060004"/>
                <a:sym typeface="Capriola" panose="02010603030502060004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6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●"/>
              <a:defRPr>
                <a:solidFill>
                  <a:schemeClr val="dk1"/>
                </a:solidFill>
                <a:latin typeface="Lato" panose="020F0502020204030203"/>
                <a:ea typeface="Lato" panose="020F0502020204030203"/>
                <a:cs typeface="Lato" panose="020F0502020204030203"/>
                <a:sym typeface="Lato" panose="020F0502020204030203"/>
              </a:defRPr>
            </a:lvl1pPr>
            <a:lvl2pPr marL="914400" lvl="1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○"/>
              <a:defRPr>
                <a:solidFill>
                  <a:schemeClr val="dk1"/>
                </a:solidFill>
                <a:latin typeface="Lato" panose="020F0502020204030203"/>
                <a:ea typeface="Lato" panose="020F0502020204030203"/>
                <a:cs typeface="Lato" panose="020F0502020204030203"/>
                <a:sym typeface="Lato" panose="020F0502020204030203"/>
              </a:defRPr>
            </a:lvl2pPr>
            <a:lvl3pPr marL="1371600" lvl="2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■"/>
              <a:defRPr>
                <a:solidFill>
                  <a:schemeClr val="dk1"/>
                </a:solidFill>
                <a:latin typeface="Lato" panose="020F0502020204030203"/>
                <a:ea typeface="Lato" panose="020F0502020204030203"/>
                <a:cs typeface="Lato" panose="020F0502020204030203"/>
                <a:sym typeface="Lato" panose="020F0502020204030203"/>
              </a:defRPr>
            </a:lvl3pPr>
            <a:lvl4pPr marL="1828800" lvl="3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●"/>
              <a:defRPr>
                <a:solidFill>
                  <a:schemeClr val="dk1"/>
                </a:solidFill>
                <a:latin typeface="Lato" panose="020F0502020204030203"/>
                <a:ea typeface="Lato" panose="020F0502020204030203"/>
                <a:cs typeface="Lato" panose="020F0502020204030203"/>
                <a:sym typeface="Lato" panose="020F0502020204030203"/>
              </a:defRPr>
            </a:lvl4pPr>
            <a:lvl5pPr marL="2286000" lvl="4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○"/>
              <a:defRPr>
                <a:solidFill>
                  <a:schemeClr val="dk1"/>
                </a:solidFill>
                <a:latin typeface="Lato" panose="020F0502020204030203"/>
                <a:ea typeface="Lato" panose="020F0502020204030203"/>
                <a:cs typeface="Lato" panose="020F0502020204030203"/>
                <a:sym typeface="Lato" panose="020F0502020204030203"/>
              </a:defRPr>
            </a:lvl5pPr>
            <a:lvl6pPr marL="2743200" lvl="5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■"/>
              <a:defRPr>
                <a:solidFill>
                  <a:schemeClr val="dk1"/>
                </a:solidFill>
                <a:latin typeface="Lato" panose="020F0502020204030203"/>
                <a:ea typeface="Lato" panose="020F0502020204030203"/>
                <a:cs typeface="Lato" panose="020F0502020204030203"/>
                <a:sym typeface="Lato" panose="020F0502020204030203"/>
              </a:defRPr>
            </a:lvl6pPr>
            <a:lvl7pPr marL="3200400" lvl="6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●"/>
              <a:defRPr>
                <a:solidFill>
                  <a:schemeClr val="dk1"/>
                </a:solidFill>
                <a:latin typeface="Lato" panose="020F0502020204030203"/>
                <a:ea typeface="Lato" panose="020F0502020204030203"/>
                <a:cs typeface="Lato" panose="020F0502020204030203"/>
                <a:sym typeface="Lato" panose="020F0502020204030203"/>
              </a:defRPr>
            </a:lvl7pPr>
            <a:lvl8pPr marL="3657600" lvl="7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○"/>
              <a:defRPr>
                <a:solidFill>
                  <a:schemeClr val="dk1"/>
                </a:solidFill>
                <a:latin typeface="Lato" panose="020F0502020204030203"/>
                <a:ea typeface="Lato" panose="020F0502020204030203"/>
                <a:cs typeface="Lato" panose="020F0502020204030203"/>
                <a:sym typeface="Lato" panose="020F0502020204030203"/>
              </a:defRPr>
            </a:lvl8pPr>
            <a:lvl9pPr marL="4114800" lvl="8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 panose="020F0502020204030203"/>
              <a:buChar char="■"/>
              <a:defRPr>
                <a:solidFill>
                  <a:schemeClr val="dk1"/>
                </a:solidFill>
                <a:latin typeface="Lato" panose="020F0502020204030203"/>
                <a:ea typeface="Lato" panose="020F0502020204030203"/>
                <a:cs typeface="Lato" panose="020F0502020204030203"/>
                <a:sym typeface="Lato" panose="020F0502020204030203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8503254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58" r:id="rId1"/>
    <p:sldLayoutId id="2147484159" r:id="rId2"/>
    <p:sldLayoutId id="2147484160" r:id="rId3"/>
    <p:sldLayoutId id="2147484161" r:id="rId4"/>
    <p:sldLayoutId id="2147484162" r:id="rId5"/>
    <p:sldLayoutId id="2147484163" r:id="rId6"/>
    <p:sldLayoutId id="2147484164" r:id="rId7"/>
    <p:sldLayoutId id="2147484165" r:id="rId8"/>
    <p:sldLayoutId id="2147484166" r:id="rId9"/>
    <p:sldLayoutId id="2147484167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867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9Slide.vn - 2019"/>
          <p:cNvSpPr txBox="1"/>
          <p:nvPr userDrawn="1"/>
        </p:nvSpPr>
        <p:spPr>
          <a:xfrm>
            <a:off x="0" y="-1604665"/>
            <a:ext cx="12192000" cy="46166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2400">
                <a:solidFill>
                  <a:srgbClr val="CFCFCF"/>
                </a:solidFill>
              </a:rPr>
              <a:t>www.9slide.vn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CA5584-8BEF-4009-98CF-C27956F40B3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765B90-6E29-4F11-B2D3-C3B3CC641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283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9" r:id="rId1"/>
    <p:sldLayoutId id="2147484170" r:id="rId2"/>
    <p:sldLayoutId id="2147484171" r:id="rId3"/>
    <p:sldLayoutId id="2147484172" r:id="rId4"/>
    <p:sldLayoutId id="2147484173" r:id="rId5"/>
    <p:sldLayoutId id="2147484174" r:id="rId6"/>
    <p:sldLayoutId id="2147484175" r:id="rId7"/>
    <p:sldLayoutId id="2147484176" r:id="rId8"/>
    <p:sldLayoutId id="2147484177" r:id="rId9"/>
    <p:sldLayoutId id="2147484178" r:id="rId10"/>
    <p:sldLayoutId id="21474841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AD05A-D4C5-41A7-9D0A-B061BF5A553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A23D81-F170-4E9D-B661-963BC23C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250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1" r:id="rId1"/>
    <p:sldLayoutId id="2147484182" r:id="rId2"/>
    <p:sldLayoutId id="2147484183" r:id="rId3"/>
    <p:sldLayoutId id="2147484184" r:id="rId4"/>
    <p:sldLayoutId id="2147484185" r:id="rId5"/>
    <p:sldLayoutId id="2147484186" r:id="rId6"/>
    <p:sldLayoutId id="2147484187" r:id="rId7"/>
    <p:sldLayoutId id="2147484188" r:id="rId8"/>
    <p:sldLayoutId id="2147484189" r:id="rId9"/>
    <p:sldLayoutId id="2147484190" r:id="rId10"/>
    <p:sldLayoutId id="21474841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alphaModFix amt="97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130351" tIns="65212" rIns="130351" bIns="65212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45"/>
            <a:ext cx="10515600" cy="4351339"/>
          </a:xfrm>
          <a:prstGeom prst="rect">
            <a:avLst/>
          </a:prstGeom>
        </p:spPr>
        <p:txBody>
          <a:bodyPr vert="horz" lIns="130351" tIns="65212" rIns="130351" bIns="65212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436"/>
            <a:ext cx="2743200" cy="365125"/>
          </a:xfrm>
          <a:prstGeom prst="rect">
            <a:avLst/>
          </a:prstGeom>
        </p:spPr>
        <p:txBody>
          <a:bodyPr vert="horz" lIns="130351" tIns="65212" rIns="130351" bIns="65212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7952"/>
            <a:fld id="{ACA37975-6AF7-4301-9DC5-87C074AA59D1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77952"/>
              <a:t>2025/12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36"/>
            <a:ext cx="4114800" cy="365125"/>
          </a:xfrm>
          <a:prstGeom prst="rect">
            <a:avLst/>
          </a:prstGeom>
        </p:spPr>
        <p:txBody>
          <a:bodyPr vert="horz" lIns="130351" tIns="65212" rIns="130351" bIns="65212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7952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12" y="6356436"/>
            <a:ext cx="2743200" cy="365125"/>
          </a:xfrm>
          <a:prstGeom prst="rect">
            <a:avLst/>
          </a:prstGeom>
        </p:spPr>
        <p:txBody>
          <a:bodyPr vert="horz" lIns="130351" tIns="65212" rIns="130351" bIns="65212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7952"/>
            <a:fld id="{D27987A4-0198-42B4-AAAE-EDBADA4485A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77952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363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3" r:id="rId1"/>
    <p:sldLayoutId id="2147484194" r:id="rId2"/>
    <p:sldLayoutId id="2147484195" r:id="rId3"/>
    <p:sldLayoutId id="2147484196" r:id="rId4"/>
    <p:sldLayoutId id="2147484197" r:id="rId5"/>
    <p:sldLayoutId id="2147484198" r:id="rId6"/>
    <p:sldLayoutId id="2147484199" r:id="rId7"/>
    <p:sldLayoutId id="2147484200" r:id="rId8"/>
    <p:sldLayoutId id="2147484201" r:id="rId9"/>
    <p:sldLayoutId id="2147484202" r:id="rId10"/>
    <p:sldLayoutId id="2147484203" r:id="rId11"/>
    <p:sldLayoutId id="2147484204" r:id="rId12"/>
    <p:sldLayoutId id="2147484205" r:id="rId13"/>
    <p:sldLayoutId id="2147484206" r:id="rId14"/>
    <p:sldLayoutId id="2147484207" r:id="rId15"/>
  </p:sldLayoutIdLst>
  <p:transition spd="slow">
    <p:fade/>
  </p:transition>
  <p:txStyles>
    <p:titleStyle>
      <a:lvl1pPr algn="l" defTabSz="977952" rtl="0" eaLnBrk="1" latinLnBrk="0" hangingPunct="1">
        <a:lnSpc>
          <a:spcPct val="90000"/>
        </a:lnSpc>
        <a:spcBef>
          <a:spcPct val="0"/>
        </a:spcBef>
        <a:buNone/>
        <a:defRPr sz="4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4489" indent="-244489" algn="l" defTabSz="977952" rtl="0" eaLnBrk="1" latinLnBrk="0" hangingPunct="1">
        <a:lnSpc>
          <a:spcPct val="90000"/>
        </a:lnSpc>
        <a:spcBef>
          <a:spcPts val="1072"/>
        </a:spcBef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33462" indent="-244489" algn="l" defTabSz="977952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22404" indent="-244489" algn="l" defTabSz="977952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711380" indent="-244489" algn="l" defTabSz="977952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200354" indent="-244489" algn="l" defTabSz="977952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689259" indent="-244489" algn="l" defTabSz="977952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78235" indent="-244489" algn="l" defTabSz="977952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67215" indent="-244489" algn="l" defTabSz="977952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156189" indent="-244489" algn="l" defTabSz="977952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79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977" algn="l" defTabSz="9779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952" algn="l" defTabSz="9779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926" algn="l" defTabSz="9779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5902" algn="l" defTabSz="9779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4850" algn="l" defTabSz="9779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3783" algn="l" defTabSz="9779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761" algn="l" defTabSz="9779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11712" algn="l" defTabSz="9779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9Slide.vn - 2019">
            <a:extLst>
              <a:ext uri="{FF2B5EF4-FFF2-40B4-BE49-F238E27FC236}">
                <a16:creationId xmlns:a16="http://schemas.microsoft.com/office/drawing/2014/main" xmlns="" id="{41FB6EBA-13D8-4EF1-ACAC-65A19C711972}"/>
              </a:ext>
            </a:extLst>
          </p:cNvPr>
          <p:cNvSpPr txBox="1"/>
          <p:nvPr userDrawn="1"/>
        </p:nvSpPr>
        <p:spPr>
          <a:xfrm>
            <a:off x="0" y="-1604665"/>
            <a:ext cx="12192000" cy="46166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2400">
                <a:solidFill>
                  <a:srgbClr val="CFCFCF"/>
                </a:solidFill>
              </a:rPr>
              <a:t>www.9slide.vn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74640"/>
            <a:ext cx="10972800" cy="114300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600202"/>
            <a:ext cx="10972800" cy="4525963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1" y="6356353"/>
            <a:ext cx="2844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196EC2F-0988-4314-AD4B-24FF16D7B45E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/12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2" y="6356353"/>
            <a:ext cx="3860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1" y="6356353"/>
            <a:ext cx="2844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01EE9E8-4134-49B0-9AA7-3089E6521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941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  <p:sldLayoutId id="2147483957" r:id="rId12"/>
    <p:sldLayoutId id="2147483958" r:id="rId13"/>
  </p:sldLayoutIdLst>
  <p:hf hdr="0" ftr="0" dt="0"/>
  <p:txStyles>
    <p:titleStyle>
      <a:lvl1pPr algn="ctr" defTabSz="1218926" rtl="0" eaLnBrk="1" latinLnBrk="0" hangingPunct="1">
        <a:spcBef>
          <a:spcPct val="0"/>
        </a:spcBef>
        <a:buNone/>
        <a:defRPr sz="58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98" indent="-457098" algn="l" defTabSz="1218926" rtl="0" eaLnBrk="1" latinLnBrk="0" hangingPunct="1">
        <a:spcBef>
          <a:spcPct val="20000"/>
        </a:spcBef>
        <a:buFont typeface="Arial" pitchFamily="34" charset="0"/>
        <a:buChar char="•"/>
        <a:defRPr sz="4299" kern="1200">
          <a:solidFill>
            <a:schemeClr val="tx1"/>
          </a:solidFill>
          <a:latin typeface="+mn-lt"/>
          <a:ea typeface="+mn-ea"/>
          <a:cs typeface="+mn-cs"/>
        </a:defRPr>
      </a:lvl1pPr>
      <a:lvl2pPr marL="990377" indent="-380914" algn="l" defTabSz="1218926" rtl="0" eaLnBrk="1" latinLnBrk="0" hangingPunct="1">
        <a:spcBef>
          <a:spcPct val="20000"/>
        </a:spcBef>
        <a:buFont typeface="Arial" pitchFamily="34" charset="0"/>
        <a:buChar char="–"/>
        <a:defRPr sz="3799" kern="1200">
          <a:solidFill>
            <a:schemeClr val="tx1"/>
          </a:solidFill>
          <a:latin typeface="+mn-lt"/>
          <a:ea typeface="+mn-ea"/>
          <a:cs typeface="+mn-cs"/>
        </a:defRPr>
      </a:lvl2pPr>
      <a:lvl3pPr marL="1523657" indent="-304731" algn="l" defTabSz="1218926" rtl="0" eaLnBrk="1" latinLnBrk="0" hangingPunct="1">
        <a:spcBef>
          <a:spcPct val="20000"/>
        </a:spcBef>
        <a:buFont typeface="Arial" pitchFamily="34" charset="0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120" indent="-304731" algn="l" defTabSz="1218926" rtl="0" eaLnBrk="1" latinLnBrk="0" hangingPunct="1">
        <a:spcBef>
          <a:spcPct val="20000"/>
        </a:spcBef>
        <a:buFont typeface="Arial" pitchFamily="34" charset="0"/>
        <a:buChar char="–"/>
        <a:defRPr sz="2699" kern="1200">
          <a:solidFill>
            <a:schemeClr val="tx1"/>
          </a:solidFill>
          <a:latin typeface="+mn-lt"/>
          <a:ea typeface="+mn-ea"/>
          <a:cs typeface="+mn-cs"/>
        </a:defRPr>
      </a:lvl4pPr>
      <a:lvl5pPr marL="2742582" indent="-304731" algn="l" defTabSz="1218926" rtl="0" eaLnBrk="1" latinLnBrk="0" hangingPunct="1">
        <a:spcBef>
          <a:spcPct val="20000"/>
        </a:spcBef>
        <a:buFont typeface="Arial" pitchFamily="34" charset="0"/>
        <a:buChar char="»"/>
        <a:defRPr sz="2699" kern="1200">
          <a:solidFill>
            <a:schemeClr val="tx1"/>
          </a:solidFill>
          <a:latin typeface="+mn-lt"/>
          <a:ea typeface="+mn-ea"/>
          <a:cs typeface="+mn-cs"/>
        </a:defRPr>
      </a:lvl5pPr>
      <a:lvl6pPr marL="3352045" indent="-304731" algn="l" defTabSz="121892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1509" indent="-304731" algn="l" defTabSz="121892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70972" indent="-304731" algn="l" defTabSz="121892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80434" indent="-304731" algn="l" defTabSz="121892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6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26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88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1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4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7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9Slide.vn - 2019">
            <a:extLst>
              <a:ext uri="{FF2B5EF4-FFF2-40B4-BE49-F238E27FC236}">
                <a16:creationId xmlns:a16="http://schemas.microsoft.com/office/drawing/2014/main" xmlns="" id="{330AAE66-7A52-4FAC-8537-9CBA42B7588D}"/>
              </a:ext>
            </a:extLst>
          </p:cNvPr>
          <p:cNvSpPr txBox="1"/>
          <p:nvPr userDrawn="1"/>
        </p:nvSpPr>
        <p:spPr>
          <a:xfrm>
            <a:off x="0" y="-1604665"/>
            <a:ext cx="12192000" cy="46166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2400">
                <a:solidFill>
                  <a:srgbClr val="CFCFCF"/>
                </a:solidFill>
              </a:rPr>
              <a:t>www.9slide.vn</a:t>
            </a: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C1DBFB-CFD2-48AA-8FE1-55CF1AE6D1D6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F9150-92D3-415E-93D8-1993074F856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2040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8097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0D60A908-F9B5-1808-8119-BFCFC18AC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560885A-BF3F-A911-DAB2-D409F377BB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35EEF1D-A185-C3C0-AC96-D5FB3A58C8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E3ED364-A3B2-40FA-9648-C99C83FD5097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20D8A58-AEA8-EC41-EE9B-6B0C502FD5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286E94C-CE1C-9461-BB2C-A5435CADD1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6227AEA-4B9C-4440-B5BC-CDBEFFDF0B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331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rkshire Swash"/>
              <a:buNone/>
              <a:defRPr sz="3000">
                <a:solidFill>
                  <a:schemeClr val="dk1"/>
                </a:solidFill>
                <a:latin typeface="Berkshire Swash"/>
                <a:ea typeface="Berkshire Swash"/>
                <a:cs typeface="Berkshire Swash"/>
                <a:sym typeface="Berkshire Swash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6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●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○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■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●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○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■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●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○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■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4372893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1" r:id="rId8"/>
    <p:sldLayoutId id="2147484042" r:id="rId9"/>
    <p:sldLayoutId id="2147484044" r:id="rId10"/>
    <p:sldLayoutId id="2147484045" r:id="rId11"/>
    <p:sldLayoutId id="2147484046" r:id="rId12"/>
    <p:sldLayoutId id="2147484047" r:id="rId13"/>
    <p:sldLayoutId id="2147484048" r:id="rId14"/>
    <p:sldLayoutId id="2147484049" r:id="rId15"/>
    <p:sldLayoutId id="2147484050" r:id="rId16"/>
    <p:sldLayoutId id="2147484051" r:id="rId17"/>
    <p:sldLayoutId id="2147484052" r:id="rId18"/>
    <p:sldLayoutId id="2147484053" r:id="rId19"/>
    <p:sldLayoutId id="2147484054" r:id="rId20"/>
    <p:sldLayoutId id="2147484055" r:id="rId21"/>
    <p:sldLayoutId id="2147484056" r:id="rId22"/>
    <p:sldLayoutId id="2147484057" r:id="rId23"/>
    <p:sldLayoutId id="2147484058" r:id="rId24"/>
    <p:sldLayoutId id="2147484059" r:id="rId25"/>
    <p:sldLayoutId id="2147484060" r:id="rId26"/>
    <p:sldLayoutId id="2147484061" r:id="rId27"/>
    <p:sldLayoutId id="2147484062" r:id="rId28"/>
    <p:sldLayoutId id="2147484063" r:id="rId29"/>
    <p:sldLayoutId id="2147484064" r:id="rId30"/>
    <p:sldLayoutId id="2147484065" r:id="rId31"/>
    <p:sldLayoutId id="2147484066" r:id="rId32"/>
    <p:sldLayoutId id="2147484067" r:id="rId33"/>
    <p:sldLayoutId id="2147484068" r:id="rId34"/>
    <p:sldLayoutId id="2147484069" r:id="rId35"/>
    <p:sldLayoutId id="2147484070" r:id="rId36"/>
  </p:sldLayoutIdLst>
  <p:transition spd="slow">
    <p:fade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60000" y="558800"/>
            <a:ext cx="10272000" cy="6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rkshire Swash"/>
              <a:buNone/>
              <a:defRPr sz="3000">
                <a:solidFill>
                  <a:schemeClr val="dk1"/>
                </a:solidFill>
                <a:latin typeface="Berkshire Swash"/>
                <a:ea typeface="Berkshire Swash"/>
                <a:cs typeface="Berkshire Swash"/>
                <a:sym typeface="Berkshire Swash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6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●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○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■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●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○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■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●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○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Lato"/>
              <a:buChar char="■"/>
              <a:defRPr sz="16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3857383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72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  <p:sldLayoutId id="2147484084" r:id="rId12"/>
    <p:sldLayoutId id="2147484085" r:id="rId13"/>
    <p:sldLayoutId id="2147484086" r:id="rId14"/>
    <p:sldLayoutId id="2147484087" r:id="rId15"/>
    <p:sldLayoutId id="2147484088" r:id="rId16"/>
    <p:sldLayoutId id="2147484089" r:id="rId17"/>
    <p:sldLayoutId id="2147484090" r:id="rId18"/>
    <p:sldLayoutId id="2147484091" r:id="rId19"/>
    <p:sldLayoutId id="2147484092" r:id="rId20"/>
    <p:sldLayoutId id="2147484093" r:id="rId21"/>
    <p:sldLayoutId id="2147484094" r:id="rId22"/>
    <p:sldLayoutId id="2147484095" r:id="rId23"/>
    <p:sldLayoutId id="2147484096" r:id="rId24"/>
    <p:sldLayoutId id="2147484097" r:id="rId25"/>
    <p:sldLayoutId id="2147484098" r:id="rId26"/>
    <p:sldLayoutId id="2147484099" r:id="rId27"/>
    <p:sldLayoutId id="2147484100" r:id="rId28"/>
    <p:sldLayoutId id="2147484101" r:id="rId29"/>
    <p:sldLayoutId id="2147484102" r:id="rId30"/>
    <p:sldLayoutId id="2147484103" r:id="rId31"/>
    <p:sldLayoutId id="2147484104" r:id="rId32"/>
    <p:sldLayoutId id="2147484105" r:id="rId33"/>
    <p:sldLayoutId id="2147484106" r:id="rId34"/>
    <p:sldLayoutId id="2147484107" r:id="rId35"/>
    <p:sldLayoutId id="2147484108" r:id="rId36"/>
    <p:sldLayoutId id="2147484109" r:id="rId37"/>
    <p:sldLayoutId id="2147484110" r:id="rId3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B2EBFF"/>
            </a:gs>
            <a:gs pos="100000">
              <a:schemeClr val="lt1"/>
            </a:gs>
          </a:gsLst>
          <a:lin ang="5400700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9Slide.vn - 2019">
            <a:extLst>
              <a:ext uri="{FF2B5EF4-FFF2-40B4-BE49-F238E27FC236}">
                <a16:creationId xmlns:a16="http://schemas.microsoft.com/office/drawing/2014/main" xmlns="" id="{FB55BABE-858B-06CE-D311-30474BCCD381}"/>
              </a:ext>
            </a:extLst>
          </p:cNvPr>
          <p:cNvSpPr txBox="1"/>
          <p:nvPr userDrawn="1"/>
        </p:nvSpPr>
        <p:spPr>
          <a:xfrm>
            <a:off x="0" y="-1604665"/>
            <a:ext cx="12192000" cy="46166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2400">
                <a:solidFill>
                  <a:srgbClr val="CFCFCF"/>
                </a:solidFill>
              </a:rPr>
              <a:t>www.9slide.vn</a:t>
            </a:r>
          </a:p>
        </p:txBody>
      </p:sp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6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Fredoka One"/>
              <a:buNone/>
              <a:defRPr sz="3000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6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●"/>
              <a:defRPr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○"/>
              <a:defRPr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■"/>
              <a:defRPr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●"/>
              <a:defRPr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○"/>
              <a:defRPr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■"/>
              <a:defRPr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●"/>
              <a:defRPr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○"/>
              <a:defRPr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■"/>
              <a:defRPr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5213345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12" r:id="rId1"/>
    <p:sldLayoutId id="2147484113" r:id="rId2"/>
    <p:sldLayoutId id="2147484114" r:id="rId3"/>
    <p:sldLayoutId id="2147484115" r:id="rId4"/>
    <p:sldLayoutId id="2147484116" r:id="rId5"/>
    <p:sldLayoutId id="2147484117" r:id="rId6"/>
    <p:sldLayoutId id="2147484118" r:id="rId7"/>
    <p:sldLayoutId id="2147484119" r:id="rId8"/>
    <p:sldLayoutId id="2147484120" r:id="rId9"/>
    <p:sldLayoutId id="2147484121" r:id="rId10"/>
    <p:sldLayoutId id="2147484122" r:id="rId11"/>
    <p:sldLayoutId id="2147484123" r:id="rId12"/>
    <p:sldLayoutId id="2147484124" r:id="rId13"/>
    <p:sldLayoutId id="2147484125" r:id="rId14"/>
    <p:sldLayoutId id="2147484126" r:id="rId15"/>
    <p:sldLayoutId id="2147484127" r:id="rId16"/>
    <p:sldLayoutId id="2147484128" r:id="rId17"/>
    <p:sldLayoutId id="2147484129" r:id="rId18"/>
    <p:sldLayoutId id="2147484130" r:id="rId19"/>
    <p:sldLayoutId id="2147484131" r:id="rId20"/>
    <p:sldLayoutId id="2147484132" r:id="rId21"/>
    <p:sldLayoutId id="2147484133" r:id="rId22"/>
    <p:sldLayoutId id="2147484134" r:id="rId23"/>
    <p:sldLayoutId id="2147484135" r:id="rId24"/>
    <p:sldLayoutId id="2147484136" r:id="rId25"/>
    <p:sldLayoutId id="2147484137" r:id="rId26"/>
    <p:sldLayoutId id="2147484138" r:id="rId27"/>
    <p:sldLayoutId id="2147484139" r:id="rId28"/>
    <p:sldLayoutId id="2147484140" r:id="rId29"/>
    <p:sldLayoutId id="2147484141" r:id="rId30"/>
    <p:sldLayoutId id="2147484142" r:id="rId31"/>
    <p:sldLayoutId id="2147484143" r:id="rId32"/>
    <p:sldLayoutId id="2147484144" r:id="rId33"/>
  </p:sldLayoutIdLst>
  <p:transition spd="slow">
    <p:fade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EFA368-07C6-42CA-86B7-702472C65BE2}" type="datetimeFigureOut">
              <a:rPr lang="en-US" smtClean="0"/>
              <a:t>29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009E6F-1209-4CF3-BF1F-F3E2D6052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622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6" r:id="rId1"/>
    <p:sldLayoutId id="2147484147" r:id="rId2"/>
    <p:sldLayoutId id="2147484148" r:id="rId3"/>
    <p:sldLayoutId id="2147484149" r:id="rId4"/>
    <p:sldLayoutId id="2147484150" r:id="rId5"/>
    <p:sldLayoutId id="2147484151" r:id="rId6"/>
    <p:sldLayoutId id="2147484152" r:id="rId7"/>
    <p:sldLayoutId id="2147484153" r:id="rId8"/>
    <p:sldLayoutId id="2147484154" r:id="rId9"/>
    <p:sldLayoutId id="2147484155" r:id="rId10"/>
    <p:sldLayoutId id="214748415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1.gif"/><Relationship Id="rId5" Type="http://schemas.openxmlformats.org/officeDocument/2006/relationships/image" Target="../media/image10.gif"/><Relationship Id="rId4" Type="http://schemas.openxmlformats.org/officeDocument/2006/relationships/image" Target="../media/image9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microsoft.com/office/2007/relationships/hdphoto" Target="../media/hdphoto5.wdp"/><Relationship Id="rId7" Type="http://schemas.openxmlformats.org/officeDocument/2006/relationships/image" Target="../media/image4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4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7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audio" Target="../media/audio3.wav"/><Relationship Id="rId3" Type="http://schemas.openxmlformats.org/officeDocument/2006/relationships/audio" Target="../media/audio3.wav"/><Relationship Id="rId7" Type="http://schemas.openxmlformats.org/officeDocument/2006/relationships/audio" Target="../media/audio2.wav"/><Relationship Id="rId2" Type="http://schemas.openxmlformats.org/officeDocument/2006/relationships/audio" Target="../media/audio2.wav"/><Relationship Id="rId1" Type="http://schemas.openxmlformats.org/officeDocument/2006/relationships/slideLayout" Target="../slideLayouts/slideLayout21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47.G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67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56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5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7.xml"/><Relationship Id="rId11" Type="http://schemas.openxmlformats.org/officeDocument/2006/relationships/image" Target="../media/image54.png"/><Relationship Id="rId5" Type="http://schemas.openxmlformats.org/officeDocument/2006/relationships/tags" Target="../tags/tag6.xml"/><Relationship Id="rId15" Type="http://schemas.openxmlformats.org/officeDocument/2006/relationships/image" Target="../media/image58.png"/><Relationship Id="rId10" Type="http://schemas.openxmlformats.org/officeDocument/2006/relationships/image" Target="../media/image53.jpeg"/><Relationship Id="rId4" Type="http://schemas.openxmlformats.org/officeDocument/2006/relationships/tags" Target="../tags/tag5.xml"/><Relationship Id="rId9" Type="http://schemas.openxmlformats.org/officeDocument/2006/relationships/notesSlide" Target="../notesSlides/notesSlide10.xml"/><Relationship Id="rId14" Type="http://schemas.openxmlformats.org/officeDocument/2006/relationships/image" Target="../media/image5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9.xml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60.svg"/><Relationship Id="rId7" Type="http://schemas.openxmlformats.org/officeDocument/2006/relationships/image" Target="../media/image62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04.xml"/><Relationship Id="rId6" Type="http://schemas.openxmlformats.org/officeDocument/2006/relationships/image" Target="../media/image61.png"/><Relationship Id="rId5" Type="http://schemas.openxmlformats.org/officeDocument/2006/relationships/image" Target="../media/image62.svg"/><Relationship Id="rId4" Type="http://schemas.openxmlformats.org/officeDocument/2006/relationships/image" Target="../media/image60.png"/><Relationship Id="rId9" Type="http://schemas.openxmlformats.org/officeDocument/2006/relationships/image" Target="../media/image6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9.xml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image" Target="../media/image64.png"/><Relationship Id="rId7" Type="http://schemas.openxmlformats.org/officeDocument/2006/relationships/image" Target="../media/image66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4.xml"/><Relationship Id="rId6" Type="http://schemas.microsoft.com/office/2007/relationships/hdphoto" Target="../media/hdphoto6.wdp"/><Relationship Id="rId5" Type="http://schemas.openxmlformats.org/officeDocument/2006/relationships/image" Target="../media/image65.png"/><Relationship Id="rId10" Type="http://schemas.openxmlformats.org/officeDocument/2006/relationships/image" Target="../media/image47.GIF"/><Relationship Id="rId4" Type="http://schemas.openxmlformats.org/officeDocument/2006/relationships/image" Target="../media/image18.png"/><Relationship Id="rId9" Type="http://schemas.openxmlformats.org/officeDocument/2006/relationships/image" Target="../media/image67.GI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43.png"/><Relationship Id="rId5" Type="http://schemas.openxmlformats.org/officeDocument/2006/relationships/image" Target="../media/image68.emf"/><Relationship Id="rId4" Type="http://schemas.openxmlformats.org/officeDocument/2006/relationships/image" Target="../media/image9.gi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78.xml"/><Relationship Id="rId6" Type="http://schemas.openxmlformats.org/officeDocument/2006/relationships/image" Target="../media/image73.jpeg"/><Relationship Id="rId5" Type="http://schemas.openxmlformats.org/officeDocument/2006/relationships/image" Target="../media/image72.GIF"/><Relationship Id="rId4" Type="http://schemas.openxmlformats.org/officeDocument/2006/relationships/image" Target="../media/image7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95.xml"/><Relationship Id="rId7" Type="http://schemas.microsoft.com/office/2007/relationships/hdphoto" Target="../media/hdphoto3.wdp"/><Relationship Id="rId2" Type="http://schemas.openxmlformats.org/officeDocument/2006/relationships/audio" Target="../media/media1.wav"/><Relationship Id="rId1" Type="http://schemas.microsoft.com/office/2007/relationships/media" Target="../media/media1.wav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95.xml"/><Relationship Id="rId7" Type="http://schemas.microsoft.com/office/2007/relationships/hdphoto" Target="../media/hdphoto3.wdp"/><Relationship Id="rId2" Type="http://schemas.openxmlformats.org/officeDocument/2006/relationships/audio" Target="../media/media1.wav"/><Relationship Id="rId1" Type="http://schemas.microsoft.com/office/2007/relationships/media" Target="../media/media1.wav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audio" Target="../media/audio1.wav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microsoft.com/office/2007/relationships/hdphoto" Target="../media/hdphoto4.wdp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132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9.gif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26.png"/><Relationship Id="rId5" Type="http://schemas.openxmlformats.org/officeDocument/2006/relationships/image" Target="../media/image11.gif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9.xml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audio" Target="NULL"/><Relationship Id="rId3" Type="http://schemas.openxmlformats.org/officeDocument/2006/relationships/slideLayout" Target="../slideLayouts/slideLayout188.xml"/><Relationship Id="rId7" Type="http://schemas.openxmlformats.org/officeDocument/2006/relationships/image" Target="../media/image16.png"/><Relationship Id="rId12" Type="http://schemas.openxmlformats.org/officeDocument/2006/relationships/image" Target="../media/image22.png"/><Relationship Id="rId2" Type="http://schemas.openxmlformats.org/officeDocument/2006/relationships/audio" Target="../media/media1.wav"/><Relationship Id="rId1" Type="http://schemas.microsoft.com/office/2007/relationships/media" Target="../media/media1.wav"/><Relationship Id="rId6" Type="http://schemas.openxmlformats.org/officeDocument/2006/relationships/image" Target="../media/image18.png"/><Relationship Id="rId11" Type="http://schemas.openxmlformats.org/officeDocument/2006/relationships/image" Target="../media/image21.png"/><Relationship Id="rId5" Type="http://schemas.openxmlformats.org/officeDocument/2006/relationships/image" Target="../media/image17.png"/><Relationship Id="rId10" Type="http://schemas.openxmlformats.org/officeDocument/2006/relationships/image" Target="../media/image20.png"/><Relationship Id="rId4" Type="http://schemas.openxmlformats.org/officeDocument/2006/relationships/audio" Target="../media/audio1.wav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2F43CAF-1242-EF07-6B5A-8863DA5449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xmlns="" id="{E318A4A2-41E8-5539-4014-499322A801FD}"/>
              </a:ext>
            </a:extLst>
          </p:cNvPr>
          <p:cNvSpPr/>
          <p:nvPr/>
        </p:nvSpPr>
        <p:spPr>
          <a:xfrm>
            <a:off x="1022555" y="756545"/>
            <a:ext cx="10146891" cy="5501148"/>
          </a:xfrm>
          <a:prstGeom prst="roundRect">
            <a:avLst/>
          </a:prstGeom>
          <a:solidFill>
            <a:srgbClr val="FFFFFF"/>
          </a:solidFill>
          <a:ln w="381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9778847-D013-8F9B-4F16-D8521C375DE4}"/>
              </a:ext>
            </a:extLst>
          </p:cNvPr>
          <p:cNvSpPr txBox="1"/>
          <p:nvPr/>
        </p:nvSpPr>
        <p:spPr>
          <a:xfrm>
            <a:off x="479470" y="1919218"/>
            <a:ext cx="11233061" cy="13542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HÀO MỪNG QUÝ THẦY CÔ</a:t>
            </a:r>
          </a:p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ĐẾN DỰ GIỜ LỚP 3</a:t>
            </a:r>
          </a:p>
        </p:txBody>
      </p:sp>
      <p:pic>
        <p:nvPicPr>
          <p:cNvPr id="10" name="Picture 9" descr="Cartoon a child and child wearing school uniforms&#10;&#10;Description automatically generated">
            <a:extLst>
              <a:ext uri="{FF2B5EF4-FFF2-40B4-BE49-F238E27FC236}">
                <a16:creationId xmlns:a16="http://schemas.microsoft.com/office/drawing/2014/main" xmlns="" id="{13F84217-67A3-FA4D-BE3E-73FE0F4B3EE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59"/>
          <a:stretch/>
        </p:blipFill>
        <p:spPr>
          <a:xfrm>
            <a:off x="231209" y="3859232"/>
            <a:ext cx="1629896" cy="3159878"/>
          </a:xfrm>
          <a:prstGeom prst="rect">
            <a:avLst/>
          </a:prstGeom>
        </p:spPr>
      </p:pic>
      <p:pic>
        <p:nvPicPr>
          <p:cNvPr id="11" name="Picture 10" descr="Cartoon a child and child wearing school uniforms&#10;&#10;Description automatically generated">
            <a:extLst>
              <a:ext uri="{FF2B5EF4-FFF2-40B4-BE49-F238E27FC236}">
                <a16:creationId xmlns:a16="http://schemas.microsoft.com/office/drawing/2014/main" xmlns="" id="{FEC5556C-7D5F-C950-E2B2-772004BA265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183"/>
          <a:stretch/>
        </p:blipFill>
        <p:spPr>
          <a:xfrm>
            <a:off x="10413662" y="3953050"/>
            <a:ext cx="1947679" cy="2904950"/>
          </a:xfrm>
          <a:prstGeom prst="rect">
            <a:avLst/>
          </a:prstGeom>
        </p:spPr>
      </p:pic>
      <p:sp>
        <p:nvSpPr>
          <p:cNvPr id="16" name="文本框 23">
            <a:extLst>
              <a:ext uri="{FF2B5EF4-FFF2-40B4-BE49-F238E27FC236}">
                <a16:creationId xmlns:a16="http://schemas.microsoft.com/office/drawing/2014/main" xmlns="" id="{0C975C96-F3C4-61EB-D9B1-D346957DD524}"/>
              </a:ext>
            </a:extLst>
          </p:cNvPr>
          <p:cNvSpPr txBox="1"/>
          <p:nvPr/>
        </p:nvSpPr>
        <p:spPr>
          <a:xfrm>
            <a:off x="2420548" y="3431102"/>
            <a:ext cx="735090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600" b="1" i="0" u="none" strike="noStrike" kern="1200" cap="none" spc="0" normalizeH="0" baseline="0" noProof="0" dirty="0">
                <a:ln w="0"/>
                <a:solidFill>
                  <a:srgbClr val="448F29"/>
                </a:solidFill>
                <a:effectLst>
                  <a:reflection blurRad="6350" stA="53000" endA="300" endPos="35500" dir="5400000" sy="-90000" algn="bl" rotWithShape="0"/>
                </a:effectLst>
                <a:uLnTx/>
                <a:uFillTx/>
                <a:latin typeface="UTM Duepuntozero" panose="02040603050506020204" pitchFamily="18" charset="0"/>
                <a:ea typeface="微软雅黑" panose="020B0503020204020204" pitchFamily="34" charset="-122"/>
                <a:cs typeface="+mn-cs"/>
              </a:rPr>
              <a:t>Môn </a:t>
            </a:r>
            <a:r>
              <a:rPr kumimoji="0" lang="en-US" altLang="zh-CN" sz="6600" b="1" i="0" u="none" strike="noStrike" kern="1200" cap="none" spc="0" normalizeH="0" baseline="0" noProof="0" dirty="0" err="1">
                <a:ln w="0"/>
                <a:solidFill>
                  <a:srgbClr val="448F29"/>
                </a:solidFill>
                <a:effectLst>
                  <a:reflection blurRad="6350" stA="53000" endA="300" endPos="35500" dir="5400000" sy="-90000" algn="bl" rotWithShape="0"/>
                </a:effectLst>
                <a:uLnTx/>
                <a:uFillTx/>
                <a:latin typeface="UTM Duepuntozero" panose="02040603050506020204" pitchFamily="18" charset="0"/>
                <a:ea typeface="微软雅黑" panose="020B0503020204020204" pitchFamily="34" charset="-122"/>
                <a:cs typeface="+mn-cs"/>
              </a:rPr>
              <a:t>học</a:t>
            </a:r>
            <a:r>
              <a:rPr kumimoji="0" lang="en-US" altLang="zh-CN" sz="6600" b="1" i="0" u="none" strike="noStrike" kern="1200" cap="none" spc="0" normalizeH="0" baseline="0" noProof="0" dirty="0">
                <a:ln w="0"/>
                <a:solidFill>
                  <a:srgbClr val="448F29"/>
                </a:solidFill>
                <a:effectLst>
                  <a:reflection blurRad="6350" stA="53000" endA="300" endPos="35500" dir="5400000" sy="-90000" algn="bl" rotWithShape="0"/>
                </a:effectLst>
                <a:uLnTx/>
                <a:uFillTx/>
                <a:latin typeface="UTM Duepuntozero" panose="02040603050506020204" pitchFamily="18" charset="0"/>
                <a:ea typeface="微软雅黑" panose="020B0503020204020204" pitchFamily="34" charset="-122"/>
                <a:cs typeface="+mn-cs"/>
              </a:rPr>
              <a:t>:</a:t>
            </a:r>
            <a:r>
              <a:rPr lang="en-US" altLang="zh-CN" sz="6600" b="1" noProof="0" dirty="0">
                <a:ln w="0"/>
                <a:solidFill>
                  <a:srgbClr val="448F29"/>
                </a:solidFill>
                <a:effectLst>
                  <a:reflection blurRad="6350" stA="53000" endA="300" endPos="35500" dir="5400000" sy="-90000" algn="bl" rotWithShape="0"/>
                </a:effectLst>
                <a:latin typeface="UTM Duepuntozero" panose="02040603050506020204" pitchFamily="18" charset="0"/>
                <a:ea typeface="微软雅黑" panose="020B0503020204020204" pitchFamily="34" charset="-122"/>
              </a:rPr>
              <a:t> </a:t>
            </a:r>
            <a:r>
              <a:rPr lang="en-US" altLang="zh-CN" sz="6600" b="1" noProof="0" dirty="0" err="1">
                <a:ln w="0"/>
                <a:solidFill>
                  <a:srgbClr val="448F29"/>
                </a:solidFill>
                <a:effectLst>
                  <a:reflection blurRad="6350" stA="53000" endA="300" endPos="35500" dir="5400000" sy="-90000" algn="bl" rotWithShape="0"/>
                </a:effectLst>
                <a:latin typeface="UTM Duepuntozero" panose="02040603050506020204" pitchFamily="18" charset="0"/>
                <a:ea typeface="微软雅黑" panose="020B0503020204020204" pitchFamily="34" charset="-122"/>
              </a:rPr>
              <a:t>Đạo</a:t>
            </a:r>
            <a:r>
              <a:rPr lang="en-US" altLang="zh-CN" sz="6600" b="1" noProof="0" dirty="0">
                <a:ln w="0"/>
                <a:solidFill>
                  <a:srgbClr val="448F29"/>
                </a:solidFill>
                <a:effectLst>
                  <a:reflection blurRad="6350" stA="53000" endA="300" endPos="35500" dir="5400000" sy="-90000" algn="bl" rotWithShape="0"/>
                </a:effectLst>
                <a:latin typeface="UTM Duepuntozero" panose="02040603050506020204" pitchFamily="18" charset="0"/>
                <a:ea typeface="微软雅黑" panose="020B0503020204020204" pitchFamily="34" charset="-122"/>
              </a:rPr>
              <a:t> </a:t>
            </a:r>
            <a:r>
              <a:rPr lang="en-US" altLang="zh-CN" sz="6600" b="1" noProof="0" dirty="0" err="1">
                <a:ln w="0"/>
                <a:solidFill>
                  <a:srgbClr val="448F29"/>
                </a:solidFill>
                <a:effectLst>
                  <a:reflection blurRad="6350" stA="53000" endA="300" endPos="35500" dir="5400000" sy="-90000" algn="bl" rotWithShape="0"/>
                </a:effectLst>
                <a:latin typeface="UTM Duepuntozero" panose="02040603050506020204" pitchFamily="18" charset="0"/>
                <a:ea typeface="微软雅黑" panose="020B0503020204020204" pitchFamily="34" charset="-122"/>
              </a:rPr>
              <a:t>đức</a:t>
            </a:r>
            <a:endParaRPr kumimoji="0" lang="zh-CN" altLang="en-US" sz="6600" b="1" i="0" u="none" strike="noStrike" kern="1200" cap="none" spc="0" normalizeH="0" baseline="0" noProof="0" dirty="0">
              <a:ln w="0"/>
              <a:solidFill>
                <a:srgbClr val="448F29"/>
              </a:solidFill>
              <a:effectLst>
                <a:reflection blurRad="6350" stA="53000" endA="300" endPos="35500" dir="5400000" sy="-90000" algn="bl" rotWithShape="0"/>
              </a:effectLst>
              <a:uLnTx/>
              <a:uFillTx/>
              <a:latin typeface="UTM Duepuntozero" panose="02040603050506020204" pitchFamily="18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55AD1CBF-3AC9-39D5-1E5D-FDE0A913750A}"/>
              </a:ext>
            </a:extLst>
          </p:cNvPr>
          <p:cNvSpPr txBox="1"/>
          <p:nvPr/>
        </p:nvSpPr>
        <p:spPr>
          <a:xfrm>
            <a:off x="479470" y="4931980"/>
            <a:ext cx="11233061" cy="4924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Giáo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iê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: Phan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ị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uỳnh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8" name="Picture 17" descr="Pin on buongiorno">
            <a:extLst>
              <a:ext uri="{FF2B5EF4-FFF2-40B4-BE49-F238E27FC236}">
                <a16:creationId xmlns:a16="http://schemas.microsoft.com/office/drawing/2014/main" xmlns="" id="{17AF3ACA-C93D-3BBA-E5FF-5AB28778EAF4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289" y="324034"/>
            <a:ext cx="1419167" cy="1461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6A145E57-25B6-9ACD-EAC9-6F48AF6D0800}"/>
              </a:ext>
            </a:extLst>
          </p:cNvPr>
          <p:cNvSpPr txBox="1"/>
          <p:nvPr/>
        </p:nvSpPr>
        <p:spPr>
          <a:xfrm>
            <a:off x="479470" y="870270"/>
            <a:ext cx="11233061" cy="3693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rườ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iể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ọ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guyễ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Chí Thanh</a:t>
            </a:r>
          </a:p>
        </p:txBody>
      </p:sp>
      <p:pic>
        <p:nvPicPr>
          <p:cNvPr id="21" name="Picture 2" descr="Top Bird Chirping Stickers for Android &amp; iOS | Gfycat">
            <a:extLst>
              <a:ext uri="{FF2B5EF4-FFF2-40B4-BE49-F238E27FC236}">
                <a16:creationId xmlns:a16="http://schemas.microsoft.com/office/drawing/2014/main" xmlns="" id="{B00E7258-3446-D0F3-401B-07A838D21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1021" y="232382"/>
            <a:ext cx="1308564" cy="1308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6">
            <a:extLst>
              <a:ext uri="{FF2B5EF4-FFF2-40B4-BE49-F238E27FC236}">
                <a16:creationId xmlns:a16="http://schemas.microsoft.com/office/drawing/2014/main" xmlns="" id="{0EF3F391-A313-BACA-60BB-22299C175AB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9457508" y="4856860"/>
            <a:ext cx="563513" cy="586993"/>
          </a:xfrm>
          <a:prstGeom prst="rect">
            <a:avLst/>
          </a:prstGeom>
        </p:spPr>
      </p:pic>
      <p:grpSp>
        <p:nvGrpSpPr>
          <p:cNvPr id="24" name="Group 4">
            <a:extLst>
              <a:ext uri="{FF2B5EF4-FFF2-40B4-BE49-F238E27FC236}">
                <a16:creationId xmlns:a16="http://schemas.microsoft.com/office/drawing/2014/main" xmlns="" id="{B2635605-777E-062B-5926-FAA757578E1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3277" y="6139334"/>
            <a:ext cx="10120535" cy="1027507"/>
            <a:chOff x="106" y="1761"/>
            <a:chExt cx="7466" cy="758"/>
          </a:xfrm>
        </p:grpSpPr>
        <p:grpSp>
          <p:nvGrpSpPr>
            <p:cNvPr id="25" name="Group 205">
              <a:extLst>
                <a:ext uri="{FF2B5EF4-FFF2-40B4-BE49-F238E27FC236}">
                  <a16:creationId xmlns:a16="http://schemas.microsoft.com/office/drawing/2014/main" xmlns="" id="{0E18A2D0-D389-13DF-041D-73CDFFBCD1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6" y="1761"/>
              <a:ext cx="7466" cy="758"/>
              <a:chOff x="106" y="1761"/>
              <a:chExt cx="7466" cy="758"/>
            </a:xfrm>
          </p:grpSpPr>
          <p:sp>
            <p:nvSpPr>
              <p:cNvPr id="126" name="Freeform 5">
                <a:extLst>
                  <a:ext uri="{FF2B5EF4-FFF2-40B4-BE49-F238E27FC236}">
                    <a16:creationId xmlns:a16="http://schemas.microsoft.com/office/drawing/2014/main" xmlns="" id="{5E4727A1-A5EB-74EC-63D4-8C037DE9B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" y="2057"/>
                <a:ext cx="161" cy="144"/>
              </a:xfrm>
              <a:custGeom>
                <a:avLst/>
                <a:gdLst>
                  <a:gd name="T0" fmla="*/ 20 w 70"/>
                  <a:gd name="T1" fmla="*/ 14 h 62"/>
                  <a:gd name="T2" fmla="*/ 70 w 70"/>
                  <a:gd name="T3" fmla="*/ 2 h 62"/>
                  <a:gd name="T4" fmla="*/ 45 w 70"/>
                  <a:gd name="T5" fmla="*/ 47 h 62"/>
                  <a:gd name="T6" fmla="*/ 6 w 70"/>
                  <a:gd name="T7" fmla="*/ 50 h 62"/>
                  <a:gd name="T8" fmla="*/ 20 w 70"/>
                  <a:gd name="T9" fmla="*/ 1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2">
                    <a:moveTo>
                      <a:pt x="20" y="14"/>
                    </a:moveTo>
                    <a:cubicBezTo>
                      <a:pt x="39" y="0"/>
                      <a:pt x="70" y="2"/>
                      <a:pt x="70" y="2"/>
                    </a:cubicBezTo>
                    <a:cubicBezTo>
                      <a:pt x="70" y="2"/>
                      <a:pt x="64" y="33"/>
                      <a:pt x="45" y="47"/>
                    </a:cubicBezTo>
                    <a:cubicBezTo>
                      <a:pt x="25" y="62"/>
                      <a:pt x="6" y="50"/>
                      <a:pt x="6" y="50"/>
                    </a:cubicBezTo>
                    <a:cubicBezTo>
                      <a:pt x="6" y="50"/>
                      <a:pt x="0" y="29"/>
                      <a:pt x="20" y="14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27" name="Freeform 6">
                <a:extLst>
                  <a:ext uri="{FF2B5EF4-FFF2-40B4-BE49-F238E27FC236}">
                    <a16:creationId xmlns:a16="http://schemas.microsoft.com/office/drawing/2014/main" xmlns="" id="{519E5E83-BA4E-9862-1074-5B93FCE4E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" y="2112"/>
                <a:ext cx="129" cy="107"/>
              </a:xfrm>
              <a:custGeom>
                <a:avLst/>
                <a:gdLst>
                  <a:gd name="T0" fmla="*/ 40 w 56"/>
                  <a:gd name="T1" fmla="*/ 9 h 46"/>
                  <a:gd name="T2" fmla="*/ 55 w 56"/>
                  <a:gd name="T3" fmla="*/ 35 h 46"/>
                  <a:gd name="T4" fmla="*/ 25 w 56"/>
                  <a:gd name="T5" fmla="*/ 37 h 46"/>
                  <a:gd name="T6" fmla="*/ 0 w 56"/>
                  <a:gd name="T7" fmla="*/ 6 h 46"/>
                  <a:gd name="T8" fmla="*/ 40 w 56"/>
                  <a:gd name="T9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46">
                    <a:moveTo>
                      <a:pt x="40" y="9"/>
                    </a:moveTo>
                    <a:cubicBezTo>
                      <a:pt x="56" y="17"/>
                      <a:pt x="55" y="35"/>
                      <a:pt x="55" y="35"/>
                    </a:cubicBezTo>
                    <a:cubicBezTo>
                      <a:pt x="55" y="35"/>
                      <a:pt x="41" y="46"/>
                      <a:pt x="25" y="37"/>
                    </a:cubicBezTo>
                    <a:cubicBezTo>
                      <a:pt x="9" y="29"/>
                      <a:pt x="0" y="6"/>
                      <a:pt x="0" y="6"/>
                    </a:cubicBezTo>
                    <a:cubicBezTo>
                      <a:pt x="0" y="6"/>
                      <a:pt x="23" y="0"/>
                      <a:pt x="40" y="9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28" name="Rectangle 7">
                <a:extLst>
                  <a:ext uri="{FF2B5EF4-FFF2-40B4-BE49-F238E27FC236}">
                    <a16:creationId xmlns:a16="http://schemas.microsoft.com/office/drawing/2014/main" xmlns="" id="{87F412C7-201B-4415-83A7-4E621B5A80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4" y="1980"/>
                <a:ext cx="12" cy="446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29" name="Freeform 8">
                <a:extLst>
                  <a:ext uri="{FF2B5EF4-FFF2-40B4-BE49-F238E27FC236}">
                    <a16:creationId xmlns:a16="http://schemas.microsoft.com/office/drawing/2014/main" xmlns="" id="{F4F4492D-2F6D-52F6-0F82-BB331523E3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" y="1831"/>
                <a:ext cx="244" cy="237"/>
              </a:xfrm>
              <a:custGeom>
                <a:avLst/>
                <a:gdLst>
                  <a:gd name="T0" fmla="*/ 91 w 106"/>
                  <a:gd name="T1" fmla="*/ 18 h 102"/>
                  <a:gd name="T2" fmla="*/ 68 w 106"/>
                  <a:gd name="T3" fmla="*/ 13 h 102"/>
                  <a:gd name="T4" fmla="*/ 53 w 106"/>
                  <a:gd name="T5" fmla="*/ 0 h 102"/>
                  <a:gd name="T6" fmla="*/ 37 w 106"/>
                  <a:gd name="T7" fmla="*/ 13 h 102"/>
                  <a:gd name="T8" fmla="*/ 14 w 106"/>
                  <a:gd name="T9" fmla="*/ 18 h 102"/>
                  <a:gd name="T10" fmla="*/ 53 w 106"/>
                  <a:gd name="T11" fmla="*/ 102 h 102"/>
                  <a:gd name="T12" fmla="*/ 91 w 106"/>
                  <a:gd name="T13" fmla="*/ 1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" h="102">
                    <a:moveTo>
                      <a:pt x="91" y="18"/>
                    </a:moveTo>
                    <a:cubicBezTo>
                      <a:pt x="81" y="4"/>
                      <a:pt x="68" y="13"/>
                      <a:pt x="68" y="13"/>
                    </a:cubicBezTo>
                    <a:cubicBezTo>
                      <a:pt x="70" y="9"/>
                      <a:pt x="62" y="0"/>
                      <a:pt x="53" y="0"/>
                    </a:cubicBezTo>
                    <a:cubicBezTo>
                      <a:pt x="44" y="0"/>
                      <a:pt x="35" y="9"/>
                      <a:pt x="37" y="13"/>
                    </a:cubicBezTo>
                    <a:cubicBezTo>
                      <a:pt x="37" y="13"/>
                      <a:pt x="24" y="4"/>
                      <a:pt x="14" y="18"/>
                    </a:cubicBezTo>
                    <a:cubicBezTo>
                      <a:pt x="0" y="39"/>
                      <a:pt x="19" y="102"/>
                      <a:pt x="53" y="102"/>
                    </a:cubicBezTo>
                    <a:cubicBezTo>
                      <a:pt x="86" y="102"/>
                      <a:pt x="106" y="39"/>
                      <a:pt x="91" y="18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30" name="Freeform 9">
                <a:extLst>
                  <a:ext uri="{FF2B5EF4-FFF2-40B4-BE49-F238E27FC236}">
                    <a16:creationId xmlns:a16="http://schemas.microsoft.com/office/drawing/2014/main" xmlns="" id="{B9E14C0C-A13C-2416-FBD8-D131597A5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057"/>
                <a:ext cx="159" cy="144"/>
              </a:xfrm>
              <a:custGeom>
                <a:avLst/>
                <a:gdLst>
                  <a:gd name="T0" fmla="*/ 19 w 69"/>
                  <a:gd name="T1" fmla="*/ 14 h 62"/>
                  <a:gd name="T2" fmla="*/ 69 w 69"/>
                  <a:gd name="T3" fmla="*/ 2 h 62"/>
                  <a:gd name="T4" fmla="*/ 44 w 69"/>
                  <a:gd name="T5" fmla="*/ 47 h 62"/>
                  <a:gd name="T6" fmla="*/ 5 w 69"/>
                  <a:gd name="T7" fmla="*/ 50 h 62"/>
                  <a:gd name="T8" fmla="*/ 19 w 69"/>
                  <a:gd name="T9" fmla="*/ 1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2">
                    <a:moveTo>
                      <a:pt x="19" y="14"/>
                    </a:moveTo>
                    <a:cubicBezTo>
                      <a:pt x="38" y="0"/>
                      <a:pt x="69" y="2"/>
                      <a:pt x="69" y="2"/>
                    </a:cubicBezTo>
                    <a:cubicBezTo>
                      <a:pt x="69" y="2"/>
                      <a:pt x="63" y="33"/>
                      <a:pt x="44" y="47"/>
                    </a:cubicBezTo>
                    <a:cubicBezTo>
                      <a:pt x="25" y="62"/>
                      <a:pt x="5" y="50"/>
                      <a:pt x="5" y="50"/>
                    </a:cubicBezTo>
                    <a:cubicBezTo>
                      <a:pt x="5" y="50"/>
                      <a:pt x="0" y="29"/>
                      <a:pt x="19" y="14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31" name="Freeform 10">
                <a:extLst>
                  <a:ext uri="{FF2B5EF4-FFF2-40B4-BE49-F238E27FC236}">
                    <a16:creationId xmlns:a16="http://schemas.microsoft.com/office/drawing/2014/main" xmlns="" id="{77305BEA-4919-CA46-FDF0-CFA47A5DD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8" y="2112"/>
                <a:ext cx="127" cy="107"/>
              </a:xfrm>
              <a:custGeom>
                <a:avLst/>
                <a:gdLst>
                  <a:gd name="T0" fmla="*/ 39 w 55"/>
                  <a:gd name="T1" fmla="*/ 9 h 46"/>
                  <a:gd name="T2" fmla="*/ 54 w 55"/>
                  <a:gd name="T3" fmla="*/ 35 h 46"/>
                  <a:gd name="T4" fmla="*/ 24 w 55"/>
                  <a:gd name="T5" fmla="*/ 37 h 46"/>
                  <a:gd name="T6" fmla="*/ 0 w 55"/>
                  <a:gd name="T7" fmla="*/ 6 h 46"/>
                  <a:gd name="T8" fmla="*/ 39 w 55"/>
                  <a:gd name="T9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6">
                    <a:moveTo>
                      <a:pt x="39" y="9"/>
                    </a:moveTo>
                    <a:cubicBezTo>
                      <a:pt x="55" y="17"/>
                      <a:pt x="54" y="35"/>
                      <a:pt x="54" y="35"/>
                    </a:cubicBezTo>
                    <a:cubicBezTo>
                      <a:pt x="54" y="35"/>
                      <a:pt x="40" y="46"/>
                      <a:pt x="24" y="37"/>
                    </a:cubicBezTo>
                    <a:cubicBezTo>
                      <a:pt x="8" y="29"/>
                      <a:pt x="0" y="6"/>
                      <a:pt x="0" y="6"/>
                    </a:cubicBezTo>
                    <a:cubicBezTo>
                      <a:pt x="0" y="6"/>
                      <a:pt x="22" y="0"/>
                      <a:pt x="39" y="9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32" name="Rectangle 11">
                <a:extLst>
                  <a:ext uri="{FF2B5EF4-FFF2-40B4-BE49-F238E27FC236}">
                    <a16:creationId xmlns:a16="http://schemas.microsoft.com/office/drawing/2014/main" xmlns="" id="{08527EF6-4F99-8712-4115-75242CB4B1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33" y="1980"/>
                <a:ext cx="14" cy="446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33" name="Freeform 12">
                <a:extLst>
                  <a:ext uri="{FF2B5EF4-FFF2-40B4-BE49-F238E27FC236}">
                    <a16:creationId xmlns:a16="http://schemas.microsoft.com/office/drawing/2014/main" xmlns="" id="{3C2F2524-2BF3-1C8D-F01B-8CCE4F9B7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8" y="1831"/>
                <a:ext cx="244" cy="237"/>
              </a:xfrm>
              <a:custGeom>
                <a:avLst/>
                <a:gdLst>
                  <a:gd name="T0" fmla="*/ 91 w 106"/>
                  <a:gd name="T1" fmla="*/ 18 h 102"/>
                  <a:gd name="T2" fmla="*/ 68 w 106"/>
                  <a:gd name="T3" fmla="*/ 13 h 102"/>
                  <a:gd name="T4" fmla="*/ 53 w 106"/>
                  <a:gd name="T5" fmla="*/ 0 h 102"/>
                  <a:gd name="T6" fmla="*/ 37 w 106"/>
                  <a:gd name="T7" fmla="*/ 13 h 102"/>
                  <a:gd name="T8" fmla="*/ 14 w 106"/>
                  <a:gd name="T9" fmla="*/ 18 h 102"/>
                  <a:gd name="T10" fmla="*/ 53 w 106"/>
                  <a:gd name="T11" fmla="*/ 102 h 102"/>
                  <a:gd name="T12" fmla="*/ 91 w 106"/>
                  <a:gd name="T13" fmla="*/ 1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" h="102">
                    <a:moveTo>
                      <a:pt x="91" y="18"/>
                    </a:moveTo>
                    <a:cubicBezTo>
                      <a:pt x="81" y="4"/>
                      <a:pt x="68" y="13"/>
                      <a:pt x="68" y="13"/>
                    </a:cubicBezTo>
                    <a:cubicBezTo>
                      <a:pt x="70" y="9"/>
                      <a:pt x="62" y="0"/>
                      <a:pt x="53" y="0"/>
                    </a:cubicBezTo>
                    <a:cubicBezTo>
                      <a:pt x="44" y="0"/>
                      <a:pt x="36" y="9"/>
                      <a:pt x="37" y="13"/>
                    </a:cubicBezTo>
                    <a:cubicBezTo>
                      <a:pt x="37" y="13"/>
                      <a:pt x="24" y="4"/>
                      <a:pt x="14" y="18"/>
                    </a:cubicBezTo>
                    <a:cubicBezTo>
                      <a:pt x="0" y="39"/>
                      <a:pt x="19" y="102"/>
                      <a:pt x="53" y="102"/>
                    </a:cubicBezTo>
                    <a:cubicBezTo>
                      <a:pt x="87" y="102"/>
                      <a:pt x="106" y="39"/>
                      <a:pt x="91" y="18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34" name="Freeform 13">
                <a:extLst>
                  <a:ext uri="{FF2B5EF4-FFF2-40B4-BE49-F238E27FC236}">
                    <a16:creationId xmlns:a16="http://schemas.microsoft.com/office/drawing/2014/main" xmlns="" id="{1F1240B9-1F46-F102-702A-2C63927B5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" y="2001"/>
                <a:ext cx="159" cy="146"/>
              </a:xfrm>
              <a:custGeom>
                <a:avLst/>
                <a:gdLst>
                  <a:gd name="T0" fmla="*/ 19 w 69"/>
                  <a:gd name="T1" fmla="*/ 15 h 63"/>
                  <a:gd name="T2" fmla="*/ 69 w 69"/>
                  <a:gd name="T3" fmla="*/ 3 h 63"/>
                  <a:gd name="T4" fmla="*/ 44 w 69"/>
                  <a:gd name="T5" fmla="*/ 48 h 63"/>
                  <a:gd name="T6" fmla="*/ 5 w 69"/>
                  <a:gd name="T7" fmla="*/ 51 h 63"/>
                  <a:gd name="T8" fmla="*/ 19 w 69"/>
                  <a:gd name="T9" fmla="*/ 15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3">
                    <a:moveTo>
                      <a:pt x="19" y="15"/>
                    </a:moveTo>
                    <a:cubicBezTo>
                      <a:pt x="38" y="0"/>
                      <a:pt x="69" y="3"/>
                      <a:pt x="69" y="3"/>
                    </a:cubicBezTo>
                    <a:cubicBezTo>
                      <a:pt x="69" y="3"/>
                      <a:pt x="63" y="34"/>
                      <a:pt x="44" y="48"/>
                    </a:cubicBezTo>
                    <a:cubicBezTo>
                      <a:pt x="25" y="63"/>
                      <a:pt x="5" y="51"/>
                      <a:pt x="5" y="51"/>
                    </a:cubicBezTo>
                    <a:cubicBezTo>
                      <a:pt x="5" y="51"/>
                      <a:pt x="0" y="29"/>
                      <a:pt x="19" y="15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35" name="Freeform 14">
                <a:extLst>
                  <a:ext uri="{FF2B5EF4-FFF2-40B4-BE49-F238E27FC236}">
                    <a16:creationId xmlns:a16="http://schemas.microsoft.com/office/drawing/2014/main" xmlns="" id="{5FA86898-B9A7-5EC1-4B32-D5A9E59B9B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" y="2059"/>
                <a:ext cx="127" cy="104"/>
              </a:xfrm>
              <a:custGeom>
                <a:avLst/>
                <a:gdLst>
                  <a:gd name="T0" fmla="*/ 39 w 55"/>
                  <a:gd name="T1" fmla="*/ 9 h 45"/>
                  <a:gd name="T2" fmla="*/ 54 w 55"/>
                  <a:gd name="T3" fmla="*/ 34 h 45"/>
                  <a:gd name="T4" fmla="*/ 24 w 55"/>
                  <a:gd name="T5" fmla="*/ 37 h 45"/>
                  <a:gd name="T6" fmla="*/ 0 w 55"/>
                  <a:gd name="T7" fmla="*/ 6 h 45"/>
                  <a:gd name="T8" fmla="*/ 39 w 55"/>
                  <a:gd name="T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5">
                    <a:moveTo>
                      <a:pt x="39" y="9"/>
                    </a:moveTo>
                    <a:cubicBezTo>
                      <a:pt x="55" y="17"/>
                      <a:pt x="54" y="34"/>
                      <a:pt x="54" y="34"/>
                    </a:cubicBezTo>
                    <a:cubicBezTo>
                      <a:pt x="54" y="34"/>
                      <a:pt x="41" y="45"/>
                      <a:pt x="24" y="37"/>
                    </a:cubicBezTo>
                    <a:cubicBezTo>
                      <a:pt x="8" y="28"/>
                      <a:pt x="0" y="6"/>
                      <a:pt x="0" y="6"/>
                    </a:cubicBezTo>
                    <a:cubicBezTo>
                      <a:pt x="0" y="6"/>
                      <a:pt x="23" y="0"/>
                      <a:pt x="39" y="9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36" name="Rectangle 15">
                <a:extLst>
                  <a:ext uri="{FF2B5EF4-FFF2-40B4-BE49-F238E27FC236}">
                    <a16:creationId xmlns:a16="http://schemas.microsoft.com/office/drawing/2014/main" xmlns="" id="{E087FEC4-B308-C683-7181-AC4CEFF695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2" y="1926"/>
                <a:ext cx="14" cy="447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37" name="Freeform 16">
                <a:extLst>
                  <a:ext uri="{FF2B5EF4-FFF2-40B4-BE49-F238E27FC236}">
                    <a16:creationId xmlns:a16="http://schemas.microsoft.com/office/drawing/2014/main" xmlns="" id="{149F2BF2-B0A6-69A7-8E88-55BEE1174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" y="1778"/>
                <a:ext cx="244" cy="237"/>
              </a:xfrm>
              <a:custGeom>
                <a:avLst/>
                <a:gdLst>
                  <a:gd name="T0" fmla="*/ 92 w 106"/>
                  <a:gd name="T1" fmla="*/ 18 h 102"/>
                  <a:gd name="T2" fmla="*/ 68 w 106"/>
                  <a:gd name="T3" fmla="*/ 12 h 102"/>
                  <a:gd name="T4" fmla="*/ 53 w 106"/>
                  <a:gd name="T5" fmla="*/ 0 h 102"/>
                  <a:gd name="T6" fmla="*/ 38 w 106"/>
                  <a:gd name="T7" fmla="*/ 12 h 102"/>
                  <a:gd name="T8" fmla="*/ 15 w 106"/>
                  <a:gd name="T9" fmla="*/ 18 h 102"/>
                  <a:gd name="T10" fmla="*/ 53 w 106"/>
                  <a:gd name="T11" fmla="*/ 102 h 102"/>
                  <a:gd name="T12" fmla="*/ 92 w 106"/>
                  <a:gd name="T13" fmla="*/ 1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" h="102">
                    <a:moveTo>
                      <a:pt x="92" y="18"/>
                    </a:moveTo>
                    <a:cubicBezTo>
                      <a:pt x="82" y="4"/>
                      <a:pt x="68" y="12"/>
                      <a:pt x="68" y="12"/>
                    </a:cubicBezTo>
                    <a:cubicBezTo>
                      <a:pt x="70" y="9"/>
                      <a:pt x="62" y="0"/>
                      <a:pt x="53" y="0"/>
                    </a:cubicBezTo>
                    <a:cubicBezTo>
                      <a:pt x="44" y="0"/>
                      <a:pt x="36" y="9"/>
                      <a:pt x="38" y="12"/>
                    </a:cubicBezTo>
                    <a:cubicBezTo>
                      <a:pt x="38" y="12"/>
                      <a:pt x="25" y="4"/>
                      <a:pt x="15" y="18"/>
                    </a:cubicBezTo>
                    <a:cubicBezTo>
                      <a:pt x="0" y="38"/>
                      <a:pt x="19" y="102"/>
                      <a:pt x="53" y="102"/>
                    </a:cubicBezTo>
                    <a:cubicBezTo>
                      <a:pt x="87" y="102"/>
                      <a:pt x="106" y="38"/>
                      <a:pt x="92" y="18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38" name="Freeform 17">
                <a:extLst>
                  <a:ext uri="{FF2B5EF4-FFF2-40B4-BE49-F238E27FC236}">
                    <a16:creationId xmlns:a16="http://schemas.microsoft.com/office/drawing/2014/main" xmlns="" id="{B62D5504-66E9-176E-79DF-3B19AF9F30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2" y="2087"/>
                <a:ext cx="145" cy="132"/>
              </a:xfrm>
              <a:custGeom>
                <a:avLst/>
                <a:gdLst>
                  <a:gd name="T0" fmla="*/ 45 w 63"/>
                  <a:gd name="T1" fmla="*/ 13 h 57"/>
                  <a:gd name="T2" fmla="*/ 0 w 63"/>
                  <a:gd name="T3" fmla="*/ 3 h 57"/>
                  <a:gd name="T4" fmla="*/ 23 w 63"/>
                  <a:gd name="T5" fmla="*/ 44 h 57"/>
                  <a:gd name="T6" fmla="*/ 58 w 63"/>
                  <a:gd name="T7" fmla="*/ 47 h 57"/>
                  <a:gd name="T8" fmla="*/ 45 w 63"/>
                  <a:gd name="T9" fmla="*/ 13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7">
                    <a:moveTo>
                      <a:pt x="45" y="13"/>
                    </a:moveTo>
                    <a:cubicBezTo>
                      <a:pt x="28" y="0"/>
                      <a:pt x="0" y="3"/>
                      <a:pt x="0" y="3"/>
                    </a:cubicBezTo>
                    <a:cubicBezTo>
                      <a:pt x="0" y="3"/>
                      <a:pt x="5" y="31"/>
                      <a:pt x="23" y="44"/>
                    </a:cubicBezTo>
                    <a:cubicBezTo>
                      <a:pt x="40" y="57"/>
                      <a:pt x="58" y="47"/>
                      <a:pt x="58" y="47"/>
                    </a:cubicBezTo>
                    <a:cubicBezTo>
                      <a:pt x="58" y="47"/>
                      <a:pt x="63" y="27"/>
                      <a:pt x="45" y="1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39" name="Freeform 18">
                <a:extLst>
                  <a:ext uri="{FF2B5EF4-FFF2-40B4-BE49-F238E27FC236}">
                    <a16:creationId xmlns:a16="http://schemas.microsoft.com/office/drawing/2014/main" xmlns="" id="{348F82CA-0C35-ADF8-FE59-14DD9DABFC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3" y="2140"/>
                <a:ext cx="118" cy="96"/>
              </a:xfrm>
              <a:custGeom>
                <a:avLst/>
                <a:gdLst>
                  <a:gd name="T0" fmla="*/ 15 w 51"/>
                  <a:gd name="T1" fmla="*/ 8 h 41"/>
                  <a:gd name="T2" fmla="*/ 1 w 51"/>
                  <a:gd name="T3" fmla="*/ 31 h 41"/>
                  <a:gd name="T4" fmla="*/ 28 w 51"/>
                  <a:gd name="T5" fmla="*/ 33 h 41"/>
                  <a:gd name="T6" fmla="*/ 51 w 51"/>
                  <a:gd name="T7" fmla="*/ 5 h 41"/>
                  <a:gd name="T8" fmla="*/ 15 w 51"/>
                  <a:gd name="T9" fmla="*/ 8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41">
                    <a:moveTo>
                      <a:pt x="15" y="8"/>
                    </a:moveTo>
                    <a:cubicBezTo>
                      <a:pt x="0" y="15"/>
                      <a:pt x="1" y="31"/>
                      <a:pt x="1" y="31"/>
                    </a:cubicBezTo>
                    <a:cubicBezTo>
                      <a:pt x="1" y="31"/>
                      <a:pt x="14" y="41"/>
                      <a:pt x="28" y="33"/>
                    </a:cubicBezTo>
                    <a:cubicBezTo>
                      <a:pt x="43" y="26"/>
                      <a:pt x="51" y="5"/>
                      <a:pt x="51" y="5"/>
                    </a:cubicBezTo>
                    <a:cubicBezTo>
                      <a:pt x="51" y="5"/>
                      <a:pt x="30" y="0"/>
                      <a:pt x="15" y="8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40" name="Rectangle 19">
                <a:extLst>
                  <a:ext uri="{FF2B5EF4-FFF2-40B4-BE49-F238E27FC236}">
                    <a16:creationId xmlns:a16="http://schemas.microsoft.com/office/drawing/2014/main" xmlns="" id="{5C95603E-40CD-BED4-0162-ED1B79CC3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3" y="2019"/>
                <a:ext cx="12" cy="407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41" name="Freeform 20">
                <a:extLst>
                  <a:ext uri="{FF2B5EF4-FFF2-40B4-BE49-F238E27FC236}">
                    <a16:creationId xmlns:a16="http://schemas.microsoft.com/office/drawing/2014/main" xmlns="" id="{E78E5116-4C94-6F84-3455-7FEF0DD0A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3" y="1831"/>
                <a:ext cx="292" cy="228"/>
              </a:xfrm>
              <a:custGeom>
                <a:avLst/>
                <a:gdLst>
                  <a:gd name="T0" fmla="*/ 121 w 127"/>
                  <a:gd name="T1" fmla="*/ 27 h 98"/>
                  <a:gd name="T2" fmla="*/ 92 w 127"/>
                  <a:gd name="T3" fmla="*/ 42 h 98"/>
                  <a:gd name="T4" fmla="*/ 63 w 127"/>
                  <a:gd name="T5" fmla="*/ 0 h 98"/>
                  <a:gd name="T6" fmla="*/ 35 w 127"/>
                  <a:gd name="T7" fmla="*/ 42 h 98"/>
                  <a:gd name="T8" fmla="*/ 6 w 127"/>
                  <a:gd name="T9" fmla="*/ 27 h 98"/>
                  <a:gd name="T10" fmla="*/ 63 w 127"/>
                  <a:gd name="T11" fmla="*/ 98 h 98"/>
                  <a:gd name="T12" fmla="*/ 121 w 127"/>
                  <a:gd name="T13" fmla="*/ 27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98">
                    <a:moveTo>
                      <a:pt x="121" y="27"/>
                    </a:moveTo>
                    <a:cubicBezTo>
                      <a:pt x="92" y="42"/>
                      <a:pt x="92" y="42"/>
                      <a:pt x="92" y="42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35" y="42"/>
                      <a:pt x="35" y="42"/>
                      <a:pt x="35" y="42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6" y="27"/>
                      <a:pt x="0" y="98"/>
                      <a:pt x="63" y="98"/>
                    </a:cubicBezTo>
                    <a:cubicBezTo>
                      <a:pt x="127" y="98"/>
                      <a:pt x="121" y="27"/>
                      <a:pt x="121" y="27"/>
                    </a:cubicBezTo>
                  </a:path>
                </a:pathLst>
              </a:custGeom>
              <a:solidFill>
                <a:srgbClr val="FF70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42" name="Freeform 21">
                <a:extLst>
                  <a:ext uri="{FF2B5EF4-FFF2-40B4-BE49-F238E27FC236}">
                    <a16:creationId xmlns:a16="http://schemas.microsoft.com/office/drawing/2014/main" xmlns="" id="{E0C804F9-71B1-89AA-C918-E56AEC97D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1" y="2108"/>
                <a:ext cx="136" cy="125"/>
              </a:xfrm>
              <a:custGeom>
                <a:avLst/>
                <a:gdLst>
                  <a:gd name="T0" fmla="*/ 43 w 59"/>
                  <a:gd name="T1" fmla="*/ 13 h 54"/>
                  <a:gd name="T2" fmla="*/ 0 w 59"/>
                  <a:gd name="T3" fmla="*/ 3 h 54"/>
                  <a:gd name="T4" fmla="*/ 21 w 59"/>
                  <a:gd name="T5" fmla="*/ 41 h 54"/>
                  <a:gd name="T6" fmla="*/ 55 w 59"/>
                  <a:gd name="T7" fmla="*/ 44 h 54"/>
                  <a:gd name="T8" fmla="*/ 43 w 59"/>
                  <a:gd name="T9" fmla="*/ 1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54">
                    <a:moveTo>
                      <a:pt x="43" y="13"/>
                    </a:moveTo>
                    <a:cubicBezTo>
                      <a:pt x="26" y="0"/>
                      <a:pt x="0" y="3"/>
                      <a:pt x="0" y="3"/>
                    </a:cubicBezTo>
                    <a:cubicBezTo>
                      <a:pt x="0" y="3"/>
                      <a:pt x="5" y="29"/>
                      <a:pt x="21" y="41"/>
                    </a:cubicBezTo>
                    <a:cubicBezTo>
                      <a:pt x="38" y="54"/>
                      <a:pt x="55" y="44"/>
                      <a:pt x="55" y="44"/>
                    </a:cubicBezTo>
                    <a:cubicBezTo>
                      <a:pt x="55" y="44"/>
                      <a:pt x="59" y="25"/>
                      <a:pt x="43" y="1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43" name="Freeform 22">
                <a:extLst>
                  <a:ext uri="{FF2B5EF4-FFF2-40B4-BE49-F238E27FC236}">
                    <a16:creationId xmlns:a16="http://schemas.microsoft.com/office/drawing/2014/main" xmlns="" id="{DEBBA44F-1153-B16B-ECD0-321C594D40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5" y="2159"/>
                <a:ext cx="108" cy="88"/>
              </a:xfrm>
              <a:custGeom>
                <a:avLst/>
                <a:gdLst>
                  <a:gd name="T0" fmla="*/ 14 w 47"/>
                  <a:gd name="T1" fmla="*/ 7 h 38"/>
                  <a:gd name="T2" fmla="*/ 1 w 47"/>
                  <a:gd name="T3" fmla="*/ 29 h 38"/>
                  <a:gd name="T4" fmla="*/ 26 w 47"/>
                  <a:gd name="T5" fmla="*/ 31 h 38"/>
                  <a:gd name="T6" fmla="*/ 47 w 47"/>
                  <a:gd name="T7" fmla="*/ 5 h 38"/>
                  <a:gd name="T8" fmla="*/ 14 w 47"/>
                  <a:gd name="T9" fmla="*/ 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8">
                    <a:moveTo>
                      <a:pt x="14" y="7"/>
                    </a:moveTo>
                    <a:cubicBezTo>
                      <a:pt x="0" y="14"/>
                      <a:pt x="1" y="29"/>
                      <a:pt x="1" y="29"/>
                    </a:cubicBezTo>
                    <a:cubicBezTo>
                      <a:pt x="1" y="29"/>
                      <a:pt x="12" y="38"/>
                      <a:pt x="26" y="31"/>
                    </a:cubicBezTo>
                    <a:cubicBezTo>
                      <a:pt x="40" y="24"/>
                      <a:pt x="47" y="5"/>
                      <a:pt x="47" y="5"/>
                    </a:cubicBezTo>
                    <a:cubicBezTo>
                      <a:pt x="47" y="5"/>
                      <a:pt x="28" y="0"/>
                      <a:pt x="14" y="7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44" name="Rectangle 23">
                <a:extLst>
                  <a:ext uri="{FF2B5EF4-FFF2-40B4-BE49-F238E27FC236}">
                    <a16:creationId xmlns:a16="http://schemas.microsoft.com/office/drawing/2014/main" xmlns="" id="{28EFC14D-9E28-DC16-E14C-8E1223A88D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3" y="2043"/>
                <a:ext cx="11" cy="383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45" name="Freeform 24">
                <a:extLst>
                  <a:ext uri="{FF2B5EF4-FFF2-40B4-BE49-F238E27FC236}">
                    <a16:creationId xmlns:a16="http://schemas.microsoft.com/office/drawing/2014/main" xmlns="" id="{C4929253-8E26-E969-2B98-51CB991A31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1" y="1868"/>
                <a:ext cx="277" cy="212"/>
              </a:xfrm>
              <a:custGeom>
                <a:avLst/>
                <a:gdLst>
                  <a:gd name="T0" fmla="*/ 113 w 120"/>
                  <a:gd name="T1" fmla="*/ 25 h 91"/>
                  <a:gd name="T2" fmla="*/ 87 w 120"/>
                  <a:gd name="T3" fmla="*/ 39 h 91"/>
                  <a:gd name="T4" fmla="*/ 60 w 120"/>
                  <a:gd name="T5" fmla="*/ 0 h 91"/>
                  <a:gd name="T6" fmla="*/ 33 w 120"/>
                  <a:gd name="T7" fmla="*/ 39 h 91"/>
                  <a:gd name="T8" fmla="*/ 6 w 120"/>
                  <a:gd name="T9" fmla="*/ 25 h 91"/>
                  <a:gd name="T10" fmla="*/ 60 w 120"/>
                  <a:gd name="T11" fmla="*/ 91 h 91"/>
                  <a:gd name="T12" fmla="*/ 113 w 120"/>
                  <a:gd name="T13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91">
                    <a:moveTo>
                      <a:pt x="113" y="25"/>
                    </a:moveTo>
                    <a:cubicBezTo>
                      <a:pt x="87" y="39"/>
                      <a:pt x="87" y="39"/>
                      <a:pt x="87" y="39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33" y="39"/>
                      <a:pt x="33" y="39"/>
                      <a:pt x="33" y="39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6" y="25"/>
                      <a:pt x="0" y="91"/>
                      <a:pt x="60" y="91"/>
                    </a:cubicBezTo>
                    <a:cubicBezTo>
                      <a:pt x="120" y="91"/>
                      <a:pt x="113" y="25"/>
                      <a:pt x="113" y="25"/>
                    </a:cubicBezTo>
                  </a:path>
                </a:pathLst>
              </a:custGeom>
              <a:solidFill>
                <a:srgbClr val="FF70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46" name="Rectangle 25">
                <a:extLst>
                  <a:ext uri="{FF2B5EF4-FFF2-40B4-BE49-F238E27FC236}">
                    <a16:creationId xmlns:a16="http://schemas.microsoft.com/office/drawing/2014/main" xmlns="" id="{07D8B26F-7360-FD03-F270-0AB1C1BA1F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4" y="2154"/>
                <a:ext cx="14" cy="298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47" name="Oval 26">
                <a:extLst>
                  <a:ext uri="{FF2B5EF4-FFF2-40B4-BE49-F238E27FC236}">
                    <a16:creationId xmlns:a16="http://schemas.microsoft.com/office/drawing/2014/main" xmlns="" id="{3DB1DE44-6434-26CD-19BA-E1D6A4B9A5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2" y="1964"/>
                <a:ext cx="97" cy="190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48" name="Freeform 27">
                <a:extLst>
                  <a:ext uri="{FF2B5EF4-FFF2-40B4-BE49-F238E27FC236}">
                    <a16:creationId xmlns:a16="http://schemas.microsoft.com/office/drawing/2014/main" xmlns="" id="{77496AA3-337B-EF69-F43B-30A3C786DC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9" y="2061"/>
                <a:ext cx="163" cy="149"/>
              </a:xfrm>
              <a:custGeom>
                <a:avLst/>
                <a:gdLst>
                  <a:gd name="T0" fmla="*/ 0 w 71"/>
                  <a:gd name="T1" fmla="*/ 3 h 64"/>
                  <a:gd name="T2" fmla="*/ 25 w 71"/>
                  <a:gd name="T3" fmla="*/ 49 h 64"/>
                  <a:gd name="T4" fmla="*/ 65 w 71"/>
                  <a:gd name="T5" fmla="*/ 52 h 64"/>
                  <a:gd name="T6" fmla="*/ 51 w 71"/>
                  <a:gd name="T7" fmla="*/ 15 h 64"/>
                  <a:gd name="T8" fmla="*/ 0 w 71"/>
                  <a:gd name="T9" fmla="*/ 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64">
                    <a:moveTo>
                      <a:pt x="0" y="3"/>
                    </a:moveTo>
                    <a:cubicBezTo>
                      <a:pt x="0" y="3"/>
                      <a:pt x="6" y="34"/>
                      <a:pt x="25" y="49"/>
                    </a:cubicBezTo>
                    <a:cubicBezTo>
                      <a:pt x="45" y="64"/>
                      <a:pt x="65" y="52"/>
                      <a:pt x="65" y="52"/>
                    </a:cubicBezTo>
                    <a:cubicBezTo>
                      <a:pt x="65" y="52"/>
                      <a:pt x="71" y="30"/>
                      <a:pt x="51" y="15"/>
                    </a:cubicBezTo>
                    <a:cubicBezTo>
                      <a:pt x="31" y="0"/>
                      <a:pt x="0" y="3"/>
                      <a:pt x="0" y="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49" name="Freeform 28">
                <a:extLst>
                  <a:ext uri="{FF2B5EF4-FFF2-40B4-BE49-F238E27FC236}">
                    <a16:creationId xmlns:a16="http://schemas.microsoft.com/office/drawing/2014/main" xmlns="" id="{8CF04C3C-1C5E-C909-9488-D45B7A24F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9" y="2061"/>
                <a:ext cx="164" cy="149"/>
              </a:xfrm>
              <a:custGeom>
                <a:avLst/>
                <a:gdLst>
                  <a:gd name="T0" fmla="*/ 71 w 71"/>
                  <a:gd name="T1" fmla="*/ 3 h 64"/>
                  <a:gd name="T2" fmla="*/ 46 w 71"/>
                  <a:gd name="T3" fmla="*/ 49 h 64"/>
                  <a:gd name="T4" fmla="*/ 6 w 71"/>
                  <a:gd name="T5" fmla="*/ 52 h 64"/>
                  <a:gd name="T6" fmla="*/ 20 w 71"/>
                  <a:gd name="T7" fmla="*/ 15 h 64"/>
                  <a:gd name="T8" fmla="*/ 71 w 71"/>
                  <a:gd name="T9" fmla="*/ 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64">
                    <a:moveTo>
                      <a:pt x="71" y="3"/>
                    </a:moveTo>
                    <a:cubicBezTo>
                      <a:pt x="71" y="3"/>
                      <a:pt x="65" y="34"/>
                      <a:pt x="46" y="49"/>
                    </a:cubicBezTo>
                    <a:cubicBezTo>
                      <a:pt x="26" y="64"/>
                      <a:pt x="6" y="52"/>
                      <a:pt x="6" y="52"/>
                    </a:cubicBezTo>
                    <a:cubicBezTo>
                      <a:pt x="6" y="52"/>
                      <a:pt x="0" y="30"/>
                      <a:pt x="20" y="15"/>
                    </a:cubicBezTo>
                    <a:cubicBezTo>
                      <a:pt x="40" y="0"/>
                      <a:pt x="71" y="3"/>
                      <a:pt x="71" y="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50" name="Rectangle 29">
                <a:extLst>
                  <a:ext uri="{FF2B5EF4-FFF2-40B4-BE49-F238E27FC236}">
                    <a16:creationId xmlns:a16="http://schemas.microsoft.com/office/drawing/2014/main" xmlns="" id="{2F02C3ED-5CE9-6BA6-C025-4EC64AD953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48" y="2110"/>
                <a:ext cx="12" cy="314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51" name="Oval 30">
                <a:extLst>
                  <a:ext uri="{FF2B5EF4-FFF2-40B4-BE49-F238E27FC236}">
                    <a16:creationId xmlns:a16="http://schemas.microsoft.com/office/drawing/2014/main" xmlns="" id="{88AACF3A-C303-9B05-8CEE-317F0809E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2" y="1908"/>
                <a:ext cx="104" cy="202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52" name="Freeform 31">
                <a:extLst>
                  <a:ext uri="{FF2B5EF4-FFF2-40B4-BE49-F238E27FC236}">
                    <a16:creationId xmlns:a16="http://schemas.microsoft.com/office/drawing/2014/main" xmlns="" id="{35D0F3A7-D49D-2CD0-8BB2-EB073EA51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" y="2012"/>
                <a:ext cx="173" cy="156"/>
              </a:xfrm>
              <a:custGeom>
                <a:avLst/>
                <a:gdLst>
                  <a:gd name="T0" fmla="*/ 0 w 75"/>
                  <a:gd name="T1" fmla="*/ 3 h 67"/>
                  <a:gd name="T2" fmla="*/ 28 w 75"/>
                  <a:gd name="T3" fmla="*/ 51 h 67"/>
                  <a:gd name="T4" fmla="*/ 70 w 75"/>
                  <a:gd name="T5" fmla="*/ 55 h 67"/>
                  <a:gd name="T6" fmla="*/ 55 w 75"/>
                  <a:gd name="T7" fmla="*/ 15 h 67"/>
                  <a:gd name="T8" fmla="*/ 0 w 75"/>
                  <a:gd name="T9" fmla="*/ 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67">
                    <a:moveTo>
                      <a:pt x="0" y="3"/>
                    </a:moveTo>
                    <a:cubicBezTo>
                      <a:pt x="0" y="3"/>
                      <a:pt x="7" y="36"/>
                      <a:pt x="28" y="51"/>
                    </a:cubicBezTo>
                    <a:cubicBezTo>
                      <a:pt x="48" y="67"/>
                      <a:pt x="70" y="55"/>
                      <a:pt x="70" y="55"/>
                    </a:cubicBezTo>
                    <a:cubicBezTo>
                      <a:pt x="70" y="55"/>
                      <a:pt x="75" y="31"/>
                      <a:pt x="55" y="15"/>
                    </a:cubicBezTo>
                    <a:cubicBezTo>
                      <a:pt x="34" y="0"/>
                      <a:pt x="0" y="3"/>
                      <a:pt x="0" y="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53" name="Freeform 32">
                <a:extLst>
                  <a:ext uri="{FF2B5EF4-FFF2-40B4-BE49-F238E27FC236}">
                    <a16:creationId xmlns:a16="http://schemas.microsoft.com/office/drawing/2014/main" xmlns="" id="{010E74A7-4F32-B155-FA71-601C07F7C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1" y="2012"/>
                <a:ext cx="175" cy="156"/>
              </a:xfrm>
              <a:custGeom>
                <a:avLst/>
                <a:gdLst>
                  <a:gd name="T0" fmla="*/ 76 w 76"/>
                  <a:gd name="T1" fmla="*/ 3 h 67"/>
                  <a:gd name="T2" fmla="*/ 48 w 76"/>
                  <a:gd name="T3" fmla="*/ 51 h 67"/>
                  <a:gd name="T4" fmla="*/ 6 w 76"/>
                  <a:gd name="T5" fmla="*/ 55 h 67"/>
                  <a:gd name="T6" fmla="*/ 21 w 76"/>
                  <a:gd name="T7" fmla="*/ 15 h 67"/>
                  <a:gd name="T8" fmla="*/ 76 w 76"/>
                  <a:gd name="T9" fmla="*/ 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7">
                    <a:moveTo>
                      <a:pt x="76" y="3"/>
                    </a:moveTo>
                    <a:cubicBezTo>
                      <a:pt x="76" y="3"/>
                      <a:pt x="69" y="36"/>
                      <a:pt x="48" y="51"/>
                    </a:cubicBezTo>
                    <a:cubicBezTo>
                      <a:pt x="27" y="67"/>
                      <a:pt x="6" y="55"/>
                      <a:pt x="6" y="55"/>
                    </a:cubicBezTo>
                    <a:cubicBezTo>
                      <a:pt x="6" y="55"/>
                      <a:pt x="0" y="31"/>
                      <a:pt x="21" y="15"/>
                    </a:cubicBezTo>
                    <a:cubicBezTo>
                      <a:pt x="42" y="0"/>
                      <a:pt x="76" y="3"/>
                      <a:pt x="76" y="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54" name="Rectangle 33">
                <a:extLst>
                  <a:ext uri="{FF2B5EF4-FFF2-40B4-BE49-F238E27FC236}">
                    <a16:creationId xmlns:a16="http://schemas.microsoft.com/office/drawing/2014/main" xmlns="" id="{B5FAABF8-AC4A-CF23-D4B0-7221DD63BF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6" y="2154"/>
                <a:ext cx="16" cy="365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55" name="Oval 34">
                <a:extLst>
                  <a:ext uri="{FF2B5EF4-FFF2-40B4-BE49-F238E27FC236}">
                    <a16:creationId xmlns:a16="http://schemas.microsoft.com/office/drawing/2014/main" xmlns="" id="{1A0EC440-BD7B-BEBF-42F8-EDCF4104DC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3" y="1922"/>
                <a:ext cx="120" cy="232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56" name="Freeform 35">
                <a:extLst>
                  <a:ext uri="{FF2B5EF4-FFF2-40B4-BE49-F238E27FC236}">
                    <a16:creationId xmlns:a16="http://schemas.microsoft.com/office/drawing/2014/main" xmlns="" id="{E1FFA34E-66E4-DC6E-D3C5-58B438C758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6" y="2040"/>
                <a:ext cx="201" cy="182"/>
              </a:xfrm>
              <a:custGeom>
                <a:avLst/>
                <a:gdLst>
                  <a:gd name="T0" fmla="*/ 0 w 87"/>
                  <a:gd name="T1" fmla="*/ 4 h 78"/>
                  <a:gd name="T2" fmla="*/ 32 w 87"/>
                  <a:gd name="T3" fmla="*/ 60 h 78"/>
                  <a:gd name="T4" fmla="*/ 80 w 87"/>
                  <a:gd name="T5" fmla="*/ 64 h 78"/>
                  <a:gd name="T6" fmla="*/ 63 w 87"/>
                  <a:gd name="T7" fmla="*/ 18 h 78"/>
                  <a:gd name="T8" fmla="*/ 0 w 87"/>
                  <a:gd name="T9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78">
                    <a:moveTo>
                      <a:pt x="0" y="4"/>
                    </a:moveTo>
                    <a:cubicBezTo>
                      <a:pt x="0" y="4"/>
                      <a:pt x="7" y="42"/>
                      <a:pt x="32" y="60"/>
                    </a:cubicBezTo>
                    <a:cubicBezTo>
                      <a:pt x="56" y="78"/>
                      <a:pt x="80" y="64"/>
                      <a:pt x="80" y="64"/>
                    </a:cubicBezTo>
                    <a:cubicBezTo>
                      <a:pt x="80" y="64"/>
                      <a:pt x="87" y="37"/>
                      <a:pt x="63" y="18"/>
                    </a:cubicBezTo>
                    <a:cubicBezTo>
                      <a:pt x="39" y="0"/>
                      <a:pt x="0" y="4"/>
                      <a:pt x="0" y="4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57" name="Freeform 36">
                <a:extLst>
                  <a:ext uri="{FF2B5EF4-FFF2-40B4-BE49-F238E27FC236}">
                    <a16:creationId xmlns:a16="http://schemas.microsoft.com/office/drawing/2014/main" xmlns="" id="{060C19CD-0E72-58F6-9875-CFC8E90F0B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9" y="2040"/>
                <a:ext cx="201" cy="182"/>
              </a:xfrm>
              <a:custGeom>
                <a:avLst/>
                <a:gdLst>
                  <a:gd name="T0" fmla="*/ 87 w 87"/>
                  <a:gd name="T1" fmla="*/ 4 h 78"/>
                  <a:gd name="T2" fmla="*/ 56 w 87"/>
                  <a:gd name="T3" fmla="*/ 60 h 78"/>
                  <a:gd name="T4" fmla="*/ 7 w 87"/>
                  <a:gd name="T5" fmla="*/ 64 h 78"/>
                  <a:gd name="T6" fmla="*/ 25 w 87"/>
                  <a:gd name="T7" fmla="*/ 18 h 78"/>
                  <a:gd name="T8" fmla="*/ 87 w 87"/>
                  <a:gd name="T9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78">
                    <a:moveTo>
                      <a:pt x="87" y="4"/>
                    </a:moveTo>
                    <a:cubicBezTo>
                      <a:pt x="87" y="4"/>
                      <a:pt x="80" y="42"/>
                      <a:pt x="56" y="60"/>
                    </a:cubicBezTo>
                    <a:cubicBezTo>
                      <a:pt x="32" y="78"/>
                      <a:pt x="7" y="64"/>
                      <a:pt x="7" y="64"/>
                    </a:cubicBezTo>
                    <a:cubicBezTo>
                      <a:pt x="7" y="64"/>
                      <a:pt x="0" y="37"/>
                      <a:pt x="25" y="18"/>
                    </a:cubicBezTo>
                    <a:cubicBezTo>
                      <a:pt x="49" y="0"/>
                      <a:pt x="87" y="4"/>
                      <a:pt x="87" y="4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58" name="Rectangle 37">
                <a:extLst>
                  <a:ext uri="{FF2B5EF4-FFF2-40B4-BE49-F238E27FC236}">
                    <a16:creationId xmlns:a16="http://schemas.microsoft.com/office/drawing/2014/main" xmlns="" id="{04B87D96-D5EB-5E64-9E61-BA0F4F4418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8" y="1971"/>
                <a:ext cx="14" cy="483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59" name="Oval 38">
                <a:extLst>
                  <a:ext uri="{FF2B5EF4-FFF2-40B4-BE49-F238E27FC236}">
                    <a16:creationId xmlns:a16="http://schemas.microsoft.com/office/drawing/2014/main" xmlns="" id="{0DE0494C-708E-FAEA-F26C-775BD38082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" y="1817"/>
                <a:ext cx="177" cy="202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60" name="Freeform 39">
                <a:extLst>
                  <a:ext uri="{FF2B5EF4-FFF2-40B4-BE49-F238E27FC236}">
                    <a16:creationId xmlns:a16="http://schemas.microsoft.com/office/drawing/2014/main" xmlns="" id="{1905AF19-7398-5592-AB0E-CD76DC822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9" y="2043"/>
                <a:ext cx="90" cy="76"/>
              </a:xfrm>
              <a:custGeom>
                <a:avLst/>
                <a:gdLst>
                  <a:gd name="T0" fmla="*/ 90 w 90"/>
                  <a:gd name="T1" fmla="*/ 69 h 76"/>
                  <a:gd name="T2" fmla="*/ 83 w 90"/>
                  <a:gd name="T3" fmla="*/ 76 h 76"/>
                  <a:gd name="T4" fmla="*/ 0 w 90"/>
                  <a:gd name="T5" fmla="*/ 7 h 76"/>
                  <a:gd name="T6" fmla="*/ 7 w 90"/>
                  <a:gd name="T7" fmla="*/ 0 h 76"/>
                  <a:gd name="T8" fmla="*/ 90 w 90"/>
                  <a:gd name="T9" fmla="*/ 6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76">
                    <a:moveTo>
                      <a:pt x="90" y="69"/>
                    </a:moveTo>
                    <a:lnTo>
                      <a:pt x="83" y="7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90" y="69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61" name="Freeform 40">
                <a:extLst>
                  <a:ext uri="{FF2B5EF4-FFF2-40B4-BE49-F238E27FC236}">
                    <a16:creationId xmlns:a16="http://schemas.microsoft.com/office/drawing/2014/main" xmlns="" id="{A90E4C69-7697-E6CE-7630-4759F595EA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" y="1982"/>
                <a:ext cx="111" cy="114"/>
              </a:xfrm>
              <a:custGeom>
                <a:avLst/>
                <a:gdLst>
                  <a:gd name="T0" fmla="*/ 2 w 48"/>
                  <a:gd name="T1" fmla="*/ 6 h 49"/>
                  <a:gd name="T2" fmla="*/ 12 w 48"/>
                  <a:gd name="T3" fmla="*/ 39 h 49"/>
                  <a:gd name="T4" fmla="*/ 39 w 48"/>
                  <a:gd name="T5" fmla="*/ 37 h 49"/>
                  <a:gd name="T6" fmla="*/ 36 w 48"/>
                  <a:gd name="T7" fmla="*/ 10 h 49"/>
                  <a:gd name="T8" fmla="*/ 2 w 48"/>
                  <a:gd name="T9" fmla="*/ 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2" y="6"/>
                    </a:moveTo>
                    <a:cubicBezTo>
                      <a:pt x="2" y="6"/>
                      <a:pt x="0" y="30"/>
                      <a:pt x="12" y="39"/>
                    </a:cubicBezTo>
                    <a:cubicBezTo>
                      <a:pt x="23" y="49"/>
                      <a:pt x="39" y="37"/>
                      <a:pt x="39" y="37"/>
                    </a:cubicBezTo>
                    <a:cubicBezTo>
                      <a:pt x="39" y="37"/>
                      <a:pt x="48" y="19"/>
                      <a:pt x="36" y="10"/>
                    </a:cubicBezTo>
                    <a:cubicBezTo>
                      <a:pt x="25" y="0"/>
                      <a:pt x="2" y="6"/>
                      <a:pt x="2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62" name="Freeform 41">
                <a:extLst>
                  <a:ext uri="{FF2B5EF4-FFF2-40B4-BE49-F238E27FC236}">
                    <a16:creationId xmlns:a16="http://schemas.microsoft.com/office/drawing/2014/main" xmlns="" id="{58A68CB9-0D38-B8F0-B1EA-AFD2A1807E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2043"/>
                <a:ext cx="90" cy="76"/>
              </a:xfrm>
              <a:custGeom>
                <a:avLst/>
                <a:gdLst>
                  <a:gd name="T0" fmla="*/ 0 w 90"/>
                  <a:gd name="T1" fmla="*/ 69 h 76"/>
                  <a:gd name="T2" fmla="*/ 7 w 90"/>
                  <a:gd name="T3" fmla="*/ 76 h 76"/>
                  <a:gd name="T4" fmla="*/ 90 w 90"/>
                  <a:gd name="T5" fmla="*/ 7 h 76"/>
                  <a:gd name="T6" fmla="*/ 83 w 90"/>
                  <a:gd name="T7" fmla="*/ 0 h 76"/>
                  <a:gd name="T8" fmla="*/ 0 w 90"/>
                  <a:gd name="T9" fmla="*/ 6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76">
                    <a:moveTo>
                      <a:pt x="0" y="69"/>
                    </a:moveTo>
                    <a:lnTo>
                      <a:pt x="7" y="76"/>
                    </a:lnTo>
                    <a:lnTo>
                      <a:pt x="90" y="7"/>
                    </a:lnTo>
                    <a:lnTo>
                      <a:pt x="83" y="0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63" name="Freeform 42">
                <a:extLst>
                  <a:ext uri="{FF2B5EF4-FFF2-40B4-BE49-F238E27FC236}">
                    <a16:creationId xmlns:a16="http://schemas.microsoft.com/office/drawing/2014/main" xmlns="" id="{C3EBBC81-EEEF-6A71-9317-FD9846126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4" y="1982"/>
                <a:ext cx="110" cy="114"/>
              </a:xfrm>
              <a:custGeom>
                <a:avLst/>
                <a:gdLst>
                  <a:gd name="T0" fmla="*/ 46 w 48"/>
                  <a:gd name="T1" fmla="*/ 6 h 49"/>
                  <a:gd name="T2" fmla="*/ 36 w 48"/>
                  <a:gd name="T3" fmla="*/ 39 h 49"/>
                  <a:gd name="T4" fmla="*/ 8 w 48"/>
                  <a:gd name="T5" fmla="*/ 37 h 49"/>
                  <a:gd name="T6" fmla="*/ 11 w 48"/>
                  <a:gd name="T7" fmla="*/ 10 h 49"/>
                  <a:gd name="T8" fmla="*/ 46 w 48"/>
                  <a:gd name="T9" fmla="*/ 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46" y="6"/>
                    </a:moveTo>
                    <a:cubicBezTo>
                      <a:pt x="46" y="6"/>
                      <a:pt x="48" y="30"/>
                      <a:pt x="36" y="39"/>
                    </a:cubicBezTo>
                    <a:cubicBezTo>
                      <a:pt x="25" y="49"/>
                      <a:pt x="8" y="37"/>
                      <a:pt x="8" y="37"/>
                    </a:cubicBezTo>
                    <a:cubicBezTo>
                      <a:pt x="8" y="37"/>
                      <a:pt x="0" y="19"/>
                      <a:pt x="11" y="10"/>
                    </a:cubicBezTo>
                    <a:cubicBezTo>
                      <a:pt x="23" y="0"/>
                      <a:pt x="46" y="6"/>
                      <a:pt x="46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64" name="Freeform 43">
                <a:extLst>
                  <a:ext uri="{FF2B5EF4-FFF2-40B4-BE49-F238E27FC236}">
                    <a16:creationId xmlns:a16="http://schemas.microsoft.com/office/drawing/2014/main" xmlns="" id="{1E4A2D50-4CDF-6101-648B-CACFD0E2D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9" y="2159"/>
                <a:ext cx="90" cy="79"/>
              </a:xfrm>
              <a:custGeom>
                <a:avLst/>
                <a:gdLst>
                  <a:gd name="T0" fmla="*/ 90 w 90"/>
                  <a:gd name="T1" fmla="*/ 70 h 79"/>
                  <a:gd name="T2" fmla="*/ 83 w 90"/>
                  <a:gd name="T3" fmla="*/ 79 h 79"/>
                  <a:gd name="T4" fmla="*/ 0 w 90"/>
                  <a:gd name="T5" fmla="*/ 9 h 79"/>
                  <a:gd name="T6" fmla="*/ 7 w 90"/>
                  <a:gd name="T7" fmla="*/ 0 h 79"/>
                  <a:gd name="T8" fmla="*/ 90 w 90"/>
                  <a:gd name="T9" fmla="*/ 7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79">
                    <a:moveTo>
                      <a:pt x="90" y="70"/>
                    </a:moveTo>
                    <a:lnTo>
                      <a:pt x="83" y="79"/>
                    </a:lnTo>
                    <a:lnTo>
                      <a:pt x="0" y="9"/>
                    </a:lnTo>
                    <a:lnTo>
                      <a:pt x="7" y="0"/>
                    </a:lnTo>
                    <a:lnTo>
                      <a:pt x="90" y="70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65" name="Freeform 44">
                <a:extLst>
                  <a:ext uri="{FF2B5EF4-FFF2-40B4-BE49-F238E27FC236}">
                    <a16:creationId xmlns:a16="http://schemas.microsoft.com/office/drawing/2014/main" xmlns="" id="{5B153B02-AA7E-14B0-3B0A-38D086944B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" y="2101"/>
                <a:ext cx="111" cy="111"/>
              </a:xfrm>
              <a:custGeom>
                <a:avLst/>
                <a:gdLst>
                  <a:gd name="T0" fmla="*/ 2 w 48"/>
                  <a:gd name="T1" fmla="*/ 5 h 48"/>
                  <a:gd name="T2" fmla="*/ 12 w 48"/>
                  <a:gd name="T3" fmla="*/ 39 h 48"/>
                  <a:gd name="T4" fmla="*/ 39 w 48"/>
                  <a:gd name="T5" fmla="*/ 37 h 48"/>
                  <a:gd name="T6" fmla="*/ 36 w 48"/>
                  <a:gd name="T7" fmla="*/ 9 h 48"/>
                  <a:gd name="T8" fmla="*/ 2 w 48"/>
                  <a:gd name="T9" fmla="*/ 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2" y="5"/>
                    </a:moveTo>
                    <a:cubicBezTo>
                      <a:pt x="2" y="5"/>
                      <a:pt x="0" y="29"/>
                      <a:pt x="12" y="39"/>
                    </a:cubicBezTo>
                    <a:cubicBezTo>
                      <a:pt x="23" y="48"/>
                      <a:pt x="39" y="37"/>
                      <a:pt x="39" y="37"/>
                    </a:cubicBezTo>
                    <a:cubicBezTo>
                      <a:pt x="39" y="37"/>
                      <a:pt x="48" y="18"/>
                      <a:pt x="36" y="9"/>
                    </a:cubicBezTo>
                    <a:cubicBezTo>
                      <a:pt x="25" y="0"/>
                      <a:pt x="2" y="5"/>
                      <a:pt x="2" y="5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66" name="Freeform 45">
                <a:extLst>
                  <a:ext uri="{FF2B5EF4-FFF2-40B4-BE49-F238E27FC236}">
                    <a16:creationId xmlns:a16="http://schemas.microsoft.com/office/drawing/2014/main" xmlns="" id="{151F6758-6900-2C6C-77D7-AC5048A9A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2159"/>
                <a:ext cx="90" cy="79"/>
              </a:xfrm>
              <a:custGeom>
                <a:avLst/>
                <a:gdLst>
                  <a:gd name="T0" fmla="*/ 0 w 90"/>
                  <a:gd name="T1" fmla="*/ 70 h 79"/>
                  <a:gd name="T2" fmla="*/ 7 w 90"/>
                  <a:gd name="T3" fmla="*/ 79 h 79"/>
                  <a:gd name="T4" fmla="*/ 90 w 90"/>
                  <a:gd name="T5" fmla="*/ 9 h 79"/>
                  <a:gd name="T6" fmla="*/ 83 w 90"/>
                  <a:gd name="T7" fmla="*/ 0 h 79"/>
                  <a:gd name="T8" fmla="*/ 0 w 90"/>
                  <a:gd name="T9" fmla="*/ 7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79">
                    <a:moveTo>
                      <a:pt x="0" y="70"/>
                    </a:moveTo>
                    <a:lnTo>
                      <a:pt x="7" y="79"/>
                    </a:lnTo>
                    <a:lnTo>
                      <a:pt x="90" y="9"/>
                    </a:lnTo>
                    <a:lnTo>
                      <a:pt x="83" y="0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67" name="Freeform 46">
                <a:extLst>
                  <a:ext uri="{FF2B5EF4-FFF2-40B4-BE49-F238E27FC236}">
                    <a16:creationId xmlns:a16="http://schemas.microsoft.com/office/drawing/2014/main" xmlns="" id="{4F208338-FD89-B705-79B0-CB4AE3736A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4" y="2101"/>
                <a:ext cx="110" cy="111"/>
              </a:xfrm>
              <a:custGeom>
                <a:avLst/>
                <a:gdLst>
                  <a:gd name="T0" fmla="*/ 46 w 48"/>
                  <a:gd name="T1" fmla="*/ 5 h 48"/>
                  <a:gd name="T2" fmla="*/ 36 w 48"/>
                  <a:gd name="T3" fmla="*/ 39 h 48"/>
                  <a:gd name="T4" fmla="*/ 8 w 48"/>
                  <a:gd name="T5" fmla="*/ 37 h 48"/>
                  <a:gd name="T6" fmla="*/ 11 w 48"/>
                  <a:gd name="T7" fmla="*/ 9 h 48"/>
                  <a:gd name="T8" fmla="*/ 46 w 48"/>
                  <a:gd name="T9" fmla="*/ 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46" y="5"/>
                    </a:moveTo>
                    <a:cubicBezTo>
                      <a:pt x="46" y="5"/>
                      <a:pt x="48" y="29"/>
                      <a:pt x="36" y="39"/>
                    </a:cubicBezTo>
                    <a:cubicBezTo>
                      <a:pt x="25" y="48"/>
                      <a:pt x="8" y="37"/>
                      <a:pt x="8" y="37"/>
                    </a:cubicBezTo>
                    <a:cubicBezTo>
                      <a:pt x="8" y="37"/>
                      <a:pt x="0" y="18"/>
                      <a:pt x="11" y="9"/>
                    </a:cubicBezTo>
                    <a:cubicBezTo>
                      <a:pt x="23" y="0"/>
                      <a:pt x="46" y="5"/>
                      <a:pt x="46" y="5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68" name="Rectangle 47">
                <a:extLst>
                  <a:ext uri="{FF2B5EF4-FFF2-40B4-BE49-F238E27FC236}">
                    <a16:creationId xmlns:a16="http://schemas.microsoft.com/office/drawing/2014/main" xmlns="" id="{26455724-E85F-EFF1-FDC5-4FE45828EC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07" y="1971"/>
                <a:ext cx="16" cy="483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69" name="Oval 48">
                <a:extLst>
                  <a:ext uri="{FF2B5EF4-FFF2-40B4-BE49-F238E27FC236}">
                    <a16:creationId xmlns:a16="http://schemas.microsoft.com/office/drawing/2014/main" xmlns="" id="{C0137E86-1EE4-FDF7-7A27-F2FF1B284D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6" y="1817"/>
                <a:ext cx="178" cy="202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70" name="Freeform 49">
                <a:extLst>
                  <a:ext uri="{FF2B5EF4-FFF2-40B4-BE49-F238E27FC236}">
                    <a16:creationId xmlns:a16="http://schemas.microsoft.com/office/drawing/2014/main" xmlns="" id="{866001B7-ABE9-9BCB-611A-20524D0B2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9" y="2043"/>
                <a:ext cx="89" cy="76"/>
              </a:xfrm>
              <a:custGeom>
                <a:avLst/>
                <a:gdLst>
                  <a:gd name="T0" fmla="*/ 89 w 89"/>
                  <a:gd name="T1" fmla="*/ 69 h 76"/>
                  <a:gd name="T2" fmla="*/ 83 w 89"/>
                  <a:gd name="T3" fmla="*/ 76 h 76"/>
                  <a:gd name="T4" fmla="*/ 0 w 89"/>
                  <a:gd name="T5" fmla="*/ 7 h 76"/>
                  <a:gd name="T6" fmla="*/ 7 w 89"/>
                  <a:gd name="T7" fmla="*/ 0 h 76"/>
                  <a:gd name="T8" fmla="*/ 89 w 89"/>
                  <a:gd name="T9" fmla="*/ 6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89" y="69"/>
                    </a:moveTo>
                    <a:lnTo>
                      <a:pt x="83" y="7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89" y="69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71" name="Freeform 50">
                <a:extLst>
                  <a:ext uri="{FF2B5EF4-FFF2-40B4-BE49-F238E27FC236}">
                    <a16:creationId xmlns:a16="http://schemas.microsoft.com/office/drawing/2014/main" xmlns="" id="{28E2E695-CDFD-DEB0-2FE0-0CC359DC0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6" y="1982"/>
                <a:ext cx="111" cy="114"/>
              </a:xfrm>
              <a:custGeom>
                <a:avLst/>
                <a:gdLst>
                  <a:gd name="T0" fmla="*/ 2 w 48"/>
                  <a:gd name="T1" fmla="*/ 6 h 49"/>
                  <a:gd name="T2" fmla="*/ 12 w 48"/>
                  <a:gd name="T3" fmla="*/ 39 h 49"/>
                  <a:gd name="T4" fmla="*/ 40 w 48"/>
                  <a:gd name="T5" fmla="*/ 37 h 49"/>
                  <a:gd name="T6" fmla="*/ 37 w 48"/>
                  <a:gd name="T7" fmla="*/ 10 h 49"/>
                  <a:gd name="T8" fmla="*/ 2 w 48"/>
                  <a:gd name="T9" fmla="*/ 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2" y="6"/>
                    </a:moveTo>
                    <a:cubicBezTo>
                      <a:pt x="2" y="6"/>
                      <a:pt x="0" y="30"/>
                      <a:pt x="12" y="39"/>
                    </a:cubicBezTo>
                    <a:cubicBezTo>
                      <a:pt x="23" y="49"/>
                      <a:pt x="40" y="37"/>
                      <a:pt x="40" y="37"/>
                    </a:cubicBezTo>
                    <a:cubicBezTo>
                      <a:pt x="40" y="37"/>
                      <a:pt x="48" y="19"/>
                      <a:pt x="37" y="10"/>
                    </a:cubicBezTo>
                    <a:cubicBezTo>
                      <a:pt x="25" y="0"/>
                      <a:pt x="2" y="6"/>
                      <a:pt x="2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72" name="Freeform 51">
                <a:extLst>
                  <a:ext uri="{FF2B5EF4-FFF2-40B4-BE49-F238E27FC236}">
                    <a16:creationId xmlns:a16="http://schemas.microsoft.com/office/drawing/2014/main" xmlns="" id="{C15908F7-9738-40F6-9EDD-C2508FEDBE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2" y="2043"/>
                <a:ext cx="89" cy="76"/>
              </a:xfrm>
              <a:custGeom>
                <a:avLst/>
                <a:gdLst>
                  <a:gd name="T0" fmla="*/ 0 w 89"/>
                  <a:gd name="T1" fmla="*/ 69 h 76"/>
                  <a:gd name="T2" fmla="*/ 6 w 89"/>
                  <a:gd name="T3" fmla="*/ 76 h 76"/>
                  <a:gd name="T4" fmla="*/ 89 w 89"/>
                  <a:gd name="T5" fmla="*/ 7 h 76"/>
                  <a:gd name="T6" fmla="*/ 83 w 89"/>
                  <a:gd name="T7" fmla="*/ 0 h 76"/>
                  <a:gd name="T8" fmla="*/ 0 w 89"/>
                  <a:gd name="T9" fmla="*/ 6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69"/>
                    </a:moveTo>
                    <a:lnTo>
                      <a:pt x="6" y="76"/>
                    </a:lnTo>
                    <a:lnTo>
                      <a:pt x="89" y="7"/>
                    </a:lnTo>
                    <a:lnTo>
                      <a:pt x="83" y="0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73" name="Freeform 52">
                <a:extLst>
                  <a:ext uri="{FF2B5EF4-FFF2-40B4-BE49-F238E27FC236}">
                    <a16:creationId xmlns:a16="http://schemas.microsoft.com/office/drawing/2014/main" xmlns="" id="{561E1616-4F03-BA72-657B-77FA6A452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3" y="1982"/>
                <a:ext cx="111" cy="114"/>
              </a:xfrm>
              <a:custGeom>
                <a:avLst/>
                <a:gdLst>
                  <a:gd name="T0" fmla="*/ 46 w 48"/>
                  <a:gd name="T1" fmla="*/ 6 h 49"/>
                  <a:gd name="T2" fmla="*/ 36 w 48"/>
                  <a:gd name="T3" fmla="*/ 39 h 49"/>
                  <a:gd name="T4" fmla="*/ 9 w 48"/>
                  <a:gd name="T5" fmla="*/ 37 h 49"/>
                  <a:gd name="T6" fmla="*/ 12 w 48"/>
                  <a:gd name="T7" fmla="*/ 10 h 49"/>
                  <a:gd name="T8" fmla="*/ 46 w 48"/>
                  <a:gd name="T9" fmla="*/ 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46" y="6"/>
                    </a:moveTo>
                    <a:cubicBezTo>
                      <a:pt x="46" y="6"/>
                      <a:pt x="48" y="30"/>
                      <a:pt x="36" y="39"/>
                    </a:cubicBezTo>
                    <a:cubicBezTo>
                      <a:pt x="25" y="49"/>
                      <a:pt x="9" y="37"/>
                      <a:pt x="9" y="37"/>
                    </a:cubicBezTo>
                    <a:cubicBezTo>
                      <a:pt x="9" y="37"/>
                      <a:pt x="0" y="19"/>
                      <a:pt x="12" y="10"/>
                    </a:cubicBezTo>
                    <a:cubicBezTo>
                      <a:pt x="23" y="0"/>
                      <a:pt x="46" y="6"/>
                      <a:pt x="46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74" name="Freeform 53">
                <a:extLst>
                  <a:ext uri="{FF2B5EF4-FFF2-40B4-BE49-F238E27FC236}">
                    <a16:creationId xmlns:a16="http://schemas.microsoft.com/office/drawing/2014/main" xmlns="" id="{CE52FB59-86DF-7455-F361-0B8411EF6C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9" y="2159"/>
                <a:ext cx="89" cy="79"/>
              </a:xfrm>
              <a:custGeom>
                <a:avLst/>
                <a:gdLst>
                  <a:gd name="T0" fmla="*/ 89 w 89"/>
                  <a:gd name="T1" fmla="*/ 70 h 79"/>
                  <a:gd name="T2" fmla="*/ 83 w 89"/>
                  <a:gd name="T3" fmla="*/ 79 h 79"/>
                  <a:gd name="T4" fmla="*/ 0 w 89"/>
                  <a:gd name="T5" fmla="*/ 9 h 79"/>
                  <a:gd name="T6" fmla="*/ 7 w 89"/>
                  <a:gd name="T7" fmla="*/ 0 h 79"/>
                  <a:gd name="T8" fmla="*/ 89 w 89"/>
                  <a:gd name="T9" fmla="*/ 7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9">
                    <a:moveTo>
                      <a:pt x="89" y="70"/>
                    </a:moveTo>
                    <a:lnTo>
                      <a:pt x="83" y="79"/>
                    </a:lnTo>
                    <a:lnTo>
                      <a:pt x="0" y="9"/>
                    </a:lnTo>
                    <a:lnTo>
                      <a:pt x="7" y="0"/>
                    </a:lnTo>
                    <a:lnTo>
                      <a:pt x="89" y="70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75" name="Freeform 54">
                <a:extLst>
                  <a:ext uri="{FF2B5EF4-FFF2-40B4-BE49-F238E27FC236}">
                    <a16:creationId xmlns:a16="http://schemas.microsoft.com/office/drawing/2014/main" xmlns="" id="{91CAF374-56B4-65E5-6D47-427799E74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6" y="2101"/>
                <a:ext cx="111" cy="111"/>
              </a:xfrm>
              <a:custGeom>
                <a:avLst/>
                <a:gdLst>
                  <a:gd name="T0" fmla="*/ 2 w 48"/>
                  <a:gd name="T1" fmla="*/ 5 h 48"/>
                  <a:gd name="T2" fmla="*/ 12 w 48"/>
                  <a:gd name="T3" fmla="*/ 39 h 48"/>
                  <a:gd name="T4" fmla="*/ 40 w 48"/>
                  <a:gd name="T5" fmla="*/ 37 h 48"/>
                  <a:gd name="T6" fmla="*/ 37 w 48"/>
                  <a:gd name="T7" fmla="*/ 9 h 48"/>
                  <a:gd name="T8" fmla="*/ 2 w 48"/>
                  <a:gd name="T9" fmla="*/ 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2" y="5"/>
                    </a:moveTo>
                    <a:cubicBezTo>
                      <a:pt x="2" y="5"/>
                      <a:pt x="0" y="29"/>
                      <a:pt x="12" y="39"/>
                    </a:cubicBezTo>
                    <a:cubicBezTo>
                      <a:pt x="23" y="48"/>
                      <a:pt x="40" y="37"/>
                      <a:pt x="40" y="37"/>
                    </a:cubicBezTo>
                    <a:cubicBezTo>
                      <a:pt x="40" y="37"/>
                      <a:pt x="48" y="18"/>
                      <a:pt x="37" y="9"/>
                    </a:cubicBezTo>
                    <a:cubicBezTo>
                      <a:pt x="25" y="0"/>
                      <a:pt x="2" y="5"/>
                      <a:pt x="2" y="5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76" name="Freeform 55">
                <a:extLst>
                  <a:ext uri="{FF2B5EF4-FFF2-40B4-BE49-F238E27FC236}">
                    <a16:creationId xmlns:a16="http://schemas.microsoft.com/office/drawing/2014/main" xmlns="" id="{E26CDAE1-0B73-E1FD-815D-C6FB5B250A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2" y="2159"/>
                <a:ext cx="89" cy="79"/>
              </a:xfrm>
              <a:custGeom>
                <a:avLst/>
                <a:gdLst>
                  <a:gd name="T0" fmla="*/ 0 w 89"/>
                  <a:gd name="T1" fmla="*/ 70 h 79"/>
                  <a:gd name="T2" fmla="*/ 6 w 89"/>
                  <a:gd name="T3" fmla="*/ 79 h 79"/>
                  <a:gd name="T4" fmla="*/ 89 w 89"/>
                  <a:gd name="T5" fmla="*/ 9 h 79"/>
                  <a:gd name="T6" fmla="*/ 83 w 89"/>
                  <a:gd name="T7" fmla="*/ 0 h 79"/>
                  <a:gd name="T8" fmla="*/ 0 w 89"/>
                  <a:gd name="T9" fmla="*/ 7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9">
                    <a:moveTo>
                      <a:pt x="0" y="70"/>
                    </a:moveTo>
                    <a:lnTo>
                      <a:pt x="6" y="79"/>
                    </a:lnTo>
                    <a:lnTo>
                      <a:pt x="89" y="9"/>
                    </a:lnTo>
                    <a:lnTo>
                      <a:pt x="83" y="0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77" name="Freeform 56">
                <a:extLst>
                  <a:ext uri="{FF2B5EF4-FFF2-40B4-BE49-F238E27FC236}">
                    <a16:creationId xmlns:a16="http://schemas.microsoft.com/office/drawing/2014/main" xmlns="" id="{9DF55DAE-CC01-BFED-99CA-8C8E41923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3" y="2101"/>
                <a:ext cx="111" cy="111"/>
              </a:xfrm>
              <a:custGeom>
                <a:avLst/>
                <a:gdLst>
                  <a:gd name="T0" fmla="*/ 46 w 48"/>
                  <a:gd name="T1" fmla="*/ 5 h 48"/>
                  <a:gd name="T2" fmla="*/ 36 w 48"/>
                  <a:gd name="T3" fmla="*/ 39 h 48"/>
                  <a:gd name="T4" fmla="*/ 9 w 48"/>
                  <a:gd name="T5" fmla="*/ 37 h 48"/>
                  <a:gd name="T6" fmla="*/ 12 w 48"/>
                  <a:gd name="T7" fmla="*/ 9 h 48"/>
                  <a:gd name="T8" fmla="*/ 46 w 48"/>
                  <a:gd name="T9" fmla="*/ 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46" y="5"/>
                    </a:moveTo>
                    <a:cubicBezTo>
                      <a:pt x="46" y="5"/>
                      <a:pt x="48" y="29"/>
                      <a:pt x="36" y="39"/>
                    </a:cubicBezTo>
                    <a:cubicBezTo>
                      <a:pt x="25" y="48"/>
                      <a:pt x="9" y="37"/>
                      <a:pt x="9" y="37"/>
                    </a:cubicBezTo>
                    <a:cubicBezTo>
                      <a:pt x="9" y="37"/>
                      <a:pt x="0" y="18"/>
                      <a:pt x="12" y="9"/>
                    </a:cubicBezTo>
                    <a:cubicBezTo>
                      <a:pt x="23" y="0"/>
                      <a:pt x="46" y="5"/>
                      <a:pt x="46" y="5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78" name="Rectangle 57">
                <a:extLst>
                  <a:ext uri="{FF2B5EF4-FFF2-40B4-BE49-F238E27FC236}">
                    <a16:creationId xmlns:a16="http://schemas.microsoft.com/office/drawing/2014/main" xmlns="" id="{DF188E53-9A54-42ED-5A46-56B774A1D2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53" y="1929"/>
                <a:ext cx="16" cy="523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79" name="Oval 58">
                <a:extLst>
                  <a:ext uri="{FF2B5EF4-FFF2-40B4-BE49-F238E27FC236}">
                    <a16:creationId xmlns:a16="http://schemas.microsoft.com/office/drawing/2014/main" xmlns="" id="{25D4F833-9D13-BC36-694C-9BF724E8D2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65" y="1761"/>
                <a:ext cx="191" cy="219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80" name="Freeform 59">
                <a:extLst>
                  <a:ext uri="{FF2B5EF4-FFF2-40B4-BE49-F238E27FC236}">
                    <a16:creationId xmlns:a16="http://schemas.microsoft.com/office/drawing/2014/main" xmlns="" id="{2661EB58-14EE-94D7-7F25-6FA2D6A5CF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7" y="2005"/>
                <a:ext cx="99" cy="86"/>
              </a:xfrm>
              <a:custGeom>
                <a:avLst/>
                <a:gdLst>
                  <a:gd name="T0" fmla="*/ 99 w 99"/>
                  <a:gd name="T1" fmla="*/ 77 h 86"/>
                  <a:gd name="T2" fmla="*/ 90 w 99"/>
                  <a:gd name="T3" fmla="*/ 86 h 86"/>
                  <a:gd name="T4" fmla="*/ 0 w 99"/>
                  <a:gd name="T5" fmla="*/ 10 h 86"/>
                  <a:gd name="T6" fmla="*/ 7 w 99"/>
                  <a:gd name="T7" fmla="*/ 0 h 86"/>
                  <a:gd name="T8" fmla="*/ 99 w 99"/>
                  <a:gd name="T9" fmla="*/ 77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86">
                    <a:moveTo>
                      <a:pt x="99" y="77"/>
                    </a:moveTo>
                    <a:lnTo>
                      <a:pt x="90" y="86"/>
                    </a:lnTo>
                    <a:lnTo>
                      <a:pt x="0" y="10"/>
                    </a:lnTo>
                    <a:lnTo>
                      <a:pt x="7" y="0"/>
                    </a:lnTo>
                    <a:lnTo>
                      <a:pt x="99" y="77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81" name="Freeform 60">
                <a:extLst>
                  <a:ext uri="{FF2B5EF4-FFF2-40B4-BE49-F238E27FC236}">
                    <a16:creationId xmlns:a16="http://schemas.microsoft.com/office/drawing/2014/main" xmlns="" id="{5569EA29-986F-DC0F-D377-D31F7857B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1" y="1940"/>
                <a:ext cx="119" cy="124"/>
              </a:xfrm>
              <a:custGeom>
                <a:avLst/>
                <a:gdLst>
                  <a:gd name="T0" fmla="*/ 2 w 52"/>
                  <a:gd name="T1" fmla="*/ 7 h 53"/>
                  <a:gd name="T2" fmla="*/ 13 w 52"/>
                  <a:gd name="T3" fmla="*/ 43 h 53"/>
                  <a:gd name="T4" fmla="*/ 43 w 52"/>
                  <a:gd name="T5" fmla="*/ 41 h 53"/>
                  <a:gd name="T6" fmla="*/ 40 w 52"/>
                  <a:gd name="T7" fmla="*/ 11 h 53"/>
                  <a:gd name="T8" fmla="*/ 2 w 52"/>
                  <a:gd name="T9" fmla="*/ 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3">
                    <a:moveTo>
                      <a:pt x="2" y="7"/>
                    </a:moveTo>
                    <a:cubicBezTo>
                      <a:pt x="2" y="7"/>
                      <a:pt x="0" y="33"/>
                      <a:pt x="13" y="43"/>
                    </a:cubicBezTo>
                    <a:cubicBezTo>
                      <a:pt x="25" y="53"/>
                      <a:pt x="43" y="41"/>
                      <a:pt x="43" y="41"/>
                    </a:cubicBezTo>
                    <a:cubicBezTo>
                      <a:pt x="43" y="41"/>
                      <a:pt x="52" y="21"/>
                      <a:pt x="40" y="11"/>
                    </a:cubicBezTo>
                    <a:cubicBezTo>
                      <a:pt x="27" y="0"/>
                      <a:pt x="2" y="7"/>
                      <a:pt x="2" y="7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82" name="Freeform 61">
                <a:extLst>
                  <a:ext uri="{FF2B5EF4-FFF2-40B4-BE49-F238E27FC236}">
                    <a16:creationId xmlns:a16="http://schemas.microsoft.com/office/drawing/2014/main" xmlns="" id="{9CC49E84-AD34-8701-19B1-26A879A70D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7" y="2005"/>
                <a:ext cx="99" cy="86"/>
              </a:xfrm>
              <a:custGeom>
                <a:avLst/>
                <a:gdLst>
                  <a:gd name="T0" fmla="*/ 0 w 99"/>
                  <a:gd name="T1" fmla="*/ 77 h 86"/>
                  <a:gd name="T2" fmla="*/ 7 w 99"/>
                  <a:gd name="T3" fmla="*/ 86 h 86"/>
                  <a:gd name="T4" fmla="*/ 99 w 99"/>
                  <a:gd name="T5" fmla="*/ 10 h 86"/>
                  <a:gd name="T6" fmla="*/ 92 w 99"/>
                  <a:gd name="T7" fmla="*/ 0 h 86"/>
                  <a:gd name="T8" fmla="*/ 0 w 99"/>
                  <a:gd name="T9" fmla="*/ 77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86">
                    <a:moveTo>
                      <a:pt x="0" y="77"/>
                    </a:moveTo>
                    <a:lnTo>
                      <a:pt x="7" y="86"/>
                    </a:lnTo>
                    <a:lnTo>
                      <a:pt x="99" y="10"/>
                    </a:lnTo>
                    <a:lnTo>
                      <a:pt x="92" y="0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83" name="Freeform 62">
                <a:extLst>
                  <a:ext uri="{FF2B5EF4-FFF2-40B4-BE49-F238E27FC236}">
                    <a16:creationId xmlns:a16="http://schemas.microsoft.com/office/drawing/2014/main" xmlns="" id="{6826DC8C-A602-20F5-40A1-6EF41BC7E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3" y="1940"/>
                <a:ext cx="118" cy="124"/>
              </a:xfrm>
              <a:custGeom>
                <a:avLst/>
                <a:gdLst>
                  <a:gd name="T0" fmla="*/ 49 w 51"/>
                  <a:gd name="T1" fmla="*/ 7 h 53"/>
                  <a:gd name="T2" fmla="*/ 39 w 51"/>
                  <a:gd name="T3" fmla="*/ 43 h 53"/>
                  <a:gd name="T4" fmla="*/ 9 w 51"/>
                  <a:gd name="T5" fmla="*/ 41 h 53"/>
                  <a:gd name="T6" fmla="*/ 12 w 51"/>
                  <a:gd name="T7" fmla="*/ 11 h 53"/>
                  <a:gd name="T8" fmla="*/ 49 w 51"/>
                  <a:gd name="T9" fmla="*/ 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3">
                    <a:moveTo>
                      <a:pt x="49" y="7"/>
                    </a:moveTo>
                    <a:cubicBezTo>
                      <a:pt x="49" y="7"/>
                      <a:pt x="51" y="33"/>
                      <a:pt x="39" y="43"/>
                    </a:cubicBezTo>
                    <a:cubicBezTo>
                      <a:pt x="27" y="53"/>
                      <a:pt x="9" y="41"/>
                      <a:pt x="9" y="41"/>
                    </a:cubicBezTo>
                    <a:cubicBezTo>
                      <a:pt x="9" y="41"/>
                      <a:pt x="0" y="21"/>
                      <a:pt x="12" y="11"/>
                    </a:cubicBezTo>
                    <a:cubicBezTo>
                      <a:pt x="24" y="0"/>
                      <a:pt x="49" y="7"/>
                      <a:pt x="49" y="7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84" name="Freeform 63">
                <a:extLst>
                  <a:ext uri="{FF2B5EF4-FFF2-40B4-BE49-F238E27FC236}">
                    <a16:creationId xmlns:a16="http://schemas.microsoft.com/office/drawing/2014/main" xmlns="" id="{718E27FF-81E2-66BB-BC77-B48A4D1C1D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7" y="2133"/>
                <a:ext cx="99" cy="84"/>
              </a:xfrm>
              <a:custGeom>
                <a:avLst/>
                <a:gdLst>
                  <a:gd name="T0" fmla="*/ 99 w 99"/>
                  <a:gd name="T1" fmla="*/ 75 h 84"/>
                  <a:gd name="T2" fmla="*/ 90 w 99"/>
                  <a:gd name="T3" fmla="*/ 84 h 84"/>
                  <a:gd name="T4" fmla="*/ 0 w 99"/>
                  <a:gd name="T5" fmla="*/ 10 h 84"/>
                  <a:gd name="T6" fmla="*/ 7 w 99"/>
                  <a:gd name="T7" fmla="*/ 0 h 84"/>
                  <a:gd name="T8" fmla="*/ 99 w 99"/>
                  <a:gd name="T9" fmla="*/ 75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84">
                    <a:moveTo>
                      <a:pt x="99" y="75"/>
                    </a:moveTo>
                    <a:lnTo>
                      <a:pt x="90" y="84"/>
                    </a:lnTo>
                    <a:lnTo>
                      <a:pt x="0" y="10"/>
                    </a:lnTo>
                    <a:lnTo>
                      <a:pt x="7" y="0"/>
                    </a:lnTo>
                    <a:lnTo>
                      <a:pt x="99" y="75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85" name="Freeform 64">
                <a:extLst>
                  <a:ext uri="{FF2B5EF4-FFF2-40B4-BE49-F238E27FC236}">
                    <a16:creationId xmlns:a16="http://schemas.microsoft.com/office/drawing/2014/main" xmlns="" id="{5987A614-2DE6-6C8D-12E2-FD160FF8C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1" y="2068"/>
                <a:ext cx="119" cy="123"/>
              </a:xfrm>
              <a:custGeom>
                <a:avLst/>
                <a:gdLst>
                  <a:gd name="T0" fmla="*/ 2 w 52"/>
                  <a:gd name="T1" fmla="*/ 6 h 53"/>
                  <a:gd name="T2" fmla="*/ 13 w 52"/>
                  <a:gd name="T3" fmla="*/ 42 h 53"/>
                  <a:gd name="T4" fmla="*/ 43 w 52"/>
                  <a:gd name="T5" fmla="*/ 40 h 53"/>
                  <a:gd name="T6" fmla="*/ 40 w 52"/>
                  <a:gd name="T7" fmla="*/ 10 h 53"/>
                  <a:gd name="T8" fmla="*/ 2 w 52"/>
                  <a:gd name="T9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3">
                    <a:moveTo>
                      <a:pt x="2" y="6"/>
                    </a:moveTo>
                    <a:cubicBezTo>
                      <a:pt x="2" y="6"/>
                      <a:pt x="0" y="32"/>
                      <a:pt x="13" y="42"/>
                    </a:cubicBezTo>
                    <a:cubicBezTo>
                      <a:pt x="25" y="53"/>
                      <a:pt x="43" y="40"/>
                      <a:pt x="43" y="40"/>
                    </a:cubicBezTo>
                    <a:cubicBezTo>
                      <a:pt x="43" y="40"/>
                      <a:pt x="52" y="21"/>
                      <a:pt x="40" y="10"/>
                    </a:cubicBezTo>
                    <a:cubicBezTo>
                      <a:pt x="27" y="0"/>
                      <a:pt x="2" y="6"/>
                      <a:pt x="2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86" name="Freeform 65">
                <a:extLst>
                  <a:ext uri="{FF2B5EF4-FFF2-40B4-BE49-F238E27FC236}">
                    <a16:creationId xmlns:a16="http://schemas.microsoft.com/office/drawing/2014/main" xmlns="" id="{E08764C7-542B-2236-0C8C-3346C4E91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7" y="2133"/>
                <a:ext cx="99" cy="84"/>
              </a:xfrm>
              <a:custGeom>
                <a:avLst/>
                <a:gdLst>
                  <a:gd name="T0" fmla="*/ 0 w 99"/>
                  <a:gd name="T1" fmla="*/ 75 h 84"/>
                  <a:gd name="T2" fmla="*/ 7 w 99"/>
                  <a:gd name="T3" fmla="*/ 84 h 84"/>
                  <a:gd name="T4" fmla="*/ 99 w 99"/>
                  <a:gd name="T5" fmla="*/ 10 h 84"/>
                  <a:gd name="T6" fmla="*/ 92 w 99"/>
                  <a:gd name="T7" fmla="*/ 0 h 84"/>
                  <a:gd name="T8" fmla="*/ 0 w 99"/>
                  <a:gd name="T9" fmla="*/ 75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84">
                    <a:moveTo>
                      <a:pt x="0" y="75"/>
                    </a:moveTo>
                    <a:lnTo>
                      <a:pt x="7" y="84"/>
                    </a:lnTo>
                    <a:lnTo>
                      <a:pt x="99" y="10"/>
                    </a:lnTo>
                    <a:lnTo>
                      <a:pt x="92" y="0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87" name="Freeform 66">
                <a:extLst>
                  <a:ext uri="{FF2B5EF4-FFF2-40B4-BE49-F238E27FC236}">
                    <a16:creationId xmlns:a16="http://schemas.microsoft.com/office/drawing/2014/main" xmlns="" id="{AFA0169E-E2CF-D5AE-5AB5-680C0B640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3" y="2068"/>
                <a:ext cx="118" cy="123"/>
              </a:xfrm>
              <a:custGeom>
                <a:avLst/>
                <a:gdLst>
                  <a:gd name="T0" fmla="*/ 49 w 51"/>
                  <a:gd name="T1" fmla="*/ 6 h 53"/>
                  <a:gd name="T2" fmla="*/ 39 w 51"/>
                  <a:gd name="T3" fmla="*/ 42 h 53"/>
                  <a:gd name="T4" fmla="*/ 9 w 51"/>
                  <a:gd name="T5" fmla="*/ 40 h 53"/>
                  <a:gd name="T6" fmla="*/ 12 w 51"/>
                  <a:gd name="T7" fmla="*/ 10 h 53"/>
                  <a:gd name="T8" fmla="*/ 49 w 51"/>
                  <a:gd name="T9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3">
                    <a:moveTo>
                      <a:pt x="49" y="6"/>
                    </a:moveTo>
                    <a:cubicBezTo>
                      <a:pt x="49" y="6"/>
                      <a:pt x="51" y="32"/>
                      <a:pt x="39" y="42"/>
                    </a:cubicBezTo>
                    <a:cubicBezTo>
                      <a:pt x="27" y="53"/>
                      <a:pt x="9" y="40"/>
                      <a:pt x="9" y="40"/>
                    </a:cubicBezTo>
                    <a:cubicBezTo>
                      <a:pt x="9" y="40"/>
                      <a:pt x="0" y="21"/>
                      <a:pt x="12" y="10"/>
                    </a:cubicBezTo>
                    <a:cubicBezTo>
                      <a:pt x="24" y="0"/>
                      <a:pt x="49" y="6"/>
                      <a:pt x="49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88" name="Freeform 67">
                <a:extLst>
                  <a:ext uri="{FF2B5EF4-FFF2-40B4-BE49-F238E27FC236}">
                    <a16:creationId xmlns:a16="http://schemas.microsoft.com/office/drawing/2014/main" xmlns="" id="{F46C8E2A-A34E-C0CF-8542-5AA71817B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108"/>
                <a:ext cx="138" cy="125"/>
              </a:xfrm>
              <a:custGeom>
                <a:avLst/>
                <a:gdLst>
                  <a:gd name="T0" fmla="*/ 43 w 60"/>
                  <a:gd name="T1" fmla="*/ 13 h 54"/>
                  <a:gd name="T2" fmla="*/ 0 w 60"/>
                  <a:gd name="T3" fmla="*/ 3 h 54"/>
                  <a:gd name="T4" fmla="*/ 22 w 60"/>
                  <a:gd name="T5" fmla="*/ 41 h 54"/>
                  <a:gd name="T6" fmla="*/ 55 w 60"/>
                  <a:gd name="T7" fmla="*/ 44 h 54"/>
                  <a:gd name="T8" fmla="*/ 43 w 60"/>
                  <a:gd name="T9" fmla="*/ 1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54">
                    <a:moveTo>
                      <a:pt x="43" y="13"/>
                    </a:moveTo>
                    <a:cubicBezTo>
                      <a:pt x="27" y="0"/>
                      <a:pt x="0" y="3"/>
                      <a:pt x="0" y="3"/>
                    </a:cubicBezTo>
                    <a:cubicBezTo>
                      <a:pt x="0" y="3"/>
                      <a:pt x="5" y="29"/>
                      <a:pt x="22" y="41"/>
                    </a:cubicBezTo>
                    <a:cubicBezTo>
                      <a:pt x="38" y="54"/>
                      <a:pt x="55" y="44"/>
                      <a:pt x="55" y="44"/>
                    </a:cubicBezTo>
                    <a:cubicBezTo>
                      <a:pt x="55" y="44"/>
                      <a:pt x="60" y="25"/>
                      <a:pt x="43" y="1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89" name="Freeform 68">
                <a:extLst>
                  <a:ext uri="{FF2B5EF4-FFF2-40B4-BE49-F238E27FC236}">
                    <a16:creationId xmlns:a16="http://schemas.microsoft.com/office/drawing/2014/main" xmlns="" id="{FAF30B74-DDE6-B987-20FB-A97831B32F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5" y="2159"/>
                <a:ext cx="111" cy="88"/>
              </a:xfrm>
              <a:custGeom>
                <a:avLst/>
                <a:gdLst>
                  <a:gd name="T0" fmla="*/ 14 w 48"/>
                  <a:gd name="T1" fmla="*/ 7 h 38"/>
                  <a:gd name="T2" fmla="*/ 1 w 48"/>
                  <a:gd name="T3" fmla="*/ 29 h 38"/>
                  <a:gd name="T4" fmla="*/ 27 w 48"/>
                  <a:gd name="T5" fmla="*/ 31 h 38"/>
                  <a:gd name="T6" fmla="*/ 48 w 48"/>
                  <a:gd name="T7" fmla="*/ 5 h 38"/>
                  <a:gd name="T8" fmla="*/ 14 w 48"/>
                  <a:gd name="T9" fmla="*/ 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8">
                    <a:moveTo>
                      <a:pt x="14" y="7"/>
                    </a:moveTo>
                    <a:cubicBezTo>
                      <a:pt x="0" y="14"/>
                      <a:pt x="1" y="29"/>
                      <a:pt x="1" y="29"/>
                    </a:cubicBezTo>
                    <a:cubicBezTo>
                      <a:pt x="1" y="29"/>
                      <a:pt x="13" y="38"/>
                      <a:pt x="27" y="31"/>
                    </a:cubicBezTo>
                    <a:cubicBezTo>
                      <a:pt x="41" y="24"/>
                      <a:pt x="48" y="5"/>
                      <a:pt x="48" y="5"/>
                    </a:cubicBezTo>
                    <a:cubicBezTo>
                      <a:pt x="48" y="5"/>
                      <a:pt x="28" y="0"/>
                      <a:pt x="14" y="7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90" name="Rectangle 69">
                <a:extLst>
                  <a:ext uri="{FF2B5EF4-FFF2-40B4-BE49-F238E27FC236}">
                    <a16:creationId xmlns:a16="http://schemas.microsoft.com/office/drawing/2014/main" xmlns="" id="{6A0D5061-62E4-BB62-AFF4-54E5BF788F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1" y="2043"/>
                <a:ext cx="11" cy="383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91" name="Freeform 70">
                <a:extLst>
                  <a:ext uri="{FF2B5EF4-FFF2-40B4-BE49-F238E27FC236}">
                    <a16:creationId xmlns:a16="http://schemas.microsoft.com/office/drawing/2014/main" xmlns="" id="{57B66D35-B5B8-0E3C-9634-F130B884D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7" y="1822"/>
                <a:ext cx="64" cy="135"/>
              </a:xfrm>
              <a:custGeom>
                <a:avLst/>
                <a:gdLst>
                  <a:gd name="T0" fmla="*/ 25 w 28"/>
                  <a:gd name="T1" fmla="*/ 31 h 58"/>
                  <a:gd name="T2" fmla="*/ 9 w 28"/>
                  <a:gd name="T3" fmla="*/ 57 h 58"/>
                  <a:gd name="T4" fmla="*/ 4 w 28"/>
                  <a:gd name="T5" fmla="*/ 27 h 58"/>
                  <a:gd name="T6" fmla="*/ 20 w 28"/>
                  <a:gd name="T7" fmla="*/ 1 h 58"/>
                  <a:gd name="T8" fmla="*/ 25 w 28"/>
                  <a:gd name="T9" fmla="*/ 3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31"/>
                    </a:moveTo>
                    <a:cubicBezTo>
                      <a:pt x="22" y="47"/>
                      <a:pt x="14" y="58"/>
                      <a:pt x="9" y="57"/>
                    </a:cubicBezTo>
                    <a:cubicBezTo>
                      <a:pt x="3" y="56"/>
                      <a:pt x="0" y="42"/>
                      <a:pt x="4" y="27"/>
                    </a:cubicBezTo>
                    <a:cubicBezTo>
                      <a:pt x="7" y="12"/>
                      <a:pt x="14" y="0"/>
                      <a:pt x="20" y="1"/>
                    </a:cubicBezTo>
                    <a:cubicBezTo>
                      <a:pt x="26" y="3"/>
                      <a:pt x="28" y="16"/>
                      <a:pt x="25" y="3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92" name="Freeform 71">
                <a:extLst>
                  <a:ext uri="{FF2B5EF4-FFF2-40B4-BE49-F238E27FC236}">
                    <a16:creationId xmlns:a16="http://schemas.microsoft.com/office/drawing/2014/main" xmlns="" id="{0A2892FA-6534-E1C3-5F0A-596EEEDD4F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1952"/>
                <a:ext cx="65" cy="135"/>
              </a:xfrm>
              <a:custGeom>
                <a:avLst/>
                <a:gdLst>
                  <a:gd name="T0" fmla="*/ 24 w 28"/>
                  <a:gd name="T1" fmla="*/ 31 h 58"/>
                  <a:gd name="T2" fmla="*/ 8 w 28"/>
                  <a:gd name="T3" fmla="*/ 57 h 58"/>
                  <a:gd name="T4" fmla="*/ 3 w 28"/>
                  <a:gd name="T5" fmla="*/ 27 h 58"/>
                  <a:gd name="T6" fmla="*/ 20 w 28"/>
                  <a:gd name="T7" fmla="*/ 1 h 58"/>
                  <a:gd name="T8" fmla="*/ 24 w 28"/>
                  <a:gd name="T9" fmla="*/ 3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4" y="31"/>
                    </a:moveTo>
                    <a:cubicBezTo>
                      <a:pt x="21" y="46"/>
                      <a:pt x="14" y="58"/>
                      <a:pt x="8" y="57"/>
                    </a:cubicBezTo>
                    <a:cubicBezTo>
                      <a:pt x="2" y="55"/>
                      <a:pt x="0" y="42"/>
                      <a:pt x="3" y="27"/>
                    </a:cubicBezTo>
                    <a:cubicBezTo>
                      <a:pt x="6" y="11"/>
                      <a:pt x="14" y="0"/>
                      <a:pt x="20" y="1"/>
                    </a:cubicBezTo>
                    <a:cubicBezTo>
                      <a:pt x="25" y="2"/>
                      <a:pt x="28" y="16"/>
                      <a:pt x="24" y="3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93" name="Freeform 72">
                <a:extLst>
                  <a:ext uri="{FF2B5EF4-FFF2-40B4-BE49-F238E27FC236}">
                    <a16:creationId xmlns:a16="http://schemas.microsoft.com/office/drawing/2014/main" xmlns="" id="{7C87F7DE-79AB-1F58-5596-07E837784F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6" y="1908"/>
                <a:ext cx="134" cy="65"/>
              </a:xfrm>
              <a:custGeom>
                <a:avLst/>
                <a:gdLst>
                  <a:gd name="T0" fmla="*/ 31 w 58"/>
                  <a:gd name="T1" fmla="*/ 3 h 28"/>
                  <a:gd name="T2" fmla="*/ 57 w 58"/>
                  <a:gd name="T3" fmla="*/ 20 h 28"/>
                  <a:gd name="T4" fmla="*/ 26 w 58"/>
                  <a:gd name="T5" fmla="*/ 25 h 28"/>
                  <a:gd name="T6" fmla="*/ 1 w 58"/>
                  <a:gd name="T7" fmla="*/ 8 h 28"/>
                  <a:gd name="T8" fmla="*/ 31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1" y="3"/>
                    </a:moveTo>
                    <a:cubicBezTo>
                      <a:pt x="46" y="7"/>
                      <a:pt x="58" y="14"/>
                      <a:pt x="57" y="20"/>
                    </a:cubicBezTo>
                    <a:cubicBezTo>
                      <a:pt x="55" y="26"/>
                      <a:pt x="42" y="28"/>
                      <a:pt x="26" y="25"/>
                    </a:cubicBezTo>
                    <a:cubicBezTo>
                      <a:pt x="11" y="22"/>
                      <a:pt x="0" y="14"/>
                      <a:pt x="1" y="8"/>
                    </a:cubicBezTo>
                    <a:cubicBezTo>
                      <a:pt x="2" y="2"/>
                      <a:pt x="16" y="0"/>
                      <a:pt x="31" y="3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94" name="Freeform 73">
                <a:extLst>
                  <a:ext uri="{FF2B5EF4-FFF2-40B4-BE49-F238E27FC236}">
                    <a16:creationId xmlns:a16="http://schemas.microsoft.com/office/drawing/2014/main" xmlns="" id="{60402E00-C998-6D53-F2C3-4DC98A2E2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3" y="1936"/>
                <a:ext cx="133" cy="65"/>
              </a:xfrm>
              <a:custGeom>
                <a:avLst/>
                <a:gdLst>
                  <a:gd name="T0" fmla="*/ 32 w 58"/>
                  <a:gd name="T1" fmla="*/ 3 h 28"/>
                  <a:gd name="T2" fmla="*/ 57 w 58"/>
                  <a:gd name="T3" fmla="*/ 20 h 28"/>
                  <a:gd name="T4" fmla="*/ 27 w 58"/>
                  <a:gd name="T5" fmla="*/ 25 h 28"/>
                  <a:gd name="T6" fmla="*/ 2 w 58"/>
                  <a:gd name="T7" fmla="*/ 8 h 28"/>
                  <a:gd name="T8" fmla="*/ 32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2" y="3"/>
                    </a:moveTo>
                    <a:cubicBezTo>
                      <a:pt x="47" y="6"/>
                      <a:pt x="58" y="14"/>
                      <a:pt x="57" y="20"/>
                    </a:cubicBezTo>
                    <a:cubicBezTo>
                      <a:pt x="56" y="26"/>
                      <a:pt x="42" y="28"/>
                      <a:pt x="27" y="25"/>
                    </a:cubicBezTo>
                    <a:cubicBezTo>
                      <a:pt x="12" y="21"/>
                      <a:pt x="0" y="14"/>
                      <a:pt x="2" y="8"/>
                    </a:cubicBezTo>
                    <a:cubicBezTo>
                      <a:pt x="3" y="2"/>
                      <a:pt x="16" y="0"/>
                      <a:pt x="32" y="3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95" name="Freeform 74">
                <a:extLst>
                  <a:ext uri="{FF2B5EF4-FFF2-40B4-BE49-F238E27FC236}">
                    <a16:creationId xmlns:a16="http://schemas.microsoft.com/office/drawing/2014/main" xmlns="" id="{F17CB903-A155-3849-A582-BD401ADAC5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2" y="1836"/>
                <a:ext cx="97" cy="125"/>
              </a:xfrm>
              <a:custGeom>
                <a:avLst/>
                <a:gdLst>
                  <a:gd name="T0" fmla="*/ 30 w 42"/>
                  <a:gd name="T1" fmla="*/ 21 h 54"/>
                  <a:gd name="T2" fmla="*/ 37 w 42"/>
                  <a:gd name="T3" fmla="*/ 51 h 54"/>
                  <a:gd name="T4" fmla="*/ 12 w 42"/>
                  <a:gd name="T5" fmla="*/ 33 h 54"/>
                  <a:gd name="T6" fmla="*/ 6 w 42"/>
                  <a:gd name="T7" fmla="*/ 3 h 54"/>
                  <a:gd name="T8" fmla="*/ 30 w 42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4">
                    <a:moveTo>
                      <a:pt x="30" y="21"/>
                    </a:moveTo>
                    <a:cubicBezTo>
                      <a:pt x="39" y="34"/>
                      <a:pt x="42" y="48"/>
                      <a:pt x="37" y="51"/>
                    </a:cubicBezTo>
                    <a:cubicBezTo>
                      <a:pt x="31" y="54"/>
                      <a:pt x="20" y="46"/>
                      <a:pt x="12" y="33"/>
                    </a:cubicBezTo>
                    <a:cubicBezTo>
                      <a:pt x="3" y="20"/>
                      <a:pt x="0" y="7"/>
                      <a:pt x="6" y="3"/>
                    </a:cubicBezTo>
                    <a:cubicBezTo>
                      <a:pt x="11" y="0"/>
                      <a:pt x="22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96" name="Freeform 75">
                <a:extLst>
                  <a:ext uri="{FF2B5EF4-FFF2-40B4-BE49-F238E27FC236}">
                    <a16:creationId xmlns:a16="http://schemas.microsoft.com/office/drawing/2014/main" xmlns="" id="{5A12B607-C4AA-2785-63FD-092DC796B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4" y="1947"/>
                <a:ext cx="96" cy="126"/>
              </a:xfrm>
              <a:custGeom>
                <a:avLst/>
                <a:gdLst>
                  <a:gd name="T0" fmla="*/ 30 w 42"/>
                  <a:gd name="T1" fmla="*/ 21 h 54"/>
                  <a:gd name="T2" fmla="*/ 37 w 42"/>
                  <a:gd name="T3" fmla="*/ 51 h 54"/>
                  <a:gd name="T4" fmla="*/ 12 w 42"/>
                  <a:gd name="T5" fmla="*/ 33 h 54"/>
                  <a:gd name="T6" fmla="*/ 6 w 42"/>
                  <a:gd name="T7" fmla="*/ 3 h 54"/>
                  <a:gd name="T8" fmla="*/ 30 w 42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4">
                    <a:moveTo>
                      <a:pt x="30" y="21"/>
                    </a:moveTo>
                    <a:cubicBezTo>
                      <a:pt x="39" y="34"/>
                      <a:pt x="42" y="47"/>
                      <a:pt x="37" y="51"/>
                    </a:cubicBezTo>
                    <a:cubicBezTo>
                      <a:pt x="31" y="54"/>
                      <a:pt x="20" y="46"/>
                      <a:pt x="12" y="33"/>
                    </a:cubicBezTo>
                    <a:cubicBezTo>
                      <a:pt x="3" y="20"/>
                      <a:pt x="0" y="6"/>
                      <a:pt x="6" y="3"/>
                    </a:cubicBezTo>
                    <a:cubicBezTo>
                      <a:pt x="11" y="0"/>
                      <a:pt x="22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97" name="Freeform 76">
                <a:extLst>
                  <a:ext uri="{FF2B5EF4-FFF2-40B4-BE49-F238E27FC236}">
                    <a16:creationId xmlns:a16="http://schemas.microsoft.com/office/drawing/2014/main" xmlns="" id="{26883B58-A33F-DFDF-B6DD-C6E0BDAF58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" y="1943"/>
                <a:ext cx="124" cy="95"/>
              </a:xfrm>
              <a:custGeom>
                <a:avLst/>
                <a:gdLst>
                  <a:gd name="T0" fmla="*/ 21 w 54"/>
                  <a:gd name="T1" fmla="*/ 11 h 41"/>
                  <a:gd name="T2" fmla="*/ 51 w 54"/>
                  <a:gd name="T3" fmla="*/ 5 h 41"/>
                  <a:gd name="T4" fmla="*/ 33 w 54"/>
                  <a:gd name="T5" fmla="*/ 30 h 41"/>
                  <a:gd name="T6" fmla="*/ 3 w 54"/>
                  <a:gd name="T7" fmla="*/ 36 h 41"/>
                  <a:gd name="T8" fmla="*/ 21 w 54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21" y="11"/>
                    </a:moveTo>
                    <a:cubicBezTo>
                      <a:pt x="34" y="3"/>
                      <a:pt x="47" y="0"/>
                      <a:pt x="51" y="5"/>
                    </a:cubicBezTo>
                    <a:cubicBezTo>
                      <a:pt x="54" y="10"/>
                      <a:pt x="46" y="21"/>
                      <a:pt x="33" y="30"/>
                    </a:cubicBezTo>
                    <a:cubicBezTo>
                      <a:pt x="19" y="38"/>
                      <a:pt x="6" y="41"/>
                      <a:pt x="3" y="36"/>
                    </a:cubicBezTo>
                    <a:cubicBezTo>
                      <a:pt x="0" y="31"/>
                      <a:pt x="8" y="20"/>
                      <a:pt x="21" y="1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98" name="Freeform 77">
                <a:extLst>
                  <a:ext uri="{FF2B5EF4-FFF2-40B4-BE49-F238E27FC236}">
                    <a16:creationId xmlns:a16="http://schemas.microsoft.com/office/drawing/2014/main" xmlns="" id="{86A7F9CF-8D8C-4242-8488-197117AD2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8" y="1871"/>
                <a:ext cx="125" cy="95"/>
              </a:xfrm>
              <a:custGeom>
                <a:avLst/>
                <a:gdLst>
                  <a:gd name="T0" fmla="*/ 21 w 54"/>
                  <a:gd name="T1" fmla="*/ 11 h 41"/>
                  <a:gd name="T2" fmla="*/ 51 w 54"/>
                  <a:gd name="T3" fmla="*/ 5 h 41"/>
                  <a:gd name="T4" fmla="*/ 33 w 54"/>
                  <a:gd name="T5" fmla="*/ 30 h 41"/>
                  <a:gd name="T6" fmla="*/ 4 w 54"/>
                  <a:gd name="T7" fmla="*/ 36 h 41"/>
                  <a:gd name="T8" fmla="*/ 21 w 54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21" y="11"/>
                    </a:moveTo>
                    <a:cubicBezTo>
                      <a:pt x="35" y="3"/>
                      <a:pt x="48" y="0"/>
                      <a:pt x="51" y="5"/>
                    </a:cubicBezTo>
                    <a:cubicBezTo>
                      <a:pt x="54" y="10"/>
                      <a:pt x="46" y="21"/>
                      <a:pt x="33" y="30"/>
                    </a:cubicBezTo>
                    <a:cubicBezTo>
                      <a:pt x="20" y="38"/>
                      <a:pt x="7" y="41"/>
                      <a:pt x="4" y="36"/>
                    </a:cubicBezTo>
                    <a:cubicBezTo>
                      <a:pt x="0" y="31"/>
                      <a:pt x="8" y="20"/>
                      <a:pt x="21" y="1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99" name="Freeform 78">
                <a:extLst>
                  <a:ext uri="{FF2B5EF4-FFF2-40B4-BE49-F238E27FC236}">
                    <a16:creationId xmlns:a16="http://schemas.microsoft.com/office/drawing/2014/main" xmlns="" id="{A74BA5E8-1D3C-9AF8-9445-287A83A81E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1822"/>
                <a:ext cx="65" cy="135"/>
              </a:xfrm>
              <a:custGeom>
                <a:avLst/>
                <a:gdLst>
                  <a:gd name="T0" fmla="*/ 24 w 28"/>
                  <a:gd name="T1" fmla="*/ 27 h 58"/>
                  <a:gd name="T2" fmla="*/ 20 w 28"/>
                  <a:gd name="T3" fmla="*/ 57 h 58"/>
                  <a:gd name="T4" fmla="*/ 3 w 28"/>
                  <a:gd name="T5" fmla="*/ 32 h 58"/>
                  <a:gd name="T6" fmla="*/ 8 w 28"/>
                  <a:gd name="T7" fmla="*/ 1 h 58"/>
                  <a:gd name="T8" fmla="*/ 24 w 28"/>
                  <a:gd name="T9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4" y="27"/>
                    </a:moveTo>
                    <a:cubicBezTo>
                      <a:pt x="28" y="42"/>
                      <a:pt x="25" y="56"/>
                      <a:pt x="20" y="57"/>
                    </a:cubicBezTo>
                    <a:cubicBezTo>
                      <a:pt x="14" y="58"/>
                      <a:pt x="6" y="47"/>
                      <a:pt x="3" y="32"/>
                    </a:cubicBezTo>
                    <a:cubicBezTo>
                      <a:pt x="0" y="16"/>
                      <a:pt x="2" y="3"/>
                      <a:pt x="8" y="1"/>
                    </a:cubicBezTo>
                    <a:cubicBezTo>
                      <a:pt x="13" y="0"/>
                      <a:pt x="21" y="12"/>
                      <a:pt x="24" y="27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00" name="Freeform 79">
                <a:extLst>
                  <a:ext uri="{FF2B5EF4-FFF2-40B4-BE49-F238E27FC236}">
                    <a16:creationId xmlns:a16="http://schemas.microsoft.com/office/drawing/2014/main" xmlns="" id="{1EBB0335-FF46-2A99-98A4-C790FDEB6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9" y="1952"/>
                <a:ext cx="65" cy="135"/>
              </a:xfrm>
              <a:custGeom>
                <a:avLst/>
                <a:gdLst>
                  <a:gd name="T0" fmla="*/ 24 w 28"/>
                  <a:gd name="T1" fmla="*/ 26 h 58"/>
                  <a:gd name="T2" fmla="*/ 20 w 28"/>
                  <a:gd name="T3" fmla="*/ 57 h 58"/>
                  <a:gd name="T4" fmla="*/ 3 w 28"/>
                  <a:gd name="T5" fmla="*/ 31 h 58"/>
                  <a:gd name="T6" fmla="*/ 8 w 28"/>
                  <a:gd name="T7" fmla="*/ 1 h 58"/>
                  <a:gd name="T8" fmla="*/ 24 w 28"/>
                  <a:gd name="T9" fmla="*/ 2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4" y="26"/>
                    </a:moveTo>
                    <a:cubicBezTo>
                      <a:pt x="28" y="42"/>
                      <a:pt x="25" y="55"/>
                      <a:pt x="20" y="57"/>
                    </a:cubicBezTo>
                    <a:cubicBezTo>
                      <a:pt x="14" y="58"/>
                      <a:pt x="6" y="46"/>
                      <a:pt x="3" y="31"/>
                    </a:cubicBezTo>
                    <a:cubicBezTo>
                      <a:pt x="0" y="16"/>
                      <a:pt x="2" y="2"/>
                      <a:pt x="8" y="1"/>
                    </a:cubicBezTo>
                    <a:cubicBezTo>
                      <a:pt x="13" y="0"/>
                      <a:pt x="21" y="11"/>
                      <a:pt x="24" y="26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01" name="Freeform 80">
                <a:extLst>
                  <a:ext uri="{FF2B5EF4-FFF2-40B4-BE49-F238E27FC236}">
                    <a16:creationId xmlns:a16="http://schemas.microsoft.com/office/drawing/2014/main" xmlns="" id="{8DEEE417-2CEB-0D0C-D530-49261A4CB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6" y="1936"/>
                <a:ext cx="134" cy="65"/>
              </a:xfrm>
              <a:custGeom>
                <a:avLst/>
                <a:gdLst>
                  <a:gd name="T0" fmla="*/ 26 w 58"/>
                  <a:gd name="T1" fmla="*/ 3 h 28"/>
                  <a:gd name="T2" fmla="*/ 57 w 58"/>
                  <a:gd name="T3" fmla="*/ 8 h 28"/>
                  <a:gd name="T4" fmla="*/ 31 w 58"/>
                  <a:gd name="T5" fmla="*/ 25 h 28"/>
                  <a:gd name="T6" fmla="*/ 1 w 58"/>
                  <a:gd name="T7" fmla="*/ 20 h 28"/>
                  <a:gd name="T8" fmla="*/ 26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6" y="3"/>
                    </a:moveTo>
                    <a:cubicBezTo>
                      <a:pt x="42" y="0"/>
                      <a:pt x="55" y="2"/>
                      <a:pt x="57" y="8"/>
                    </a:cubicBezTo>
                    <a:cubicBezTo>
                      <a:pt x="58" y="14"/>
                      <a:pt x="46" y="21"/>
                      <a:pt x="31" y="25"/>
                    </a:cubicBezTo>
                    <a:cubicBezTo>
                      <a:pt x="16" y="28"/>
                      <a:pt x="2" y="26"/>
                      <a:pt x="1" y="20"/>
                    </a:cubicBezTo>
                    <a:cubicBezTo>
                      <a:pt x="0" y="14"/>
                      <a:pt x="11" y="7"/>
                      <a:pt x="26" y="3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02" name="Freeform 81">
                <a:extLst>
                  <a:ext uri="{FF2B5EF4-FFF2-40B4-BE49-F238E27FC236}">
                    <a16:creationId xmlns:a16="http://schemas.microsoft.com/office/drawing/2014/main" xmlns="" id="{36B02C54-7FF0-2B4E-1A95-B6D6673CDF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3" y="1908"/>
                <a:ext cx="133" cy="65"/>
              </a:xfrm>
              <a:custGeom>
                <a:avLst/>
                <a:gdLst>
                  <a:gd name="T0" fmla="*/ 27 w 58"/>
                  <a:gd name="T1" fmla="*/ 3 h 28"/>
                  <a:gd name="T2" fmla="*/ 57 w 58"/>
                  <a:gd name="T3" fmla="*/ 8 h 28"/>
                  <a:gd name="T4" fmla="*/ 32 w 58"/>
                  <a:gd name="T5" fmla="*/ 25 h 28"/>
                  <a:gd name="T6" fmla="*/ 2 w 58"/>
                  <a:gd name="T7" fmla="*/ 20 h 28"/>
                  <a:gd name="T8" fmla="*/ 27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7" y="3"/>
                    </a:moveTo>
                    <a:cubicBezTo>
                      <a:pt x="42" y="0"/>
                      <a:pt x="56" y="2"/>
                      <a:pt x="57" y="8"/>
                    </a:cubicBezTo>
                    <a:cubicBezTo>
                      <a:pt x="58" y="14"/>
                      <a:pt x="47" y="21"/>
                      <a:pt x="32" y="25"/>
                    </a:cubicBezTo>
                    <a:cubicBezTo>
                      <a:pt x="16" y="28"/>
                      <a:pt x="3" y="26"/>
                      <a:pt x="2" y="20"/>
                    </a:cubicBezTo>
                    <a:cubicBezTo>
                      <a:pt x="0" y="14"/>
                      <a:pt x="12" y="7"/>
                      <a:pt x="27" y="3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03" name="Freeform 82">
                <a:extLst>
                  <a:ext uri="{FF2B5EF4-FFF2-40B4-BE49-F238E27FC236}">
                    <a16:creationId xmlns:a16="http://schemas.microsoft.com/office/drawing/2014/main" xmlns="" id="{A84C4F8A-3D46-289A-4A59-1969A99F7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8" y="1871"/>
                <a:ext cx="126" cy="95"/>
              </a:xfrm>
              <a:custGeom>
                <a:avLst/>
                <a:gdLst>
                  <a:gd name="T0" fmla="*/ 34 w 55"/>
                  <a:gd name="T1" fmla="*/ 11 h 41"/>
                  <a:gd name="T2" fmla="*/ 52 w 55"/>
                  <a:gd name="T3" fmla="*/ 36 h 41"/>
                  <a:gd name="T4" fmla="*/ 22 w 55"/>
                  <a:gd name="T5" fmla="*/ 30 h 41"/>
                  <a:gd name="T6" fmla="*/ 4 w 55"/>
                  <a:gd name="T7" fmla="*/ 5 h 41"/>
                  <a:gd name="T8" fmla="*/ 34 w 55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1">
                    <a:moveTo>
                      <a:pt x="34" y="11"/>
                    </a:moveTo>
                    <a:cubicBezTo>
                      <a:pt x="47" y="20"/>
                      <a:pt x="55" y="31"/>
                      <a:pt x="52" y="36"/>
                    </a:cubicBezTo>
                    <a:cubicBezTo>
                      <a:pt x="48" y="41"/>
                      <a:pt x="35" y="38"/>
                      <a:pt x="22" y="30"/>
                    </a:cubicBezTo>
                    <a:cubicBezTo>
                      <a:pt x="9" y="21"/>
                      <a:pt x="0" y="10"/>
                      <a:pt x="4" y="5"/>
                    </a:cubicBezTo>
                    <a:cubicBezTo>
                      <a:pt x="7" y="0"/>
                      <a:pt x="20" y="3"/>
                      <a:pt x="34" y="1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04" name="Freeform 83">
                <a:extLst>
                  <a:ext uri="{FF2B5EF4-FFF2-40B4-BE49-F238E27FC236}">
                    <a16:creationId xmlns:a16="http://schemas.microsoft.com/office/drawing/2014/main" xmlns="" id="{60D0F400-40A8-85B3-1804-956ACFBE1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8" y="1943"/>
                <a:ext cx="127" cy="95"/>
              </a:xfrm>
              <a:custGeom>
                <a:avLst/>
                <a:gdLst>
                  <a:gd name="T0" fmla="*/ 33 w 55"/>
                  <a:gd name="T1" fmla="*/ 11 h 41"/>
                  <a:gd name="T2" fmla="*/ 51 w 55"/>
                  <a:gd name="T3" fmla="*/ 36 h 41"/>
                  <a:gd name="T4" fmla="*/ 22 w 55"/>
                  <a:gd name="T5" fmla="*/ 30 h 41"/>
                  <a:gd name="T6" fmla="*/ 4 w 55"/>
                  <a:gd name="T7" fmla="*/ 5 h 41"/>
                  <a:gd name="T8" fmla="*/ 33 w 55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1">
                    <a:moveTo>
                      <a:pt x="33" y="11"/>
                    </a:moveTo>
                    <a:cubicBezTo>
                      <a:pt x="47" y="20"/>
                      <a:pt x="55" y="31"/>
                      <a:pt x="51" y="36"/>
                    </a:cubicBezTo>
                    <a:cubicBezTo>
                      <a:pt x="48" y="41"/>
                      <a:pt x="35" y="38"/>
                      <a:pt x="22" y="30"/>
                    </a:cubicBezTo>
                    <a:cubicBezTo>
                      <a:pt x="8" y="21"/>
                      <a:pt x="0" y="10"/>
                      <a:pt x="4" y="5"/>
                    </a:cubicBezTo>
                    <a:cubicBezTo>
                      <a:pt x="7" y="0"/>
                      <a:pt x="20" y="3"/>
                      <a:pt x="33" y="1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05" name="Freeform 84">
                <a:extLst>
                  <a:ext uri="{FF2B5EF4-FFF2-40B4-BE49-F238E27FC236}">
                    <a16:creationId xmlns:a16="http://schemas.microsoft.com/office/drawing/2014/main" xmlns="" id="{A47AC7D9-9329-D69A-C4E7-328F47361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4" y="1947"/>
                <a:ext cx="95" cy="126"/>
              </a:xfrm>
              <a:custGeom>
                <a:avLst/>
                <a:gdLst>
                  <a:gd name="T0" fmla="*/ 11 w 41"/>
                  <a:gd name="T1" fmla="*/ 21 h 54"/>
                  <a:gd name="T2" fmla="*/ 36 w 41"/>
                  <a:gd name="T3" fmla="*/ 3 h 54"/>
                  <a:gd name="T4" fmla="*/ 29 w 41"/>
                  <a:gd name="T5" fmla="*/ 33 h 54"/>
                  <a:gd name="T6" fmla="*/ 5 w 41"/>
                  <a:gd name="T7" fmla="*/ 51 h 54"/>
                  <a:gd name="T8" fmla="*/ 11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11" y="21"/>
                    </a:moveTo>
                    <a:cubicBezTo>
                      <a:pt x="19" y="8"/>
                      <a:pt x="30" y="0"/>
                      <a:pt x="36" y="3"/>
                    </a:cubicBezTo>
                    <a:cubicBezTo>
                      <a:pt x="41" y="6"/>
                      <a:pt x="38" y="20"/>
                      <a:pt x="29" y="33"/>
                    </a:cubicBezTo>
                    <a:cubicBezTo>
                      <a:pt x="21" y="46"/>
                      <a:pt x="10" y="54"/>
                      <a:pt x="5" y="51"/>
                    </a:cubicBezTo>
                    <a:cubicBezTo>
                      <a:pt x="0" y="48"/>
                      <a:pt x="2" y="34"/>
                      <a:pt x="11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06" name="Freeform 85">
                <a:extLst>
                  <a:ext uri="{FF2B5EF4-FFF2-40B4-BE49-F238E27FC236}">
                    <a16:creationId xmlns:a16="http://schemas.microsoft.com/office/drawing/2014/main" xmlns="" id="{D21402F5-427A-BA86-249F-909AF7940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4" y="1836"/>
                <a:ext cx="94" cy="125"/>
              </a:xfrm>
              <a:custGeom>
                <a:avLst/>
                <a:gdLst>
                  <a:gd name="T0" fmla="*/ 12 w 41"/>
                  <a:gd name="T1" fmla="*/ 21 h 54"/>
                  <a:gd name="T2" fmla="*/ 36 w 41"/>
                  <a:gd name="T3" fmla="*/ 3 h 54"/>
                  <a:gd name="T4" fmla="*/ 30 w 41"/>
                  <a:gd name="T5" fmla="*/ 33 h 54"/>
                  <a:gd name="T6" fmla="*/ 6 w 41"/>
                  <a:gd name="T7" fmla="*/ 51 h 54"/>
                  <a:gd name="T8" fmla="*/ 12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12" y="21"/>
                    </a:moveTo>
                    <a:cubicBezTo>
                      <a:pt x="20" y="8"/>
                      <a:pt x="31" y="0"/>
                      <a:pt x="36" y="3"/>
                    </a:cubicBezTo>
                    <a:cubicBezTo>
                      <a:pt x="41" y="6"/>
                      <a:pt x="39" y="20"/>
                      <a:pt x="30" y="33"/>
                    </a:cubicBezTo>
                    <a:cubicBezTo>
                      <a:pt x="22" y="46"/>
                      <a:pt x="11" y="54"/>
                      <a:pt x="6" y="51"/>
                    </a:cubicBezTo>
                    <a:cubicBezTo>
                      <a:pt x="0" y="48"/>
                      <a:pt x="3" y="34"/>
                      <a:pt x="12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07" name="Freeform 86">
                <a:extLst>
                  <a:ext uri="{FF2B5EF4-FFF2-40B4-BE49-F238E27FC236}">
                    <a16:creationId xmlns:a16="http://schemas.microsoft.com/office/drawing/2014/main" xmlns="" id="{3AED4452-4C02-F4FE-084B-59214289A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1910"/>
                <a:ext cx="90" cy="88"/>
              </a:xfrm>
              <a:custGeom>
                <a:avLst/>
                <a:gdLst>
                  <a:gd name="T0" fmla="*/ 39 w 39"/>
                  <a:gd name="T1" fmla="*/ 22 h 38"/>
                  <a:gd name="T2" fmla="*/ 34 w 39"/>
                  <a:gd name="T3" fmla="*/ 18 h 38"/>
                  <a:gd name="T4" fmla="*/ 38 w 39"/>
                  <a:gd name="T5" fmla="*/ 14 h 38"/>
                  <a:gd name="T6" fmla="*/ 34 w 39"/>
                  <a:gd name="T7" fmla="*/ 12 h 38"/>
                  <a:gd name="T8" fmla="*/ 35 w 39"/>
                  <a:gd name="T9" fmla="*/ 8 h 38"/>
                  <a:gd name="T10" fmla="*/ 29 w 39"/>
                  <a:gd name="T11" fmla="*/ 8 h 38"/>
                  <a:gd name="T12" fmla="*/ 29 w 39"/>
                  <a:gd name="T13" fmla="*/ 2 h 38"/>
                  <a:gd name="T14" fmla="*/ 25 w 39"/>
                  <a:gd name="T15" fmla="*/ 4 h 38"/>
                  <a:gd name="T16" fmla="*/ 22 w 39"/>
                  <a:gd name="T17" fmla="*/ 0 h 38"/>
                  <a:gd name="T18" fmla="*/ 19 w 39"/>
                  <a:gd name="T19" fmla="*/ 4 h 38"/>
                  <a:gd name="T20" fmla="*/ 14 w 39"/>
                  <a:gd name="T21" fmla="*/ 1 h 38"/>
                  <a:gd name="T22" fmla="*/ 12 w 39"/>
                  <a:gd name="T23" fmla="*/ 5 h 38"/>
                  <a:gd name="T24" fmla="*/ 8 w 39"/>
                  <a:gd name="T25" fmla="*/ 4 h 38"/>
                  <a:gd name="T26" fmla="*/ 8 w 39"/>
                  <a:gd name="T27" fmla="*/ 9 h 38"/>
                  <a:gd name="T28" fmla="*/ 3 w 39"/>
                  <a:gd name="T29" fmla="*/ 10 h 38"/>
                  <a:gd name="T30" fmla="*/ 4 w 39"/>
                  <a:gd name="T31" fmla="*/ 14 h 38"/>
                  <a:gd name="T32" fmla="*/ 0 w 39"/>
                  <a:gd name="T33" fmla="*/ 16 h 38"/>
                  <a:gd name="T34" fmla="*/ 5 w 39"/>
                  <a:gd name="T35" fmla="*/ 20 h 38"/>
                  <a:gd name="T36" fmla="*/ 1 w 39"/>
                  <a:gd name="T37" fmla="*/ 24 h 38"/>
                  <a:gd name="T38" fmla="*/ 5 w 39"/>
                  <a:gd name="T39" fmla="*/ 26 h 38"/>
                  <a:gd name="T40" fmla="*/ 4 w 39"/>
                  <a:gd name="T41" fmla="*/ 31 h 38"/>
                  <a:gd name="T42" fmla="*/ 10 w 39"/>
                  <a:gd name="T43" fmla="*/ 30 h 38"/>
                  <a:gd name="T44" fmla="*/ 10 w 39"/>
                  <a:gd name="T45" fmla="*/ 36 h 38"/>
                  <a:gd name="T46" fmla="*/ 14 w 39"/>
                  <a:gd name="T47" fmla="*/ 34 h 38"/>
                  <a:gd name="T48" fmla="*/ 17 w 39"/>
                  <a:gd name="T49" fmla="*/ 38 h 38"/>
                  <a:gd name="T50" fmla="*/ 21 w 39"/>
                  <a:gd name="T51" fmla="*/ 34 h 38"/>
                  <a:gd name="T52" fmla="*/ 25 w 39"/>
                  <a:gd name="T53" fmla="*/ 38 h 38"/>
                  <a:gd name="T54" fmla="*/ 27 w 39"/>
                  <a:gd name="T55" fmla="*/ 33 h 38"/>
                  <a:gd name="T56" fmla="*/ 31 w 39"/>
                  <a:gd name="T57" fmla="*/ 34 h 38"/>
                  <a:gd name="T58" fmla="*/ 31 w 39"/>
                  <a:gd name="T59" fmla="*/ 29 h 38"/>
                  <a:gd name="T60" fmla="*/ 36 w 39"/>
                  <a:gd name="T61" fmla="*/ 28 h 38"/>
                  <a:gd name="T62" fmla="*/ 35 w 39"/>
                  <a:gd name="T63" fmla="*/ 24 h 38"/>
                  <a:gd name="T64" fmla="*/ 39 w 39"/>
                  <a:gd name="T6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9" h="38">
                    <a:moveTo>
                      <a:pt x="39" y="22"/>
                    </a:moveTo>
                    <a:cubicBezTo>
                      <a:pt x="39" y="20"/>
                      <a:pt x="37" y="19"/>
                      <a:pt x="34" y="18"/>
                    </a:cubicBezTo>
                    <a:cubicBezTo>
                      <a:pt x="37" y="17"/>
                      <a:pt x="38" y="15"/>
                      <a:pt x="38" y="14"/>
                    </a:cubicBezTo>
                    <a:cubicBezTo>
                      <a:pt x="38" y="13"/>
                      <a:pt x="36" y="12"/>
                      <a:pt x="34" y="12"/>
                    </a:cubicBezTo>
                    <a:cubicBezTo>
                      <a:pt x="35" y="10"/>
                      <a:pt x="36" y="8"/>
                      <a:pt x="35" y="8"/>
                    </a:cubicBezTo>
                    <a:cubicBezTo>
                      <a:pt x="34" y="6"/>
                      <a:pt x="32" y="7"/>
                      <a:pt x="29" y="8"/>
                    </a:cubicBezTo>
                    <a:cubicBezTo>
                      <a:pt x="30" y="5"/>
                      <a:pt x="30" y="3"/>
                      <a:pt x="29" y="2"/>
                    </a:cubicBezTo>
                    <a:cubicBezTo>
                      <a:pt x="28" y="2"/>
                      <a:pt x="26" y="2"/>
                      <a:pt x="25" y="4"/>
                    </a:cubicBezTo>
                    <a:cubicBezTo>
                      <a:pt x="24" y="2"/>
                      <a:pt x="23" y="0"/>
                      <a:pt x="22" y="0"/>
                    </a:cubicBezTo>
                    <a:cubicBezTo>
                      <a:pt x="21" y="0"/>
                      <a:pt x="20" y="1"/>
                      <a:pt x="19" y="4"/>
                    </a:cubicBezTo>
                    <a:cubicBezTo>
                      <a:pt x="17" y="2"/>
                      <a:pt x="16" y="0"/>
                      <a:pt x="14" y="1"/>
                    </a:cubicBezTo>
                    <a:cubicBezTo>
                      <a:pt x="13" y="1"/>
                      <a:pt x="13" y="2"/>
                      <a:pt x="12" y="5"/>
                    </a:cubicBezTo>
                    <a:cubicBezTo>
                      <a:pt x="11" y="3"/>
                      <a:pt x="9" y="3"/>
                      <a:pt x="8" y="4"/>
                    </a:cubicBezTo>
                    <a:cubicBezTo>
                      <a:pt x="7" y="4"/>
                      <a:pt x="7" y="7"/>
                      <a:pt x="8" y="9"/>
                    </a:cubicBezTo>
                    <a:cubicBezTo>
                      <a:pt x="6" y="8"/>
                      <a:pt x="3" y="8"/>
                      <a:pt x="3" y="10"/>
                    </a:cubicBezTo>
                    <a:cubicBezTo>
                      <a:pt x="2" y="11"/>
                      <a:pt x="3" y="12"/>
                      <a:pt x="4" y="14"/>
                    </a:cubicBezTo>
                    <a:cubicBezTo>
                      <a:pt x="2" y="14"/>
                      <a:pt x="1" y="15"/>
                      <a:pt x="0" y="16"/>
                    </a:cubicBezTo>
                    <a:cubicBezTo>
                      <a:pt x="0" y="18"/>
                      <a:pt x="2" y="19"/>
                      <a:pt x="5" y="20"/>
                    </a:cubicBezTo>
                    <a:cubicBezTo>
                      <a:pt x="2" y="21"/>
                      <a:pt x="1" y="23"/>
                      <a:pt x="1" y="24"/>
                    </a:cubicBezTo>
                    <a:cubicBezTo>
                      <a:pt x="1" y="25"/>
                      <a:pt x="3" y="26"/>
                      <a:pt x="5" y="26"/>
                    </a:cubicBezTo>
                    <a:cubicBezTo>
                      <a:pt x="4" y="28"/>
                      <a:pt x="3" y="30"/>
                      <a:pt x="4" y="31"/>
                    </a:cubicBezTo>
                    <a:cubicBezTo>
                      <a:pt x="5" y="32"/>
                      <a:pt x="7" y="31"/>
                      <a:pt x="10" y="30"/>
                    </a:cubicBezTo>
                    <a:cubicBezTo>
                      <a:pt x="9" y="33"/>
                      <a:pt x="9" y="35"/>
                      <a:pt x="10" y="36"/>
                    </a:cubicBezTo>
                    <a:cubicBezTo>
                      <a:pt x="11" y="36"/>
                      <a:pt x="13" y="36"/>
                      <a:pt x="14" y="34"/>
                    </a:cubicBezTo>
                    <a:cubicBezTo>
                      <a:pt x="15" y="36"/>
                      <a:pt x="16" y="38"/>
                      <a:pt x="17" y="38"/>
                    </a:cubicBezTo>
                    <a:cubicBezTo>
                      <a:pt x="18" y="38"/>
                      <a:pt x="19" y="37"/>
                      <a:pt x="21" y="34"/>
                    </a:cubicBezTo>
                    <a:cubicBezTo>
                      <a:pt x="22" y="36"/>
                      <a:pt x="24" y="38"/>
                      <a:pt x="25" y="38"/>
                    </a:cubicBezTo>
                    <a:cubicBezTo>
                      <a:pt x="26" y="37"/>
                      <a:pt x="27" y="36"/>
                      <a:pt x="27" y="33"/>
                    </a:cubicBezTo>
                    <a:cubicBezTo>
                      <a:pt x="28" y="35"/>
                      <a:pt x="30" y="35"/>
                      <a:pt x="31" y="34"/>
                    </a:cubicBezTo>
                    <a:cubicBezTo>
                      <a:pt x="32" y="34"/>
                      <a:pt x="32" y="31"/>
                      <a:pt x="31" y="29"/>
                    </a:cubicBezTo>
                    <a:cubicBezTo>
                      <a:pt x="34" y="30"/>
                      <a:pt x="36" y="30"/>
                      <a:pt x="36" y="28"/>
                    </a:cubicBezTo>
                    <a:cubicBezTo>
                      <a:pt x="37" y="27"/>
                      <a:pt x="36" y="26"/>
                      <a:pt x="35" y="24"/>
                    </a:cubicBezTo>
                    <a:cubicBezTo>
                      <a:pt x="37" y="24"/>
                      <a:pt x="38" y="23"/>
                      <a:pt x="39" y="22"/>
                    </a:cubicBezTo>
                  </a:path>
                </a:pathLst>
              </a:custGeom>
              <a:solidFill>
                <a:srgbClr val="FFD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08" name="Freeform 87">
                <a:extLst>
                  <a:ext uri="{FF2B5EF4-FFF2-40B4-BE49-F238E27FC236}">
                    <a16:creationId xmlns:a16="http://schemas.microsoft.com/office/drawing/2014/main" xmlns="" id="{A301590B-2494-9FE1-3A8B-F02CBCEC9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6" y="2115"/>
                <a:ext cx="136" cy="125"/>
              </a:xfrm>
              <a:custGeom>
                <a:avLst/>
                <a:gdLst>
                  <a:gd name="T0" fmla="*/ 43 w 59"/>
                  <a:gd name="T1" fmla="*/ 13 h 54"/>
                  <a:gd name="T2" fmla="*/ 0 w 59"/>
                  <a:gd name="T3" fmla="*/ 3 h 54"/>
                  <a:gd name="T4" fmla="*/ 21 w 59"/>
                  <a:gd name="T5" fmla="*/ 41 h 54"/>
                  <a:gd name="T6" fmla="*/ 55 w 59"/>
                  <a:gd name="T7" fmla="*/ 44 h 54"/>
                  <a:gd name="T8" fmla="*/ 43 w 59"/>
                  <a:gd name="T9" fmla="*/ 1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54">
                    <a:moveTo>
                      <a:pt x="43" y="13"/>
                    </a:moveTo>
                    <a:cubicBezTo>
                      <a:pt x="26" y="0"/>
                      <a:pt x="0" y="3"/>
                      <a:pt x="0" y="3"/>
                    </a:cubicBezTo>
                    <a:cubicBezTo>
                      <a:pt x="0" y="3"/>
                      <a:pt x="5" y="29"/>
                      <a:pt x="21" y="41"/>
                    </a:cubicBezTo>
                    <a:cubicBezTo>
                      <a:pt x="38" y="54"/>
                      <a:pt x="55" y="44"/>
                      <a:pt x="55" y="44"/>
                    </a:cubicBezTo>
                    <a:cubicBezTo>
                      <a:pt x="55" y="44"/>
                      <a:pt x="59" y="25"/>
                      <a:pt x="43" y="1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09" name="Freeform 88">
                <a:extLst>
                  <a:ext uri="{FF2B5EF4-FFF2-40B4-BE49-F238E27FC236}">
                    <a16:creationId xmlns:a16="http://schemas.microsoft.com/office/drawing/2014/main" xmlns="" id="{B0ABB064-EF40-3FA6-C06A-D1FEB435B8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1" y="2166"/>
                <a:ext cx="108" cy="88"/>
              </a:xfrm>
              <a:custGeom>
                <a:avLst/>
                <a:gdLst>
                  <a:gd name="T0" fmla="*/ 14 w 47"/>
                  <a:gd name="T1" fmla="*/ 7 h 38"/>
                  <a:gd name="T2" fmla="*/ 1 w 47"/>
                  <a:gd name="T3" fmla="*/ 29 h 38"/>
                  <a:gd name="T4" fmla="*/ 26 w 47"/>
                  <a:gd name="T5" fmla="*/ 31 h 38"/>
                  <a:gd name="T6" fmla="*/ 47 w 47"/>
                  <a:gd name="T7" fmla="*/ 5 h 38"/>
                  <a:gd name="T8" fmla="*/ 14 w 47"/>
                  <a:gd name="T9" fmla="*/ 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8">
                    <a:moveTo>
                      <a:pt x="14" y="7"/>
                    </a:moveTo>
                    <a:cubicBezTo>
                      <a:pt x="0" y="14"/>
                      <a:pt x="1" y="29"/>
                      <a:pt x="1" y="29"/>
                    </a:cubicBezTo>
                    <a:cubicBezTo>
                      <a:pt x="1" y="29"/>
                      <a:pt x="12" y="38"/>
                      <a:pt x="26" y="31"/>
                    </a:cubicBezTo>
                    <a:cubicBezTo>
                      <a:pt x="40" y="24"/>
                      <a:pt x="47" y="5"/>
                      <a:pt x="47" y="5"/>
                    </a:cubicBezTo>
                    <a:cubicBezTo>
                      <a:pt x="47" y="5"/>
                      <a:pt x="28" y="0"/>
                      <a:pt x="14" y="7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10" name="Rectangle 89">
                <a:extLst>
                  <a:ext uri="{FF2B5EF4-FFF2-40B4-BE49-F238E27FC236}">
                    <a16:creationId xmlns:a16="http://schemas.microsoft.com/office/drawing/2014/main" xmlns="" id="{ACBB64A6-2368-3C89-D5A4-B3345B0A83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6" y="2052"/>
                <a:ext cx="9" cy="381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11" name="Freeform 90">
                <a:extLst>
                  <a:ext uri="{FF2B5EF4-FFF2-40B4-BE49-F238E27FC236}">
                    <a16:creationId xmlns:a16="http://schemas.microsoft.com/office/drawing/2014/main" xmlns="" id="{46E90F10-CF12-6673-183D-22D368F0F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2" y="1829"/>
                <a:ext cx="65" cy="137"/>
              </a:xfrm>
              <a:custGeom>
                <a:avLst/>
                <a:gdLst>
                  <a:gd name="T0" fmla="*/ 25 w 28"/>
                  <a:gd name="T1" fmla="*/ 32 h 59"/>
                  <a:gd name="T2" fmla="*/ 8 w 28"/>
                  <a:gd name="T3" fmla="*/ 57 h 59"/>
                  <a:gd name="T4" fmla="*/ 3 w 28"/>
                  <a:gd name="T5" fmla="*/ 27 h 59"/>
                  <a:gd name="T6" fmla="*/ 20 w 28"/>
                  <a:gd name="T7" fmla="*/ 2 h 59"/>
                  <a:gd name="T8" fmla="*/ 25 w 28"/>
                  <a:gd name="T9" fmla="*/ 3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9">
                    <a:moveTo>
                      <a:pt x="25" y="32"/>
                    </a:moveTo>
                    <a:cubicBezTo>
                      <a:pt x="21" y="47"/>
                      <a:pt x="14" y="59"/>
                      <a:pt x="8" y="57"/>
                    </a:cubicBezTo>
                    <a:cubicBezTo>
                      <a:pt x="2" y="56"/>
                      <a:pt x="0" y="43"/>
                      <a:pt x="3" y="27"/>
                    </a:cubicBezTo>
                    <a:cubicBezTo>
                      <a:pt x="7" y="12"/>
                      <a:pt x="14" y="0"/>
                      <a:pt x="20" y="2"/>
                    </a:cubicBezTo>
                    <a:cubicBezTo>
                      <a:pt x="26" y="3"/>
                      <a:pt x="28" y="16"/>
                      <a:pt x="25" y="32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12" name="Freeform 91">
                <a:extLst>
                  <a:ext uri="{FF2B5EF4-FFF2-40B4-BE49-F238E27FC236}">
                    <a16:creationId xmlns:a16="http://schemas.microsoft.com/office/drawing/2014/main" xmlns="" id="{2539FA64-88A7-CD88-C6FE-19D2A312B7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5" y="1959"/>
                <a:ext cx="64" cy="135"/>
              </a:xfrm>
              <a:custGeom>
                <a:avLst/>
                <a:gdLst>
                  <a:gd name="T0" fmla="*/ 25 w 28"/>
                  <a:gd name="T1" fmla="*/ 31 h 58"/>
                  <a:gd name="T2" fmla="*/ 8 w 28"/>
                  <a:gd name="T3" fmla="*/ 57 h 58"/>
                  <a:gd name="T4" fmla="*/ 3 w 28"/>
                  <a:gd name="T5" fmla="*/ 27 h 58"/>
                  <a:gd name="T6" fmla="*/ 20 w 28"/>
                  <a:gd name="T7" fmla="*/ 1 h 58"/>
                  <a:gd name="T8" fmla="*/ 25 w 28"/>
                  <a:gd name="T9" fmla="*/ 3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31"/>
                    </a:moveTo>
                    <a:cubicBezTo>
                      <a:pt x="22" y="47"/>
                      <a:pt x="14" y="58"/>
                      <a:pt x="8" y="57"/>
                    </a:cubicBezTo>
                    <a:cubicBezTo>
                      <a:pt x="2" y="56"/>
                      <a:pt x="0" y="42"/>
                      <a:pt x="3" y="27"/>
                    </a:cubicBezTo>
                    <a:cubicBezTo>
                      <a:pt x="7" y="11"/>
                      <a:pt x="14" y="0"/>
                      <a:pt x="20" y="1"/>
                    </a:cubicBezTo>
                    <a:cubicBezTo>
                      <a:pt x="26" y="3"/>
                      <a:pt x="28" y="16"/>
                      <a:pt x="25" y="3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13" name="Freeform 92">
                <a:extLst>
                  <a:ext uri="{FF2B5EF4-FFF2-40B4-BE49-F238E27FC236}">
                    <a16:creationId xmlns:a16="http://schemas.microsoft.com/office/drawing/2014/main" xmlns="" id="{C65ED9F9-0B67-8DEF-742F-8C5EE8F1C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1915"/>
                <a:ext cx="133" cy="65"/>
              </a:xfrm>
              <a:custGeom>
                <a:avLst/>
                <a:gdLst>
                  <a:gd name="T0" fmla="*/ 31 w 58"/>
                  <a:gd name="T1" fmla="*/ 4 h 28"/>
                  <a:gd name="T2" fmla="*/ 57 w 58"/>
                  <a:gd name="T3" fmla="*/ 20 h 28"/>
                  <a:gd name="T4" fmla="*/ 27 w 58"/>
                  <a:gd name="T5" fmla="*/ 25 h 28"/>
                  <a:gd name="T6" fmla="*/ 1 w 58"/>
                  <a:gd name="T7" fmla="*/ 8 h 28"/>
                  <a:gd name="T8" fmla="*/ 31 w 58"/>
                  <a:gd name="T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1" y="4"/>
                    </a:moveTo>
                    <a:cubicBezTo>
                      <a:pt x="47" y="7"/>
                      <a:pt x="58" y="14"/>
                      <a:pt x="57" y="20"/>
                    </a:cubicBezTo>
                    <a:cubicBezTo>
                      <a:pt x="56" y="26"/>
                      <a:pt x="42" y="28"/>
                      <a:pt x="27" y="25"/>
                    </a:cubicBezTo>
                    <a:cubicBezTo>
                      <a:pt x="12" y="22"/>
                      <a:pt x="0" y="14"/>
                      <a:pt x="1" y="8"/>
                    </a:cubicBezTo>
                    <a:cubicBezTo>
                      <a:pt x="3" y="3"/>
                      <a:pt x="16" y="0"/>
                      <a:pt x="31" y="4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14" name="Freeform 93">
                <a:extLst>
                  <a:ext uri="{FF2B5EF4-FFF2-40B4-BE49-F238E27FC236}">
                    <a16:creationId xmlns:a16="http://schemas.microsoft.com/office/drawing/2014/main" xmlns="" id="{3B609C3B-3193-2814-C2D3-18B5BAB16E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" y="1943"/>
                <a:ext cx="133" cy="65"/>
              </a:xfrm>
              <a:custGeom>
                <a:avLst/>
                <a:gdLst>
                  <a:gd name="T0" fmla="*/ 31 w 58"/>
                  <a:gd name="T1" fmla="*/ 3 h 28"/>
                  <a:gd name="T2" fmla="*/ 57 w 58"/>
                  <a:gd name="T3" fmla="*/ 20 h 28"/>
                  <a:gd name="T4" fmla="*/ 27 w 58"/>
                  <a:gd name="T5" fmla="*/ 25 h 28"/>
                  <a:gd name="T6" fmla="*/ 1 w 58"/>
                  <a:gd name="T7" fmla="*/ 8 h 28"/>
                  <a:gd name="T8" fmla="*/ 31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1" y="3"/>
                    </a:moveTo>
                    <a:cubicBezTo>
                      <a:pt x="46" y="7"/>
                      <a:pt x="58" y="14"/>
                      <a:pt x="57" y="20"/>
                    </a:cubicBezTo>
                    <a:cubicBezTo>
                      <a:pt x="55" y="26"/>
                      <a:pt x="42" y="28"/>
                      <a:pt x="27" y="25"/>
                    </a:cubicBezTo>
                    <a:cubicBezTo>
                      <a:pt x="11" y="22"/>
                      <a:pt x="0" y="14"/>
                      <a:pt x="1" y="8"/>
                    </a:cubicBezTo>
                    <a:cubicBezTo>
                      <a:pt x="2" y="2"/>
                      <a:pt x="16" y="0"/>
                      <a:pt x="31" y="3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15" name="Freeform 94">
                <a:extLst>
                  <a:ext uri="{FF2B5EF4-FFF2-40B4-BE49-F238E27FC236}">
                    <a16:creationId xmlns:a16="http://schemas.microsoft.com/office/drawing/2014/main" xmlns="" id="{7D4E8A5C-F4D6-A1F3-EEA0-345517D43B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8" y="1843"/>
                <a:ext cx="94" cy="128"/>
              </a:xfrm>
              <a:custGeom>
                <a:avLst/>
                <a:gdLst>
                  <a:gd name="T0" fmla="*/ 30 w 41"/>
                  <a:gd name="T1" fmla="*/ 21 h 55"/>
                  <a:gd name="T2" fmla="*/ 36 w 41"/>
                  <a:gd name="T3" fmla="*/ 51 h 55"/>
                  <a:gd name="T4" fmla="*/ 11 w 41"/>
                  <a:gd name="T5" fmla="*/ 33 h 55"/>
                  <a:gd name="T6" fmla="*/ 5 w 41"/>
                  <a:gd name="T7" fmla="*/ 4 h 55"/>
                  <a:gd name="T8" fmla="*/ 30 w 41"/>
                  <a:gd name="T9" fmla="*/ 2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5">
                    <a:moveTo>
                      <a:pt x="30" y="21"/>
                    </a:moveTo>
                    <a:cubicBezTo>
                      <a:pt x="38" y="35"/>
                      <a:pt x="41" y="48"/>
                      <a:pt x="36" y="51"/>
                    </a:cubicBezTo>
                    <a:cubicBezTo>
                      <a:pt x="31" y="55"/>
                      <a:pt x="20" y="47"/>
                      <a:pt x="11" y="33"/>
                    </a:cubicBezTo>
                    <a:cubicBezTo>
                      <a:pt x="3" y="20"/>
                      <a:pt x="0" y="7"/>
                      <a:pt x="5" y="4"/>
                    </a:cubicBezTo>
                    <a:cubicBezTo>
                      <a:pt x="10" y="0"/>
                      <a:pt x="21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16" name="Freeform 95">
                <a:extLst>
                  <a:ext uri="{FF2B5EF4-FFF2-40B4-BE49-F238E27FC236}">
                    <a16:creationId xmlns:a16="http://schemas.microsoft.com/office/drawing/2014/main" xmlns="" id="{B28EA60E-9818-A60A-6D1C-9B8CF3508F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9" y="1954"/>
                <a:ext cx="95" cy="126"/>
              </a:xfrm>
              <a:custGeom>
                <a:avLst/>
                <a:gdLst>
                  <a:gd name="T0" fmla="*/ 30 w 41"/>
                  <a:gd name="T1" fmla="*/ 21 h 54"/>
                  <a:gd name="T2" fmla="*/ 36 w 41"/>
                  <a:gd name="T3" fmla="*/ 51 h 54"/>
                  <a:gd name="T4" fmla="*/ 11 w 41"/>
                  <a:gd name="T5" fmla="*/ 33 h 54"/>
                  <a:gd name="T6" fmla="*/ 5 w 41"/>
                  <a:gd name="T7" fmla="*/ 3 h 54"/>
                  <a:gd name="T8" fmla="*/ 30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30" y="21"/>
                    </a:moveTo>
                    <a:cubicBezTo>
                      <a:pt x="38" y="34"/>
                      <a:pt x="41" y="48"/>
                      <a:pt x="36" y="51"/>
                    </a:cubicBezTo>
                    <a:cubicBezTo>
                      <a:pt x="31" y="54"/>
                      <a:pt x="20" y="46"/>
                      <a:pt x="11" y="33"/>
                    </a:cubicBezTo>
                    <a:cubicBezTo>
                      <a:pt x="3" y="20"/>
                      <a:pt x="0" y="7"/>
                      <a:pt x="5" y="3"/>
                    </a:cubicBezTo>
                    <a:cubicBezTo>
                      <a:pt x="10" y="0"/>
                      <a:pt x="21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17" name="Freeform 96">
                <a:extLst>
                  <a:ext uri="{FF2B5EF4-FFF2-40B4-BE49-F238E27FC236}">
                    <a16:creationId xmlns:a16="http://schemas.microsoft.com/office/drawing/2014/main" xmlns="" id="{BD9B7369-F54B-F9BC-6AF4-454D59A3A2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3" y="1950"/>
                <a:ext cx="125" cy="95"/>
              </a:xfrm>
              <a:custGeom>
                <a:avLst/>
                <a:gdLst>
                  <a:gd name="T0" fmla="*/ 21 w 54"/>
                  <a:gd name="T1" fmla="*/ 12 h 41"/>
                  <a:gd name="T2" fmla="*/ 51 w 54"/>
                  <a:gd name="T3" fmla="*/ 5 h 41"/>
                  <a:gd name="T4" fmla="*/ 33 w 54"/>
                  <a:gd name="T5" fmla="*/ 30 h 41"/>
                  <a:gd name="T6" fmla="*/ 3 w 54"/>
                  <a:gd name="T7" fmla="*/ 36 h 41"/>
                  <a:gd name="T8" fmla="*/ 21 w 54"/>
                  <a:gd name="T9" fmla="*/ 1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21" y="12"/>
                    </a:moveTo>
                    <a:cubicBezTo>
                      <a:pt x="34" y="3"/>
                      <a:pt x="48" y="0"/>
                      <a:pt x="51" y="5"/>
                    </a:cubicBezTo>
                    <a:cubicBezTo>
                      <a:pt x="54" y="10"/>
                      <a:pt x="46" y="21"/>
                      <a:pt x="33" y="30"/>
                    </a:cubicBezTo>
                    <a:cubicBezTo>
                      <a:pt x="20" y="38"/>
                      <a:pt x="7" y="41"/>
                      <a:pt x="3" y="36"/>
                    </a:cubicBezTo>
                    <a:cubicBezTo>
                      <a:pt x="0" y="31"/>
                      <a:pt x="8" y="20"/>
                      <a:pt x="21" y="12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18" name="Freeform 97">
                <a:extLst>
                  <a:ext uri="{FF2B5EF4-FFF2-40B4-BE49-F238E27FC236}">
                    <a16:creationId xmlns:a16="http://schemas.microsoft.com/office/drawing/2014/main" xmlns="" id="{B10CC281-1FA1-03EB-D8EF-4B06BBBB21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4" y="1878"/>
                <a:ext cx="124" cy="95"/>
              </a:xfrm>
              <a:custGeom>
                <a:avLst/>
                <a:gdLst>
                  <a:gd name="T0" fmla="*/ 21 w 54"/>
                  <a:gd name="T1" fmla="*/ 12 h 41"/>
                  <a:gd name="T2" fmla="*/ 51 w 54"/>
                  <a:gd name="T3" fmla="*/ 5 h 41"/>
                  <a:gd name="T4" fmla="*/ 33 w 54"/>
                  <a:gd name="T5" fmla="*/ 30 h 41"/>
                  <a:gd name="T6" fmla="*/ 3 w 54"/>
                  <a:gd name="T7" fmla="*/ 36 h 41"/>
                  <a:gd name="T8" fmla="*/ 21 w 54"/>
                  <a:gd name="T9" fmla="*/ 1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21" y="12"/>
                    </a:moveTo>
                    <a:cubicBezTo>
                      <a:pt x="34" y="3"/>
                      <a:pt x="47" y="0"/>
                      <a:pt x="51" y="5"/>
                    </a:cubicBezTo>
                    <a:cubicBezTo>
                      <a:pt x="54" y="10"/>
                      <a:pt x="46" y="21"/>
                      <a:pt x="33" y="30"/>
                    </a:cubicBezTo>
                    <a:cubicBezTo>
                      <a:pt x="20" y="39"/>
                      <a:pt x="6" y="41"/>
                      <a:pt x="3" y="36"/>
                    </a:cubicBezTo>
                    <a:cubicBezTo>
                      <a:pt x="0" y="31"/>
                      <a:pt x="8" y="20"/>
                      <a:pt x="21" y="12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19" name="Freeform 98">
                <a:extLst>
                  <a:ext uri="{FF2B5EF4-FFF2-40B4-BE49-F238E27FC236}">
                    <a16:creationId xmlns:a16="http://schemas.microsoft.com/office/drawing/2014/main" xmlns="" id="{D3CB2B1F-D7C6-CA78-260A-82A813A3B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5" y="1829"/>
                <a:ext cx="64" cy="137"/>
              </a:xfrm>
              <a:custGeom>
                <a:avLst/>
                <a:gdLst>
                  <a:gd name="T0" fmla="*/ 25 w 28"/>
                  <a:gd name="T1" fmla="*/ 27 h 59"/>
                  <a:gd name="T2" fmla="*/ 20 w 28"/>
                  <a:gd name="T3" fmla="*/ 57 h 59"/>
                  <a:gd name="T4" fmla="*/ 3 w 28"/>
                  <a:gd name="T5" fmla="*/ 32 h 59"/>
                  <a:gd name="T6" fmla="*/ 8 w 28"/>
                  <a:gd name="T7" fmla="*/ 2 h 59"/>
                  <a:gd name="T8" fmla="*/ 25 w 28"/>
                  <a:gd name="T9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9">
                    <a:moveTo>
                      <a:pt x="25" y="27"/>
                    </a:moveTo>
                    <a:cubicBezTo>
                      <a:pt x="28" y="43"/>
                      <a:pt x="26" y="56"/>
                      <a:pt x="20" y="57"/>
                    </a:cubicBezTo>
                    <a:cubicBezTo>
                      <a:pt x="14" y="59"/>
                      <a:pt x="7" y="47"/>
                      <a:pt x="3" y="32"/>
                    </a:cubicBezTo>
                    <a:cubicBezTo>
                      <a:pt x="0" y="16"/>
                      <a:pt x="2" y="3"/>
                      <a:pt x="8" y="2"/>
                    </a:cubicBezTo>
                    <a:cubicBezTo>
                      <a:pt x="14" y="0"/>
                      <a:pt x="21" y="12"/>
                      <a:pt x="25" y="27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20" name="Freeform 99">
                <a:extLst>
                  <a:ext uri="{FF2B5EF4-FFF2-40B4-BE49-F238E27FC236}">
                    <a16:creationId xmlns:a16="http://schemas.microsoft.com/office/drawing/2014/main" xmlns="" id="{7C90C8BB-E220-943F-54B0-5FCFED26F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2" y="1959"/>
                <a:ext cx="65" cy="135"/>
              </a:xfrm>
              <a:custGeom>
                <a:avLst/>
                <a:gdLst>
                  <a:gd name="T0" fmla="*/ 25 w 28"/>
                  <a:gd name="T1" fmla="*/ 27 h 58"/>
                  <a:gd name="T2" fmla="*/ 20 w 28"/>
                  <a:gd name="T3" fmla="*/ 57 h 58"/>
                  <a:gd name="T4" fmla="*/ 3 w 28"/>
                  <a:gd name="T5" fmla="*/ 31 h 58"/>
                  <a:gd name="T6" fmla="*/ 8 w 28"/>
                  <a:gd name="T7" fmla="*/ 1 h 58"/>
                  <a:gd name="T8" fmla="*/ 25 w 28"/>
                  <a:gd name="T9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27"/>
                    </a:moveTo>
                    <a:cubicBezTo>
                      <a:pt x="28" y="42"/>
                      <a:pt x="26" y="56"/>
                      <a:pt x="20" y="57"/>
                    </a:cubicBezTo>
                    <a:cubicBezTo>
                      <a:pt x="14" y="58"/>
                      <a:pt x="7" y="47"/>
                      <a:pt x="3" y="31"/>
                    </a:cubicBezTo>
                    <a:cubicBezTo>
                      <a:pt x="0" y="16"/>
                      <a:pt x="2" y="3"/>
                      <a:pt x="8" y="1"/>
                    </a:cubicBezTo>
                    <a:cubicBezTo>
                      <a:pt x="14" y="0"/>
                      <a:pt x="21" y="11"/>
                      <a:pt x="25" y="27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21" name="Freeform 100">
                <a:extLst>
                  <a:ext uri="{FF2B5EF4-FFF2-40B4-BE49-F238E27FC236}">
                    <a16:creationId xmlns:a16="http://schemas.microsoft.com/office/drawing/2014/main" xmlns="" id="{4E9C58C6-53E2-5175-2B92-F5B4AD6A30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1943"/>
                <a:ext cx="133" cy="65"/>
              </a:xfrm>
              <a:custGeom>
                <a:avLst/>
                <a:gdLst>
                  <a:gd name="T0" fmla="*/ 27 w 58"/>
                  <a:gd name="T1" fmla="*/ 4 h 28"/>
                  <a:gd name="T2" fmla="*/ 57 w 58"/>
                  <a:gd name="T3" fmla="*/ 8 h 28"/>
                  <a:gd name="T4" fmla="*/ 32 w 58"/>
                  <a:gd name="T5" fmla="*/ 25 h 28"/>
                  <a:gd name="T6" fmla="*/ 1 w 58"/>
                  <a:gd name="T7" fmla="*/ 20 h 28"/>
                  <a:gd name="T8" fmla="*/ 27 w 58"/>
                  <a:gd name="T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7" y="4"/>
                    </a:moveTo>
                    <a:cubicBezTo>
                      <a:pt x="42" y="0"/>
                      <a:pt x="56" y="2"/>
                      <a:pt x="57" y="8"/>
                    </a:cubicBezTo>
                    <a:cubicBezTo>
                      <a:pt x="58" y="14"/>
                      <a:pt x="47" y="22"/>
                      <a:pt x="32" y="25"/>
                    </a:cubicBezTo>
                    <a:cubicBezTo>
                      <a:pt x="16" y="28"/>
                      <a:pt x="3" y="26"/>
                      <a:pt x="1" y="20"/>
                    </a:cubicBezTo>
                    <a:cubicBezTo>
                      <a:pt x="0" y="14"/>
                      <a:pt x="12" y="7"/>
                      <a:pt x="27" y="4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22" name="Freeform 101">
                <a:extLst>
                  <a:ext uri="{FF2B5EF4-FFF2-40B4-BE49-F238E27FC236}">
                    <a16:creationId xmlns:a16="http://schemas.microsoft.com/office/drawing/2014/main" xmlns="" id="{6BD56A71-CE0F-4E99-74AF-B5088595E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" y="1915"/>
                <a:ext cx="133" cy="65"/>
              </a:xfrm>
              <a:custGeom>
                <a:avLst/>
                <a:gdLst>
                  <a:gd name="T0" fmla="*/ 27 w 58"/>
                  <a:gd name="T1" fmla="*/ 4 h 28"/>
                  <a:gd name="T2" fmla="*/ 57 w 58"/>
                  <a:gd name="T3" fmla="*/ 8 h 28"/>
                  <a:gd name="T4" fmla="*/ 31 w 58"/>
                  <a:gd name="T5" fmla="*/ 25 h 28"/>
                  <a:gd name="T6" fmla="*/ 1 w 58"/>
                  <a:gd name="T7" fmla="*/ 20 h 28"/>
                  <a:gd name="T8" fmla="*/ 27 w 58"/>
                  <a:gd name="T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7" y="4"/>
                    </a:moveTo>
                    <a:cubicBezTo>
                      <a:pt x="42" y="0"/>
                      <a:pt x="55" y="2"/>
                      <a:pt x="57" y="8"/>
                    </a:cubicBezTo>
                    <a:cubicBezTo>
                      <a:pt x="58" y="14"/>
                      <a:pt x="46" y="22"/>
                      <a:pt x="31" y="25"/>
                    </a:cubicBezTo>
                    <a:cubicBezTo>
                      <a:pt x="16" y="28"/>
                      <a:pt x="2" y="26"/>
                      <a:pt x="1" y="20"/>
                    </a:cubicBezTo>
                    <a:cubicBezTo>
                      <a:pt x="0" y="14"/>
                      <a:pt x="11" y="7"/>
                      <a:pt x="27" y="4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23" name="Freeform 102">
                <a:extLst>
                  <a:ext uri="{FF2B5EF4-FFF2-40B4-BE49-F238E27FC236}">
                    <a16:creationId xmlns:a16="http://schemas.microsoft.com/office/drawing/2014/main" xmlns="" id="{1F887CB3-A991-A340-6C1D-9445D86BE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3" y="1878"/>
                <a:ext cx="125" cy="95"/>
              </a:xfrm>
              <a:custGeom>
                <a:avLst/>
                <a:gdLst>
                  <a:gd name="T0" fmla="*/ 33 w 54"/>
                  <a:gd name="T1" fmla="*/ 12 h 41"/>
                  <a:gd name="T2" fmla="*/ 51 w 54"/>
                  <a:gd name="T3" fmla="*/ 36 h 41"/>
                  <a:gd name="T4" fmla="*/ 21 w 54"/>
                  <a:gd name="T5" fmla="*/ 30 h 41"/>
                  <a:gd name="T6" fmla="*/ 3 w 54"/>
                  <a:gd name="T7" fmla="*/ 5 h 41"/>
                  <a:gd name="T8" fmla="*/ 33 w 54"/>
                  <a:gd name="T9" fmla="*/ 1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33" y="12"/>
                    </a:moveTo>
                    <a:cubicBezTo>
                      <a:pt x="46" y="20"/>
                      <a:pt x="54" y="31"/>
                      <a:pt x="51" y="36"/>
                    </a:cubicBezTo>
                    <a:cubicBezTo>
                      <a:pt x="48" y="41"/>
                      <a:pt x="34" y="39"/>
                      <a:pt x="21" y="30"/>
                    </a:cubicBezTo>
                    <a:cubicBezTo>
                      <a:pt x="8" y="22"/>
                      <a:pt x="0" y="11"/>
                      <a:pt x="3" y="5"/>
                    </a:cubicBezTo>
                    <a:cubicBezTo>
                      <a:pt x="6" y="0"/>
                      <a:pt x="20" y="3"/>
                      <a:pt x="33" y="12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24" name="Freeform 103">
                <a:extLst>
                  <a:ext uri="{FF2B5EF4-FFF2-40B4-BE49-F238E27FC236}">
                    <a16:creationId xmlns:a16="http://schemas.microsoft.com/office/drawing/2014/main" xmlns="" id="{3E8F8501-BECC-998C-0CB2-28E21A737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4" y="1950"/>
                <a:ext cx="124" cy="95"/>
              </a:xfrm>
              <a:custGeom>
                <a:avLst/>
                <a:gdLst>
                  <a:gd name="T0" fmla="*/ 33 w 54"/>
                  <a:gd name="T1" fmla="*/ 11 h 41"/>
                  <a:gd name="T2" fmla="*/ 51 w 54"/>
                  <a:gd name="T3" fmla="*/ 36 h 41"/>
                  <a:gd name="T4" fmla="*/ 21 w 54"/>
                  <a:gd name="T5" fmla="*/ 30 h 41"/>
                  <a:gd name="T6" fmla="*/ 3 w 54"/>
                  <a:gd name="T7" fmla="*/ 5 h 41"/>
                  <a:gd name="T8" fmla="*/ 33 w 54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33" y="11"/>
                    </a:moveTo>
                    <a:cubicBezTo>
                      <a:pt x="46" y="20"/>
                      <a:pt x="54" y="31"/>
                      <a:pt x="51" y="36"/>
                    </a:cubicBezTo>
                    <a:cubicBezTo>
                      <a:pt x="48" y="41"/>
                      <a:pt x="34" y="38"/>
                      <a:pt x="21" y="30"/>
                    </a:cubicBezTo>
                    <a:cubicBezTo>
                      <a:pt x="8" y="21"/>
                      <a:pt x="0" y="10"/>
                      <a:pt x="3" y="5"/>
                    </a:cubicBezTo>
                    <a:cubicBezTo>
                      <a:pt x="6" y="0"/>
                      <a:pt x="20" y="3"/>
                      <a:pt x="33" y="1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25" name="Freeform 104">
                <a:extLst>
                  <a:ext uri="{FF2B5EF4-FFF2-40B4-BE49-F238E27FC236}">
                    <a16:creationId xmlns:a16="http://schemas.microsoft.com/office/drawing/2014/main" xmlns="" id="{50471B89-F26D-9762-F27D-08F674E6A9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8" y="1954"/>
                <a:ext cx="94" cy="126"/>
              </a:xfrm>
              <a:custGeom>
                <a:avLst/>
                <a:gdLst>
                  <a:gd name="T0" fmla="*/ 11 w 41"/>
                  <a:gd name="T1" fmla="*/ 21 h 54"/>
                  <a:gd name="T2" fmla="*/ 36 w 41"/>
                  <a:gd name="T3" fmla="*/ 3 h 54"/>
                  <a:gd name="T4" fmla="*/ 30 w 41"/>
                  <a:gd name="T5" fmla="*/ 33 h 54"/>
                  <a:gd name="T6" fmla="*/ 5 w 41"/>
                  <a:gd name="T7" fmla="*/ 51 h 54"/>
                  <a:gd name="T8" fmla="*/ 11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11" y="21"/>
                    </a:moveTo>
                    <a:cubicBezTo>
                      <a:pt x="20" y="8"/>
                      <a:pt x="31" y="0"/>
                      <a:pt x="36" y="3"/>
                    </a:cubicBezTo>
                    <a:cubicBezTo>
                      <a:pt x="41" y="7"/>
                      <a:pt x="38" y="20"/>
                      <a:pt x="30" y="33"/>
                    </a:cubicBezTo>
                    <a:cubicBezTo>
                      <a:pt x="21" y="46"/>
                      <a:pt x="10" y="54"/>
                      <a:pt x="5" y="51"/>
                    </a:cubicBezTo>
                    <a:cubicBezTo>
                      <a:pt x="0" y="48"/>
                      <a:pt x="3" y="34"/>
                      <a:pt x="11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26" name="Freeform 105">
                <a:extLst>
                  <a:ext uri="{FF2B5EF4-FFF2-40B4-BE49-F238E27FC236}">
                    <a16:creationId xmlns:a16="http://schemas.microsoft.com/office/drawing/2014/main" xmlns="" id="{99945489-C710-D66F-BC6C-AC967C3B1E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9" y="1843"/>
                <a:ext cx="95" cy="128"/>
              </a:xfrm>
              <a:custGeom>
                <a:avLst/>
                <a:gdLst>
                  <a:gd name="T0" fmla="*/ 11 w 41"/>
                  <a:gd name="T1" fmla="*/ 21 h 55"/>
                  <a:gd name="T2" fmla="*/ 36 w 41"/>
                  <a:gd name="T3" fmla="*/ 3 h 55"/>
                  <a:gd name="T4" fmla="*/ 30 w 41"/>
                  <a:gd name="T5" fmla="*/ 33 h 55"/>
                  <a:gd name="T6" fmla="*/ 5 w 41"/>
                  <a:gd name="T7" fmla="*/ 51 h 55"/>
                  <a:gd name="T8" fmla="*/ 11 w 41"/>
                  <a:gd name="T9" fmla="*/ 2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5">
                    <a:moveTo>
                      <a:pt x="11" y="21"/>
                    </a:moveTo>
                    <a:cubicBezTo>
                      <a:pt x="20" y="8"/>
                      <a:pt x="31" y="0"/>
                      <a:pt x="36" y="3"/>
                    </a:cubicBezTo>
                    <a:cubicBezTo>
                      <a:pt x="41" y="7"/>
                      <a:pt x="38" y="20"/>
                      <a:pt x="30" y="33"/>
                    </a:cubicBezTo>
                    <a:cubicBezTo>
                      <a:pt x="21" y="46"/>
                      <a:pt x="10" y="55"/>
                      <a:pt x="5" y="51"/>
                    </a:cubicBezTo>
                    <a:cubicBezTo>
                      <a:pt x="0" y="48"/>
                      <a:pt x="3" y="35"/>
                      <a:pt x="11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27" name="Freeform 106">
                <a:extLst>
                  <a:ext uri="{FF2B5EF4-FFF2-40B4-BE49-F238E27FC236}">
                    <a16:creationId xmlns:a16="http://schemas.microsoft.com/office/drawing/2014/main" xmlns="" id="{D5A0D857-72ED-84BD-A524-DE85CA0147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7" y="1917"/>
                <a:ext cx="88" cy="91"/>
              </a:xfrm>
              <a:custGeom>
                <a:avLst/>
                <a:gdLst>
                  <a:gd name="T0" fmla="*/ 38 w 38"/>
                  <a:gd name="T1" fmla="*/ 22 h 39"/>
                  <a:gd name="T2" fmla="*/ 34 w 38"/>
                  <a:gd name="T3" fmla="*/ 18 h 39"/>
                  <a:gd name="T4" fmla="*/ 38 w 38"/>
                  <a:gd name="T5" fmla="*/ 14 h 39"/>
                  <a:gd name="T6" fmla="*/ 33 w 38"/>
                  <a:gd name="T7" fmla="*/ 12 h 39"/>
                  <a:gd name="T8" fmla="*/ 34 w 38"/>
                  <a:gd name="T9" fmla="*/ 8 h 39"/>
                  <a:gd name="T10" fmla="*/ 29 w 38"/>
                  <a:gd name="T11" fmla="*/ 8 h 39"/>
                  <a:gd name="T12" fmla="*/ 28 w 38"/>
                  <a:gd name="T13" fmla="*/ 2 h 39"/>
                  <a:gd name="T14" fmla="*/ 24 w 38"/>
                  <a:gd name="T15" fmla="*/ 4 h 39"/>
                  <a:gd name="T16" fmla="*/ 22 w 38"/>
                  <a:gd name="T17" fmla="*/ 0 h 39"/>
                  <a:gd name="T18" fmla="*/ 18 w 38"/>
                  <a:gd name="T19" fmla="*/ 4 h 39"/>
                  <a:gd name="T20" fmla="*/ 14 w 38"/>
                  <a:gd name="T21" fmla="*/ 1 h 39"/>
                  <a:gd name="T22" fmla="*/ 12 w 38"/>
                  <a:gd name="T23" fmla="*/ 5 h 39"/>
                  <a:gd name="T24" fmla="*/ 8 w 38"/>
                  <a:gd name="T25" fmla="*/ 4 h 39"/>
                  <a:gd name="T26" fmla="*/ 8 w 38"/>
                  <a:gd name="T27" fmla="*/ 9 h 39"/>
                  <a:gd name="T28" fmla="*/ 2 w 38"/>
                  <a:gd name="T29" fmla="*/ 10 h 39"/>
                  <a:gd name="T30" fmla="*/ 4 w 38"/>
                  <a:gd name="T31" fmla="*/ 14 h 39"/>
                  <a:gd name="T32" fmla="*/ 0 w 38"/>
                  <a:gd name="T33" fmla="*/ 16 h 39"/>
                  <a:gd name="T34" fmla="*/ 4 w 38"/>
                  <a:gd name="T35" fmla="*/ 20 h 39"/>
                  <a:gd name="T36" fmla="*/ 1 w 38"/>
                  <a:gd name="T37" fmla="*/ 25 h 39"/>
                  <a:gd name="T38" fmla="*/ 5 w 38"/>
                  <a:gd name="T39" fmla="*/ 26 h 39"/>
                  <a:gd name="T40" fmla="*/ 4 w 38"/>
                  <a:gd name="T41" fmla="*/ 31 h 39"/>
                  <a:gd name="T42" fmla="*/ 9 w 38"/>
                  <a:gd name="T43" fmla="*/ 31 h 39"/>
                  <a:gd name="T44" fmla="*/ 10 w 38"/>
                  <a:gd name="T45" fmla="*/ 36 h 39"/>
                  <a:gd name="T46" fmla="*/ 14 w 38"/>
                  <a:gd name="T47" fmla="*/ 34 h 39"/>
                  <a:gd name="T48" fmla="*/ 16 w 38"/>
                  <a:gd name="T49" fmla="*/ 38 h 39"/>
                  <a:gd name="T50" fmla="*/ 20 w 38"/>
                  <a:gd name="T51" fmla="*/ 34 h 39"/>
                  <a:gd name="T52" fmla="*/ 24 w 38"/>
                  <a:gd name="T53" fmla="*/ 38 h 39"/>
                  <a:gd name="T54" fmla="*/ 26 w 38"/>
                  <a:gd name="T55" fmla="*/ 34 h 39"/>
                  <a:gd name="T56" fmla="*/ 31 w 38"/>
                  <a:gd name="T57" fmla="*/ 35 h 39"/>
                  <a:gd name="T58" fmla="*/ 30 w 38"/>
                  <a:gd name="T59" fmla="*/ 29 h 39"/>
                  <a:gd name="T60" fmla="*/ 36 w 38"/>
                  <a:gd name="T61" fmla="*/ 29 h 39"/>
                  <a:gd name="T62" fmla="*/ 34 w 38"/>
                  <a:gd name="T63" fmla="*/ 24 h 39"/>
                  <a:gd name="T64" fmla="*/ 38 w 38"/>
                  <a:gd name="T65" fmla="*/ 22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" h="39">
                    <a:moveTo>
                      <a:pt x="38" y="22"/>
                    </a:moveTo>
                    <a:cubicBezTo>
                      <a:pt x="38" y="21"/>
                      <a:pt x="37" y="19"/>
                      <a:pt x="34" y="18"/>
                    </a:cubicBezTo>
                    <a:cubicBezTo>
                      <a:pt x="36" y="17"/>
                      <a:pt x="38" y="15"/>
                      <a:pt x="38" y="14"/>
                    </a:cubicBezTo>
                    <a:cubicBezTo>
                      <a:pt x="37" y="13"/>
                      <a:pt x="36" y="12"/>
                      <a:pt x="33" y="12"/>
                    </a:cubicBezTo>
                    <a:cubicBezTo>
                      <a:pt x="35" y="10"/>
                      <a:pt x="35" y="9"/>
                      <a:pt x="34" y="8"/>
                    </a:cubicBezTo>
                    <a:cubicBezTo>
                      <a:pt x="34" y="7"/>
                      <a:pt x="31" y="7"/>
                      <a:pt x="29" y="8"/>
                    </a:cubicBezTo>
                    <a:cubicBezTo>
                      <a:pt x="30" y="5"/>
                      <a:pt x="30" y="3"/>
                      <a:pt x="28" y="2"/>
                    </a:cubicBezTo>
                    <a:cubicBezTo>
                      <a:pt x="27" y="2"/>
                      <a:pt x="26" y="3"/>
                      <a:pt x="24" y="4"/>
                    </a:cubicBezTo>
                    <a:cubicBezTo>
                      <a:pt x="24" y="2"/>
                      <a:pt x="23" y="0"/>
                      <a:pt x="22" y="0"/>
                    </a:cubicBezTo>
                    <a:cubicBezTo>
                      <a:pt x="20" y="0"/>
                      <a:pt x="19" y="2"/>
                      <a:pt x="18" y="4"/>
                    </a:cubicBezTo>
                    <a:cubicBezTo>
                      <a:pt x="17" y="2"/>
                      <a:pt x="15" y="0"/>
                      <a:pt x="14" y="1"/>
                    </a:cubicBezTo>
                    <a:cubicBezTo>
                      <a:pt x="13" y="1"/>
                      <a:pt x="12" y="3"/>
                      <a:pt x="12" y="5"/>
                    </a:cubicBezTo>
                    <a:cubicBezTo>
                      <a:pt x="10" y="4"/>
                      <a:pt x="8" y="3"/>
                      <a:pt x="8" y="4"/>
                    </a:cubicBezTo>
                    <a:cubicBezTo>
                      <a:pt x="6" y="5"/>
                      <a:pt x="7" y="7"/>
                      <a:pt x="8" y="9"/>
                    </a:cubicBezTo>
                    <a:cubicBezTo>
                      <a:pt x="5" y="9"/>
                      <a:pt x="3" y="9"/>
                      <a:pt x="2" y="10"/>
                    </a:cubicBezTo>
                    <a:cubicBezTo>
                      <a:pt x="2" y="11"/>
                      <a:pt x="2" y="13"/>
                      <a:pt x="4" y="14"/>
                    </a:cubicBezTo>
                    <a:cubicBezTo>
                      <a:pt x="2" y="15"/>
                      <a:pt x="0" y="15"/>
                      <a:pt x="0" y="16"/>
                    </a:cubicBezTo>
                    <a:cubicBezTo>
                      <a:pt x="0" y="18"/>
                      <a:pt x="1" y="19"/>
                      <a:pt x="4" y="20"/>
                    </a:cubicBezTo>
                    <a:cubicBezTo>
                      <a:pt x="2" y="22"/>
                      <a:pt x="0" y="23"/>
                      <a:pt x="1" y="25"/>
                    </a:cubicBezTo>
                    <a:cubicBezTo>
                      <a:pt x="1" y="26"/>
                      <a:pt x="3" y="26"/>
                      <a:pt x="5" y="26"/>
                    </a:cubicBezTo>
                    <a:cubicBezTo>
                      <a:pt x="3" y="28"/>
                      <a:pt x="3" y="30"/>
                      <a:pt x="4" y="31"/>
                    </a:cubicBezTo>
                    <a:cubicBezTo>
                      <a:pt x="4" y="32"/>
                      <a:pt x="7" y="32"/>
                      <a:pt x="9" y="31"/>
                    </a:cubicBezTo>
                    <a:cubicBezTo>
                      <a:pt x="8" y="33"/>
                      <a:pt x="9" y="35"/>
                      <a:pt x="10" y="36"/>
                    </a:cubicBezTo>
                    <a:cubicBezTo>
                      <a:pt x="11" y="37"/>
                      <a:pt x="12" y="36"/>
                      <a:pt x="14" y="34"/>
                    </a:cubicBezTo>
                    <a:cubicBezTo>
                      <a:pt x="14" y="37"/>
                      <a:pt x="15" y="38"/>
                      <a:pt x="16" y="38"/>
                    </a:cubicBezTo>
                    <a:cubicBezTo>
                      <a:pt x="18" y="39"/>
                      <a:pt x="19" y="37"/>
                      <a:pt x="20" y="34"/>
                    </a:cubicBezTo>
                    <a:cubicBezTo>
                      <a:pt x="21" y="37"/>
                      <a:pt x="23" y="38"/>
                      <a:pt x="24" y="38"/>
                    </a:cubicBezTo>
                    <a:cubicBezTo>
                      <a:pt x="25" y="37"/>
                      <a:pt x="26" y="36"/>
                      <a:pt x="26" y="34"/>
                    </a:cubicBezTo>
                    <a:cubicBezTo>
                      <a:pt x="28" y="35"/>
                      <a:pt x="30" y="35"/>
                      <a:pt x="31" y="35"/>
                    </a:cubicBezTo>
                    <a:cubicBezTo>
                      <a:pt x="32" y="34"/>
                      <a:pt x="31" y="32"/>
                      <a:pt x="30" y="29"/>
                    </a:cubicBezTo>
                    <a:cubicBezTo>
                      <a:pt x="33" y="30"/>
                      <a:pt x="35" y="30"/>
                      <a:pt x="36" y="29"/>
                    </a:cubicBezTo>
                    <a:cubicBezTo>
                      <a:pt x="36" y="28"/>
                      <a:pt x="36" y="26"/>
                      <a:pt x="34" y="24"/>
                    </a:cubicBezTo>
                    <a:cubicBezTo>
                      <a:pt x="36" y="24"/>
                      <a:pt x="38" y="23"/>
                      <a:pt x="38" y="22"/>
                    </a:cubicBezTo>
                  </a:path>
                </a:pathLst>
              </a:custGeom>
              <a:solidFill>
                <a:srgbClr val="FFD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28" name="Freeform 107">
                <a:extLst>
                  <a:ext uri="{FF2B5EF4-FFF2-40B4-BE49-F238E27FC236}">
                    <a16:creationId xmlns:a16="http://schemas.microsoft.com/office/drawing/2014/main" xmlns="" id="{D4A4CBCE-2BE2-BB20-FE16-FC7D6E154A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075"/>
                <a:ext cx="138" cy="126"/>
              </a:xfrm>
              <a:custGeom>
                <a:avLst/>
                <a:gdLst>
                  <a:gd name="T0" fmla="*/ 43 w 60"/>
                  <a:gd name="T1" fmla="*/ 13 h 54"/>
                  <a:gd name="T2" fmla="*/ 0 w 60"/>
                  <a:gd name="T3" fmla="*/ 3 h 54"/>
                  <a:gd name="T4" fmla="*/ 22 w 60"/>
                  <a:gd name="T5" fmla="*/ 41 h 54"/>
                  <a:gd name="T6" fmla="*/ 55 w 60"/>
                  <a:gd name="T7" fmla="*/ 44 h 54"/>
                  <a:gd name="T8" fmla="*/ 43 w 60"/>
                  <a:gd name="T9" fmla="*/ 1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54">
                    <a:moveTo>
                      <a:pt x="43" y="13"/>
                    </a:moveTo>
                    <a:cubicBezTo>
                      <a:pt x="27" y="0"/>
                      <a:pt x="0" y="3"/>
                      <a:pt x="0" y="3"/>
                    </a:cubicBezTo>
                    <a:cubicBezTo>
                      <a:pt x="0" y="3"/>
                      <a:pt x="5" y="29"/>
                      <a:pt x="22" y="41"/>
                    </a:cubicBezTo>
                    <a:cubicBezTo>
                      <a:pt x="38" y="54"/>
                      <a:pt x="55" y="44"/>
                      <a:pt x="55" y="44"/>
                    </a:cubicBezTo>
                    <a:cubicBezTo>
                      <a:pt x="55" y="44"/>
                      <a:pt x="60" y="25"/>
                      <a:pt x="43" y="1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29" name="Freeform 108">
                <a:extLst>
                  <a:ext uri="{FF2B5EF4-FFF2-40B4-BE49-F238E27FC236}">
                    <a16:creationId xmlns:a16="http://schemas.microsoft.com/office/drawing/2014/main" xmlns="" id="{815539A5-F9DC-759F-6AD8-91D79B2FC9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8" y="2126"/>
                <a:ext cx="111" cy="89"/>
              </a:xfrm>
              <a:custGeom>
                <a:avLst/>
                <a:gdLst>
                  <a:gd name="T0" fmla="*/ 14 w 48"/>
                  <a:gd name="T1" fmla="*/ 7 h 38"/>
                  <a:gd name="T2" fmla="*/ 1 w 48"/>
                  <a:gd name="T3" fmla="*/ 29 h 38"/>
                  <a:gd name="T4" fmla="*/ 27 w 48"/>
                  <a:gd name="T5" fmla="*/ 31 h 38"/>
                  <a:gd name="T6" fmla="*/ 48 w 48"/>
                  <a:gd name="T7" fmla="*/ 5 h 38"/>
                  <a:gd name="T8" fmla="*/ 14 w 48"/>
                  <a:gd name="T9" fmla="*/ 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8">
                    <a:moveTo>
                      <a:pt x="14" y="7"/>
                    </a:moveTo>
                    <a:cubicBezTo>
                      <a:pt x="0" y="14"/>
                      <a:pt x="1" y="29"/>
                      <a:pt x="1" y="29"/>
                    </a:cubicBezTo>
                    <a:cubicBezTo>
                      <a:pt x="1" y="29"/>
                      <a:pt x="13" y="38"/>
                      <a:pt x="27" y="31"/>
                    </a:cubicBezTo>
                    <a:cubicBezTo>
                      <a:pt x="41" y="24"/>
                      <a:pt x="48" y="5"/>
                      <a:pt x="48" y="5"/>
                    </a:cubicBezTo>
                    <a:cubicBezTo>
                      <a:pt x="48" y="5"/>
                      <a:pt x="28" y="0"/>
                      <a:pt x="14" y="7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30" name="Rectangle 109">
                <a:extLst>
                  <a:ext uri="{FF2B5EF4-FFF2-40B4-BE49-F238E27FC236}">
                    <a16:creationId xmlns:a16="http://schemas.microsoft.com/office/drawing/2014/main" xmlns="" id="{1F15E245-FA9D-5BB3-D09A-8F87714665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3" y="2010"/>
                <a:ext cx="12" cy="384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31" name="Freeform 110">
                <a:extLst>
                  <a:ext uri="{FF2B5EF4-FFF2-40B4-BE49-F238E27FC236}">
                    <a16:creationId xmlns:a16="http://schemas.microsoft.com/office/drawing/2014/main" xmlns="" id="{3453687A-A8C1-46BF-0446-B1D2CF352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" y="1789"/>
                <a:ext cx="64" cy="135"/>
              </a:xfrm>
              <a:custGeom>
                <a:avLst/>
                <a:gdLst>
                  <a:gd name="T0" fmla="*/ 25 w 28"/>
                  <a:gd name="T1" fmla="*/ 32 h 58"/>
                  <a:gd name="T2" fmla="*/ 8 w 28"/>
                  <a:gd name="T3" fmla="*/ 57 h 58"/>
                  <a:gd name="T4" fmla="*/ 4 w 28"/>
                  <a:gd name="T5" fmla="*/ 27 h 58"/>
                  <a:gd name="T6" fmla="*/ 20 w 28"/>
                  <a:gd name="T7" fmla="*/ 1 h 58"/>
                  <a:gd name="T8" fmla="*/ 25 w 28"/>
                  <a:gd name="T9" fmla="*/ 32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32"/>
                    </a:moveTo>
                    <a:cubicBezTo>
                      <a:pt x="22" y="47"/>
                      <a:pt x="14" y="58"/>
                      <a:pt x="8" y="57"/>
                    </a:cubicBezTo>
                    <a:cubicBezTo>
                      <a:pt x="3" y="56"/>
                      <a:pt x="0" y="42"/>
                      <a:pt x="4" y="27"/>
                    </a:cubicBezTo>
                    <a:cubicBezTo>
                      <a:pt x="7" y="12"/>
                      <a:pt x="14" y="0"/>
                      <a:pt x="20" y="1"/>
                    </a:cubicBezTo>
                    <a:cubicBezTo>
                      <a:pt x="26" y="3"/>
                      <a:pt x="28" y="16"/>
                      <a:pt x="25" y="32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32" name="Freeform 111">
                <a:extLst>
                  <a:ext uri="{FF2B5EF4-FFF2-40B4-BE49-F238E27FC236}">
                    <a16:creationId xmlns:a16="http://schemas.microsoft.com/office/drawing/2014/main" xmlns="" id="{6AD95F83-0291-6111-D1B6-5DAB7DE18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1919"/>
                <a:ext cx="62" cy="135"/>
              </a:xfrm>
              <a:custGeom>
                <a:avLst/>
                <a:gdLst>
                  <a:gd name="T0" fmla="*/ 24 w 27"/>
                  <a:gd name="T1" fmla="*/ 31 h 58"/>
                  <a:gd name="T2" fmla="*/ 8 w 27"/>
                  <a:gd name="T3" fmla="*/ 57 h 58"/>
                  <a:gd name="T4" fmla="*/ 3 w 27"/>
                  <a:gd name="T5" fmla="*/ 27 h 58"/>
                  <a:gd name="T6" fmla="*/ 19 w 27"/>
                  <a:gd name="T7" fmla="*/ 1 h 58"/>
                  <a:gd name="T8" fmla="*/ 24 w 27"/>
                  <a:gd name="T9" fmla="*/ 3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58">
                    <a:moveTo>
                      <a:pt x="24" y="31"/>
                    </a:moveTo>
                    <a:cubicBezTo>
                      <a:pt x="21" y="47"/>
                      <a:pt x="14" y="58"/>
                      <a:pt x="8" y="57"/>
                    </a:cubicBezTo>
                    <a:cubicBezTo>
                      <a:pt x="2" y="55"/>
                      <a:pt x="0" y="42"/>
                      <a:pt x="3" y="27"/>
                    </a:cubicBezTo>
                    <a:cubicBezTo>
                      <a:pt x="6" y="11"/>
                      <a:pt x="14" y="0"/>
                      <a:pt x="19" y="1"/>
                    </a:cubicBezTo>
                    <a:cubicBezTo>
                      <a:pt x="25" y="2"/>
                      <a:pt x="27" y="16"/>
                      <a:pt x="24" y="3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33" name="Freeform 112">
                <a:extLst>
                  <a:ext uri="{FF2B5EF4-FFF2-40B4-BE49-F238E27FC236}">
                    <a16:creationId xmlns:a16="http://schemas.microsoft.com/office/drawing/2014/main" xmlns="" id="{0BF94789-5388-656B-0788-E058E47835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9" y="1875"/>
                <a:ext cx="134" cy="65"/>
              </a:xfrm>
              <a:custGeom>
                <a:avLst/>
                <a:gdLst>
                  <a:gd name="T0" fmla="*/ 31 w 58"/>
                  <a:gd name="T1" fmla="*/ 3 h 28"/>
                  <a:gd name="T2" fmla="*/ 56 w 58"/>
                  <a:gd name="T3" fmla="*/ 20 h 28"/>
                  <a:gd name="T4" fmla="*/ 26 w 58"/>
                  <a:gd name="T5" fmla="*/ 25 h 28"/>
                  <a:gd name="T6" fmla="*/ 1 w 58"/>
                  <a:gd name="T7" fmla="*/ 8 h 28"/>
                  <a:gd name="T8" fmla="*/ 31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1" y="3"/>
                    </a:moveTo>
                    <a:cubicBezTo>
                      <a:pt x="46" y="7"/>
                      <a:pt x="58" y="14"/>
                      <a:pt x="56" y="20"/>
                    </a:cubicBezTo>
                    <a:cubicBezTo>
                      <a:pt x="55" y="26"/>
                      <a:pt x="42" y="28"/>
                      <a:pt x="26" y="25"/>
                    </a:cubicBezTo>
                    <a:cubicBezTo>
                      <a:pt x="11" y="22"/>
                      <a:pt x="0" y="14"/>
                      <a:pt x="1" y="8"/>
                    </a:cubicBezTo>
                    <a:cubicBezTo>
                      <a:pt x="2" y="2"/>
                      <a:pt x="16" y="0"/>
                      <a:pt x="31" y="3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34" name="Freeform 113">
                <a:extLst>
                  <a:ext uri="{FF2B5EF4-FFF2-40B4-BE49-F238E27FC236}">
                    <a16:creationId xmlns:a16="http://schemas.microsoft.com/office/drawing/2014/main" xmlns="" id="{864B38BA-BE9E-6CE4-DF1B-DCEDB2793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6" y="1903"/>
                <a:ext cx="133" cy="65"/>
              </a:xfrm>
              <a:custGeom>
                <a:avLst/>
                <a:gdLst>
                  <a:gd name="T0" fmla="*/ 31 w 58"/>
                  <a:gd name="T1" fmla="*/ 3 h 28"/>
                  <a:gd name="T2" fmla="*/ 57 w 58"/>
                  <a:gd name="T3" fmla="*/ 20 h 28"/>
                  <a:gd name="T4" fmla="*/ 27 w 58"/>
                  <a:gd name="T5" fmla="*/ 25 h 28"/>
                  <a:gd name="T6" fmla="*/ 1 w 58"/>
                  <a:gd name="T7" fmla="*/ 8 h 28"/>
                  <a:gd name="T8" fmla="*/ 31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1" y="3"/>
                    </a:moveTo>
                    <a:cubicBezTo>
                      <a:pt x="47" y="7"/>
                      <a:pt x="58" y="14"/>
                      <a:pt x="57" y="20"/>
                    </a:cubicBezTo>
                    <a:cubicBezTo>
                      <a:pt x="56" y="26"/>
                      <a:pt x="42" y="28"/>
                      <a:pt x="27" y="25"/>
                    </a:cubicBezTo>
                    <a:cubicBezTo>
                      <a:pt x="12" y="21"/>
                      <a:pt x="0" y="14"/>
                      <a:pt x="1" y="8"/>
                    </a:cubicBezTo>
                    <a:cubicBezTo>
                      <a:pt x="3" y="2"/>
                      <a:pt x="16" y="0"/>
                      <a:pt x="31" y="3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35" name="Freeform 114">
                <a:extLst>
                  <a:ext uri="{FF2B5EF4-FFF2-40B4-BE49-F238E27FC236}">
                    <a16:creationId xmlns:a16="http://schemas.microsoft.com/office/drawing/2014/main" xmlns="" id="{846829A4-B628-D2E9-9AE7-7ADCB8AD8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1803"/>
                <a:ext cx="94" cy="126"/>
              </a:xfrm>
              <a:custGeom>
                <a:avLst/>
                <a:gdLst>
                  <a:gd name="T0" fmla="*/ 30 w 41"/>
                  <a:gd name="T1" fmla="*/ 21 h 54"/>
                  <a:gd name="T2" fmla="*/ 36 w 41"/>
                  <a:gd name="T3" fmla="*/ 51 h 54"/>
                  <a:gd name="T4" fmla="*/ 12 w 41"/>
                  <a:gd name="T5" fmla="*/ 33 h 54"/>
                  <a:gd name="T6" fmla="*/ 5 w 41"/>
                  <a:gd name="T7" fmla="*/ 3 h 54"/>
                  <a:gd name="T8" fmla="*/ 30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30" y="21"/>
                    </a:moveTo>
                    <a:cubicBezTo>
                      <a:pt x="39" y="34"/>
                      <a:pt x="41" y="48"/>
                      <a:pt x="36" y="51"/>
                    </a:cubicBezTo>
                    <a:cubicBezTo>
                      <a:pt x="31" y="54"/>
                      <a:pt x="20" y="46"/>
                      <a:pt x="12" y="33"/>
                    </a:cubicBezTo>
                    <a:cubicBezTo>
                      <a:pt x="3" y="20"/>
                      <a:pt x="0" y="7"/>
                      <a:pt x="5" y="3"/>
                    </a:cubicBezTo>
                    <a:cubicBezTo>
                      <a:pt x="10" y="0"/>
                      <a:pt x="22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36" name="Freeform 115">
                <a:extLst>
                  <a:ext uri="{FF2B5EF4-FFF2-40B4-BE49-F238E27FC236}">
                    <a16:creationId xmlns:a16="http://schemas.microsoft.com/office/drawing/2014/main" xmlns="" id="{A9B1A8E8-A16A-9AC9-A2EB-F89AEBCC5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1915"/>
                <a:ext cx="95" cy="125"/>
              </a:xfrm>
              <a:custGeom>
                <a:avLst/>
                <a:gdLst>
                  <a:gd name="T0" fmla="*/ 30 w 41"/>
                  <a:gd name="T1" fmla="*/ 21 h 54"/>
                  <a:gd name="T2" fmla="*/ 36 w 41"/>
                  <a:gd name="T3" fmla="*/ 51 h 54"/>
                  <a:gd name="T4" fmla="*/ 12 w 41"/>
                  <a:gd name="T5" fmla="*/ 33 h 54"/>
                  <a:gd name="T6" fmla="*/ 5 w 41"/>
                  <a:gd name="T7" fmla="*/ 3 h 54"/>
                  <a:gd name="T8" fmla="*/ 30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30" y="21"/>
                    </a:moveTo>
                    <a:cubicBezTo>
                      <a:pt x="39" y="34"/>
                      <a:pt x="41" y="47"/>
                      <a:pt x="36" y="51"/>
                    </a:cubicBezTo>
                    <a:cubicBezTo>
                      <a:pt x="31" y="54"/>
                      <a:pt x="20" y="46"/>
                      <a:pt x="12" y="33"/>
                    </a:cubicBezTo>
                    <a:cubicBezTo>
                      <a:pt x="3" y="20"/>
                      <a:pt x="0" y="6"/>
                      <a:pt x="5" y="3"/>
                    </a:cubicBezTo>
                    <a:cubicBezTo>
                      <a:pt x="10" y="0"/>
                      <a:pt x="22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37" name="Freeform 116">
                <a:extLst>
                  <a:ext uri="{FF2B5EF4-FFF2-40B4-BE49-F238E27FC236}">
                    <a16:creationId xmlns:a16="http://schemas.microsoft.com/office/drawing/2014/main" xmlns="" id="{F17E6B25-89D6-39E7-B23C-4D8C06E612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1910"/>
                <a:ext cx="127" cy="95"/>
              </a:xfrm>
              <a:custGeom>
                <a:avLst/>
                <a:gdLst>
                  <a:gd name="T0" fmla="*/ 22 w 55"/>
                  <a:gd name="T1" fmla="*/ 11 h 41"/>
                  <a:gd name="T2" fmla="*/ 51 w 55"/>
                  <a:gd name="T3" fmla="*/ 5 h 41"/>
                  <a:gd name="T4" fmla="*/ 34 w 55"/>
                  <a:gd name="T5" fmla="*/ 30 h 41"/>
                  <a:gd name="T6" fmla="*/ 4 w 55"/>
                  <a:gd name="T7" fmla="*/ 36 h 41"/>
                  <a:gd name="T8" fmla="*/ 22 w 55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1">
                    <a:moveTo>
                      <a:pt x="22" y="11"/>
                    </a:moveTo>
                    <a:cubicBezTo>
                      <a:pt x="35" y="3"/>
                      <a:pt x="48" y="0"/>
                      <a:pt x="51" y="5"/>
                    </a:cubicBezTo>
                    <a:cubicBezTo>
                      <a:pt x="55" y="10"/>
                      <a:pt x="47" y="21"/>
                      <a:pt x="34" y="30"/>
                    </a:cubicBezTo>
                    <a:cubicBezTo>
                      <a:pt x="20" y="38"/>
                      <a:pt x="7" y="41"/>
                      <a:pt x="4" y="36"/>
                    </a:cubicBezTo>
                    <a:cubicBezTo>
                      <a:pt x="0" y="31"/>
                      <a:pt x="8" y="20"/>
                      <a:pt x="22" y="1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38" name="Freeform 117">
                <a:extLst>
                  <a:ext uri="{FF2B5EF4-FFF2-40B4-BE49-F238E27FC236}">
                    <a16:creationId xmlns:a16="http://schemas.microsoft.com/office/drawing/2014/main" xmlns="" id="{5E067455-1271-59BC-AA50-18E633AB0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1" y="1838"/>
                <a:ext cx="124" cy="95"/>
              </a:xfrm>
              <a:custGeom>
                <a:avLst/>
                <a:gdLst>
                  <a:gd name="T0" fmla="*/ 21 w 54"/>
                  <a:gd name="T1" fmla="*/ 11 h 41"/>
                  <a:gd name="T2" fmla="*/ 51 w 54"/>
                  <a:gd name="T3" fmla="*/ 5 h 41"/>
                  <a:gd name="T4" fmla="*/ 33 w 54"/>
                  <a:gd name="T5" fmla="*/ 30 h 41"/>
                  <a:gd name="T6" fmla="*/ 3 w 54"/>
                  <a:gd name="T7" fmla="*/ 36 h 41"/>
                  <a:gd name="T8" fmla="*/ 21 w 54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21" y="11"/>
                    </a:moveTo>
                    <a:cubicBezTo>
                      <a:pt x="34" y="3"/>
                      <a:pt x="48" y="0"/>
                      <a:pt x="51" y="5"/>
                    </a:cubicBezTo>
                    <a:cubicBezTo>
                      <a:pt x="54" y="10"/>
                      <a:pt x="46" y="21"/>
                      <a:pt x="33" y="30"/>
                    </a:cubicBezTo>
                    <a:cubicBezTo>
                      <a:pt x="20" y="38"/>
                      <a:pt x="7" y="41"/>
                      <a:pt x="3" y="36"/>
                    </a:cubicBezTo>
                    <a:cubicBezTo>
                      <a:pt x="0" y="31"/>
                      <a:pt x="8" y="20"/>
                      <a:pt x="21" y="1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39" name="Freeform 118">
                <a:extLst>
                  <a:ext uri="{FF2B5EF4-FFF2-40B4-BE49-F238E27FC236}">
                    <a16:creationId xmlns:a16="http://schemas.microsoft.com/office/drawing/2014/main" xmlns="" id="{0579A257-2A5C-9417-1C99-43C04431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2" y="1789"/>
                <a:ext cx="64" cy="135"/>
              </a:xfrm>
              <a:custGeom>
                <a:avLst/>
                <a:gdLst>
                  <a:gd name="T0" fmla="*/ 25 w 28"/>
                  <a:gd name="T1" fmla="*/ 27 h 58"/>
                  <a:gd name="T2" fmla="*/ 20 w 28"/>
                  <a:gd name="T3" fmla="*/ 57 h 58"/>
                  <a:gd name="T4" fmla="*/ 4 w 28"/>
                  <a:gd name="T5" fmla="*/ 32 h 58"/>
                  <a:gd name="T6" fmla="*/ 8 w 28"/>
                  <a:gd name="T7" fmla="*/ 1 h 58"/>
                  <a:gd name="T8" fmla="*/ 25 w 28"/>
                  <a:gd name="T9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27"/>
                    </a:moveTo>
                    <a:cubicBezTo>
                      <a:pt x="28" y="42"/>
                      <a:pt x="26" y="56"/>
                      <a:pt x="20" y="57"/>
                    </a:cubicBezTo>
                    <a:cubicBezTo>
                      <a:pt x="15" y="58"/>
                      <a:pt x="7" y="47"/>
                      <a:pt x="4" y="32"/>
                    </a:cubicBezTo>
                    <a:cubicBezTo>
                      <a:pt x="0" y="16"/>
                      <a:pt x="2" y="3"/>
                      <a:pt x="8" y="1"/>
                    </a:cubicBezTo>
                    <a:cubicBezTo>
                      <a:pt x="14" y="0"/>
                      <a:pt x="22" y="12"/>
                      <a:pt x="25" y="27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40" name="Freeform 119">
                <a:extLst>
                  <a:ext uri="{FF2B5EF4-FFF2-40B4-BE49-F238E27FC236}">
                    <a16:creationId xmlns:a16="http://schemas.microsoft.com/office/drawing/2014/main" xmlns="" id="{B7845E45-A37D-BCF2-09F6-42A85A133A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" y="1919"/>
                <a:ext cx="64" cy="135"/>
              </a:xfrm>
              <a:custGeom>
                <a:avLst/>
                <a:gdLst>
                  <a:gd name="T0" fmla="*/ 25 w 28"/>
                  <a:gd name="T1" fmla="*/ 27 h 58"/>
                  <a:gd name="T2" fmla="*/ 20 w 28"/>
                  <a:gd name="T3" fmla="*/ 57 h 58"/>
                  <a:gd name="T4" fmla="*/ 4 w 28"/>
                  <a:gd name="T5" fmla="*/ 31 h 58"/>
                  <a:gd name="T6" fmla="*/ 8 w 28"/>
                  <a:gd name="T7" fmla="*/ 1 h 58"/>
                  <a:gd name="T8" fmla="*/ 25 w 28"/>
                  <a:gd name="T9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27"/>
                    </a:moveTo>
                    <a:cubicBezTo>
                      <a:pt x="28" y="42"/>
                      <a:pt x="26" y="55"/>
                      <a:pt x="20" y="57"/>
                    </a:cubicBezTo>
                    <a:cubicBezTo>
                      <a:pt x="15" y="58"/>
                      <a:pt x="7" y="47"/>
                      <a:pt x="4" y="31"/>
                    </a:cubicBezTo>
                    <a:cubicBezTo>
                      <a:pt x="0" y="16"/>
                      <a:pt x="3" y="2"/>
                      <a:pt x="8" y="1"/>
                    </a:cubicBezTo>
                    <a:cubicBezTo>
                      <a:pt x="14" y="0"/>
                      <a:pt x="22" y="11"/>
                      <a:pt x="25" y="27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41" name="Freeform 120">
                <a:extLst>
                  <a:ext uri="{FF2B5EF4-FFF2-40B4-BE49-F238E27FC236}">
                    <a16:creationId xmlns:a16="http://schemas.microsoft.com/office/drawing/2014/main" xmlns="" id="{9FE4D1B5-9CF2-FAA5-6205-040820C5D5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9" y="1903"/>
                <a:ext cx="134" cy="65"/>
              </a:xfrm>
              <a:custGeom>
                <a:avLst/>
                <a:gdLst>
                  <a:gd name="T0" fmla="*/ 26 w 58"/>
                  <a:gd name="T1" fmla="*/ 3 h 28"/>
                  <a:gd name="T2" fmla="*/ 56 w 58"/>
                  <a:gd name="T3" fmla="*/ 8 h 28"/>
                  <a:gd name="T4" fmla="*/ 31 w 58"/>
                  <a:gd name="T5" fmla="*/ 25 h 28"/>
                  <a:gd name="T6" fmla="*/ 1 w 58"/>
                  <a:gd name="T7" fmla="*/ 20 h 28"/>
                  <a:gd name="T8" fmla="*/ 26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6" y="3"/>
                    </a:moveTo>
                    <a:cubicBezTo>
                      <a:pt x="42" y="0"/>
                      <a:pt x="55" y="2"/>
                      <a:pt x="56" y="8"/>
                    </a:cubicBezTo>
                    <a:cubicBezTo>
                      <a:pt x="58" y="14"/>
                      <a:pt x="46" y="21"/>
                      <a:pt x="31" y="25"/>
                    </a:cubicBezTo>
                    <a:cubicBezTo>
                      <a:pt x="16" y="28"/>
                      <a:pt x="2" y="26"/>
                      <a:pt x="1" y="20"/>
                    </a:cubicBezTo>
                    <a:cubicBezTo>
                      <a:pt x="0" y="14"/>
                      <a:pt x="11" y="7"/>
                      <a:pt x="26" y="3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42" name="Freeform 121">
                <a:extLst>
                  <a:ext uri="{FF2B5EF4-FFF2-40B4-BE49-F238E27FC236}">
                    <a16:creationId xmlns:a16="http://schemas.microsoft.com/office/drawing/2014/main" xmlns="" id="{17EE919F-C2B8-00BC-79B9-5120BFE25B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6" y="1875"/>
                <a:ext cx="133" cy="65"/>
              </a:xfrm>
              <a:custGeom>
                <a:avLst/>
                <a:gdLst>
                  <a:gd name="T0" fmla="*/ 27 w 58"/>
                  <a:gd name="T1" fmla="*/ 3 h 28"/>
                  <a:gd name="T2" fmla="*/ 57 w 58"/>
                  <a:gd name="T3" fmla="*/ 8 h 28"/>
                  <a:gd name="T4" fmla="*/ 32 w 58"/>
                  <a:gd name="T5" fmla="*/ 25 h 28"/>
                  <a:gd name="T6" fmla="*/ 1 w 58"/>
                  <a:gd name="T7" fmla="*/ 20 h 28"/>
                  <a:gd name="T8" fmla="*/ 27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7" y="3"/>
                    </a:moveTo>
                    <a:cubicBezTo>
                      <a:pt x="42" y="0"/>
                      <a:pt x="56" y="2"/>
                      <a:pt x="57" y="8"/>
                    </a:cubicBezTo>
                    <a:cubicBezTo>
                      <a:pt x="58" y="14"/>
                      <a:pt x="47" y="21"/>
                      <a:pt x="32" y="25"/>
                    </a:cubicBezTo>
                    <a:cubicBezTo>
                      <a:pt x="16" y="28"/>
                      <a:pt x="3" y="26"/>
                      <a:pt x="1" y="20"/>
                    </a:cubicBezTo>
                    <a:cubicBezTo>
                      <a:pt x="0" y="14"/>
                      <a:pt x="12" y="7"/>
                      <a:pt x="27" y="3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43" name="Freeform 122">
                <a:extLst>
                  <a:ext uri="{FF2B5EF4-FFF2-40B4-BE49-F238E27FC236}">
                    <a16:creationId xmlns:a16="http://schemas.microsoft.com/office/drawing/2014/main" xmlns="" id="{E09BD3BF-F6E2-3430-F3F0-05B53DFCF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1838"/>
                <a:ext cx="127" cy="95"/>
              </a:xfrm>
              <a:custGeom>
                <a:avLst/>
                <a:gdLst>
                  <a:gd name="T0" fmla="*/ 33 w 55"/>
                  <a:gd name="T1" fmla="*/ 11 h 41"/>
                  <a:gd name="T2" fmla="*/ 51 w 55"/>
                  <a:gd name="T3" fmla="*/ 36 h 41"/>
                  <a:gd name="T4" fmla="*/ 22 w 55"/>
                  <a:gd name="T5" fmla="*/ 30 h 41"/>
                  <a:gd name="T6" fmla="*/ 4 w 55"/>
                  <a:gd name="T7" fmla="*/ 5 h 41"/>
                  <a:gd name="T8" fmla="*/ 33 w 55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1">
                    <a:moveTo>
                      <a:pt x="33" y="11"/>
                    </a:moveTo>
                    <a:cubicBezTo>
                      <a:pt x="47" y="20"/>
                      <a:pt x="55" y="31"/>
                      <a:pt x="51" y="36"/>
                    </a:cubicBezTo>
                    <a:cubicBezTo>
                      <a:pt x="48" y="41"/>
                      <a:pt x="35" y="38"/>
                      <a:pt x="22" y="30"/>
                    </a:cubicBezTo>
                    <a:cubicBezTo>
                      <a:pt x="8" y="21"/>
                      <a:pt x="0" y="10"/>
                      <a:pt x="4" y="5"/>
                    </a:cubicBezTo>
                    <a:cubicBezTo>
                      <a:pt x="7" y="0"/>
                      <a:pt x="20" y="3"/>
                      <a:pt x="33" y="1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44" name="Freeform 123">
                <a:extLst>
                  <a:ext uri="{FF2B5EF4-FFF2-40B4-BE49-F238E27FC236}">
                    <a16:creationId xmlns:a16="http://schemas.microsoft.com/office/drawing/2014/main" xmlns="" id="{C25B1013-6BB2-FE51-ACC1-21CD4F647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1" y="1910"/>
                <a:ext cx="124" cy="95"/>
              </a:xfrm>
              <a:custGeom>
                <a:avLst/>
                <a:gdLst>
                  <a:gd name="T0" fmla="*/ 33 w 54"/>
                  <a:gd name="T1" fmla="*/ 11 h 41"/>
                  <a:gd name="T2" fmla="*/ 51 w 54"/>
                  <a:gd name="T3" fmla="*/ 36 h 41"/>
                  <a:gd name="T4" fmla="*/ 21 w 54"/>
                  <a:gd name="T5" fmla="*/ 30 h 41"/>
                  <a:gd name="T6" fmla="*/ 3 w 54"/>
                  <a:gd name="T7" fmla="*/ 5 h 41"/>
                  <a:gd name="T8" fmla="*/ 33 w 54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33" y="11"/>
                    </a:moveTo>
                    <a:cubicBezTo>
                      <a:pt x="46" y="20"/>
                      <a:pt x="54" y="31"/>
                      <a:pt x="51" y="36"/>
                    </a:cubicBezTo>
                    <a:cubicBezTo>
                      <a:pt x="48" y="41"/>
                      <a:pt x="35" y="38"/>
                      <a:pt x="21" y="30"/>
                    </a:cubicBezTo>
                    <a:cubicBezTo>
                      <a:pt x="8" y="21"/>
                      <a:pt x="0" y="10"/>
                      <a:pt x="3" y="5"/>
                    </a:cubicBezTo>
                    <a:cubicBezTo>
                      <a:pt x="7" y="0"/>
                      <a:pt x="20" y="3"/>
                      <a:pt x="33" y="1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45" name="Freeform 124">
                <a:extLst>
                  <a:ext uri="{FF2B5EF4-FFF2-40B4-BE49-F238E27FC236}">
                    <a16:creationId xmlns:a16="http://schemas.microsoft.com/office/drawing/2014/main" xmlns="" id="{44E80B7B-206A-4277-C1C1-3A576D2E4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1915"/>
                <a:ext cx="92" cy="125"/>
              </a:xfrm>
              <a:custGeom>
                <a:avLst/>
                <a:gdLst>
                  <a:gd name="T0" fmla="*/ 11 w 40"/>
                  <a:gd name="T1" fmla="*/ 21 h 54"/>
                  <a:gd name="T2" fmla="*/ 35 w 40"/>
                  <a:gd name="T3" fmla="*/ 3 h 54"/>
                  <a:gd name="T4" fmla="*/ 29 w 40"/>
                  <a:gd name="T5" fmla="*/ 33 h 54"/>
                  <a:gd name="T6" fmla="*/ 5 w 40"/>
                  <a:gd name="T7" fmla="*/ 51 h 54"/>
                  <a:gd name="T8" fmla="*/ 11 w 40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54">
                    <a:moveTo>
                      <a:pt x="11" y="21"/>
                    </a:moveTo>
                    <a:cubicBezTo>
                      <a:pt x="19" y="8"/>
                      <a:pt x="30" y="0"/>
                      <a:pt x="35" y="3"/>
                    </a:cubicBezTo>
                    <a:cubicBezTo>
                      <a:pt x="40" y="6"/>
                      <a:pt x="38" y="20"/>
                      <a:pt x="29" y="33"/>
                    </a:cubicBezTo>
                    <a:cubicBezTo>
                      <a:pt x="21" y="46"/>
                      <a:pt x="10" y="54"/>
                      <a:pt x="5" y="51"/>
                    </a:cubicBezTo>
                    <a:cubicBezTo>
                      <a:pt x="0" y="48"/>
                      <a:pt x="2" y="34"/>
                      <a:pt x="11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46" name="Freeform 125">
                <a:extLst>
                  <a:ext uri="{FF2B5EF4-FFF2-40B4-BE49-F238E27FC236}">
                    <a16:creationId xmlns:a16="http://schemas.microsoft.com/office/drawing/2014/main" xmlns="" id="{3414A38E-0BE9-7436-EECD-A0885DD9EF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1803"/>
                <a:ext cx="95" cy="126"/>
              </a:xfrm>
              <a:custGeom>
                <a:avLst/>
                <a:gdLst>
                  <a:gd name="T0" fmla="*/ 12 w 41"/>
                  <a:gd name="T1" fmla="*/ 21 h 54"/>
                  <a:gd name="T2" fmla="*/ 36 w 41"/>
                  <a:gd name="T3" fmla="*/ 3 h 54"/>
                  <a:gd name="T4" fmla="*/ 30 w 41"/>
                  <a:gd name="T5" fmla="*/ 33 h 54"/>
                  <a:gd name="T6" fmla="*/ 5 w 41"/>
                  <a:gd name="T7" fmla="*/ 51 h 54"/>
                  <a:gd name="T8" fmla="*/ 12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12" y="21"/>
                    </a:moveTo>
                    <a:cubicBezTo>
                      <a:pt x="20" y="8"/>
                      <a:pt x="31" y="0"/>
                      <a:pt x="36" y="3"/>
                    </a:cubicBezTo>
                    <a:cubicBezTo>
                      <a:pt x="41" y="7"/>
                      <a:pt x="39" y="20"/>
                      <a:pt x="30" y="33"/>
                    </a:cubicBezTo>
                    <a:cubicBezTo>
                      <a:pt x="21" y="46"/>
                      <a:pt x="10" y="54"/>
                      <a:pt x="5" y="51"/>
                    </a:cubicBezTo>
                    <a:cubicBezTo>
                      <a:pt x="0" y="48"/>
                      <a:pt x="3" y="34"/>
                      <a:pt x="12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47" name="Freeform 126">
                <a:extLst>
                  <a:ext uri="{FF2B5EF4-FFF2-40B4-BE49-F238E27FC236}">
                    <a16:creationId xmlns:a16="http://schemas.microsoft.com/office/drawing/2014/main" xmlns="" id="{0027D979-72AB-D36B-D768-0C0506D822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1878"/>
                <a:ext cx="90" cy="88"/>
              </a:xfrm>
              <a:custGeom>
                <a:avLst/>
                <a:gdLst>
                  <a:gd name="T0" fmla="*/ 38 w 39"/>
                  <a:gd name="T1" fmla="*/ 22 h 38"/>
                  <a:gd name="T2" fmla="*/ 34 w 39"/>
                  <a:gd name="T3" fmla="*/ 18 h 38"/>
                  <a:gd name="T4" fmla="*/ 38 w 39"/>
                  <a:gd name="T5" fmla="*/ 14 h 38"/>
                  <a:gd name="T6" fmla="*/ 34 w 39"/>
                  <a:gd name="T7" fmla="*/ 12 h 38"/>
                  <a:gd name="T8" fmla="*/ 35 w 39"/>
                  <a:gd name="T9" fmla="*/ 8 h 38"/>
                  <a:gd name="T10" fmla="*/ 29 w 39"/>
                  <a:gd name="T11" fmla="*/ 8 h 38"/>
                  <a:gd name="T12" fmla="*/ 29 w 39"/>
                  <a:gd name="T13" fmla="*/ 2 h 38"/>
                  <a:gd name="T14" fmla="*/ 25 w 39"/>
                  <a:gd name="T15" fmla="*/ 4 h 38"/>
                  <a:gd name="T16" fmla="*/ 22 w 39"/>
                  <a:gd name="T17" fmla="*/ 0 h 38"/>
                  <a:gd name="T18" fmla="*/ 18 w 39"/>
                  <a:gd name="T19" fmla="*/ 4 h 38"/>
                  <a:gd name="T20" fmla="*/ 14 w 39"/>
                  <a:gd name="T21" fmla="*/ 1 h 38"/>
                  <a:gd name="T22" fmla="*/ 12 w 39"/>
                  <a:gd name="T23" fmla="*/ 5 h 38"/>
                  <a:gd name="T24" fmla="*/ 8 w 39"/>
                  <a:gd name="T25" fmla="*/ 4 h 38"/>
                  <a:gd name="T26" fmla="*/ 8 w 39"/>
                  <a:gd name="T27" fmla="*/ 9 h 38"/>
                  <a:gd name="T28" fmla="*/ 3 w 39"/>
                  <a:gd name="T29" fmla="*/ 10 h 38"/>
                  <a:gd name="T30" fmla="*/ 4 w 39"/>
                  <a:gd name="T31" fmla="*/ 14 h 38"/>
                  <a:gd name="T32" fmla="*/ 0 w 39"/>
                  <a:gd name="T33" fmla="*/ 16 h 38"/>
                  <a:gd name="T34" fmla="*/ 4 w 39"/>
                  <a:gd name="T35" fmla="*/ 20 h 38"/>
                  <a:gd name="T36" fmla="*/ 1 w 39"/>
                  <a:gd name="T37" fmla="*/ 24 h 38"/>
                  <a:gd name="T38" fmla="*/ 5 w 39"/>
                  <a:gd name="T39" fmla="*/ 26 h 38"/>
                  <a:gd name="T40" fmla="*/ 4 w 39"/>
                  <a:gd name="T41" fmla="*/ 31 h 38"/>
                  <a:gd name="T42" fmla="*/ 10 w 39"/>
                  <a:gd name="T43" fmla="*/ 30 h 38"/>
                  <a:gd name="T44" fmla="*/ 10 w 39"/>
                  <a:gd name="T45" fmla="*/ 36 h 38"/>
                  <a:gd name="T46" fmla="*/ 14 w 39"/>
                  <a:gd name="T47" fmla="*/ 34 h 38"/>
                  <a:gd name="T48" fmla="*/ 17 w 39"/>
                  <a:gd name="T49" fmla="*/ 38 h 38"/>
                  <a:gd name="T50" fmla="*/ 20 w 39"/>
                  <a:gd name="T51" fmla="*/ 34 h 38"/>
                  <a:gd name="T52" fmla="*/ 25 w 39"/>
                  <a:gd name="T53" fmla="*/ 38 h 38"/>
                  <a:gd name="T54" fmla="*/ 26 w 39"/>
                  <a:gd name="T55" fmla="*/ 33 h 38"/>
                  <a:gd name="T56" fmla="*/ 31 w 39"/>
                  <a:gd name="T57" fmla="*/ 34 h 38"/>
                  <a:gd name="T58" fmla="*/ 31 w 39"/>
                  <a:gd name="T59" fmla="*/ 29 h 38"/>
                  <a:gd name="T60" fmla="*/ 36 w 39"/>
                  <a:gd name="T61" fmla="*/ 28 h 38"/>
                  <a:gd name="T62" fmla="*/ 34 w 39"/>
                  <a:gd name="T63" fmla="*/ 24 h 38"/>
                  <a:gd name="T64" fmla="*/ 38 w 39"/>
                  <a:gd name="T6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9" h="38">
                    <a:moveTo>
                      <a:pt x="38" y="22"/>
                    </a:moveTo>
                    <a:cubicBezTo>
                      <a:pt x="39" y="21"/>
                      <a:pt x="37" y="19"/>
                      <a:pt x="34" y="18"/>
                    </a:cubicBezTo>
                    <a:cubicBezTo>
                      <a:pt x="37" y="17"/>
                      <a:pt x="38" y="15"/>
                      <a:pt x="38" y="14"/>
                    </a:cubicBezTo>
                    <a:cubicBezTo>
                      <a:pt x="38" y="13"/>
                      <a:pt x="36" y="12"/>
                      <a:pt x="34" y="12"/>
                    </a:cubicBezTo>
                    <a:cubicBezTo>
                      <a:pt x="35" y="10"/>
                      <a:pt x="36" y="9"/>
                      <a:pt x="35" y="8"/>
                    </a:cubicBezTo>
                    <a:cubicBezTo>
                      <a:pt x="34" y="7"/>
                      <a:pt x="32" y="7"/>
                      <a:pt x="29" y="8"/>
                    </a:cubicBezTo>
                    <a:cubicBezTo>
                      <a:pt x="30" y="5"/>
                      <a:pt x="30" y="3"/>
                      <a:pt x="29" y="2"/>
                    </a:cubicBezTo>
                    <a:cubicBezTo>
                      <a:pt x="28" y="2"/>
                      <a:pt x="26" y="2"/>
                      <a:pt x="25" y="4"/>
                    </a:cubicBezTo>
                    <a:cubicBezTo>
                      <a:pt x="24" y="2"/>
                      <a:pt x="23" y="0"/>
                      <a:pt x="22" y="0"/>
                    </a:cubicBezTo>
                    <a:cubicBezTo>
                      <a:pt x="21" y="0"/>
                      <a:pt x="19" y="1"/>
                      <a:pt x="18" y="4"/>
                    </a:cubicBezTo>
                    <a:cubicBezTo>
                      <a:pt x="17" y="2"/>
                      <a:pt x="15" y="0"/>
                      <a:pt x="14" y="1"/>
                    </a:cubicBezTo>
                    <a:cubicBezTo>
                      <a:pt x="13" y="1"/>
                      <a:pt x="12" y="3"/>
                      <a:pt x="12" y="5"/>
                    </a:cubicBezTo>
                    <a:cubicBezTo>
                      <a:pt x="11" y="3"/>
                      <a:pt x="9" y="3"/>
                      <a:pt x="8" y="4"/>
                    </a:cubicBezTo>
                    <a:cubicBezTo>
                      <a:pt x="7" y="4"/>
                      <a:pt x="7" y="7"/>
                      <a:pt x="8" y="9"/>
                    </a:cubicBezTo>
                    <a:cubicBezTo>
                      <a:pt x="5" y="8"/>
                      <a:pt x="3" y="9"/>
                      <a:pt x="3" y="10"/>
                    </a:cubicBezTo>
                    <a:cubicBezTo>
                      <a:pt x="2" y="11"/>
                      <a:pt x="3" y="12"/>
                      <a:pt x="4" y="14"/>
                    </a:cubicBezTo>
                    <a:cubicBezTo>
                      <a:pt x="2" y="14"/>
                      <a:pt x="1" y="15"/>
                      <a:pt x="0" y="16"/>
                    </a:cubicBezTo>
                    <a:cubicBezTo>
                      <a:pt x="0" y="18"/>
                      <a:pt x="2" y="19"/>
                      <a:pt x="4" y="20"/>
                    </a:cubicBezTo>
                    <a:cubicBezTo>
                      <a:pt x="2" y="21"/>
                      <a:pt x="1" y="23"/>
                      <a:pt x="1" y="24"/>
                    </a:cubicBezTo>
                    <a:cubicBezTo>
                      <a:pt x="1" y="25"/>
                      <a:pt x="3" y="26"/>
                      <a:pt x="5" y="26"/>
                    </a:cubicBezTo>
                    <a:cubicBezTo>
                      <a:pt x="4" y="28"/>
                      <a:pt x="3" y="30"/>
                      <a:pt x="4" y="31"/>
                    </a:cubicBezTo>
                    <a:cubicBezTo>
                      <a:pt x="5" y="32"/>
                      <a:pt x="7" y="31"/>
                      <a:pt x="10" y="30"/>
                    </a:cubicBezTo>
                    <a:cubicBezTo>
                      <a:pt x="9" y="33"/>
                      <a:pt x="9" y="35"/>
                      <a:pt x="10" y="36"/>
                    </a:cubicBezTo>
                    <a:cubicBezTo>
                      <a:pt x="11" y="36"/>
                      <a:pt x="13" y="36"/>
                      <a:pt x="14" y="34"/>
                    </a:cubicBezTo>
                    <a:cubicBezTo>
                      <a:pt x="15" y="36"/>
                      <a:pt x="15" y="38"/>
                      <a:pt x="17" y="38"/>
                    </a:cubicBezTo>
                    <a:cubicBezTo>
                      <a:pt x="18" y="38"/>
                      <a:pt x="19" y="37"/>
                      <a:pt x="20" y="34"/>
                    </a:cubicBezTo>
                    <a:cubicBezTo>
                      <a:pt x="22" y="36"/>
                      <a:pt x="23" y="38"/>
                      <a:pt x="25" y="38"/>
                    </a:cubicBezTo>
                    <a:cubicBezTo>
                      <a:pt x="26" y="37"/>
                      <a:pt x="26" y="36"/>
                      <a:pt x="26" y="33"/>
                    </a:cubicBezTo>
                    <a:cubicBezTo>
                      <a:pt x="28" y="35"/>
                      <a:pt x="30" y="35"/>
                      <a:pt x="31" y="34"/>
                    </a:cubicBezTo>
                    <a:cubicBezTo>
                      <a:pt x="32" y="34"/>
                      <a:pt x="32" y="32"/>
                      <a:pt x="31" y="29"/>
                    </a:cubicBezTo>
                    <a:cubicBezTo>
                      <a:pt x="33" y="30"/>
                      <a:pt x="36" y="30"/>
                      <a:pt x="36" y="28"/>
                    </a:cubicBezTo>
                    <a:cubicBezTo>
                      <a:pt x="37" y="27"/>
                      <a:pt x="36" y="26"/>
                      <a:pt x="34" y="24"/>
                    </a:cubicBezTo>
                    <a:cubicBezTo>
                      <a:pt x="37" y="24"/>
                      <a:pt x="38" y="23"/>
                      <a:pt x="38" y="22"/>
                    </a:cubicBezTo>
                  </a:path>
                </a:pathLst>
              </a:custGeom>
              <a:solidFill>
                <a:srgbClr val="FFD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49" name="Freeform 128">
                <a:extLst>
                  <a:ext uri="{FF2B5EF4-FFF2-40B4-BE49-F238E27FC236}">
                    <a16:creationId xmlns:a16="http://schemas.microsoft.com/office/drawing/2014/main" xmlns="" id="{7FF355AE-452E-D968-DAE0-6603E4F93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" y="2398"/>
                <a:ext cx="7466" cy="56"/>
              </a:xfrm>
              <a:custGeom>
                <a:avLst/>
                <a:gdLst>
                  <a:gd name="T0" fmla="*/ 3217 w 3240"/>
                  <a:gd name="T1" fmla="*/ 0 h 24"/>
                  <a:gd name="T2" fmla="*/ 24 w 3240"/>
                  <a:gd name="T3" fmla="*/ 0 h 24"/>
                  <a:gd name="T4" fmla="*/ 0 w 3240"/>
                  <a:gd name="T5" fmla="*/ 24 h 24"/>
                  <a:gd name="T6" fmla="*/ 3240 w 3240"/>
                  <a:gd name="T7" fmla="*/ 24 h 24"/>
                  <a:gd name="T8" fmla="*/ 3217 w 3240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40" h="24">
                    <a:moveTo>
                      <a:pt x="321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3240" y="24"/>
                      <a:pt x="3240" y="24"/>
                      <a:pt x="3240" y="24"/>
                    </a:cubicBezTo>
                    <a:cubicBezTo>
                      <a:pt x="3240" y="11"/>
                      <a:pt x="3230" y="0"/>
                      <a:pt x="3217" y="0"/>
                    </a:cubicBezTo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50" name="Freeform 129">
                <a:extLst>
                  <a:ext uri="{FF2B5EF4-FFF2-40B4-BE49-F238E27FC236}">
                    <a16:creationId xmlns:a16="http://schemas.microsoft.com/office/drawing/2014/main" xmlns="" id="{8C691437-1E01-DC8D-EB59-B4D2FDB5A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" y="2277"/>
                <a:ext cx="50" cy="126"/>
              </a:xfrm>
              <a:custGeom>
                <a:avLst/>
                <a:gdLst>
                  <a:gd name="T0" fmla="*/ 0 w 22"/>
                  <a:gd name="T1" fmla="*/ 54 h 54"/>
                  <a:gd name="T2" fmla="*/ 14 w 22"/>
                  <a:gd name="T3" fmla="*/ 0 h 54"/>
                  <a:gd name="T4" fmla="*/ 22 w 22"/>
                  <a:gd name="T5" fmla="*/ 54 h 54"/>
                  <a:gd name="T6" fmla="*/ 0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0" y="54"/>
                    </a:moveTo>
                    <a:cubicBezTo>
                      <a:pt x="0" y="54"/>
                      <a:pt x="2" y="32"/>
                      <a:pt x="14" y="0"/>
                    </a:cubicBezTo>
                    <a:cubicBezTo>
                      <a:pt x="14" y="0"/>
                      <a:pt x="22" y="49"/>
                      <a:pt x="22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51" name="Freeform 130">
                <a:extLst>
                  <a:ext uri="{FF2B5EF4-FFF2-40B4-BE49-F238E27FC236}">
                    <a16:creationId xmlns:a16="http://schemas.microsoft.com/office/drawing/2014/main" xmlns="" id="{72AA6BD0-2CA6-1F35-D461-D7B8DF691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" y="2277"/>
                <a:ext cx="53" cy="126"/>
              </a:xfrm>
              <a:custGeom>
                <a:avLst/>
                <a:gdLst>
                  <a:gd name="T0" fmla="*/ 23 w 23"/>
                  <a:gd name="T1" fmla="*/ 54 h 54"/>
                  <a:gd name="T2" fmla="*/ 8 w 23"/>
                  <a:gd name="T3" fmla="*/ 0 h 54"/>
                  <a:gd name="T4" fmla="*/ 0 w 23"/>
                  <a:gd name="T5" fmla="*/ 54 h 54"/>
                  <a:gd name="T6" fmla="*/ 23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23" y="54"/>
                    </a:moveTo>
                    <a:cubicBezTo>
                      <a:pt x="23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3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52" name="Freeform 131">
                <a:extLst>
                  <a:ext uri="{FF2B5EF4-FFF2-40B4-BE49-F238E27FC236}">
                    <a16:creationId xmlns:a16="http://schemas.microsoft.com/office/drawing/2014/main" xmlns="" id="{91F6AC92-BD05-632B-6618-DC4162E5C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" y="2277"/>
                <a:ext cx="53" cy="126"/>
              </a:xfrm>
              <a:custGeom>
                <a:avLst/>
                <a:gdLst>
                  <a:gd name="T0" fmla="*/ 23 w 23"/>
                  <a:gd name="T1" fmla="*/ 54 h 54"/>
                  <a:gd name="T2" fmla="*/ 9 w 23"/>
                  <a:gd name="T3" fmla="*/ 0 h 54"/>
                  <a:gd name="T4" fmla="*/ 0 w 23"/>
                  <a:gd name="T5" fmla="*/ 54 h 54"/>
                  <a:gd name="T6" fmla="*/ 23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23" y="54"/>
                    </a:moveTo>
                    <a:cubicBezTo>
                      <a:pt x="23" y="54"/>
                      <a:pt x="20" y="32"/>
                      <a:pt x="9" y="0"/>
                    </a:cubicBezTo>
                    <a:cubicBezTo>
                      <a:pt x="9" y="0"/>
                      <a:pt x="0" y="49"/>
                      <a:pt x="0" y="54"/>
                    </a:cubicBezTo>
                    <a:lnTo>
                      <a:pt x="23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53" name="Freeform 132">
                <a:extLst>
                  <a:ext uri="{FF2B5EF4-FFF2-40B4-BE49-F238E27FC236}">
                    <a16:creationId xmlns:a16="http://schemas.microsoft.com/office/drawing/2014/main" xmlns="" id="{5942563E-83E8-3025-6868-E00BE4A0A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" y="2303"/>
                <a:ext cx="35" cy="100"/>
              </a:xfrm>
              <a:custGeom>
                <a:avLst/>
                <a:gdLst>
                  <a:gd name="T0" fmla="*/ 0 w 15"/>
                  <a:gd name="T1" fmla="*/ 43 h 43"/>
                  <a:gd name="T2" fmla="*/ 9 w 15"/>
                  <a:gd name="T3" fmla="*/ 0 h 43"/>
                  <a:gd name="T4" fmla="*/ 15 w 15"/>
                  <a:gd name="T5" fmla="*/ 43 h 43"/>
                  <a:gd name="T6" fmla="*/ 0 w 15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43">
                    <a:moveTo>
                      <a:pt x="0" y="43"/>
                    </a:moveTo>
                    <a:cubicBezTo>
                      <a:pt x="0" y="43"/>
                      <a:pt x="2" y="26"/>
                      <a:pt x="9" y="0"/>
                    </a:cubicBezTo>
                    <a:cubicBezTo>
                      <a:pt x="9" y="0"/>
                      <a:pt x="15" y="39"/>
                      <a:pt x="15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54" name="Freeform 133">
                <a:extLst>
                  <a:ext uri="{FF2B5EF4-FFF2-40B4-BE49-F238E27FC236}">
                    <a16:creationId xmlns:a16="http://schemas.microsoft.com/office/drawing/2014/main" xmlns="" id="{00542BBB-1EBA-B141-AB88-FA3075FFA1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1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55" name="Freeform 134">
                <a:extLst>
                  <a:ext uri="{FF2B5EF4-FFF2-40B4-BE49-F238E27FC236}">
                    <a16:creationId xmlns:a16="http://schemas.microsoft.com/office/drawing/2014/main" xmlns="" id="{57F364B7-4CEF-91D7-97E7-3CE4DDDE9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" y="2303"/>
                <a:ext cx="30" cy="100"/>
              </a:xfrm>
              <a:custGeom>
                <a:avLst/>
                <a:gdLst>
                  <a:gd name="T0" fmla="*/ 0 w 13"/>
                  <a:gd name="T1" fmla="*/ 43 h 43"/>
                  <a:gd name="T2" fmla="*/ 9 w 13"/>
                  <a:gd name="T3" fmla="*/ 0 h 43"/>
                  <a:gd name="T4" fmla="*/ 13 w 13"/>
                  <a:gd name="T5" fmla="*/ 43 h 43"/>
                  <a:gd name="T6" fmla="*/ 0 w 13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43">
                    <a:moveTo>
                      <a:pt x="0" y="43"/>
                    </a:moveTo>
                    <a:cubicBezTo>
                      <a:pt x="0" y="43"/>
                      <a:pt x="2" y="23"/>
                      <a:pt x="9" y="0"/>
                    </a:cubicBezTo>
                    <a:cubicBezTo>
                      <a:pt x="9" y="0"/>
                      <a:pt x="13" y="40"/>
                      <a:pt x="13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56" name="Freeform 135">
                <a:extLst>
                  <a:ext uri="{FF2B5EF4-FFF2-40B4-BE49-F238E27FC236}">
                    <a16:creationId xmlns:a16="http://schemas.microsoft.com/office/drawing/2014/main" xmlns="" id="{EB8F3015-757C-2EA3-F000-09D33964C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" y="2319"/>
                <a:ext cx="28" cy="84"/>
              </a:xfrm>
              <a:custGeom>
                <a:avLst/>
                <a:gdLst>
                  <a:gd name="T0" fmla="*/ 12 w 12"/>
                  <a:gd name="T1" fmla="*/ 36 h 36"/>
                  <a:gd name="T2" fmla="*/ 4 w 12"/>
                  <a:gd name="T3" fmla="*/ 0 h 36"/>
                  <a:gd name="T4" fmla="*/ 0 w 12"/>
                  <a:gd name="T5" fmla="*/ 36 h 36"/>
                  <a:gd name="T6" fmla="*/ 12 w 12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36">
                    <a:moveTo>
                      <a:pt x="12" y="36"/>
                    </a:moveTo>
                    <a:cubicBezTo>
                      <a:pt x="12" y="36"/>
                      <a:pt x="11" y="19"/>
                      <a:pt x="4" y="0"/>
                    </a:cubicBezTo>
                    <a:cubicBezTo>
                      <a:pt x="4" y="0"/>
                      <a:pt x="0" y="33"/>
                      <a:pt x="0" y="36"/>
                    </a:cubicBezTo>
                    <a:lnTo>
                      <a:pt x="12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57" name="Freeform 136">
                <a:extLst>
                  <a:ext uri="{FF2B5EF4-FFF2-40B4-BE49-F238E27FC236}">
                    <a16:creationId xmlns:a16="http://schemas.microsoft.com/office/drawing/2014/main" xmlns="" id="{ABB9E058-776E-22A2-B176-21B5E425E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" y="2305"/>
                <a:ext cx="53" cy="98"/>
              </a:xfrm>
              <a:custGeom>
                <a:avLst/>
                <a:gdLst>
                  <a:gd name="T0" fmla="*/ 23 w 23"/>
                  <a:gd name="T1" fmla="*/ 42 h 42"/>
                  <a:gd name="T2" fmla="*/ 9 w 23"/>
                  <a:gd name="T3" fmla="*/ 0 h 42"/>
                  <a:gd name="T4" fmla="*/ 0 w 23"/>
                  <a:gd name="T5" fmla="*/ 42 h 42"/>
                  <a:gd name="T6" fmla="*/ 23 w 23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42">
                    <a:moveTo>
                      <a:pt x="23" y="42"/>
                    </a:moveTo>
                    <a:cubicBezTo>
                      <a:pt x="23" y="42"/>
                      <a:pt x="20" y="24"/>
                      <a:pt x="9" y="0"/>
                    </a:cubicBezTo>
                    <a:cubicBezTo>
                      <a:pt x="9" y="0"/>
                      <a:pt x="0" y="39"/>
                      <a:pt x="0" y="42"/>
                    </a:cubicBezTo>
                    <a:lnTo>
                      <a:pt x="23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58" name="Freeform 137">
                <a:extLst>
                  <a:ext uri="{FF2B5EF4-FFF2-40B4-BE49-F238E27FC236}">
                    <a16:creationId xmlns:a16="http://schemas.microsoft.com/office/drawing/2014/main" xmlns="" id="{E2FAA8ED-085C-8D62-F274-0367805E67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" y="2287"/>
                <a:ext cx="53" cy="116"/>
              </a:xfrm>
              <a:custGeom>
                <a:avLst/>
                <a:gdLst>
                  <a:gd name="T0" fmla="*/ 0 w 23"/>
                  <a:gd name="T1" fmla="*/ 50 h 50"/>
                  <a:gd name="T2" fmla="*/ 14 w 23"/>
                  <a:gd name="T3" fmla="*/ 0 h 50"/>
                  <a:gd name="T4" fmla="*/ 23 w 23"/>
                  <a:gd name="T5" fmla="*/ 50 h 50"/>
                  <a:gd name="T6" fmla="*/ 0 w 23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0">
                    <a:moveTo>
                      <a:pt x="0" y="50"/>
                    </a:moveTo>
                    <a:cubicBezTo>
                      <a:pt x="0" y="50"/>
                      <a:pt x="3" y="30"/>
                      <a:pt x="14" y="0"/>
                    </a:cubicBezTo>
                    <a:cubicBezTo>
                      <a:pt x="14" y="0"/>
                      <a:pt x="23" y="46"/>
                      <a:pt x="23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59" name="Freeform 138">
                <a:extLst>
                  <a:ext uri="{FF2B5EF4-FFF2-40B4-BE49-F238E27FC236}">
                    <a16:creationId xmlns:a16="http://schemas.microsoft.com/office/drawing/2014/main" xmlns="" id="{7F8671B2-244E-A883-6BF5-CD8B2853A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2277"/>
                <a:ext cx="65" cy="126"/>
              </a:xfrm>
              <a:custGeom>
                <a:avLst/>
                <a:gdLst>
                  <a:gd name="T0" fmla="*/ 0 w 28"/>
                  <a:gd name="T1" fmla="*/ 54 h 54"/>
                  <a:gd name="T2" fmla="*/ 17 w 28"/>
                  <a:gd name="T3" fmla="*/ 0 h 54"/>
                  <a:gd name="T4" fmla="*/ 28 w 28"/>
                  <a:gd name="T5" fmla="*/ 54 h 54"/>
                  <a:gd name="T6" fmla="*/ 0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0" y="54"/>
                    </a:moveTo>
                    <a:cubicBezTo>
                      <a:pt x="0" y="54"/>
                      <a:pt x="2" y="32"/>
                      <a:pt x="17" y="0"/>
                    </a:cubicBezTo>
                    <a:cubicBezTo>
                      <a:pt x="17" y="0"/>
                      <a:pt x="28" y="49"/>
                      <a:pt x="28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60" name="Freeform 139">
                <a:extLst>
                  <a:ext uri="{FF2B5EF4-FFF2-40B4-BE49-F238E27FC236}">
                    <a16:creationId xmlns:a16="http://schemas.microsoft.com/office/drawing/2014/main" xmlns="" id="{326B076F-0512-C838-E207-A0FE9FA91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9" y="2277"/>
                <a:ext cx="65" cy="126"/>
              </a:xfrm>
              <a:custGeom>
                <a:avLst/>
                <a:gdLst>
                  <a:gd name="T0" fmla="*/ 28 w 28"/>
                  <a:gd name="T1" fmla="*/ 54 h 54"/>
                  <a:gd name="T2" fmla="*/ 11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61" name="Freeform 140">
                <a:extLst>
                  <a:ext uri="{FF2B5EF4-FFF2-40B4-BE49-F238E27FC236}">
                    <a16:creationId xmlns:a16="http://schemas.microsoft.com/office/drawing/2014/main" xmlns="" id="{9CD28A5B-372A-4270-D236-1D9C5A9418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" y="2277"/>
                <a:ext cx="67" cy="126"/>
              </a:xfrm>
              <a:custGeom>
                <a:avLst/>
                <a:gdLst>
                  <a:gd name="T0" fmla="*/ 29 w 29"/>
                  <a:gd name="T1" fmla="*/ 54 h 54"/>
                  <a:gd name="T2" fmla="*/ 11 w 29"/>
                  <a:gd name="T3" fmla="*/ 0 h 54"/>
                  <a:gd name="T4" fmla="*/ 0 w 29"/>
                  <a:gd name="T5" fmla="*/ 54 h 54"/>
                  <a:gd name="T6" fmla="*/ 29 w 29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54">
                    <a:moveTo>
                      <a:pt x="29" y="54"/>
                    </a:moveTo>
                    <a:cubicBezTo>
                      <a:pt x="29" y="54"/>
                      <a:pt x="26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9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62" name="Freeform 141">
                <a:extLst>
                  <a:ext uri="{FF2B5EF4-FFF2-40B4-BE49-F238E27FC236}">
                    <a16:creationId xmlns:a16="http://schemas.microsoft.com/office/drawing/2014/main" xmlns="" id="{47817AD4-1A3C-B910-7D00-1A26DF3FD7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" y="2303"/>
                <a:ext cx="41" cy="100"/>
              </a:xfrm>
              <a:custGeom>
                <a:avLst/>
                <a:gdLst>
                  <a:gd name="T0" fmla="*/ 0 w 18"/>
                  <a:gd name="T1" fmla="*/ 43 h 43"/>
                  <a:gd name="T2" fmla="*/ 11 w 18"/>
                  <a:gd name="T3" fmla="*/ 0 h 43"/>
                  <a:gd name="T4" fmla="*/ 18 w 18"/>
                  <a:gd name="T5" fmla="*/ 43 h 43"/>
                  <a:gd name="T6" fmla="*/ 0 w 18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43">
                    <a:moveTo>
                      <a:pt x="0" y="43"/>
                    </a:moveTo>
                    <a:cubicBezTo>
                      <a:pt x="0" y="43"/>
                      <a:pt x="2" y="26"/>
                      <a:pt x="11" y="0"/>
                    </a:cubicBezTo>
                    <a:cubicBezTo>
                      <a:pt x="11" y="0"/>
                      <a:pt x="18" y="39"/>
                      <a:pt x="18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63" name="Freeform 142">
                <a:extLst>
                  <a:ext uri="{FF2B5EF4-FFF2-40B4-BE49-F238E27FC236}">
                    <a16:creationId xmlns:a16="http://schemas.microsoft.com/office/drawing/2014/main" xmlns="" id="{B28D271C-F60E-903B-0730-1BFDC9D1D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4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64" name="Freeform 143">
                <a:extLst>
                  <a:ext uri="{FF2B5EF4-FFF2-40B4-BE49-F238E27FC236}">
                    <a16:creationId xmlns:a16="http://schemas.microsoft.com/office/drawing/2014/main" xmlns="" id="{CE4C856D-2E01-F638-603B-6A3BB25A3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" y="2303"/>
                <a:ext cx="36" cy="100"/>
              </a:xfrm>
              <a:custGeom>
                <a:avLst/>
                <a:gdLst>
                  <a:gd name="T0" fmla="*/ 0 w 16"/>
                  <a:gd name="T1" fmla="*/ 43 h 43"/>
                  <a:gd name="T2" fmla="*/ 10 w 16"/>
                  <a:gd name="T3" fmla="*/ 0 h 43"/>
                  <a:gd name="T4" fmla="*/ 16 w 16"/>
                  <a:gd name="T5" fmla="*/ 43 h 43"/>
                  <a:gd name="T6" fmla="*/ 0 w 16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43">
                    <a:moveTo>
                      <a:pt x="0" y="43"/>
                    </a:moveTo>
                    <a:cubicBezTo>
                      <a:pt x="0" y="43"/>
                      <a:pt x="2" y="23"/>
                      <a:pt x="10" y="0"/>
                    </a:cubicBezTo>
                    <a:cubicBezTo>
                      <a:pt x="10" y="0"/>
                      <a:pt x="16" y="40"/>
                      <a:pt x="16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65" name="Freeform 144">
                <a:extLst>
                  <a:ext uri="{FF2B5EF4-FFF2-40B4-BE49-F238E27FC236}">
                    <a16:creationId xmlns:a16="http://schemas.microsoft.com/office/drawing/2014/main" xmlns="" id="{42A78F2A-208E-7ACF-09D5-6C492B398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5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66" name="Freeform 145">
                <a:extLst>
                  <a:ext uri="{FF2B5EF4-FFF2-40B4-BE49-F238E27FC236}">
                    <a16:creationId xmlns:a16="http://schemas.microsoft.com/office/drawing/2014/main" xmlns="" id="{945692B0-90F3-775D-DFBF-CF9079298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" y="2305"/>
                <a:ext cx="65" cy="98"/>
              </a:xfrm>
              <a:custGeom>
                <a:avLst/>
                <a:gdLst>
                  <a:gd name="T0" fmla="*/ 28 w 28"/>
                  <a:gd name="T1" fmla="*/ 42 h 42"/>
                  <a:gd name="T2" fmla="*/ 10 w 28"/>
                  <a:gd name="T3" fmla="*/ 0 h 42"/>
                  <a:gd name="T4" fmla="*/ 0 w 28"/>
                  <a:gd name="T5" fmla="*/ 42 h 42"/>
                  <a:gd name="T6" fmla="*/ 28 w 28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42">
                    <a:moveTo>
                      <a:pt x="28" y="42"/>
                    </a:moveTo>
                    <a:cubicBezTo>
                      <a:pt x="28" y="42"/>
                      <a:pt x="25" y="24"/>
                      <a:pt x="10" y="0"/>
                    </a:cubicBezTo>
                    <a:cubicBezTo>
                      <a:pt x="10" y="0"/>
                      <a:pt x="0" y="39"/>
                      <a:pt x="0" y="42"/>
                    </a:cubicBezTo>
                    <a:lnTo>
                      <a:pt x="28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67" name="Freeform 146">
                <a:extLst>
                  <a:ext uri="{FF2B5EF4-FFF2-40B4-BE49-F238E27FC236}">
                    <a16:creationId xmlns:a16="http://schemas.microsoft.com/office/drawing/2014/main" xmlns="" id="{A415357A-F962-DD86-B315-83FF22FE6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" y="2287"/>
                <a:ext cx="64" cy="116"/>
              </a:xfrm>
              <a:custGeom>
                <a:avLst/>
                <a:gdLst>
                  <a:gd name="T0" fmla="*/ 0 w 28"/>
                  <a:gd name="T1" fmla="*/ 50 h 50"/>
                  <a:gd name="T2" fmla="*/ 17 w 28"/>
                  <a:gd name="T3" fmla="*/ 0 h 50"/>
                  <a:gd name="T4" fmla="*/ 28 w 28"/>
                  <a:gd name="T5" fmla="*/ 50 h 50"/>
                  <a:gd name="T6" fmla="*/ 0 w 28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0">
                    <a:moveTo>
                      <a:pt x="0" y="50"/>
                    </a:moveTo>
                    <a:cubicBezTo>
                      <a:pt x="0" y="50"/>
                      <a:pt x="3" y="30"/>
                      <a:pt x="17" y="0"/>
                    </a:cubicBezTo>
                    <a:cubicBezTo>
                      <a:pt x="17" y="0"/>
                      <a:pt x="28" y="46"/>
                      <a:pt x="28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68" name="Freeform 147">
                <a:extLst>
                  <a:ext uri="{FF2B5EF4-FFF2-40B4-BE49-F238E27FC236}">
                    <a16:creationId xmlns:a16="http://schemas.microsoft.com/office/drawing/2014/main" xmlns="" id="{2A94AF34-3C3B-CDA6-B3B5-F3BFFF13FA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4" y="2277"/>
                <a:ext cx="53" cy="126"/>
              </a:xfrm>
              <a:custGeom>
                <a:avLst/>
                <a:gdLst>
                  <a:gd name="T0" fmla="*/ 0 w 23"/>
                  <a:gd name="T1" fmla="*/ 54 h 54"/>
                  <a:gd name="T2" fmla="*/ 15 w 23"/>
                  <a:gd name="T3" fmla="*/ 0 h 54"/>
                  <a:gd name="T4" fmla="*/ 23 w 23"/>
                  <a:gd name="T5" fmla="*/ 54 h 54"/>
                  <a:gd name="T6" fmla="*/ 0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54"/>
                      <a:pt x="3" y="32"/>
                      <a:pt x="15" y="0"/>
                    </a:cubicBezTo>
                    <a:cubicBezTo>
                      <a:pt x="15" y="0"/>
                      <a:pt x="23" y="49"/>
                      <a:pt x="23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69" name="Freeform 148">
                <a:extLst>
                  <a:ext uri="{FF2B5EF4-FFF2-40B4-BE49-F238E27FC236}">
                    <a16:creationId xmlns:a16="http://schemas.microsoft.com/office/drawing/2014/main" xmlns="" id="{258354AD-2A97-0FAF-B7AE-DD21E967C4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6" y="2277"/>
                <a:ext cx="51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0" name="Freeform 149">
                <a:extLst>
                  <a:ext uri="{FF2B5EF4-FFF2-40B4-BE49-F238E27FC236}">
                    <a16:creationId xmlns:a16="http://schemas.microsoft.com/office/drawing/2014/main" xmlns="" id="{FBCC2DE8-CC32-2702-1D4F-332E5C73F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" y="2277"/>
                <a:ext cx="53" cy="126"/>
              </a:xfrm>
              <a:custGeom>
                <a:avLst/>
                <a:gdLst>
                  <a:gd name="T0" fmla="*/ 23 w 23"/>
                  <a:gd name="T1" fmla="*/ 54 h 54"/>
                  <a:gd name="T2" fmla="*/ 8 w 23"/>
                  <a:gd name="T3" fmla="*/ 0 h 54"/>
                  <a:gd name="T4" fmla="*/ 0 w 23"/>
                  <a:gd name="T5" fmla="*/ 54 h 54"/>
                  <a:gd name="T6" fmla="*/ 23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23" y="54"/>
                    </a:moveTo>
                    <a:cubicBezTo>
                      <a:pt x="23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3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1" name="Freeform 150">
                <a:extLst>
                  <a:ext uri="{FF2B5EF4-FFF2-40B4-BE49-F238E27FC236}">
                    <a16:creationId xmlns:a16="http://schemas.microsoft.com/office/drawing/2014/main" xmlns="" id="{334176CC-4769-BB4A-7D1F-46E2C16FC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5" y="2303"/>
                <a:ext cx="35" cy="100"/>
              </a:xfrm>
              <a:custGeom>
                <a:avLst/>
                <a:gdLst>
                  <a:gd name="T0" fmla="*/ 0 w 15"/>
                  <a:gd name="T1" fmla="*/ 43 h 43"/>
                  <a:gd name="T2" fmla="*/ 9 w 15"/>
                  <a:gd name="T3" fmla="*/ 0 h 43"/>
                  <a:gd name="T4" fmla="*/ 15 w 15"/>
                  <a:gd name="T5" fmla="*/ 43 h 43"/>
                  <a:gd name="T6" fmla="*/ 0 w 15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43">
                    <a:moveTo>
                      <a:pt x="0" y="43"/>
                    </a:moveTo>
                    <a:cubicBezTo>
                      <a:pt x="0" y="43"/>
                      <a:pt x="2" y="26"/>
                      <a:pt x="9" y="0"/>
                    </a:cubicBezTo>
                    <a:cubicBezTo>
                      <a:pt x="9" y="0"/>
                      <a:pt x="15" y="39"/>
                      <a:pt x="15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2" name="Freeform 151">
                <a:extLst>
                  <a:ext uri="{FF2B5EF4-FFF2-40B4-BE49-F238E27FC236}">
                    <a16:creationId xmlns:a16="http://schemas.microsoft.com/office/drawing/2014/main" xmlns="" id="{7AD6E650-F7AC-58E3-BB6D-0F90F92BD7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4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1" y="19"/>
                      <a:pt x="4" y="0"/>
                    </a:cubicBezTo>
                    <a:cubicBezTo>
                      <a:pt x="4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3" name="Freeform 152">
                <a:extLst>
                  <a:ext uri="{FF2B5EF4-FFF2-40B4-BE49-F238E27FC236}">
                    <a16:creationId xmlns:a16="http://schemas.microsoft.com/office/drawing/2014/main" xmlns="" id="{B03BBC28-D899-3427-015F-F19BE0D02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" y="2303"/>
                <a:ext cx="30" cy="100"/>
              </a:xfrm>
              <a:custGeom>
                <a:avLst/>
                <a:gdLst>
                  <a:gd name="T0" fmla="*/ 0 w 13"/>
                  <a:gd name="T1" fmla="*/ 43 h 43"/>
                  <a:gd name="T2" fmla="*/ 8 w 13"/>
                  <a:gd name="T3" fmla="*/ 0 h 43"/>
                  <a:gd name="T4" fmla="*/ 13 w 13"/>
                  <a:gd name="T5" fmla="*/ 43 h 43"/>
                  <a:gd name="T6" fmla="*/ 0 w 13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43">
                    <a:moveTo>
                      <a:pt x="0" y="43"/>
                    </a:moveTo>
                    <a:cubicBezTo>
                      <a:pt x="0" y="43"/>
                      <a:pt x="2" y="23"/>
                      <a:pt x="8" y="0"/>
                    </a:cubicBezTo>
                    <a:cubicBezTo>
                      <a:pt x="8" y="0"/>
                      <a:pt x="13" y="40"/>
                      <a:pt x="13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4" name="Freeform 153">
                <a:extLst>
                  <a:ext uri="{FF2B5EF4-FFF2-40B4-BE49-F238E27FC236}">
                    <a16:creationId xmlns:a16="http://schemas.microsoft.com/office/drawing/2014/main" xmlns="" id="{279A628E-01FD-3BFF-2F58-1A62099E08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4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2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5" name="Freeform 154">
                <a:extLst>
                  <a:ext uri="{FF2B5EF4-FFF2-40B4-BE49-F238E27FC236}">
                    <a16:creationId xmlns:a16="http://schemas.microsoft.com/office/drawing/2014/main" xmlns="" id="{20AE6A2E-800C-82B0-6664-39FC0A9A6C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0" y="2305"/>
                <a:ext cx="53" cy="98"/>
              </a:xfrm>
              <a:custGeom>
                <a:avLst/>
                <a:gdLst>
                  <a:gd name="T0" fmla="*/ 23 w 23"/>
                  <a:gd name="T1" fmla="*/ 42 h 42"/>
                  <a:gd name="T2" fmla="*/ 8 w 23"/>
                  <a:gd name="T3" fmla="*/ 0 h 42"/>
                  <a:gd name="T4" fmla="*/ 0 w 23"/>
                  <a:gd name="T5" fmla="*/ 42 h 42"/>
                  <a:gd name="T6" fmla="*/ 23 w 23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42">
                    <a:moveTo>
                      <a:pt x="23" y="42"/>
                    </a:moveTo>
                    <a:cubicBezTo>
                      <a:pt x="23" y="42"/>
                      <a:pt x="20" y="24"/>
                      <a:pt x="8" y="0"/>
                    </a:cubicBezTo>
                    <a:cubicBezTo>
                      <a:pt x="8" y="0"/>
                      <a:pt x="0" y="39"/>
                      <a:pt x="0" y="42"/>
                    </a:cubicBezTo>
                    <a:lnTo>
                      <a:pt x="23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6" name="Freeform 155">
                <a:extLst>
                  <a:ext uri="{FF2B5EF4-FFF2-40B4-BE49-F238E27FC236}">
                    <a16:creationId xmlns:a16="http://schemas.microsoft.com/office/drawing/2014/main" xmlns="" id="{82874FEA-5636-7EC3-3FEC-257DADD6D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7" y="2287"/>
                <a:ext cx="53" cy="116"/>
              </a:xfrm>
              <a:custGeom>
                <a:avLst/>
                <a:gdLst>
                  <a:gd name="T0" fmla="*/ 0 w 23"/>
                  <a:gd name="T1" fmla="*/ 50 h 50"/>
                  <a:gd name="T2" fmla="*/ 14 w 23"/>
                  <a:gd name="T3" fmla="*/ 0 h 50"/>
                  <a:gd name="T4" fmla="*/ 23 w 23"/>
                  <a:gd name="T5" fmla="*/ 50 h 50"/>
                  <a:gd name="T6" fmla="*/ 0 w 23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0">
                    <a:moveTo>
                      <a:pt x="0" y="50"/>
                    </a:moveTo>
                    <a:cubicBezTo>
                      <a:pt x="0" y="50"/>
                      <a:pt x="2" y="30"/>
                      <a:pt x="14" y="0"/>
                    </a:cubicBezTo>
                    <a:cubicBezTo>
                      <a:pt x="14" y="0"/>
                      <a:pt x="23" y="46"/>
                      <a:pt x="23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7" name="Freeform 156">
                <a:extLst>
                  <a:ext uri="{FF2B5EF4-FFF2-40B4-BE49-F238E27FC236}">
                    <a16:creationId xmlns:a16="http://schemas.microsoft.com/office/drawing/2014/main" xmlns="" id="{6C05ACCC-8BF1-7F85-FBC9-6E731FB8D1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2277"/>
                <a:ext cx="67" cy="126"/>
              </a:xfrm>
              <a:custGeom>
                <a:avLst/>
                <a:gdLst>
                  <a:gd name="T0" fmla="*/ 0 w 29"/>
                  <a:gd name="T1" fmla="*/ 54 h 54"/>
                  <a:gd name="T2" fmla="*/ 18 w 29"/>
                  <a:gd name="T3" fmla="*/ 0 h 54"/>
                  <a:gd name="T4" fmla="*/ 29 w 29"/>
                  <a:gd name="T5" fmla="*/ 54 h 54"/>
                  <a:gd name="T6" fmla="*/ 0 w 29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54">
                    <a:moveTo>
                      <a:pt x="0" y="54"/>
                    </a:moveTo>
                    <a:cubicBezTo>
                      <a:pt x="0" y="54"/>
                      <a:pt x="3" y="32"/>
                      <a:pt x="18" y="0"/>
                    </a:cubicBezTo>
                    <a:cubicBezTo>
                      <a:pt x="18" y="0"/>
                      <a:pt x="29" y="49"/>
                      <a:pt x="29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8" name="Freeform 157">
                <a:extLst>
                  <a:ext uri="{FF2B5EF4-FFF2-40B4-BE49-F238E27FC236}">
                    <a16:creationId xmlns:a16="http://schemas.microsoft.com/office/drawing/2014/main" xmlns="" id="{673DF955-CBE5-5247-7B9F-24620FB67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0" y="2277"/>
                <a:ext cx="64" cy="126"/>
              </a:xfrm>
              <a:custGeom>
                <a:avLst/>
                <a:gdLst>
                  <a:gd name="T0" fmla="*/ 28 w 28"/>
                  <a:gd name="T1" fmla="*/ 54 h 54"/>
                  <a:gd name="T2" fmla="*/ 11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9" name="Freeform 158">
                <a:extLst>
                  <a:ext uri="{FF2B5EF4-FFF2-40B4-BE49-F238E27FC236}">
                    <a16:creationId xmlns:a16="http://schemas.microsoft.com/office/drawing/2014/main" xmlns="" id="{E19E1323-44B2-D106-2DAB-17E929F0DE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9" y="2277"/>
                <a:ext cx="65" cy="126"/>
              </a:xfrm>
              <a:custGeom>
                <a:avLst/>
                <a:gdLst>
                  <a:gd name="T0" fmla="*/ 28 w 28"/>
                  <a:gd name="T1" fmla="*/ 54 h 54"/>
                  <a:gd name="T2" fmla="*/ 11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80" name="Freeform 159">
                <a:extLst>
                  <a:ext uri="{FF2B5EF4-FFF2-40B4-BE49-F238E27FC236}">
                    <a16:creationId xmlns:a16="http://schemas.microsoft.com/office/drawing/2014/main" xmlns="" id="{689A7E16-6F72-590F-EE88-2C2023E00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303"/>
                <a:ext cx="42" cy="100"/>
              </a:xfrm>
              <a:custGeom>
                <a:avLst/>
                <a:gdLst>
                  <a:gd name="T0" fmla="*/ 0 w 18"/>
                  <a:gd name="T1" fmla="*/ 43 h 43"/>
                  <a:gd name="T2" fmla="*/ 11 w 18"/>
                  <a:gd name="T3" fmla="*/ 0 h 43"/>
                  <a:gd name="T4" fmla="*/ 18 w 18"/>
                  <a:gd name="T5" fmla="*/ 43 h 43"/>
                  <a:gd name="T6" fmla="*/ 0 w 18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43">
                    <a:moveTo>
                      <a:pt x="0" y="43"/>
                    </a:moveTo>
                    <a:cubicBezTo>
                      <a:pt x="0" y="43"/>
                      <a:pt x="2" y="26"/>
                      <a:pt x="11" y="0"/>
                    </a:cubicBezTo>
                    <a:cubicBezTo>
                      <a:pt x="11" y="0"/>
                      <a:pt x="18" y="39"/>
                      <a:pt x="18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81" name="Freeform 160">
                <a:extLst>
                  <a:ext uri="{FF2B5EF4-FFF2-40B4-BE49-F238E27FC236}">
                    <a16:creationId xmlns:a16="http://schemas.microsoft.com/office/drawing/2014/main" xmlns="" id="{C869C284-B3AB-51DE-15B5-57634FE3F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4" y="2319"/>
                <a:ext cx="39" cy="84"/>
              </a:xfrm>
              <a:custGeom>
                <a:avLst/>
                <a:gdLst>
                  <a:gd name="T0" fmla="*/ 17 w 17"/>
                  <a:gd name="T1" fmla="*/ 36 h 36"/>
                  <a:gd name="T2" fmla="*/ 6 w 17"/>
                  <a:gd name="T3" fmla="*/ 0 h 36"/>
                  <a:gd name="T4" fmla="*/ 0 w 17"/>
                  <a:gd name="T5" fmla="*/ 36 h 36"/>
                  <a:gd name="T6" fmla="*/ 17 w 17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6">
                    <a:moveTo>
                      <a:pt x="17" y="36"/>
                    </a:moveTo>
                    <a:cubicBezTo>
                      <a:pt x="17" y="36"/>
                      <a:pt x="15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7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82" name="Freeform 161">
                <a:extLst>
                  <a:ext uri="{FF2B5EF4-FFF2-40B4-BE49-F238E27FC236}">
                    <a16:creationId xmlns:a16="http://schemas.microsoft.com/office/drawing/2014/main" xmlns="" id="{1C295FBA-8615-DE37-7A21-DD1CF83EC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9" y="2303"/>
                <a:ext cx="37" cy="100"/>
              </a:xfrm>
              <a:custGeom>
                <a:avLst/>
                <a:gdLst>
                  <a:gd name="T0" fmla="*/ 0 w 16"/>
                  <a:gd name="T1" fmla="*/ 43 h 43"/>
                  <a:gd name="T2" fmla="*/ 10 w 16"/>
                  <a:gd name="T3" fmla="*/ 0 h 43"/>
                  <a:gd name="T4" fmla="*/ 16 w 16"/>
                  <a:gd name="T5" fmla="*/ 43 h 43"/>
                  <a:gd name="T6" fmla="*/ 0 w 16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43">
                    <a:moveTo>
                      <a:pt x="0" y="43"/>
                    </a:moveTo>
                    <a:cubicBezTo>
                      <a:pt x="0" y="43"/>
                      <a:pt x="2" y="23"/>
                      <a:pt x="10" y="0"/>
                    </a:cubicBezTo>
                    <a:cubicBezTo>
                      <a:pt x="10" y="0"/>
                      <a:pt x="16" y="40"/>
                      <a:pt x="16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83" name="Freeform 162">
                <a:extLst>
                  <a:ext uri="{FF2B5EF4-FFF2-40B4-BE49-F238E27FC236}">
                    <a16:creationId xmlns:a16="http://schemas.microsoft.com/office/drawing/2014/main" xmlns="" id="{0FBE046C-595F-3B75-CE4C-8E3CD92B0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2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4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84" name="Freeform 163">
                <a:extLst>
                  <a:ext uri="{FF2B5EF4-FFF2-40B4-BE49-F238E27FC236}">
                    <a16:creationId xmlns:a16="http://schemas.microsoft.com/office/drawing/2014/main" xmlns="" id="{87E20503-AFDE-81F3-0445-D653ADD81F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2" y="2305"/>
                <a:ext cx="67" cy="98"/>
              </a:xfrm>
              <a:custGeom>
                <a:avLst/>
                <a:gdLst>
                  <a:gd name="T0" fmla="*/ 29 w 29"/>
                  <a:gd name="T1" fmla="*/ 42 h 42"/>
                  <a:gd name="T2" fmla="*/ 11 w 29"/>
                  <a:gd name="T3" fmla="*/ 0 h 42"/>
                  <a:gd name="T4" fmla="*/ 0 w 29"/>
                  <a:gd name="T5" fmla="*/ 42 h 42"/>
                  <a:gd name="T6" fmla="*/ 29 w 29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42">
                    <a:moveTo>
                      <a:pt x="29" y="42"/>
                    </a:moveTo>
                    <a:cubicBezTo>
                      <a:pt x="29" y="42"/>
                      <a:pt x="26" y="24"/>
                      <a:pt x="11" y="0"/>
                    </a:cubicBezTo>
                    <a:cubicBezTo>
                      <a:pt x="11" y="0"/>
                      <a:pt x="0" y="39"/>
                      <a:pt x="0" y="42"/>
                    </a:cubicBezTo>
                    <a:lnTo>
                      <a:pt x="29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85" name="Freeform 164">
                <a:extLst>
                  <a:ext uri="{FF2B5EF4-FFF2-40B4-BE49-F238E27FC236}">
                    <a16:creationId xmlns:a16="http://schemas.microsoft.com/office/drawing/2014/main" xmlns="" id="{660F9F42-2B70-BC84-928F-539FAC469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4" y="2287"/>
                <a:ext cx="65" cy="116"/>
              </a:xfrm>
              <a:custGeom>
                <a:avLst/>
                <a:gdLst>
                  <a:gd name="T0" fmla="*/ 0 w 28"/>
                  <a:gd name="T1" fmla="*/ 50 h 50"/>
                  <a:gd name="T2" fmla="*/ 17 w 28"/>
                  <a:gd name="T3" fmla="*/ 0 h 50"/>
                  <a:gd name="T4" fmla="*/ 28 w 28"/>
                  <a:gd name="T5" fmla="*/ 50 h 50"/>
                  <a:gd name="T6" fmla="*/ 0 w 28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0">
                    <a:moveTo>
                      <a:pt x="0" y="50"/>
                    </a:moveTo>
                    <a:cubicBezTo>
                      <a:pt x="0" y="50"/>
                      <a:pt x="3" y="30"/>
                      <a:pt x="17" y="0"/>
                    </a:cubicBezTo>
                    <a:cubicBezTo>
                      <a:pt x="17" y="0"/>
                      <a:pt x="28" y="46"/>
                      <a:pt x="28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86" name="Freeform 165">
                <a:extLst>
                  <a:ext uri="{FF2B5EF4-FFF2-40B4-BE49-F238E27FC236}">
                    <a16:creationId xmlns:a16="http://schemas.microsoft.com/office/drawing/2014/main" xmlns="" id="{8DF15AD0-B9D7-2D61-45E8-70938FD062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4" y="2277"/>
                <a:ext cx="53" cy="126"/>
              </a:xfrm>
              <a:custGeom>
                <a:avLst/>
                <a:gdLst>
                  <a:gd name="T0" fmla="*/ 0 w 23"/>
                  <a:gd name="T1" fmla="*/ 54 h 54"/>
                  <a:gd name="T2" fmla="*/ 14 w 23"/>
                  <a:gd name="T3" fmla="*/ 0 h 54"/>
                  <a:gd name="T4" fmla="*/ 23 w 23"/>
                  <a:gd name="T5" fmla="*/ 54 h 54"/>
                  <a:gd name="T6" fmla="*/ 0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54"/>
                      <a:pt x="3" y="32"/>
                      <a:pt x="14" y="0"/>
                    </a:cubicBezTo>
                    <a:cubicBezTo>
                      <a:pt x="14" y="0"/>
                      <a:pt x="23" y="49"/>
                      <a:pt x="23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87" name="Freeform 166">
                <a:extLst>
                  <a:ext uri="{FF2B5EF4-FFF2-40B4-BE49-F238E27FC236}">
                    <a16:creationId xmlns:a16="http://schemas.microsoft.com/office/drawing/2014/main" xmlns="" id="{78788127-FFD7-1945-0A73-4991027452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6" y="2277"/>
                <a:ext cx="51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88" name="Freeform 167">
                <a:extLst>
                  <a:ext uri="{FF2B5EF4-FFF2-40B4-BE49-F238E27FC236}">
                    <a16:creationId xmlns:a16="http://schemas.microsoft.com/office/drawing/2014/main" xmlns="" id="{8B3A2360-F5A1-3125-64F3-97C66EE38E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3" y="2277"/>
                <a:ext cx="51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89" name="Freeform 168">
                <a:extLst>
                  <a:ext uri="{FF2B5EF4-FFF2-40B4-BE49-F238E27FC236}">
                    <a16:creationId xmlns:a16="http://schemas.microsoft.com/office/drawing/2014/main" xmlns="" id="{5DE618D5-DC69-7983-80DD-54AE34F0F1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2303"/>
                <a:ext cx="32" cy="100"/>
              </a:xfrm>
              <a:custGeom>
                <a:avLst/>
                <a:gdLst>
                  <a:gd name="T0" fmla="*/ 0 w 14"/>
                  <a:gd name="T1" fmla="*/ 43 h 43"/>
                  <a:gd name="T2" fmla="*/ 9 w 14"/>
                  <a:gd name="T3" fmla="*/ 0 h 43"/>
                  <a:gd name="T4" fmla="*/ 14 w 14"/>
                  <a:gd name="T5" fmla="*/ 43 h 43"/>
                  <a:gd name="T6" fmla="*/ 0 w 14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43">
                    <a:moveTo>
                      <a:pt x="0" y="43"/>
                    </a:moveTo>
                    <a:cubicBezTo>
                      <a:pt x="0" y="43"/>
                      <a:pt x="2" y="26"/>
                      <a:pt x="9" y="0"/>
                    </a:cubicBezTo>
                    <a:cubicBezTo>
                      <a:pt x="9" y="0"/>
                      <a:pt x="14" y="39"/>
                      <a:pt x="14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90" name="Freeform 169">
                <a:extLst>
                  <a:ext uri="{FF2B5EF4-FFF2-40B4-BE49-F238E27FC236}">
                    <a16:creationId xmlns:a16="http://schemas.microsoft.com/office/drawing/2014/main" xmlns="" id="{3E9C125D-7483-67EA-9090-FA9C508B78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4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2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91" name="Freeform 170">
                <a:extLst>
                  <a:ext uri="{FF2B5EF4-FFF2-40B4-BE49-F238E27FC236}">
                    <a16:creationId xmlns:a16="http://schemas.microsoft.com/office/drawing/2014/main" xmlns="" id="{4C53A1E3-CACE-C2F6-DF3C-19F13C241F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5" y="2303"/>
                <a:ext cx="30" cy="100"/>
              </a:xfrm>
              <a:custGeom>
                <a:avLst/>
                <a:gdLst>
                  <a:gd name="T0" fmla="*/ 0 w 13"/>
                  <a:gd name="T1" fmla="*/ 43 h 43"/>
                  <a:gd name="T2" fmla="*/ 8 w 13"/>
                  <a:gd name="T3" fmla="*/ 0 h 43"/>
                  <a:gd name="T4" fmla="*/ 13 w 13"/>
                  <a:gd name="T5" fmla="*/ 43 h 43"/>
                  <a:gd name="T6" fmla="*/ 0 w 13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43">
                    <a:moveTo>
                      <a:pt x="0" y="43"/>
                    </a:moveTo>
                    <a:cubicBezTo>
                      <a:pt x="0" y="43"/>
                      <a:pt x="2" y="23"/>
                      <a:pt x="8" y="0"/>
                    </a:cubicBezTo>
                    <a:cubicBezTo>
                      <a:pt x="8" y="0"/>
                      <a:pt x="13" y="40"/>
                      <a:pt x="13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92" name="Freeform 171">
                <a:extLst>
                  <a:ext uri="{FF2B5EF4-FFF2-40B4-BE49-F238E27FC236}">
                    <a16:creationId xmlns:a16="http://schemas.microsoft.com/office/drawing/2014/main" xmlns="" id="{FEA7810B-C1ED-BA57-0DA9-1919D0933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5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2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93" name="Freeform 172">
                <a:extLst>
                  <a:ext uri="{FF2B5EF4-FFF2-40B4-BE49-F238E27FC236}">
                    <a16:creationId xmlns:a16="http://schemas.microsoft.com/office/drawing/2014/main" xmlns="" id="{BF586000-C294-49D6-7410-C2D035941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0" y="2305"/>
                <a:ext cx="53" cy="98"/>
              </a:xfrm>
              <a:custGeom>
                <a:avLst/>
                <a:gdLst>
                  <a:gd name="T0" fmla="*/ 23 w 23"/>
                  <a:gd name="T1" fmla="*/ 42 h 42"/>
                  <a:gd name="T2" fmla="*/ 8 w 23"/>
                  <a:gd name="T3" fmla="*/ 0 h 42"/>
                  <a:gd name="T4" fmla="*/ 0 w 23"/>
                  <a:gd name="T5" fmla="*/ 42 h 42"/>
                  <a:gd name="T6" fmla="*/ 23 w 23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42">
                    <a:moveTo>
                      <a:pt x="23" y="42"/>
                    </a:moveTo>
                    <a:cubicBezTo>
                      <a:pt x="23" y="42"/>
                      <a:pt x="20" y="24"/>
                      <a:pt x="8" y="0"/>
                    </a:cubicBezTo>
                    <a:cubicBezTo>
                      <a:pt x="8" y="0"/>
                      <a:pt x="0" y="39"/>
                      <a:pt x="0" y="42"/>
                    </a:cubicBezTo>
                    <a:lnTo>
                      <a:pt x="23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94" name="Freeform 173">
                <a:extLst>
                  <a:ext uri="{FF2B5EF4-FFF2-40B4-BE49-F238E27FC236}">
                    <a16:creationId xmlns:a16="http://schemas.microsoft.com/office/drawing/2014/main" xmlns="" id="{B28081A5-E82F-F965-B78A-B35C7F2011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7" y="2287"/>
                <a:ext cx="53" cy="116"/>
              </a:xfrm>
              <a:custGeom>
                <a:avLst/>
                <a:gdLst>
                  <a:gd name="T0" fmla="*/ 0 w 23"/>
                  <a:gd name="T1" fmla="*/ 50 h 50"/>
                  <a:gd name="T2" fmla="*/ 14 w 23"/>
                  <a:gd name="T3" fmla="*/ 0 h 50"/>
                  <a:gd name="T4" fmla="*/ 23 w 23"/>
                  <a:gd name="T5" fmla="*/ 50 h 50"/>
                  <a:gd name="T6" fmla="*/ 0 w 23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0">
                    <a:moveTo>
                      <a:pt x="0" y="50"/>
                    </a:moveTo>
                    <a:cubicBezTo>
                      <a:pt x="0" y="50"/>
                      <a:pt x="2" y="30"/>
                      <a:pt x="14" y="0"/>
                    </a:cubicBezTo>
                    <a:cubicBezTo>
                      <a:pt x="14" y="0"/>
                      <a:pt x="23" y="46"/>
                      <a:pt x="23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95" name="Freeform 174">
                <a:extLst>
                  <a:ext uri="{FF2B5EF4-FFF2-40B4-BE49-F238E27FC236}">
                    <a16:creationId xmlns:a16="http://schemas.microsoft.com/office/drawing/2014/main" xmlns="" id="{073FFD26-1A3A-072E-DAAB-2AA8300A6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8" y="2277"/>
                <a:ext cx="64" cy="126"/>
              </a:xfrm>
              <a:custGeom>
                <a:avLst/>
                <a:gdLst>
                  <a:gd name="T0" fmla="*/ 0 w 28"/>
                  <a:gd name="T1" fmla="*/ 54 h 54"/>
                  <a:gd name="T2" fmla="*/ 18 w 28"/>
                  <a:gd name="T3" fmla="*/ 0 h 54"/>
                  <a:gd name="T4" fmla="*/ 28 w 28"/>
                  <a:gd name="T5" fmla="*/ 54 h 54"/>
                  <a:gd name="T6" fmla="*/ 0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0" y="54"/>
                    </a:moveTo>
                    <a:cubicBezTo>
                      <a:pt x="0" y="54"/>
                      <a:pt x="3" y="32"/>
                      <a:pt x="18" y="0"/>
                    </a:cubicBezTo>
                    <a:cubicBezTo>
                      <a:pt x="18" y="0"/>
                      <a:pt x="28" y="49"/>
                      <a:pt x="28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96" name="Freeform 175">
                <a:extLst>
                  <a:ext uri="{FF2B5EF4-FFF2-40B4-BE49-F238E27FC236}">
                    <a16:creationId xmlns:a16="http://schemas.microsoft.com/office/drawing/2014/main" xmlns="" id="{AC588859-9E77-3D00-35FC-B83FC8525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0" y="2277"/>
                <a:ext cx="65" cy="126"/>
              </a:xfrm>
              <a:custGeom>
                <a:avLst/>
                <a:gdLst>
                  <a:gd name="T0" fmla="*/ 28 w 28"/>
                  <a:gd name="T1" fmla="*/ 54 h 54"/>
                  <a:gd name="T2" fmla="*/ 10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0" y="0"/>
                    </a:cubicBezTo>
                    <a:cubicBezTo>
                      <a:pt x="10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97" name="Freeform 176">
                <a:extLst>
                  <a:ext uri="{FF2B5EF4-FFF2-40B4-BE49-F238E27FC236}">
                    <a16:creationId xmlns:a16="http://schemas.microsoft.com/office/drawing/2014/main" xmlns="" id="{9CF5A67F-2AB0-6C04-2504-9EF05BFBB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0" y="2277"/>
                <a:ext cx="64" cy="126"/>
              </a:xfrm>
              <a:custGeom>
                <a:avLst/>
                <a:gdLst>
                  <a:gd name="T0" fmla="*/ 28 w 28"/>
                  <a:gd name="T1" fmla="*/ 54 h 54"/>
                  <a:gd name="T2" fmla="*/ 11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98" name="Freeform 177">
                <a:extLst>
                  <a:ext uri="{FF2B5EF4-FFF2-40B4-BE49-F238E27FC236}">
                    <a16:creationId xmlns:a16="http://schemas.microsoft.com/office/drawing/2014/main" xmlns="" id="{4A6F4E5B-CC61-3E4C-0010-BF820F756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5" y="2303"/>
                <a:ext cx="41" cy="100"/>
              </a:xfrm>
              <a:custGeom>
                <a:avLst/>
                <a:gdLst>
                  <a:gd name="T0" fmla="*/ 0 w 18"/>
                  <a:gd name="T1" fmla="*/ 43 h 43"/>
                  <a:gd name="T2" fmla="*/ 11 w 18"/>
                  <a:gd name="T3" fmla="*/ 0 h 43"/>
                  <a:gd name="T4" fmla="*/ 18 w 18"/>
                  <a:gd name="T5" fmla="*/ 43 h 43"/>
                  <a:gd name="T6" fmla="*/ 0 w 18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43">
                    <a:moveTo>
                      <a:pt x="0" y="43"/>
                    </a:moveTo>
                    <a:cubicBezTo>
                      <a:pt x="0" y="43"/>
                      <a:pt x="2" y="26"/>
                      <a:pt x="11" y="0"/>
                    </a:cubicBezTo>
                    <a:cubicBezTo>
                      <a:pt x="11" y="0"/>
                      <a:pt x="18" y="39"/>
                      <a:pt x="18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99" name="Freeform 178">
                <a:extLst>
                  <a:ext uri="{FF2B5EF4-FFF2-40B4-BE49-F238E27FC236}">
                    <a16:creationId xmlns:a16="http://schemas.microsoft.com/office/drawing/2014/main" xmlns="" id="{15B151D5-A651-7B60-E566-B552214B7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4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5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00" name="Freeform 179">
                <a:extLst>
                  <a:ext uri="{FF2B5EF4-FFF2-40B4-BE49-F238E27FC236}">
                    <a16:creationId xmlns:a16="http://schemas.microsoft.com/office/drawing/2014/main" xmlns="" id="{F3605EC1-8BA1-2770-74C0-03B2995E6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9" y="2303"/>
                <a:ext cx="37" cy="100"/>
              </a:xfrm>
              <a:custGeom>
                <a:avLst/>
                <a:gdLst>
                  <a:gd name="T0" fmla="*/ 0 w 16"/>
                  <a:gd name="T1" fmla="*/ 43 h 43"/>
                  <a:gd name="T2" fmla="*/ 10 w 16"/>
                  <a:gd name="T3" fmla="*/ 0 h 43"/>
                  <a:gd name="T4" fmla="*/ 16 w 16"/>
                  <a:gd name="T5" fmla="*/ 43 h 43"/>
                  <a:gd name="T6" fmla="*/ 0 w 16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43">
                    <a:moveTo>
                      <a:pt x="0" y="43"/>
                    </a:moveTo>
                    <a:cubicBezTo>
                      <a:pt x="0" y="43"/>
                      <a:pt x="2" y="23"/>
                      <a:pt x="10" y="0"/>
                    </a:cubicBezTo>
                    <a:cubicBezTo>
                      <a:pt x="10" y="0"/>
                      <a:pt x="16" y="40"/>
                      <a:pt x="16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01" name="Freeform 180">
                <a:extLst>
                  <a:ext uri="{FF2B5EF4-FFF2-40B4-BE49-F238E27FC236}">
                    <a16:creationId xmlns:a16="http://schemas.microsoft.com/office/drawing/2014/main" xmlns="" id="{4652E16F-5134-E2A9-BAD7-87465D8A1B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4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02" name="Freeform 181">
                <a:extLst>
                  <a:ext uri="{FF2B5EF4-FFF2-40B4-BE49-F238E27FC236}">
                    <a16:creationId xmlns:a16="http://schemas.microsoft.com/office/drawing/2014/main" xmlns="" id="{BA49CF7F-C543-1EA5-76CC-4984E1E38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3" y="2305"/>
                <a:ext cx="64" cy="98"/>
              </a:xfrm>
              <a:custGeom>
                <a:avLst/>
                <a:gdLst>
                  <a:gd name="T0" fmla="*/ 28 w 28"/>
                  <a:gd name="T1" fmla="*/ 42 h 42"/>
                  <a:gd name="T2" fmla="*/ 11 w 28"/>
                  <a:gd name="T3" fmla="*/ 0 h 42"/>
                  <a:gd name="T4" fmla="*/ 0 w 28"/>
                  <a:gd name="T5" fmla="*/ 42 h 42"/>
                  <a:gd name="T6" fmla="*/ 28 w 28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42">
                    <a:moveTo>
                      <a:pt x="28" y="42"/>
                    </a:moveTo>
                    <a:cubicBezTo>
                      <a:pt x="28" y="42"/>
                      <a:pt x="26" y="24"/>
                      <a:pt x="11" y="0"/>
                    </a:cubicBezTo>
                    <a:cubicBezTo>
                      <a:pt x="11" y="0"/>
                      <a:pt x="0" y="39"/>
                      <a:pt x="0" y="42"/>
                    </a:cubicBezTo>
                    <a:lnTo>
                      <a:pt x="28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03" name="Freeform 182">
                <a:extLst>
                  <a:ext uri="{FF2B5EF4-FFF2-40B4-BE49-F238E27FC236}">
                    <a16:creationId xmlns:a16="http://schemas.microsoft.com/office/drawing/2014/main" xmlns="" id="{00D2F669-861A-3ED7-8019-8D2C67226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2" y="2287"/>
                <a:ext cx="67" cy="116"/>
              </a:xfrm>
              <a:custGeom>
                <a:avLst/>
                <a:gdLst>
                  <a:gd name="T0" fmla="*/ 0 w 29"/>
                  <a:gd name="T1" fmla="*/ 50 h 50"/>
                  <a:gd name="T2" fmla="*/ 18 w 29"/>
                  <a:gd name="T3" fmla="*/ 0 h 50"/>
                  <a:gd name="T4" fmla="*/ 29 w 29"/>
                  <a:gd name="T5" fmla="*/ 50 h 50"/>
                  <a:gd name="T6" fmla="*/ 0 w 29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50">
                    <a:moveTo>
                      <a:pt x="0" y="50"/>
                    </a:moveTo>
                    <a:cubicBezTo>
                      <a:pt x="0" y="50"/>
                      <a:pt x="3" y="30"/>
                      <a:pt x="18" y="0"/>
                    </a:cubicBezTo>
                    <a:cubicBezTo>
                      <a:pt x="18" y="0"/>
                      <a:pt x="29" y="46"/>
                      <a:pt x="29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04" name="Freeform 183">
                <a:extLst>
                  <a:ext uri="{FF2B5EF4-FFF2-40B4-BE49-F238E27FC236}">
                    <a16:creationId xmlns:a16="http://schemas.microsoft.com/office/drawing/2014/main" xmlns="" id="{4001B1F2-BAFA-A328-9531-CABC4EF4B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2277"/>
                <a:ext cx="53" cy="126"/>
              </a:xfrm>
              <a:custGeom>
                <a:avLst/>
                <a:gdLst>
                  <a:gd name="T0" fmla="*/ 0 w 23"/>
                  <a:gd name="T1" fmla="*/ 54 h 54"/>
                  <a:gd name="T2" fmla="*/ 14 w 23"/>
                  <a:gd name="T3" fmla="*/ 0 h 54"/>
                  <a:gd name="T4" fmla="*/ 23 w 23"/>
                  <a:gd name="T5" fmla="*/ 54 h 54"/>
                  <a:gd name="T6" fmla="*/ 0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54"/>
                      <a:pt x="3" y="32"/>
                      <a:pt x="14" y="0"/>
                    </a:cubicBezTo>
                    <a:cubicBezTo>
                      <a:pt x="14" y="0"/>
                      <a:pt x="23" y="49"/>
                      <a:pt x="23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05" name="Freeform 184">
                <a:extLst>
                  <a:ext uri="{FF2B5EF4-FFF2-40B4-BE49-F238E27FC236}">
                    <a16:creationId xmlns:a16="http://schemas.microsoft.com/office/drawing/2014/main" xmlns="" id="{158AE037-D24F-8DDC-17FE-B99793EDE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4" y="2277"/>
                <a:ext cx="53" cy="126"/>
              </a:xfrm>
              <a:custGeom>
                <a:avLst/>
                <a:gdLst>
                  <a:gd name="T0" fmla="*/ 23 w 23"/>
                  <a:gd name="T1" fmla="*/ 54 h 54"/>
                  <a:gd name="T2" fmla="*/ 9 w 23"/>
                  <a:gd name="T3" fmla="*/ 0 h 54"/>
                  <a:gd name="T4" fmla="*/ 0 w 23"/>
                  <a:gd name="T5" fmla="*/ 54 h 54"/>
                  <a:gd name="T6" fmla="*/ 23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23" y="54"/>
                    </a:moveTo>
                    <a:cubicBezTo>
                      <a:pt x="23" y="54"/>
                      <a:pt x="21" y="32"/>
                      <a:pt x="9" y="0"/>
                    </a:cubicBezTo>
                    <a:cubicBezTo>
                      <a:pt x="9" y="0"/>
                      <a:pt x="0" y="49"/>
                      <a:pt x="0" y="54"/>
                    </a:cubicBezTo>
                    <a:lnTo>
                      <a:pt x="23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06" name="Freeform 185">
                <a:extLst>
                  <a:ext uri="{FF2B5EF4-FFF2-40B4-BE49-F238E27FC236}">
                    <a16:creationId xmlns:a16="http://schemas.microsoft.com/office/drawing/2014/main" xmlns="" id="{CA0DDE37-9B24-8724-0892-8FC407A93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4" y="2277"/>
                <a:ext cx="50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07" name="Freeform 186">
                <a:extLst>
                  <a:ext uri="{FF2B5EF4-FFF2-40B4-BE49-F238E27FC236}">
                    <a16:creationId xmlns:a16="http://schemas.microsoft.com/office/drawing/2014/main" xmlns="" id="{8650CB6A-CF8C-152B-DAE5-344D60610F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6" y="2303"/>
                <a:ext cx="32" cy="100"/>
              </a:xfrm>
              <a:custGeom>
                <a:avLst/>
                <a:gdLst>
                  <a:gd name="T0" fmla="*/ 0 w 14"/>
                  <a:gd name="T1" fmla="*/ 43 h 43"/>
                  <a:gd name="T2" fmla="*/ 9 w 14"/>
                  <a:gd name="T3" fmla="*/ 0 h 43"/>
                  <a:gd name="T4" fmla="*/ 14 w 14"/>
                  <a:gd name="T5" fmla="*/ 43 h 43"/>
                  <a:gd name="T6" fmla="*/ 0 w 14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43">
                    <a:moveTo>
                      <a:pt x="0" y="43"/>
                    </a:moveTo>
                    <a:cubicBezTo>
                      <a:pt x="0" y="43"/>
                      <a:pt x="2" y="26"/>
                      <a:pt x="9" y="0"/>
                    </a:cubicBezTo>
                    <a:cubicBezTo>
                      <a:pt x="9" y="0"/>
                      <a:pt x="14" y="39"/>
                      <a:pt x="14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08" name="Freeform 187">
                <a:extLst>
                  <a:ext uri="{FF2B5EF4-FFF2-40B4-BE49-F238E27FC236}">
                    <a16:creationId xmlns:a16="http://schemas.microsoft.com/office/drawing/2014/main" xmlns="" id="{1675547C-7F26-7AFF-3176-B7A60455A6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4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2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09" name="Freeform 188">
                <a:extLst>
                  <a:ext uri="{FF2B5EF4-FFF2-40B4-BE49-F238E27FC236}">
                    <a16:creationId xmlns:a16="http://schemas.microsoft.com/office/drawing/2014/main" xmlns="" id="{2A42AE80-FD08-E0E1-466C-B3447F170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5" y="2303"/>
                <a:ext cx="30" cy="100"/>
              </a:xfrm>
              <a:custGeom>
                <a:avLst/>
                <a:gdLst>
                  <a:gd name="T0" fmla="*/ 0 w 13"/>
                  <a:gd name="T1" fmla="*/ 43 h 43"/>
                  <a:gd name="T2" fmla="*/ 8 w 13"/>
                  <a:gd name="T3" fmla="*/ 0 h 43"/>
                  <a:gd name="T4" fmla="*/ 13 w 13"/>
                  <a:gd name="T5" fmla="*/ 43 h 43"/>
                  <a:gd name="T6" fmla="*/ 0 w 13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43">
                    <a:moveTo>
                      <a:pt x="0" y="43"/>
                    </a:moveTo>
                    <a:cubicBezTo>
                      <a:pt x="0" y="43"/>
                      <a:pt x="1" y="23"/>
                      <a:pt x="8" y="0"/>
                    </a:cubicBezTo>
                    <a:cubicBezTo>
                      <a:pt x="8" y="0"/>
                      <a:pt x="13" y="40"/>
                      <a:pt x="13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10" name="Freeform 189">
                <a:extLst>
                  <a:ext uri="{FF2B5EF4-FFF2-40B4-BE49-F238E27FC236}">
                    <a16:creationId xmlns:a16="http://schemas.microsoft.com/office/drawing/2014/main" xmlns="" id="{72653DD6-FB58-8391-ED43-EC581174D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5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2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11" name="Freeform 190">
                <a:extLst>
                  <a:ext uri="{FF2B5EF4-FFF2-40B4-BE49-F238E27FC236}">
                    <a16:creationId xmlns:a16="http://schemas.microsoft.com/office/drawing/2014/main" xmlns="" id="{433E11D3-F591-7282-671B-AEE0AB3AA3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" y="2305"/>
                <a:ext cx="50" cy="98"/>
              </a:xfrm>
              <a:custGeom>
                <a:avLst/>
                <a:gdLst>
                  <a:gd name="T0" fmla="*/ 22 w 22"/>
                  <a:gd name="T1" fmla="*/ 42 h 42"/>
                  <a:gd name="T2" fmla="*/ 8 w 22"/>
                  <a:gd name="T3" fmla="*/ 0 h 42"/>
                  <a:gd name="T4" fmla="*/ 0 w 22"/>
                  <a:gd name="T5" fmla="*/ 42 h 42"/>
                  <a:gd name="T6" fmla="*/ 22 w 22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42">
                    <a:moveTo>
                      <a:pt x="22" y="42"/>
                    </a:moveTo>
                    <a:cubicBezTo>
                      <a:pt x="22" y="42"/>
                      <a:pt x="20" y="24"/>
                      <a:pt x="8" y="0"/>
                    </a:cubicBezTo>
                    <a:cubicBezTo>
                      <a:pt x="8" y="0"/>
                      <a:pt x="0" y="39"/>
                      <a:pt x="0" y="42"/>
                    </a:cubicBezTo>
                    <a:lnTo>
                      <a:pt x="22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12" name="Freeform 191">
                <a:extLst>
                  <a:ext uri="{FF2B5EF4-FFF2-40B4-BE49-F238E27FC236}">
                    <a16:creationId xmlns:a16="http://schemas.microsoft.com/office/drawing/2014/main" xmlns="" id="{0462BC10-B1D8-1013-B2CD-60B63AD6B4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8" y="2287"/>
                <a:ext cx="50" cy="116"/>
              </a:xfrm>
              <a:custGeom>
                <a:avLst/>
                <a:gdLst>
                  <a:gd name="T0" fmla="*/ 0 w 22"/>
                  <a:gd name="T1" fmla="*/ 50 h 50"/>
                  <a:gd name="T2" fmla="*/ 14 w 22"/>
                  <a:gd name="T3" fmla="*/ 0 h 50"/>
                  <a:gd name="T4" fmla="*/ 22 w 22"/>
                  <a:gd name="T5" fmla="*/ 50 h 50"/>
                  <a:gd name="T6" fmla="*/ 0 w 22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0">
                    <a:moveTo>
                      <a:pt x="0" y="50"/>
                    </a:moveTo>
                    <a:cubicBezTo>
                      <a:pt x="0" y="50"/>
                      <a:pt x="2" y="30"/>
                      <a:pt x="14" y="0"/>
                    </a:cubicBezTo>
                    <a:cubicBezTo>
                      <a:pt x="14" y="0"/>
                      <a:pt x="22" y="46"/>
                      <a:pt x="22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13" name="Freeform 192">
                <a:extLst>
                  <a:ext uri="{FF2B5EF4-FFF2-40B4-BE49-F238E27FC236}">
                    <a16:creationId xmlns:a16="http://schemas.microsoft.com/office/drawing/2014/main" xmlns="" id="{E09B4C23-57F3-046B-AB19-2AB0799FC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8" y="2277"/>
                <a:ext cx="64" cy="126"/>
              </a:xfrm>
              <a:custGeom>
                <a:avLst/>
                <a:gdLst>
                  <a:gd name="T0" fmla="*/ 0 w 28"/>
                  <a:gd name="T1" fmla="*/ 54 h 54"/>
                  <a:gd name="T2" fmla="*/ 18 w 28"/>
                  <a:gd name="T3" fmla="*/ 0 h 54"/>
                  <a:gd name="T4" fmla="*/ 28 w 28"/>
                  <a:gd name="T5" fmla="*/ 54 h 54"/>
                  <a:gd name="T6" fmla="*/ 0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0" y="54"/>
                    </a:moveTo>
                    <a:cubicBezTo>
                      <a:pt x="0" y="54"/>
                      <a:pt x="3" y="32"/>
                      <a:pt x="18" y="0"/>
                    </a:cubicBezTo>
                    <a:cubicBezTo>
                      <a:pt x="18" y="0"/>
                      <a:pt x="28" y="49"/>
                      <a:pt x="28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14" name="Freeform 193">
                <a:extLst>
                  <a:ext uri="{FF2B5EF4-FFF2-40B4-BE49-F238E27FC236}">
                    <a16:creationId xmlns:a16="http://schemas.microsoft.com/office/drawing/2014/main" xmlns="" id="{93A9E512-5AD8-7205-5317-31705E51C3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1" y="2277"/>
                <a:ext cx="64" cy="126"/>
              </a:xfrm>
              <a:custGeom>
                <a:avLst/>
                <a:gdLst>
                  <a:gd name="T0" fmla="*/ 28 w 28"/>
                  <a:gd name="T1" fmla="*/ 54 h 54"/>
                  <a:gd name="T2" fmla="*/ 10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0" y="0"/>
                    </a:cubicBezTo>
                    <a:cubicBezTo>
                      <a:pt x="10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15" name="Freeform 194">
                <a:extLst>
                  <a:ext uri="{FF2B5EF4-FFF2-40B4-BE49-F238E27FC236}">
                    <a16:creationId xmlns:a16="http://schemas.microsoft.com/office/drawing/2014/main" xmlns="" id="{7A821553-EFFF-2A46-B951-DC3EE9B83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0" y="2277"/>
                <a:ext cx="65" cy="126"/>
              </a:xfrm>
              <a:custGeom>
                <a:avLst/>
                <a:gdLst>
                  <a:gd name="T0" fmla="*/ 28 w 28"/>
                  <a:gd name="T1" fmla="*/ 54 h 54"/>
                  <a:gd name="T2" fmla="*/ 11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16" name="Freeform 195">
                <a:extLst>
                  <a:ext uri="{FF2B5EF4-FFF2-40B4-BE49-F238E27FC236}">
                    <a16:creationId xmlns:a16="http://schemas.microsoft.com/office/drawing/2014/main" xmlns="" id="{B5DF5755-A4A5-AC28-18B1-174D1A4FDB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5" y="2303"/>
                <a:ext cx="41" cy="100"/>
              </a:xfrm>
              <a:custGeom>
                <a:avLst/>
                <a:gdLst>
                  <a:gd name="T0" fmla="*/ 0 w 18"/>
                  <a:gd name="T1" fmla="*/ 43 h 43"/>
                  <a:gd name="T2" fmla="*/ 11 w 18"/>
                  <a:gd name="T3" fmla="*/ 0 h 43"/>
                  <a:gd name="T4" fmla="*/ 18 w 18"/>
                  <a:gd name="T5" fmla="*/ 43 h 43"/>
                  <a:gd name="T6" fmla="*/ 0 w 18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43">
                    <a:moveTo>
                      <a:pt x="0" y="43"/>
                    </a:moveTo>
                    <a:cubicBezTo>
                      <a:pt x="0" y="43"/>
                      <a:pt x="2" y="26"/>
                      <a:pt x="11" y="0"/>
                    </a:cubicBezTo>
                    <a:cubicBezTo>
                      <a:pt x="11" y="0"/>
                      <a:pt x="18" y="39"/>
                      <a:pt x="18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17" name="Freeform 196">
                <a:extLst>
                  <a:ext uri="{FF2B5EF4-FFF2-40B4-BE49-F238E27FC236}">
                    <a16:creationId xmlns:a16="http://schemas.microsoft.com/office/drawing/2014/main" xmlns="" id="{549FEDA1-53F8-FB1C-9941-5DC8CD001A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5" y="2319"/>
                <a:ext cx="36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5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18" name="Freeform 197">
                <a:extLst>
                  <a:ext uri="{FF2B5EF4-FFF2-40B4-BE49-F238E27FC236}">
                    <a16:creationId xmlns:a16="http://schemas.microsoft.com/office/drawing/2014/main" xmlns="" id="{5775788B-96ED-15F3-9760-84E92D138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0" y="2303"/>
                <a:ext cx="37" cy="100"/>
              </a:xfrm>
              <a:custGeom>
                <a:avLst/>
                <a:gdLst>
                  <a:gd name="T0" fmla="*/ 0 w 16"/>
                  <a:gd name="T1" fmla="*/ 43 h 43"/>
                  <a:gd name="T2" fmla="*/ 10 w 16"/>
                  <a:gd name="T3" fmla="*/ 0 h 43"/>
                  <a:gd name="T4" fmla="*/ 16 w 16"/>
                  <a:gd name="T5" fmla="*/ 43 h 43"/>
                  <a:gd name="T6" fmla="*/ 0 w 16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43">
                    <a:moveTo>
                      <a:pt x="0" y="43"/>
                    </a:moveTo>
                    <a:cubicBezTo>
                      <a:pt x="0" y="43"/>
                      <a:pt x="1" y="23"/>
                      <a:pt x="10" y="0"/>
                    </a:cubicBezTo>
                    <a:cubicBezTo>
                      <a:pt x="10" y="0"/>
                      <a:pt x="16" y="40"/>
                      <a:pt x="16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19" name="Freeform 198">
                <a:extLst>
                  <a:ext uri="{FF2B5EF4-FFF2-40B4-BE49-F238E27FC236}">
                    <a16:creationId xmlns:a16="http://schemas.microsoft.com/office/drawing/2014/main" xmlns="" id="{F18DFABE-9549-5047-646C-3AF94CB1C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3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4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20" name="Freeform 199">
                <a:extLst>
                  <a:ext uri="{FF2B5EF4-FFF2-40B4-BE49-F238E27FC236}">
                    <a16:creationId xmlns:a16="http://schemas.microsoft.com/office/drawing/2014/main" xmlns="" id="{6DA9AA0B-FDF0-0C1B-9CAF-A0F044AD6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3" y="2305"/>
                <a:ext cx="65" cy="98"/>
              </a:xfrm>
              <a:custGeom>
                <a:avLst/>
                <a:gdLst>
                  <a:gd name="T0" fmla="*/ 28 w 28"/>
                  <a:gd name="T1" fmla="*/ 42 h 42"/>
                  <a:gd name="T2" fmla="*/ 11 w 28"/>
                  <a:gd name="T3" fmla="*/ 0 h 42"/>
                  <a:gd name="T4" fmla="*/ 0 w 28"/>
                  <a:gd name="T5" fmla="*/ 42 h 42"/>
                  <a:gd name="T6" fmla="*/ 28 w 28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42">
                    <a:moveTo>
                      <a:pt x="28" y="42"/>
                    </a:moveTo>
                    <a:cubicBezTo>
                      <a:pt x="28" y="42"/>
                      <a:pt x="25" y="24"/>
                      <a:pt x="11" y="0"/>
                    </a:cubicBezTo>
                    <a:cubicBezTo>
                      <a:pt x="11" y="0"/>
                      <a:pt x="0" y="39"/>
                      <a:pt x="0" y="42"/>
                    </a:cubicBezTo>
                    <a:lnTo>
                      <a:pt x="28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21" name="Freeform 200">
                <a:extLst>
                  <a:ext uri="{FF2B5EF4-FFF2-40B4-BE49-F238E27FC236}">
                    <a16:creationId xmlns:a16="http://schemas.microsoft.com/office/drawing/2014/main" xmlns="" id="{5E707822-5CBF-AB79-E857-7FAFCEC76E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2" y="2287"/>
                <a:ext cx="65" cy="116"/>
              </a:xfrm>
              <a:custGeom>
                <a:avLst/>
                <a:gdLst>
                  <a:gd name="T0" fmla="*/ 0 w 28"/>
                  <a:gd name="T1" fmla="*/ 50 h 50"/>
                  <a:gd name="T2" fmla="*/ 18 w 28"/>
                  <a:gd name="T3" fmla="*/ 0 h 50"/>
                  <a:gd name="T4" fmla="*/ 28 w 28"/>
                  <a:gd name="T5" fmla="*/ 50 h 50"/>
                  <a:gd name="T6" fmla="*/ 0 w 28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0">
                    <a:moveTo>
                      <a:pt x="0" y="50"/>
                    </a:moveTo>
                    <a:cubicBezTo>
                      <a:pt x="0" y="50"/>
                      <a:pt x="3" y="30"/>
                      <a:pt x="18" y="0"/>
                    </a:cubicBezTo>
                    <a:cubicBezTo>
                      <a:pt x="18" y="0"/>
                      <a:pt x="28" y="46"/>
                      <a:pt x="28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22" name="Freeform 201">
                <a:extLst>
                  <a:ext uri="{FF2B5EF4-FFF2-40B4-BE49-F238E27FC236}">
                    <a16:creationId xmlns:a16="http://schemas.microsoft.com/office/drawing/2014/main" xmlns="" id="{5FFF66A0-B1BA-D205-4C67-CAF0ECFF4C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0" y="2277"/>
                <a:ext cx="53" cy="126"/>
              </a:xfrm>
              <a:custGeom>
                <a:avLst/>
                <a:gdLst>
                  <a:gd name="T0" fmla="*/ 0 w 23"/>
                  <a:gd name="T1" fmla="*/ 54 h 54"/>
                  <a:gd name="T2" fmla="*/ 14 w 23"/>
                  <a:gd name="T3" fmla="*/ 0 h 54"/>
                  <a:gd name="T4" fmla="*/ 23 w 23"/>
                  <a:gd name="T5" fmla="*/ 54 h 54"/>
                  <a:gd name="T6" fmla="*/ 0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54"/>
                      <a:pt x="3" y="32"/>
                      <a:pt x="14" y="0"/>
                    </a:cubicBezTo>
                    <a:cubicBezTo>
                      <a:pt x="14" y="0"/>
                      <a:pt x="23" y="49"/>
                      <a:pt x="23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23" name="Freeform 202">
                <a:extLst>
                  <a:ext uri="{FF2B5EF4-FFF2-40B4-BE49-F238E27FC236}">
                    <a16:creationId xmlns:a16="http://schemas.microsoft.com/office/drawing/2014/main" xmlns="" id="{C58F473C-A850-B5C5-409A-3097B987A7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2" y="2277"/>
                <a:ext cx="50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24" name="Freeform 203">
                <a:extLst>
                  <a:ext uri="{FF2B5EF4-FFF2-40B4-BE49-F238E27FC236}">
                    <a16:creationId xmlns:a16="http://schemas.microsoft.com/office/drawing/2014/main" xmlns="" id="{425756DB-6880-10F5-E2AB-B00693A5B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9" y="2277"/>
                <a:ext cx="50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25" name="Freeform 204">
                <a:extLst>
                  <a:ext uri="{FF2B5EF4-FFF2-40B4-BE49-F238E27FC236}">
                    <a16:creationId xmlns:a16="http://schemas.microsoft.com/office/drawing/2014/main" xmlns="" id="{3EC5C464-F4ED-264C-3819-9837EF76C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1" y="2303"/>
                <a:ext cx="33" cy="100"/>
              </a:xfrm>
              <a:custGeom>
                <a:avLst/>
                <a:gdLst>
                  <a:gd name="T0" fmla="*/ 0 w 14"/>
                  <a:gd name="T1" fmla="*/ 43 h 43"/>
                  <a:gd name="T2" fmla="*/ 9 w 14"/>
                  <a:gd name="T3" fmla="*/ 0 h 43"/>
                  <a:gd name="T4" fmla="*/ 14 w 14"/>
                  <a:gd name="T5" fmla="*/ 43 h 43"/>
                  <a:gd name="T6" fmla="*/ 0 w 14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43">
                    <a:moveTo>
                      <a:pt x="0" y="43"/>
                    </a:moveTo>
                    <a:cubicBezTo>
                      <a:pt x="0" y="43"/>
                      <a:pt x="2" y="26"/>
                      <a:pt x="9" y="0"/>
                    </a:cubicBezTo>
                    <a:cubicBezTo>
                      <a:pt x="9" y="0"/>
                      <a:pt x="14" y="39"/>
                      <a:pt x="14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26" name="Freeform 206">
              <a:extLst>
                <a:ext uri="{FF2B5EF4-FFF2-40B4-BE49-F238E27FC236}">
                  <a16:creationId xmlns:a16="http://schemas.microsoft.com/office/drawing/2014/main" xmlns="" id="{93A56E8B-32E2-35C4-1A24-0368DE55D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9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7" name="Freeform 207">
              <a:extLst>
                <a:ext uri="{FF2B5EF4-FFF2-40B4-BE49-F238E27FC236}">
                  <a16:creationId xmlns:a16="http://schemas.microsoft.com/office/drawing/2014/main" xmlns="" id="{32BD1B1B-1C87-B8B4-D208-388D19AF4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0" y="2303"/>
              <a:ext cx="30" cy="100"/>
            </a:xfrm>
            <a:custGeom>
              <a:avLst/>
              <a:gdLst>
                <a:gd name="T0" fmla="*/ 0 w 13"/>
                <a:gd name="T1" fmla="*/ 43 h 43"/>
                <a:gd name="T2" fmla="*/ 8 w 13"/>
                <a:gd name="T3" fmla="*/ 0 h 43"/>
                <a:gd name="T4" fmla="*/ 13 w 13"/>
                <a:gd name="T5" fmla="*/ 43 h 43"/>
                <a:gd name="T6" fmla="*/ 0 w 13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3" y="40"/>
                    <a:pt x="13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8" name="Freeform 208">
              <a:extLst>
                <a:ext uri="{FF2B5EF4-FFF2-40B4-BE49-F238E27FC236}">
                  <a16:creationId xmlns:a16="http://schemas.microsoft.com/office/drawing/2014/main" xmlns="" id="{3B58BFD4-F02C-F7EB-AFA1-CF4B9983D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9" name="Freeform 209">
              <a:extLst>
                <a:ext uri="{FF2B5EF4-FFF2-40B4-BE49-F238E27FC236}">
                  <a16:creationId xmlns:a16="http://schemas.microsoft.com/office/drawing/2014/main" xmlns="" id="{9D3D4171-0BF7-0B0D-3C5D-E7036DA9A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6" y="2305"/>
              <a:ext cx="50" cy="98"/>
            </a:xfrm>
            <a:custGeom>
              <a:avLst/>
              <a:gdLst>
                <a:gd name="T0" fmla="*/ 22 w 22"/>
                <a:gd name="T1" fmla="*/ 42 h 42"/>
                <a:gd name="T2" fmla="*/ 8 w 22"/>
                <a:gd name="T3" fmla="*/ 0 h 42"/>
                <a:gd name="T4" fmla="*/ 0 w 22"/>
                <a:gd name="T5" fmla="*/ 42 h 42"/>
                <a:gd name="T6" fmla="*/ 22 w 2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2">
                  <a:moveTo>
                    <a:pt x="22" y="42"/>
                  </a:moveTo>
                  <a:cubicBezTo>
                    <a:pt x="22" y="42"/>
                    <a:pt x="20" y="24"/>
                    <a:pt x="8" y="0"/>
                  </a:cubicBezTo>
                  <a:cubicBezTo>
                    <a:pt x="8" y="0"/>
                    <a:pt x="0" y="39"/>
                    <a:pt x="0" y="42"/>
                  </a:cubicBezTo>
                  <a:lnTo>
                    <a:pt x="22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0" name="Freeform 210">
              <a:extLst>
                <a:ext uri="{FF2B5EF4-FFF2-40B4-BE49-F238E27FC236}">
                  <a16:creationId xmlns:a16="http://schemas.microsoft.com/office/drawing/2014/main" xmlns="" id="{4EB81AEE-BC43-79AE-EE60-7AD543524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" y="2287"/>
              <a:ext cx="53" cy="116"/>
            </a:xfrm>
            <a:custGeom>
              <a:avLst/>
              <a:gdLst>
                <a:gd name="T0" fmla="*/ 0 w 23"/>
                <a:gd name="T1" fmla="*/ 50 h 50"/>
                <a:gd name="T2" fmla="*/ 14 w 23"/>
                <a:gd name="T3" fmla="*/ 0 h 50"/>
                <a:gd name="T4" fmla="*/ 23 w 23"/>
                <a:gd name="T5" fmla="*/ 50 h 50"/>
                <a:gd name="T6" fmla="*/ 0 w 23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0">
                  <a:moveTo>
                    <a:pt x="0" y="50"/>
                  </a:moveTo>
                  <a:cubicBezTo>
                    <a:pt x="0" y="50"/>
                    <a:pt x="2" y="30"/>
                    <a:pt x="14" y="0"/>
                  </a:cubicBezTo>
                  <a:cubicBezTo>
                    <a:pt x="14" y="0"/>
                    <a:pt x="23" y="46"/>
                    <a:pt x="23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1" name="Freeform 211">
              <a:extLst>
                <a:ext uri="{FF2B5EF4-FFF2-40B4-BE49-F238E27FC236}">
                  <a16:creationId xmlns:a16="http://schemas.microsoft.com/office/drawing/2014/main" xmlns="" id="{FE7647C8-41CE-1474-6CEA-50A772AC0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3" y="2277"/>
              <a:ext cx="65" cy="126"/>
            </a:xfrm>
            <a:custGeom>
              <a:avLst/>
              <a:gdLst>
                <a:gd name="T0" fmla="*/ 0 w 28"/>
                <a:gd name="T1" fmla="*/ 54 h 54"/>
                <a:gd name="T2" fmla="*/ 18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8" y="0"/>
                  </a:cubicBezTo>
                  <a:cubicBezTo>
                    <a:pt x="18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2" name="Freeform 212">
              <a:extLst>
                <a:ext uri="{FF2B5EF4-FFF2-40B4-BE49-F238E27FC236}">
                  <a16:creationId xmlns:a16="http://schemas.microsoft.com/office/drawing/2014/main" xmlns="" id="{E22DB50C-EF89-51C9-511F-E3D312A06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6" y="2277"/>
              <a:ext cx="64" cy="126"/>
            </a:xfrm>
            <a:custGeom>
              <a:avLst/>
              <a:gdLst>
                <a:gd name="T0" fmla="*/ 28 w 28"/>
                <a:gd name="T1" fmla="*/ 54 h 54"/>
                <a:gd name="T2" fmla="*/ 10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0" y="0"/>
                  </a:cubicBezTo>
                  <a:cubicBezTo>
                    <a:pt x="10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3" name="Freeform 213">
              <a:extLst>
                <a:ext uri="{FF2B5EF4-FFF2-40B4-BE49-F238E27FC236}">
                  <a16:creationId xmlns:a16="http://schemas.microsoft.com/office/drawing/2014/main" xmlns="" id="{A2957D89-3F62-4710-ADE2-EA3A68941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" y="2277"/>
              <a:ext cx="65" cy="126"/>
            </a:xfrm>
            <a:custGeom>
              <a:avLst/>
              <a:gdLst>
                <a:gd name="T0" fmla="*/ 28 w 28"/>
                <a:gd name="T1" fmla="*/ 54 h 54"/>
                <a:gd name="T2" fmla="*/ 11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4" name="Freeform 214">
              <a:extLst>
                <a:ext uri="{FF2B5EF4-FFF2-40B4-BE49-F238E27FC236}">
                  <a16:creationId xmlns:a16="http://schemas.microsoft.com/office/drawing/2014/main" xmlns="" id="{849810FB-96C2-37CC-1744-BAB703372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" y="2303"/>
              <a:ext cx="41" cy="100"/>
            </a:xfrm>
            <a:custGeom>
              <a:avLst/>
              <a:gdLst>
                <a:gd name="T0" fmla="*/ 0 w 18"/>
                <a:gd name="T1" fmla="*/ 43 h 43"/>
                <a:gd name="T2" fmla="*/ 11 w 18"/>
                <a:gd name="T3" fmla="*/ 0 h 43"/>
                <a:gd name="T4" fmla="*/ 18 w 18"/>
                <a:gd name="T5" fmla="*/ 43 h 43"/>
                <a:gd name="T6" fmla="*/ 0 w 18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43">
                  <a:moveTo>
                    <a:pt x="0" y="43"/>
                  </a:moveTo>
                  <a:cubicBezTo>
                    <a:pt x="0" y="43"/>
                    <a:pt x="2" y="26"/>
                    <a:pt x="11" y="0"/>
                  </a:cubicBezTo>
                  <a:cubicBezTo>
                    <a:pt x="11" y="0"/>
                    <a:pt x="18" y="39"/>
                    <a:pt x="18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Freeform 215">
              <a:extLst>
                <a:ext uri="{FF2B5EF4-FFF2-40B4-BE49-F238E27FC236}">
                  <a16:creationId xmlns:a16="http://schemas.microsoft.com/office/drawing/2014/main" xmlns="" id="{EBA999A5-3645-AC26-84ED-09A53E0EC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0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5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6" name="Freeform 216">
              <a:extLst>
                <a:ext uri="{FF2B5EF4-FFF2-40B4-BE49-F238E27FC236}">
                  <a16:creationId xmlns:a16="http://schemas.microsoft.com/office/drawing/2014/main" xmlns="" id="{8681908F-D84C-D07A-E99C-F0A12B71E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2303"/>
              <a:ext cx="37" cy="100"/>
            </a:xfrm>
            <a:custGeom>
              <a:avLst/>
              <a:gdLst>
                <a:gd name="T0" fmla="*/ 0 w 16"/>
                <a:gd name="T1" fmla="*/ 43 h 43"/>
                <a:gd name="T2" fmla="*/ 10 w 16"/>
                <a:gd name="T3" fmla="*/ 0 h 43"/>
                <a:gd name="T4" fmla="*/ 16 w 16"/>
                <a:gd name="T5" fmla="*/ 43 h 43"/>
                <a:gd name="T6" fmla="*/ 0 w 16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43">
                  <a:moveTo>
                    <a:pt x="0" y="43"/>
                  </a:moveTo>
                  <a:cubicBezTo>
                    <a:pt x="0" y="43"/>
                    <a:pt x="2" y="23"/>
                    <a:pt x="10" y="0"/>
                  </a:cubicBezTo>
                  <a:cubicBezTo>
                    <a:pt x="10" y="0"/>
                    <a:pt x="16" y="40"/>
                    <a:pt x="16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7" name="Freeform 217">
              <a:extLst>
                <a:ext uri="{FF2B5EF4-FFF2-40B4-BE49-F238E27FC236}">
                  <a16:creationId xmlns:a16="http://schemas.microsoft.com/office/drawing/2014/main" xmlns="" id="{AF180B18-71B3-7E94-2620-D6E61FAAB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8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8" name="Freeform 218">
              <a:extLst>
                <a:ext uri="{FF2B5EF4-FFF2-40B4-BE49-F238E27FC236}">
                  <a16:creationId xmlns:a16="http://schemas.microsoft.com/office/drawing/2014/main" xmlns="" id="{A3E5290E-7696-5107-8EAB-3C6C8B677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8" y="2305"/>
              <a:ext cx="65" cy="98"/>
            </a:xfrm>
            <a:custGeom>
              <a:avLst/>
              <a:gdLst>
                <a:gd name="T0" fmla="*/ 28 w 28"/>
                <a:gd name="T1" fmla="*/ 42 h 42"/>
                <a:gd name="T2" fmla="*/ 11 w 28"/>
                <a:gd name="T3" fmla="*/ 0 h 42"/>
                <a:gd name="T4" fmla="*/ 0 w 28"/>
                <a:gd name="T5" fmla="*/ 42 h 42"/>
                <a:gd name="T6" fmla="*/ 28 w 2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42">
                  <a:moveTo>
                    <a:pt x="28" y="42"/>
                  </a:moveTo>
                  <a:cubicBezTo>
                    <a:pt x="28" y="42"/>
                    <a:pt x="25" y="24"/>
                    <a:pt x="11" y="0"/>
                  </a:cubicBezTo>
                  <a:cubicBezTo>
                    <a:pt x="11" y="0"/>
                    <a:pt x="0" y="39"/>
                    <a:pt x="0" y="42"/>
                  </a:cubicBezTo>
                  <a:lnTo>
                    <a:pt x="28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9" name="Freeform 219">
              <a:extLst>
                <a:ext uri="{FF2B5EF4-FFF2-40B4-BE49-F238E27FC236}">
                  <a16:creationId xmlns:a16="http://schemas.microsoft.com/office/drawing/2014/main" xmlns="" id="{A7092377-A9A3-D1AB-C723-76F4F0226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8" y="2287"/>
              <a:ext cx="66" cy="116"/>
            </a:xfrm>
            <a:custGeom>
              <a:avLst/>
              <a:gdLst>
                <a:gd name="T0" fmla="*/ 0 w 29"/>
                <a:gd name="T1" fmla="*/ 50 h 50"/>
                <a:gd name="T2" fmla="*/ 18 w 29"/>
                <a:gd name="T3" fmla="*/ 0 h 50"/>
                <a:gd name="T4" fmla="*/ 29 w 29"/>
                <a:gd name="T5" fmla="*/ 50 h 50"/>
                <a:gd name="T6" fmla="*/ 0 w 29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0">
                  <a:moveTo>
                    <a:pt x="0" y="50"/>
                  </a:moveTo>
                  <a:cubicBezTo>
                    <a:pt x="0" y="50"/>
                    <a:pt x="3" y="30"/>
                    <a:pt x="18" y="0"/>
                  </a:cubicBezTo>
                  <a:cubicBezTo>
                    <a:pt x="18" y="0"/>
                    <a:pt x="29" y="46"/>
                    <a:pt x="29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0" name="Freeform 220">
              <a:extLst>
                <a:ext uri="{FF2B5EF4-FFF2-40B4-BE49-F238E27FC236}">
                  <a16:creationId xmlns:a16="http://schemas.microsoft.com/office/drawing/2014/main" xmlns="" id="{822C625C-D7EC-27B5-28AE-5C08968EB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277"/>
              <a:ext cx="53" cy="126"/>
            </a:xfrm>
            <a:custGeom>
              <a:avLst/>
              <a:gdLst>
                <a:gd name="T0" fmla="*/ 0 w 23"/>
                <a:gd name="T1" fmla="*/ 54 h 54"/>
                <a:gd name="T2" fmla="*/ 14 w 23"/>
                <a:gd name="T3" fmla="*/ 0 h 54"/>
                <a:gd name="T4" fmla="*/ 23 w 23"/>
                <a:gd name="T5" fmla="*/ 54 h 54"/>
                <a:gd name="T6" fmla="*/ 0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0" y="54"/>
                  </a:moveTo>
                  <a:cubicBezTo>
                    <a:pt x="0" y="54"/>
                    <a:pt x="2" y="32"/>
                    <a:pt x="14" y="0"/>
                  </a:cubicBezTo>
                  <a:cubicBezTo>
                    <a:pt x="14" y="0"/>
                    <a:pt x="23" y="49"/>
                    <a:pt x="23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1" name="Freeform 221">
              <a:extLst>
                <a:ext uri="{FF2B5EF4-FFF2-40B4-BE49-F238E27FC236}">
                  <a16:creationId xmlns:a16="http://schemas.microsoft.com/office/drawing/2014/main" xmlns="" id="{131DF473-8BF8-2C2E-3CB6-1422CB73E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0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1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2" name="Freeform 222">
              <a:extLst>
                <a:ext uri="{FF2B5EF4-FFF2-40B4-BE49-F238E27FC236}">
                  <a16:creationId xmlns:a16="http://schemas.microsoft.com/office/drawing/2014/main" xmlns="" id="{4A7C7987-BA73-C56A-2E84-3D8950797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277"/>
              <a:ext cx="51" cy="126"/>
            </a:xfrm>
            <a:custGeom>
              <a:avLst/>
              <a:gdLst>
                <a:gd name="T0" fmla="*/ 22 w 22"/>
                <a:gd name="T1" fmla="*/ 54 h 54"/>
                <a:gd name="T2" fmla="*/ 8 w 22"/>
                <a:gd name="T3" fmla="*/ 0 h 54"/>
                <a:gd name="T4" fmla="*/ 0 w 22"/>
                <a:gd name="T5" fmla="*/ 54 h 54"/>
                <a:gd name="T6" fmla="*/ 22 w 22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4">
                  <a:moveTo>
                    <a:pt x="22" y="54"/>
                  </a:moveTo>
                  <a:cubicBezTo>
                    <a:pt x="22" y="54"/>
                    <a:pt x="20" y="32"/>
                    <a:pt x="8" y="0"/>
                  </a:cubicBezTo>
                  <a:cubicBezTo>
                    <a:pt x="8" y="0"/>
                    <a:pt x="0" y="49"/>
                    <a:pt x="0" y="54"/>
                  </a:cubicBezTo>
                  <a:lnTo>
                    <a:pt x="22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3" name="Freeform 223">
              <a:extLst>
                <a:ext uri="{FF2B5EF4-FFF2-40B4-BE49-F238E27FC236}">
                  <a16:creationId xmlns:a16="http://schemas.microsoft.com/office/drawing/2014/main" xmlns="" id="{8C4EB9F1-2750-D02C-1C8A-3380C1CA3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" y="2303"/>
              <a:ext cx="32" cy="100"/>
            </a:xfrm>
            <a:custGeom>
              <a:avLst/>
              <a:gdLst>
                <a:gd name="T0" fmla="*/ 0 w 14"/>
                <a:gd name="T1" fmla="*/ 43 h 43"/>
                <a:gd name="T2" fmla="*/ 9 w 14"/>
                <a:gd name="T3" fmla="*/ 0 h 43"/>
                <a:gd name="T4" fmla="*/ 14 w 14"/>
                <a:gd name="T5" fmla="*/ 43 h 43"/>
                <a:gd name="T6" fmla="*/ 0 w 14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3">
                  <a:moveTo>
                    <a:pt x="0" y="43"/>
                  </a:moveTo>
                  <a:cubicBezTo>
                    <a:pt x="0" y="43"/>
                    <a:pt x="1" y="26"/>
                    <a:pt x="9" y="0"/>
                  </a:cubicBezTo>
                  <a:cubicBezTo>
                    <a:pt x="9" y="0"/>
                    <a:pt x="14" y="39"/>
                    <a:pt x="14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4" name="Freeform 224">
              <a:extLst>
                <a:ext uri="{FF2B5EF4-FFF2-40B4-BE49-F238E27FC236}">
                  <a16:creationId xmlns:a16="http://schemas.microsoft.com/office/drawing/2014/main" xmlns="" id="{6D73016E-71C3-1FC0-0E79-89090351E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0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5" name="Freeform 225">
              <a:extLst>
                <a:ext uri="{FF2B5EF4-FFF2-40B4-BE49-F238E27FC236}">
                  <a16:creationId xmlns:a16="http://schemas.microsoft.com/office/drawing/2014/main" xmlns="" id="{BDCE6195-AA3F-6C3B-ABF1-359CC5182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" y="2303"/>
              <a:ext cx="30" cy="100"/>
            </a:xfrm>
            <a:custGeom>
              <a:avLst/>
              <a:gdLst>
                <a:gd name="T0" fmla="*/ 0 w 13"/>
                <a:gd name="T1" fmla="*/ 43 h 43"/>
                <a:gd name="T2" fmla="*/ 8 w 13"/>
                <a:gd name="T3" fmla="*/ 0 h 43"/>
                <a:gd name="T4" fmla="*/ 13 w 13"/>
                <a:gd name="T5" fmla="*/ 43 h 43"/>
                <a:gd name="T6" fmla="*/ 0 w 13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3" y="40"/>
                    <a:pt x="13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6" name="Freeform 226">
              <a:extLst>
                <a:ext uri="{FF2B5EF4-FFF2-40B4-BE49-F238E27FC236}">
                  <a16:creationId xmlns:a16="http://schemas.microsoft.com/office/drawing/2014/main" xmlns="" id="{A49FF47B-64E7-D665-07D2-8FF7112CD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0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7" name="Freeform 227">
              <a:extLst>
                <a:ext uri="{FF2B5EF4-FFF2-40B4-BE49-F238E27FC236}">
                  <a16:creationId xmlns:a16="http://schemas.microsoft.com/office/drawing/2014/main" xmlns="" id="{8918B36F-E0D9-BD72-094A-D5C27E2C0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6" y="2305"/>
              <a:ext cx="51" cy="98"/>
            </a:xfrm>
            <a:custGeom>
              <a:avLst/>
              <a:gdLst>
                <a:gd name="T0" fmla="*/ 22 w 22"/>
                <a:gd name="T1" fmla="*/ 42 h 42"/>
                <a:gd name="T2" fmla="*/ 8 w 22"/>
                <a:gd name="T3" fmla="*/ 0 h 42"/>
                <a:gd name="T4" fmla="*/ 0 w 22"/>
                <a:gd name="T5" fmla="*/ 42 h 42"/>
                <a:gd name="T6" fmla="*/ 22 w 2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2">
                  <a:moveTo>
                    <a:pt x="22" y="42"/>
                  </a:moveTo>
                  <a:cubicBezTo>
                    <a:pt x="22" y="42"/>
                    <a:pt x="20" y="24"/>
                    <a:pt x="8" y="0"/>
                  </a:cubicBezTo>
                  <a:cubicBezTo>
                    <a:pt x="8" y="0"/>
                    <a:pt x="0" y="39"/>
                    <a:pt x="0" y="42"/>
                  </a:cubicBezTo>
                  <a:lnTo>
                    <a:pt x="22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8" name="Freeform 228">
              <a:extLst>
                <a:ext uri="{FF2B5EF4-FFF2-40B4-BE49-F238E27FC236}">
                  <a16:creationId xmlns:a16="http://schemas.microsoft.com/office/drawing/2014/main" xmlns="" id="{570A093E-B00A-38DE-1331-B1C4A41D3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" y="2287"/>
              <a:ext cx="51" cy="116"/>
            </a:xfrm>
            <a:custGeom>
              <a:avLst/>
              <a:gdLst>
                <a:gd name="T0" fmla="*/ 0 w 22"/>
                <a:gd name="T1" fmla="*/ 50 h 50"/>
                <a:gd name="T2" fmla="*/ 14 w 22"/>
                <a:gd name="T3" fmla="*/ 0 h 50"/>
                <a:gd name="T4" fmla="*/ 22 w 22"/>
                <a:gd name="T5" fmla="*/ 50 h 50"/>
                <a:gd name="T6" fmla="*/ 0 w 22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0">
                  <a:moveTo>
                    <a:pt x="0" y="50"/>
                  </a:moveTo>
                  <a:cubicBezTo>
                    <a:pt x="0" y="50"/>
                    <a:pt x="2" y="30"/>
                    <a:pt x="14" y="0"/>
                  </a:cubicBezTo>
                  <a:cubicBezTo>
                    <a:pt x="14" y="0"/>
                    <a:pt x="22" y="46"/>
                    <a:pt x="22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9" name="Freeform 229">
              <a:extLst>
                <a:ext uri="{FF2B5EF4-FFF2-40B4-BE49-F238E27FC236}">
                  <a16:creationId xmlns:a16="http://schemas.microsoft.com/office/drawing/2014/main" xmlns="" id="{6E3D1A2F-AD70-5791-3ED0-537092DEA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" y="2277"/>
              <a:ext cx="65" cy="126"/>
            </a:xfrm>
            <a:custGeom>
              <a:avLst/>
              <a:gdLst>
                <a:gd name="T0" fmla="*/ 0 w 28"/>
                <a:gd name="T1" fmla="*/ 54 h 54"/>
                <a:gd name="T2" fmla="*/ 18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8" y="0"/>
                  </a:cubicBezTo>
                  <a:cubicBezTo>
                    <a:pt x="18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0" name="Freeform 230">
              <a:extLst>
                <a:ext uri="{FF2B5EF4-FFF2-40B4-BE49-F238E27FC236}">
                  <a16:creationId xmlns:a16="http://schemas.microsoft.com/office/drawing/2014/main" xmlns="" id="{1BAA30AD-10E0-0A7D-9D74-4AA451D49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" y="2277"/>
              <a:ext cx="65" cy="126"/>
            </a:xfrm>
            <a:custGeom>
              <a:avLst/>
              <a:gdLst>
                <a:gd name="T0" fmla="*/ 28 w 28"/>
                <a:gd name="T1" fmla="*/ 54 h 54"/>
                <a:gd name="T2" fmla="*/ 10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0" y="0"/>
                  </a:cubicBezTo>
                  <a:cubicBezTo>
                    <a:pt x="10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1" name="Freeform 231">
              <a:extLst>
                <a:ext uri="{FF2B5EF4-FFF2-40B4-BE49-F238E27FC236}">
                  <a16:creationId xmlns:a16="http://schemas.microsoft.com/office/drawing/2014/main" xmlns="" id="{B3C084C5-2799-9ADA-F2A7-E5801A135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6" y="2277"/>
              <a:ext cx="64" cy="126"/>
            </a:xfrm>
            <a:custGeom>
              <a:avLst/>
              <a:gdLst>
                <a:gd name="T0" fmla="*/ 28 w 28"/>
                <a:gd name="T1" fmla="*/ 54 h 54"/>
                <a:gd name="T2" fmla="*/ 10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0" y="0"/>
                  </a:cubicBezTo>
                  <a:cubicBezTo>
                    <a:pt x="10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2" name="Freeform 232">
              <a:extLst>
                <a:ext uri="{FF2B5EF4-FFF2-40B4-BE49-F238E27FC236}">
                  <a16:creationId xmlns:a16="http://schemas.microsoft.com/office/drawing/2014/main" xmlns="" id="{D3D2AEDE-B852-C7C5-7F38-E02FA5606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2303"/>
              <a:ext cx="42" cy="100"/>
            </a:xfrm>
            <a:custGeom>
              <a:avLst/>
              <a:gdLst>
                <a:gd name="T0" fmla="*/ 0 w 18"/>
                <a:gd name="T1" fmla="*/ 43 h 43"/>
                <a:gd name="T2" fmla="*/ 11 w 18"/>
                <a:gd name="T3" fmla="*/ 0 h 43"/>
                <a:gd name="T4" fmla="*/ 18 w 18"/>
                <a:gd name="T5" fmla="*/ 43 h 43"/>
                <a:gd name="T6" fmla="*/ 0 w 18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43">
                  <a:moveTo>
                    <a:pt x="0" y="43"/>
                  </a:moveTo>
                  <a:cubicBezTo>
                    <a:pt x="0" y="43"/>
                    <a:pt x="2" y="26"/>
                    <a:pt x="11" y="0"/>
                  </a:cubicBezTo>
                  <a:cubicBezTo>
                    <a:pt x="11" y="0"/>
                    <a:pt x="18" y="39"/>
                    <a:pt x="18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3" name="Freeform 233">
              <a:extLst>
                <a:ext uri="{FF2B5EF4-FFF2-40B4-BE49-F238E27FC236}">
                  <a16:creationId xmlns:a16="http://schemas.microsoft.com/office/drawing/2014/main" xmlns="" id="{DA209210-A33A-6D10-D1EA-417DD3668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5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4" name="Freeform 234">
              <a:extLst>
                <a:ext uri="{FF2B5EF4-FFF2-40B4-BE49-F238E27FC236}">
                  <a16:creationId xmlns:a16="http://schemas.microsoft.com/office/drawing/2014/main" xmlns="" id="{17037F9E-3719-4F77-F066-D0411BEF7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" y="2303"/>
              <a:ext cx="37" cy="100"/>
            </a:xfrm>
            <a:custGeom>
              <a:avLst/>
              <a:gdLst>
                <a:gd name="T0" fmla="*/ 0 w 16"/>
                <a:gd name="T1" fmla="*/ 43 h 43"/>
                <a:gd name="T2" fmla="*/ 10 w 16"/>
                <a:gd name="T3" fmla="*/ 0 h 43"/>
                <a:gd name="T4" fmla="*/ 16 w 16"/>
                <a:gd name="T5" fmla="*/ 43 h 43"/>
                <a:gd name="T6" fmla="*/ 0 w 16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43">
                  <a:moveTo>
                    <a:pt x="0" y="43"/>
                  </a:moveTo>
                  <a:cubicBezTo>
                    <a:pt x="0" y="43"/>
                    <a:pt x="1" y="23"/>
                    <a:pt x="10" y="0"/>
                  </a:cubicBezTo>
                  <a:cubicBezTo>
                    <a:pt x="10" y="0"/>
                    <a:pt x="16" y="40"/>
                    <a:pt x="16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5" name="Freeform 235">
              <a:extLst>
                <a:ext uri="{FF2B5EF4-FFF2-40B4-BE49-F238E27FC236}">
                  <a16:creationId xmlns:a16="http://schemas.microsoft.com/office/drawing/2014/main" xmlns="" id="{ECA91F16-3EB4-465C-E59A-8749AAF46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6" name="Freeform 236">
              <a:extLst>
                <a:ext uri="{FF2B5EF4-FFF2-40B4-BE49-F238E27FC236}">
                  <a16:creationId xmlns:a16="http://schemas.microsoft.com/office/drawing/2014/main" xmlns="" id="{ABBF9307-6668-F8E7-2E62-8B13FE7C5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" y="2305"/>
              <a:ext cx="65" cy="98"/>
            </a:xfrm>
            <a:custGeom>
              <a:avLst/>
              <a:gdLst>
                <a:gd name="T0" fmla="*/ 28 w 28"/>
                <a:gd name="T1" fmla="*/ 42 h 42"/>
                <a:gd name="T2" fmla="*/ 11 w 28"/>
                <a:gd name="T3" fmla="*/ 0 h 42"/>
                <a:gd name="T4" fmla="*/ 0 w 28"/>
                <a:gd name="T5" fmla="*/ 42 h 42"/>
                <a:gd name="T6" fmla="*/ 28 w 2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42">
                  <a:moveTo>
                    <a:pt x="28" y="42"/>
                  </a:moveTo>
                  <a:cubicBezTo>
                    <a:pt x="28" y="42"/>
                    <a:pt x="25" y="24"/>
                    <a:pt x="11" y="0"/>
                  </a:cubicBezTo>
                  <a:cubicBezTo>
                    <a:pt x="11" y="0"/>
                    <a:pt x="0" y="39"/>
                    <a:pt x="0" y="42"/>
                  </a:cubicBezTo>
                  <a:lnTo>
                    <a:pt x="28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7" name="Freeform 237">
              <a:extLst>
                <a:ext uri="{FF2B5EF4-FFF2-40B4-BE49-F238E27FC236}">
                  <a16:creationId xmlns:a16="http://schemas.microsoft.com/office/drawing/2014/main" xmlns="" id="{1097A168-BEC3-7AA3-3C33-FA9E43AC4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8" y="2287"/>
              <a:ext cx="64" cy="116"/>
            </a:xfrm>
            <a:custGeom>
              <a:avLst/>
              <a:gdLst>
                <a:gd name="T0" fmla="*/ 0 w 28"/>
                <a:gd name="T1" fmla="*/ 50 h 50"/>
                <a:gd name="T2" fmla="*/ 18 w 28"/>
                <a:gd name="T3" fmla="*/ 0 h 50"/>
                <a:gd name="T4" fmla="*/ 28 w 28"/>
                <a:gd name="T5" fmla="*/ 50 h 50"/>
                <a:gd name="T6" fmla="*/ 0 w 28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0">
                  <a:moveTo>
                    <a:pt x="0" y="50"/>
                  </a:moveTo>
                  <a:cubicBezTo>
                    <a:pt x="0" y="50"/>
                    <a:pt x="3" y="30"/>
                    <a:pt x="18" y="0"/>
                  </a:cubicBezTo>
                  <a:cubicBezTo>
                    <a:pt x="18" y="0"/>
                    <a:pt x="28" y="46"/>
                    <a:pt x="28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8" name="Freeform 238">
              <a:extLst>
                <a:ext uri="{FF2B5EF4-FFF2-40B4-BE49-F238E27FC236}">
                  <a16:creationId xmlns:a16="http://schemas.microsoft.com/office/drawing/2014/main" xmlns="" id="{1841C7FD-F3DF-0277-C394-341AA7F0D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4" y="2277"/>
              <a:ext cx="50" cy="126"/>
            </a:xfrm>
            <a:custGeom>
              <a:avLst/>
              <a:gdLst>
                <a:gd name="T0" fmla="*/ 0 w 22"/>
                <a:gd name="T1" fmla="*/ 54 h 54"/>
                <a:gd name="T2" fmla="*/ 14 w 22"/>
                <a:gd name="T3" fmla="*/ 0 h 54"/>
                <a:gd name="T4" fmla="*/ 22 w 22"/>
                <a:gd name="T5" fmla="*/ 54 h 54"/>
                <a:gd name="T6" fmla="*/ 0 w 22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4">
                  <a:moveTo>
                    <a:pt x="0" y="54"/>
                  </a:moveTo>
                  <a:cubicBezTo>
                    <a:pt x="0" y="54"/>
                    <a:pt x="2" y="32"/>
                    <a:pt x="14" y="0"/>
                  </a:cubicBezTo>
                  <a:cubicBezTo>
                    <a:pt x="14" y="0"/>
                    <a:pt x="22" y="49"/>
                    <a:pt x="22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9" name="Freeform 239">
              <a:extLst>
                <a:ext uri="{FF2B5EF4-FFF2-40B4-BE49-F238E27FC236}">
                  <a16:creationId xmlns:a16="http://schemas.microsoft.com/office/drawing/2014/main" xmlns="" id="{F7CB24F2-BB3C-C1C1-4686-FD78BF0D4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0" name="Freeform 240">
              <a:extLst>
                <a:ext uri="{FF2B5EF4-FFF2-40B4-BE49-F238E27FC236}">
                  <a16:creationId xmlns:a16="http://schemas.microsoft.com/office/drawing/2014/main" xmlns="" id="{4FE510CC-88F7-0232-ADF0-7C21194E6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1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1" name="Freeform 241">
              <a:extLst>
                <a:ext uri="{FF2B5EF4-FFF2-40B4-BE49-F238E27FC236}">
                  <a16:creationId xmlns:a16="http://schemas.microsoft.com/office/drawing/2014/main" xmlns="" id="{C1EAB9FA-2B5E-4320-028E-9C190A5EF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" y="2303"/>
              <a:ext cx="32" cy="100"/>
            </a:xfrm>
            <a:custGeom>
              <a:avLst/>
              <a:gdLst>
                <a:gd name="T0" fmla="*/ 0 w 14"/>
                <a:gd name="T1" fmla="*/ 43 h 43"/>
                <a:gd name="T2" fmla="*/ 9 w 14"/>
                <a:gd name="T3" fmla="*/ 0 h 43"/>
                <a:gd name="T4" fmla="*/ 14 w 14"/>
                <a:gd name="T5" fmla="*/ 43 h 43"/>
                <a:gd name="T6" fmla="*/ 0 w 14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3">
                  <a:moveTo>
                    <a:pt x="0" y="43"/>
                  </a:moveTo>
                  <a:cubicBezTo>
                    <a:pt x="0" y="43"/>
                    <a:pt x="1" y="26"/>
                    <a:pt x="9" y="0"/>
                  </a:cubicBezTo>
                  <a:cubicBezTo>
                    <a:pt x="9" y="0"/>
                    <a:pt x="14" y="39"/>
                    <a:pt x="14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2" name="Freeform 242">
              <a:extLst>
                <a:ext uri="{FF2B5EF4-FFF2-40B4-BE49-F238E27FC236}">
                  <a16:creationId xmlns:a16="http://schemas.microsoft.com/office/drawing/2014/main" xmlns="" id="{343FBD33-BD18-65D0-6D32-E000AA55F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3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3" name="Freeform 243">
              <a:extLst>
                <a:ext uri="{FF2B5EF4-FFF2-40B4-BE49-F238E27FC236}">
                  <a16:creationId xmlns:a16="http://schemas.microsoft.com/office/drawing/2014/main" xmlns="" id="{F8767E2D-3F39-2805-2B48-AD1F8DB7A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" y="2303"/>
              <a:ext cx="30" cy="100"/>
            </a:xfrm>
            <a:custGeom>
              <a:avLst/>
              <a:gdLst>
                <a:gd name="T0" fmla="*/ 0 w 13"/>
                <a:gd name="T1" fmla="*/ 43 h 43"/>
                <a:gd name="T2" fmla="*/ 8 w 13"/>
                <a:gd name="T3" fmla="*/ 0 h 43"/>
                <a:gd name="T4" fmla="*/ 13 w 13"/>
                <a:gd name="T5" fmla="*/ 43 h 43"/>
                <a:gd name="T6" fmla="*/ 0 w 13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3" y="40"/>
                    <a:pt x="13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4" name="Freeform 244">
              <a:extLst>
                <a:ext uri="{FF2B5EF4-FFF2-40B4-BE49-F238E27FC236}">
                  <a16:creationId xmlns:a16="http://schemas.microsoft.com/office/drawing/2014/main" xmlns="" id="{8B326CFE-1503-84D9-563E-32C7A9ACA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5" name="Freeform 245">
              <a:extLst>
                <a:ext uri="{FF2B5EF4-FFF2-40B4-BE49-F238E27FC236}">
                  <a16:creationId xmlns:a16="http://schemas.microsoft.com/office/drawing/2014/main" xmlns="" id="{34B9D635-B2A3-79E2-7707-C2C9938E8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2305"/>
              <a:ext cx="53" cy="98"/>
            </a:xfrm>
            <a:custGeom>
              <a:avLst/>
              <a:gdLst>
                <a:gd name="T0" fmla="*/ 23 w 23"/>
                <a:gd name="T1" fmla="*/ 42 h 42"/>
                <a:gd name="T2" fmla="*/ 9 w 23"/>
                <a:gd name="T3" fmla="*/ 0 h 42"/>
                <a:gd name="T4" fmla="*/ 0 w 23"/>
                <a:gd name="T5" fmla="*/ 42 h 42"/>
                <a:gd name="T6" fmla="*/ 23 w 23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23" y="42"/>
                  </a:moveTo>
                  <a:cubicBezTo>
                    <a:pt x="23" y="42"/>
                    <a:pt x="21" y="24"/>
                    <a:pt x="9" y="0"/>
                  </a:cubicBezTo>
                  <a:cubicBezTo>
                    <a:pt x="9" y="0"/>
                    <a:pt x="0" y="39"/>
                    <a:pt x="0" y="42"/>
                  </a:cubicBezTo>
                  <a:lnTo>
                    <a:pt x="23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6" name="Freeform 246">
              <a:extLst>
                <a:ext uri="{FF2B5EF4-FFF2-40B4-BE49-F238E27FC236}">
                  <a16:creationId xmlns:a16="http://schemas.microsoft.com/office/drawing/2014/main" xmlns="" id="{881AE3FF-1DDE-FFB1-E71A-7E347B7FB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287"/>
              <a:ext cx="50" cy="116"/>
            </a:xfrm>
            <a:custGeom>
              <a:avLst/>
              <a:gdLst>
                <a:gd name="T0" fmla="*/ 0 w 22"/>
                <a:gd name="T1" fmla="*/ 50 h 50"/>
                <a:gd name="T2" fmla="*/ 14 w 22"/>
                <a:gd name="T3" fmla="*/ 0 h 50"/>
                <a:gd name="T4" fmla="*/ 22 w 22"/>
                <a:gd name="T5" fmla="*/ 50 h 50"/>
                <a:gd name="T6" fmla="*/ 0 w 22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0">
                  <a:moveTo>
                    <a:pt x="0" y="50"/>
                  </a:moveTo>
                  <a:cubicBezTo>
                    <a:pt x="0" y="50"/>
                    <a:pt x="2" y="30"/>
                    <a:pt x="14" y="0"/>
                  </a:cubicBezTo>
                  <a:cubicBezTo>
                    <a:pt x="14" y="0"/>
                    <a:pt x="22" y="46"/>
                    <a:pt x="22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7" name="Freeform 247">
              <a:extLst>
                <a:ext uri="{FF2B5EF4-FFF2-40B4-BE49-F238E27FC236}">
                  <a16:creationId xmlns:a16="http://schemas.microsoft.com/office/drawing/2014/main" xmlns="" id="{149D7F13-4FCC-A9B3-36EA-9F8C712C9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7" y="2277"/>
              <a:ext cx="64" cy="126"/>
            </a:xfrm>
            <a:custGeom>
              <a:avLst/>
              <a:gdLst>
                <a:gd name="T0" fmla="*/ 0 w 28"/>
                <a:gd name="T1" fmla="*/ 54 h 54"/>
                <a:gd name="T2" fmla="*/ 17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7" y="0"/>
                  </a:cubicBezTo>
                  <a:cubicBezTo>
                    <a:pt x="17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8" name="Freeform 248">
              <a:extLst>
                <a:ext uri="{FF2B5EF4-FFF2-40B4-BE49-F238E27FC236}">
                  <a16:creationId xmlns:a16="http://schemas.microsoft.com/office/drawing/2014/main" xmlns="" id="{70CEA60D-7998-8593-C755-8BB0CD810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7" y="2277"/>
              <a:ext cx="67" cy="126"/>
            </a:xfrm>
            <a:custGeom>
              <a:avLst/>
              <a:gdLst>
                <a:gd name="T0" fmla="*/ 29 w 29"/>
                <a:gd name="T1" fmla="*/ 54 h 54"/>
                <a:gd name="T2" fmla="*/ 11 w 29"/>
                <a:gd name="T3" fmla="*/ 0 h 54"/>
                <a:gd name="T4" fmla="*/ 0 w 29"/>
                <a:gd name="T5" fmla="*/ 54 h 54"/>
                <a:gd name="T6" fmla="*/ 29 w 29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9" y="54"/>
                  </a:moveTo>
                  <a:cubicBezTo>
                    <a:pt x="29" y="54"/>
                    <a:pt x="26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9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9" name="Freeform 249">
              <a:extLst>
                <a:ext uri="{FF2B5EF4-FFF2-40B4-BE49-F238E27FC236}">
                  <a16:creationId xmlns:a16="http://schemas.microsoft.com/office/drawing/2014/main" xmlns="" id="{917C7F33-8A8F-23BA-9AF1-2140C0E3E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9" y="2277"/>
              <a:ext cx="65" cy="126"/>
            </a:xfrm>
            <a:custGeom>
              <a:avLst/>
              <a:gdLst>
                <a:gd name="T0" fmla="*/ 28 w 28"/>
                <a:gd name="T1" fmla="*/ 54 h 54"/>
                <a:gd name="T2" fmla="*/ 10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0" y="0"/>
                  </a:cubicBezTo>
                  <a:cubicBezTo>
                    <a:pt x="10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Freeform 250">
              <a:extLst>
                <a:ext uri="{FF2B5EF4-FFF2-40B4-BE49-F238E27FC236}">
                  <a16:creationId xmlns:a16="http://schemas.microsoft.com/office/drawing/2014/main" xmlns="" id="{8FF3DDB2-6E3A-88DC-C978-90A70D2FE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4" y="2303"/>
              <a:ext cx="39" cy="100"/>
            </a:xfrm>
            <a:custGeom>
              <a:avLst/>
              <a:gdLst>
                <a:gd name="T0" fmla="*/ 0 w 17"/>
                <a:gd name="T1" fmla="*/ 43 h 43"/>
                <a:gd name="T2" fmla="*/ 11 w 17"/>
                <a:gd name="T3" fmla="*/ 0 h 43"/>
                <a:gd name="T4" fmla="*/ 17 w 17"/>
                <a:gd name="T5" fmla="*/ 43 h 43"/>
                <a:gd name="T6" fmla="*/ 0 w 17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3">
                  <a:moveTo>
                    <a:pt x="0" y="43"/>
                  </a:moveTo>
                  <a:cubicBezTo>
                    <a:pt x="0" y="43"/>
                    <a:pt x="2" y="26"/>
                    <a:pt x="11" y="0"/>
                  </a:cubicBezTo>
                  <a:cubicBezTo>
                    <a:pt x="11" y="0"/>
                    <a:pt x="17" y="39"/>
                    <a:pt x="17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1" name="Freeform 251">
              <a:extLst>
                <a:ext uri="{FF2B5EF4-FFF2-40B4-BE49-F238E27FC236}">
                  <a16:creationId xmlns:a16="http://schemas.microsoft.com/office/drawing/2014/main" xmlns="" id="{48A6CC97-945B-D1C1-197E-F22226ADE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4" y="2319"/>
              <a:ext cx="36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2" name="Freeform 252">
              <a:extLst>
                <a:ext uri="{FF2B5EF4-FFF2-40B4-BE49-F238E27FC236}">
                  <a16:creationId xmlns:a16="http://schemas.microsoft.com/office/drawing/2014/main" xmlns="" id="{614B4CB5-32E6-A69A-EF64-65F77425A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" y="2303"/>
              <a:ext cx="40" cy="100"/>
            </a:xfrm>
            <a:custGeom>
              <a:avLst/>
              <a:gdLst>
                <a:gd name="T0" fmla="*/ 0 w 17"/>
                <a:gd name="T1" fmla="*/ 43 h 43"/>
                <a:gd name="T2" fmla="*/ 11 w 17"/>
                <a:gd name="T3" fmla="*/ 0 h 43"/>
                <a:gd name="T4" fmla="*/ 17 w 17"/>
                <a:gd name="T5" fmla="*/ 43 h 43"/>
                <a:gd name="T6" fmla="*/ 0 w 17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3">
                  <a:moveTo>
                    <a:pt x="0" y="43"/>
                  </a:moveTo>
                  <a:cubicBezTo>
                    <a:pt x="0" y="43"/>
                    <a:pt x="2" y="23"/>
                    <a:pt x="11" y="0"/>
                  </a:cubicBezTo>
                  <a:cubicBezTo>
                    <a:pt x="11" y="0"/>
                    <a:pt x="17" y="40"/>
                    <a:pt x="17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3" name="Freeform 253">
              <a:extLst>
                <a:ext uri="{FF2B5EF4-FFF2-40B4-BE49-F238E27FC236}">
                  <a16:creationId xmlns:a16="http://schemas.microsoft.com/office/drawing/2014/main" xmlns="" id="{47E8D6A7-152C-2BAD-61BB-7B9320B33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" y="2319"/>
              <a:ext cx="36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5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4" name="Freeform 254">
              <a:extLst>
                <a:ext uri="{FF2B5EF4-FFF2-40B4-BE49-F238E27FC236}">
                  <a16:creationId xmlns:a16="http://schemas.microsoft.com/office/drawing/2014/main" xmlns="" id="{B9C760E2-38D4-CD17-594B-C70E57E97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2" y="2305"/>
              <a:ext cx="65" cy="98"/>
            </a:xfrm>
            <a:custGeom>
              <a:avLst/>
              <a:gdLst>
                <a:gd name="T0" fmla="*/ 28 w 28"/>
                <a:gd name="T1" fmla="*/ 42 h 42"/>
                <a:gd name="T2" fmla="*/ 10 w 28"/>
                <a:gd name="T3" fmla="*/ 0 h 42"/>
                <a:gd name="T4" fmla="*/ 0 w 28"/>
                <a:gd name="T5" fmla="*/ 42 h 42"/>
                <a:gd name="T6" fmla="*/ 28 w 2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42">
                  <a:moveTo>
                    <a:pt x="28" y="42"/>
                  </a:moveTo>
                  <a:cubicBezTo>
                    <a:pt x="28" y="42"/>
                    <a:pt x="25" y="24"/>
                    <a:pt x="10" y="0"/>
                  </a:cubicBezTo>
                  <a:cubicBezTo>
                    <a:pt x="10" y="0"/>
                    <a:pt x="0" y="39"/>
                    <a:pt x="0" y="42"/>
                  </a:cubicBezTo>
                  <a:lnTo>
                    <a:pt x="28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5" name="Freeform 255">
              <a:extLst>
                <a:ext uri="{FF2B5EF4-FFF2-40B4-BE49-F238E27FC236}">
                  <a16:creationId xmlns:a16="http://schemas.microsoft.com/office/drawing/2014/main" xmlns="" id="{411AE825-8F2A-F14C-00D0-2B429D244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1" y="2287"/>
              <a:ext cx="65" cy="116"/>
            </a:xfrm>
            <a:custGeom>
              <a:avLst/>
              <a:gdLst>
                <a:gd name="T0" fmla="*/ 0 w 28"/>
                <a:gd name="T1" fmla="*/ 50 h 50"/>
                <a:gd name="T2" fmla="*/ 18 w 28"/>
                <a:gd name="T3" fmla="*/ 0 h 50"/>
                <a:gd name="T4" fmla="*/ 28 w 28"/>
                <a:gd name="T5" fmla="*/ 50 h 50"/>
                <a:gd name="T6" fmla="*/ 0 w 28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0">
                  <a:moveTo>
                    <a:pt x="0" y="50"/>
                  </a:moveTo>
                  <a:cubicBezTo>
                    <a:pt x="0" y="50"/>
                    <a:pt x="3" y="30"/>
                    <a:pt x="18" y="0"/>
                  </a:cubicBezTo>
                  <a:cubicBezTo>
                    <a:pt x="18" y="0"/>
                    <a:pt x="28" y="46"/>
                    <a:pt x="28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6" name="Freeform 256">
              <a:extLst>
                <a:ext uri="{FF2B5EF4-FFF2-40B4-BE49-F238E27FC236}">
                  <a16:creationId xmlns:a16="http://schemas.microsoft.com/office/drawing/2014/main" xmlns="" id="{F0C89D15-D6F9-4711-B525-4566DD558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4" y="2277"/>
              <a:ext cx="51" cy="126"/>
            </a:xfrm>
            <a:custGeom>
              <a:avLst/>
              <a:gdLst>
                <a:gd name="T0" fmla="*/ 0 w 22"/>
                <a:gd name="T1" fmla="*/ 54 h 54"/>
                <a:gd name="T2" fmla="*/ 14 w 22"/>
                <a:gd name="T3" fmla="*/ 0 h 54"/>
                <a:gd name="T4" fmla="*/ 22 w 22"/>
                <a:gd name="T5" fmla="*/ 54 h 54"/>
                <a:gd name="T6" fmla="*/ 0 w 22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4">
                  <a:moveTo>
                    <a:pt x="0" y="54"/>
                  </a:moveTo>
                  <a:cubicBezTo>
                    <a:pt x="0" y="54"/>
                    <a:pt x="2" y="32"/>
                    <a:pt x="14" y="0"/>
                  </a:cubicBezTo>
                  <a:cubicBezTo>
                    <a:pt x="14" y="0"/>
                    <a:pt x="22" y="49"/>
                    <a:pt x="22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7" name="Freeform 257">
              <a:extLst>
                <a:ext uri="{FF2B5EF4-FFF2-40B4-BE49-F238E27FC236}">
                  <a16:creationId xmlns:a16="http://schemas.microsoft.com/office/drawing/2014/main" xmlns="" id="{8BE97156-E845-7A86-DFB2-222DEC771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8" name="Freeform 258">
              <a:extLst>
                <a:ext uri="{FF2B5EF4-FFF2-40B4-BE49-F238E27FC236}">
                  <a16:creationId xmlns:a16="http://schemas.microsoft.com/office/drawing/2014/main" xmlns="" id="{5C9EFA67-0F24-135D-04DE-44B8134B5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1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9" name="Freeform 259">
              <a:extLst>
                <a:ext uri="{FF2B5EF4-FFF2-40B4-BE49-F238E27FC236}">
                  <a16:creationId xmlns:a16="http://schemas.microsoft.com/office/drawing/2014/main" xmlns="" id="{0C61D737-F03F-C292-BD3D-D7FCCC486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6" y="2303"/>
              <a:ext cx="32" cy="100"/>
            </a:xfrm>
            <a:custGeom>
              <a:avLst/>
              <a:gdLst>
                <a:gd name="T0" fmla="*/ 0 w 14"/>
                <a:gd name="T1" fmla="*/ 43 h 43"/>
                <a:gd name="T2" fmla="*/ 8 w 14"/>
                <a:gd name="T3" fmla="*/ 0 h 43"/>
                <a:gd name="T4" fmla="*/ 14 w 14"/>
                <a:gd name="T5" fmla="*/ 43 h 43"/>
                <a:gd name="T6" fmla="*/ 0 w 14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3">
                  <a:moveTo>
                    <a:pt x="0" y="43"/>
                  </a:moveTo>
                  <a:cubicBezTo>
                    <a:pt x="0" y="43"/>
                    <a:pt x="1" y="26"/>
                    <a:pt x="8" y="0"/>
                  </a:cubicBezTo>
                  <a:cubicBezTo>
                    <a:pt x="8" y="0"/>
                    <a:pt x="14" y="39"/>
                    <a:pt x="14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0" name="Freeform 260">
              <a:extLst>
                <a:ext uri="{FF2B5EF4-FFF2-40B4-BE49-F238E27FC236}">
                  <a16:creationId xmlns:a16="http://schemas.microsoft.com/office/drawing/2014/main" xmlns="" id="{5762C4A3-FED7-291C-ACD0-88273B47E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1" name="Freeform 261">
              <a:extLst>
                <a:ext uri="{FF2B5EF4-FFF2-40B4-BE49-F238E27FC236}">
                  <a16:creationId xmlns:a16="http://schemas.microsoft.com/office/drawing/2014/main" xmlns="" id="{D6472A7A-7CC7-2C1E-E683-2EF30E964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4" y="2303"/>
              <a:ext cx="30" cy="100"/>
            </a:xfrm>
            <a:custGeom>
              <a:avLst/>
              <a:gdLst>
                <a:gd name="T0" fmla="*/ 0 w 13"/>
                <a:gd name="T1" fmla="*/ 43 h 43"/>
                <a:gd name="T2" fmla="*/ 8 w 13"/>
                <a:gd name="T3" fmla="*/ 0 h 43"/>
                <a:gd name="T4" fmla="*/ 13 w 13"/>
                <a:gd name="T5" fmla="*/ 43 h 43"/>
                <a:gd name="T6" fmla="*/ 0 w 13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3" y="40"/>
                    <a:pt x="13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2" name="Freeform 262">
              <a:extLst>
                <a:ext uri="{FF2B5EF4-FFF2-40B4-BE49-F238E27FC236}">
                  <a16:creationId xmlns:a16="http://schemas.microsoft.com/office/drawing/2014/main" xmlns="" id="{5B34633A-3B22-7CC0-976E-BE4AD351E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4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4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4" y="0"/>
                  </a:cubicBezTo>
                  <a:cubicBezTo>
                    <a:pt x="4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3" name="Freeform 263">
              <a:extLst>
                <a:ext uri="{FF2B5EF4-FFF2-40B4-BE49-F238E27FC236}">
                  <a16:creationId xmlns:a16="http://schemas.microsoft.com/office/drawing/2014/main" xmlns="" id="{96FBC1F1-647D-0457-C95E-6453D0CD0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8" y="2305"/>
              <a:ext cx="53" cy="98"/>
            </a:xfrm>
            <a:custGeom>
              <a:avLst/>
              <a:gdLst>
                <a:gd name="T0" fmla="*/ 23 w 23"/>
                <a:gd name="T1" fmla="*/ 42 h 42"/>
                <a:gd name="T2" fmla="*/ 9 w 23"/>
                <a:gd name="T3" fmla="*/ 0 h 42"/>
                <a:gd name="T4" fmla="*/ 0 w 23"/>
                <a:gd name="T5" fmla="*/ 42 h 42"/>
                <a:gd name="T6" fmla="*/ 23 w 23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23" y="42"/>
                  </a:moveTo>
                  <a:cubicBezTo>
                    <a:pt x="23" y="42"/>
                    <a:pt x="21" y="24"/>
                    <a:pt x="9" y="0"/>
                  </a:cubicBezTo>
                  <a:cubicBezTo>
                    <a:pt x="9" y="0"/>
                    <a:pt x="0" y="39"/>
                    <a:pt x="0" y="42"/>
                  </a:cubicBezTo>
                  <a:lnTo>
                    <a:pt x="23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4" name="Freeform 264">
              <a:extLst>
                <a:ext uri="{FF2B5EF4-FFF2-40B4-BE49-F238E27FC236}">
                  <a16:creationId xmlns:a16="http://schemas.microsoft.com/office/drawing/2014/main" xmlns="" id="{B93346EC-8DED-0446-D47C-2C0AF05C2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5" y="2287"/>
              <a:ext cx="53" cy="116"/>
            </a:xfrm>
            <a:custGeom>
              <a:avLst/>
              <a:gdLst>
                <a:gd name="T0" fmla="*/ 0 w 23"/>
                <a:gd name="T1" fmla="*/ 50 h 50"/>
                <a:gd name="T2" fmla="*/ 15 w 23"/>
                <a:gd name="T3" fmla="*/ 0 h 50"/>
                <a:gd name="T4" fmla="*/ 23 w 23"/>
                <a:gd name="T5" fmla="*/ 50 h 50"/>
                <a:gd name="T6" fmla="*/ 0 w 23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0">
                  <a:moveTo>
                    <a:pt x="0" y="50"/>
                  </a:moveTo>
                  <a:cubicBezTo>
                    <a:pt x="0" y="50"/>
                    <a:pt x="3" y="30"/>
                    <a:pt x="15" y="0"/>
                  </a:cubicBezTo>
                  <a:cubicBezTo>
                    <a:pt x="15" y="0"/>
                    <a:pt x="23" y="46"/>
                    <a:pt x="23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5" name="Freeform 265">
              <a:extLst>
                <a:ext uri="{FF2B5EF4-FFF2-40B4-BE49-F238E27FC236}">
                  <a16:creationId xmlns:a16="http://schemas.microsoft.com/office/drawing/2014/main" xmlns="" id="{352A4552-9066-4679-6239-717BC658C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" y="2277"/>
              <a:ext cx="65" cy="126"/>
            </a:xfrm>
            <a:custGeom>
              <a:avLst/>
              <a:gdLst>
                <a:gd name="T0" fmla="*/ 0 w 28"/>
                <a:gd name="T1" fmla="*/ 54 h 54"/>
                <a:gd name="T2" fmla="*/ 17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7" y="0"/>
                  </a:cubicBezTo>
                  <a:cubicBezTo>
                    <a:pt x="17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6" name="Freeform 266">
              <a:extLst>
                <a:ext uri="{FF2B5EF4-FFF2-40B4-BE49-F238E27FC236}">
                  <a16:creationId xmlns:a16="http://schemas.microsoft.com/office/drawing/2014/main" xmlns="" id="{B1691EAF-EA4B-92C9-2AC0-6D833ED37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8" y="2277"/>
              <a:ext cx="64" cy="126"/>
            </a:xfrm>
            <a:custGeom>
              <a:avLst/>
              <a:gdLst>
                <a:gd name="T0" fmla="*/ 28 w 28"/>
                <a:gd name="T1" fmla="*/ 54 h 54"/>
                <a:gd name="T2" fmla="*/ 11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6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7" name="Freeform 267">
              <a:extLst>
                <a:ext uri="{FF2B5EF4-FFF2-40B4-BE49-F238E27FC236}">
                  <a16:creationId xmlns:a16="http://schemas.microsoft.com/office/drawing/2014/main" xmlns="" id="{446E440F-0C9E-D54F-3A97-CB6E7E689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7" y="2277"/>
              <a:ext cx="67" cy="126"/>
            </a:xfrm>
            <a:custGeom>
              <a:avLst/>
              <a:gdLst>
                <a:gd name="T0" fmla="*/ 29 w 29"/>
                <a:gd name="T1" fmla="*/ 54 h 54"/>
                <a:gd name="T2" fmla="*/ 11 w 29"/>
                <a:gd name="T3" fmla="*/ 0 h 54"/>
                <a:gd name="T4" fmla="*/ 0 w 29"/>
                <a:gd name="T5" fmla="*/ 54 h 54"/>
                <a:gd name="T6" fmla="*/ 29 w 29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9" y="54"/>
                  </a:moveTo>
                  <a:cubicBezTo>
                    <a:pt x="29" y="54"/>
                    <a:pt x="26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9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8" name="Freeform 268">
              <a:extLst>
                <a:ext uri="{FF2B5EF4-FFF2-40B4-BE49-F238E27FC236}">
                  <a16:creationId xmlns:a16="http://schemas.microsoft.com/office/drawing/2014/main" xmlns="" id="{04C8FE09-23AE-8C47-6E80-94D0B8B69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4" y="2303"/>
              <a:ext cx="39" cy="100"/>
            </a:xfrm>
            <a:custGeom>
              <a:avLst/>
              <a:gdLst>
                <a:gd name="T0" fmla="*/ 0 w 17"/>
                <a:gd name="T1" fmla="*/ 43 h 43"/>
                <a:gd name="T2" fmla="*/ 11 w 17"/>
                <a:gd name="T3" fmla="*/ 0 h 43"/>
                <a:gd name="T4" fmla="*/ 17 w 17"/>
                <a:gd name="T5" fmla="*/ 43 h 43"/>
                <a:gd name="T6" fmla="*/ 0 w 17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3">
                  <a:moveTo>
                    <a:pt x="0" y="43"/>
                  </a:moveTo>
                  <a:cubicBezTo>
                    <a:pt x="0" y="43"/>
                    <a:pt x="1" y="26"/>
                    <a:pt x="11" y="0"/>
                  </a:cubicBezTo>
                  <a:cubicBezTo>
                    <a:pt x="11" y="0"/>
                    <a:pt x="17" y="39"/>
                    <a:pt x="17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9" name="Freeform 269">
              <a:extLst>
                <a:ext uri="{FF2B5EF4-FFF2-40B4-BE49-F238E27FC236}">
                  <a16:creationId xmlns:a16="http://schemas.microsoft.com/office/drawing/2014/main" xmlns="" id="{6C1A2369-7931-589A-F3B3-9B8C1A595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0" name="Freeform 270">
              <a:extLst>
                <a:ext uri="{FF2B5EF4-FFF2-40B4-BE49-F238E27FC236}">
                  <a16:creationId xmlns:a16="http://schemas.microsoft.com/office/drawing/2014/main" xmlns="" id="{AA1E8FFE-FAFA-AD69-511F-074053F48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7" y="2303"/>
              <a:ext cx="37" cy="100"/>
            </a:xfrm>
            <a:custGeom>
              <a:avLst/>
              <a:gdLst>
                <a:gd name="T0" fmla="*/ 0 w 16"/>
                <a:gd name="T1" fmla="*/ 43 h 43"/>
                <a:gd name="T2" fmla="*/ 10 w 16"/>
                <a:gd name="T3" fmla="*/ 0 h 43"/>
                <a:gd name="T4" fmla="*/ 16 w 16"/>
                <a:gd name="T5" fmla="*/ 43 h 43"/>
                <a:gd name="T6" fmla="*/ 0 w 16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43">
                  <a:moveTo>
                    <a:pt x="0" y="43"/>
                  </a:moveTo>
                  <a:cubicBezTo>
                    <a:pt x="0" y="43"/>
                    <a:pt x="2" y="23"/>
                    <a:pt x="10" y="0"/>
                  </a:cubicBezTo>
                  <a:cubicBezTo>
                    <a:pt x="10" y="0"/>
                    <a:pt x="16" y="40"/>
                    <a:pt x="16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1" name="Freeform 271">
              <a:extLst>
                <a:ext uri="{FF2B5EF4-FFF2-40B4-BE49-F238E27FC236}">
                  <a16:creationId xmlns:a16="http://schemas.microsoft.com/office/drawing/2014/main" xmlns="" id="{06A7CEFB-1C7B-E8B6-0D21-BB7E205B0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5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2" name="Freeform 272">
              <a:extLst>
                <a:ext uri="{FF2B5EF4-FFF2-40B4-BE49-F238E27FC236}">
                  <a16:creationId xmlns:a16="http://schemas.microsoft.com/office/drawing/2014/main" xmlns="" id="{DD5DE4CD-2338-BA68-0DFC-E674EE35D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2" y="2305"/>
              <a:ext cx="65" cy="98"/>
            </a:xfrm>
            <a:custGeom>
              <a:avLst/>
              <a:gdLst>
                <a:gd name="T0" fmla="*/ 28 w 28"/>
                <a:gd name="T1" fmla="*/ 42 h 42"/>
                <a:gd name="T2" fmla="*/ 10 w 28"/>
                <a:gd name="T3" fmla="*/ 0 h 42"/>
                <a:gd name="T4" fmla="*/ 0 w 28"/>
                <a:gd name="T5" fmla="*/ 42 h 42"/>
                <a:gd name="T6" fmla="*/ 28 w 2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42">
                  <a:moveTo>
                    <a:pt x="28" y="42"/>
                  </a:moveTo>
                  <a:cubicBezTo>
                    <a:pt x="28" y="42"/>
                    <a:pt x="25" y="24"/>
                    <a:pt x="10" y="0"/>
                  </a:cubicBezTo>
                  <a:cubicBezTo>
                    <a:pt x="10" y="0"/>
                    <a:pt x="0" y="39"/>
                    <a:pt x="0" y="42"/>
                  </a:cubicBezTo>
                  <a:lnTo>
                    <a:pt x="28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3" name="Freeform 273">
              <a:extLst>
                <a:ext uri="{FF2B5EF4-FFF2-40B4-BE49-F238E27FC236}">
                  <a16:creationId xmlns:a16="http://schemas.microsoft.com/office/drawing/2014/main" xmlns="" id="{E2D8F059-A07E-5C1E-649B-AC2F4FD64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2" y="2287"/>
              <a:ext cx="64" cy="116"/>
            </a:xfrm>
            <a:custGeom>
              <a:avLst/>
              <a:gdLst>
                <a:gd name="T0" fmla="*/ 0 w 28"/>
                <a:gd name="T1" fmla="*/ 50 h 50"/>
                <a:gd name="T2" fmla="*/ 17 w 28"/>
                <a:gd name="T3" fmla="*/ 0 h 50"/>
                <a:gd name="T4" fmla="*/ 28 w 28"/>
                <a:gd name="T5" fmla="*/ 50 h 50"/>
                <a:gd name="T6" fmla="*/ 0 w 28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0">
                  <a:moveTo>
                    <a:pt x="0" y="50"/>
                  </a:moveTo>
                  <a:cubicBezTo>
                    <a:pt x="0" y="50"/>
                    <a:pt x="3" y="30"/>
                    <a:pt x="17" y="0"/>
                  </a:cubicBezTo>
                  <a:cubicBezTo>
                    <a:pt x="17" y="0"/>
                    <a:pt x="28" y="46"/>
                    <a:pt x="28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4" name="Freeform 274">
              <a:extLst>
                <a:ext uri="{FF2B5EF4-FFF2-40B4-BE49-F238E27FC236}">
                  <a16:creationId xmlns:a16="http://schemas.microsoft.com/office/drawing/2014/main" xmlns="" id="{8C7968F3-A940-3D93-4A50-7E521051F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9" y="2277"/>
              <a:ext cx="51" cy="126"/>
            </a:xfrm>
            <a:custGeom>
              <a:avLst/>
              <a:gdLst>
                <a:gd name="T0" fmla="*/ 0 w 22"/>
                <a:gd name="T1" fmla="*/ 54 h 54"/>
                <a:gd name="T2" fmla="*/ 14 w 22"/>
                <a:gd name="T3" fmla="*/ 0 h 54"/>
                <a:gd name="T4" fmla="*/ 22 w 22"/>
                <a:gd name="T5" fmla="*/ 54 h 54"/>
                <a:gd name="T6" fmla="*/ 0 w 22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4">
                  <a:moveTo>
                    <a:pt x="0" y="54"/>
                  </a:moveTo>
                  <a:cubicBezTo>
                    <a:pt x="0" y="54"/>
                    <a:pt x="2" y="32"/>
                    <a:pt x="14" y="0"/>
                  </a:cubicBezTo>
                  <a:cubicBezTo>
                    <a:pt x="14" y="0"/>
                    <a:pt x="22" y="49"/>
                    <a:pt x="22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5" name="Freeform 275">
              <a:extLst>
                <a:ext uri="{FF2B5EF4-FFF2-40B4-BE49-F238E27FC236}">
                  <a16:creationId xmlns:a16="http://schemas.microsoft.com/office/drawing/2014/main" xmlns="" id="{D1752679-D377-EAC8-FA6D-F72F46DF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9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6" name="Freeform 276">
              <a:extLst>
                <a:ext uri="{FF2B5EF4-FFF2-40B4-BE49-F238E27FC236}">
                  <a16:creationId xmlns:a16="http://schemas.microsoft.com/office/drawing/2014/main" xmlns="" id="{06F01086-D4D7-C94D-23CB-BE6DF1E8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1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7" name="Freeform 277">
              <a:extLst>
                <a:ext uri="{FF2B5EF4-FFF2-40B4-BE49-F238E27FC236}">
                  <a16:creationId xmlns:a16="http://schemas.microsoft.com/office/drawing/2014/main" xmlns="" id="{78665051-1820-20E9-00AE-01F6E4F28C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1" y="2303"/>
              <a:ext cx="32" cy="100"/>
            </a:xfrm>
            <a:custGeom>
              <a:avLst/>
              <a:gdLst>
                <a:gd name="T0" fmla="*/ 0 w 14"/>
                <a:gd name="T1" fmla="*/ 43 h 43"/>
                <a:gd name="T2" fmla="*/ 9 w 14"/>
                <a:gd name="T3" fmla="*/ 0 h 43"/>
                <a:gd name="T4" fmla="*/ 14 w 14"/>
                <a:gd name="T5" fmla="*/ 43 h 43"/>
                <a:gd name="T6" fmla="*/ 0 w 14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3">
                  <a:moveTo>
                    <a:pt x="0" y="43"/>
                  </a:moveTo>
                  <a:cubicBezTo>
                    <a:pt x="0" y="43"/>
                    <a:pt x="1" y="26"/>
                    <a:pt x="9" y="0"/>
                  </a:cubicBezTo>
                  <a:cubicBezTo>
                    <a:pt x="9" y="0"/>
                    <a:pt x="14" y="39"/>
                    <a:pt x="14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8" name="Freeform 278">
              <a:extLst>
                <a:ext uri="{FF2B5EF4-FFF2-40B4-BE49-F238E27FC236}">
                  <a16:creationId xmlns:a16="http://schemas.microsoft.com/office/drawing/2014/main" xmlns="" id="{AC0B9CF5-A491-D6AC-DAA4-D40411C63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9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9" name="Freeform 279">
              <a:extLst>
                <a:ext uri="{FF2B5EF4-FFF2-40B4-BE49-F238E27FC236}">
                  <a16:creationId xmlns:a16="http://schemas.microsoft.com/office/drawing/2014/main" xmlns="" id="{14F1A137-6C1D-3D80-7846-E087088B1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9" y="2303"/>
              <a:ext cx="30" cy="100"/>
            </a:xfrm>
            <a:custGeom>
              <a:avLst/>
              <a:gdLst>
                <a:gd name="T0" fmla="*/ 0 w 13"/>
                <a:gd name="T1" fmla="*/ 43 h 43"/>
                <a:gd name="T2" fmla="*/ 8 w 13"/>
                <a:gd name="T3" fmla="*/ 0 h 43"/>
                <a:gd name="T4" fmla="*/ 13 w 13"/>
                <a:gd name="T5" fmla="*/ 43 h 43"/>
                <a:gd name="T6" fmla="*/ 0 w 13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3" y="40"/>
                    <a:pt x="13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0" name="Freeform 280">
              <a:extLst>
                <a:ext uri="{FF2B5EF4-FFF2-40B4-BE49-F238E27FC236}">
                  <a16:creationId xmlns:a16="http://schemas.microsoft.com/office/drawing/2014/main" xmlns="" id="{DC84E3F3-6268-7A61-908F-41C6B8B9B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9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1" name="Freeform 281">
              <a:extLst>
                <a:ext uri="{FF2B5EF4-FFF2-40B4-BE49-F238E27FC236}">
                  <a16:creationId xmlns:a16="http://schemas.microsoft.com/office/drawing/2014/main" xmlns="" id="{5A223359-EE10-387D-6F3A-D4DB9316A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3" y="2305"/>
              <a:ext cx="53" cy="98"/>
            </a:xfrm>
            <a:custGeom>
              <a:avLst/>
              <a:gdLst>
                <a:gd name="T0" fmla="*/ 23 w 23"/>
                <a:gd name="T1" fmla="*/ 42 h 42"/>
                <a:gd name="T2" fmla="*/ 9 w 23"/>
                <a:gd name="T3" fmla="*/ 0 h 42"/>
                <a:gd name="T4" fmla="*/ 0 w 23"/>
                <a:gd name="T5" fmla="*/ 42 h 42"/>
                <a:gd name="T6" fmla="*/ 23 w 23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23" y="42"/>
                  </a:moveTo>
                  <a:cubicBezTo>
                    <a:pt x="23" y="42"/>
                    <a:pt x="21" y="24"/>
                    <a:pt x="9" y="0"/>
                  </a:cubicBezTo>
                  <a:cubicBezTo>
                    <a:pt x="9" y="0"/>
                    <a:pt x="0" y="39"/>
                    <a:pt x="0" y="42"/>
                  </a:cubicBezTo>
                  <a:lnTo>
                    <a:pt x="23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2" name="Freeform 282">
              <a:extLst>
                <a:ext uri="{FF2B5EF4-FFF2-40B4-BE49-F238E27FC236}">
                  <a16:creationId xmlns:a16="http://schemas.microsoft.com/office/drawing/2014/main" xmlns="" id="{D330C801-6509-EF66-C16F-F4DD6589F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0" y="2287"/>
              <a:ext cx="53" cy="116"/>
            </a:xfrm>
            <a:custGeom>
              <a:avLst/>
              <a:gdLst>
                <a:gd name="T0" fmla="*/ 0 w 23"/>
                <a:gd name="T1" fmla="*/ 50 h 50"/>
                <a:gd name="T2" fmla="*/ 15 w 23"/>
                <a:gd name="T3" fmla="*/ 0 h 50"/>
                <a:gd name="T4" fmla="*/ 23 w 23"/>
                <a:gd name="T5" fmla="*/ 50 h 50"/>
                <a:gd name="T6" fmla="*/ 0 w 23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0">
                  <a:moveTo>
                    <a:pt x="0" y="50"/>
                  </a:moveTo>
                  <a:cubicBezTo>
                    <a:pt x="0" y="50"/>
                    <a:pt x="3" y="30"/>
                    <a:pt x="15" y="0"/>
                  </a:cubicBezTo>
                  <a:cubicBezTo>
                    <a:pt x="15" y="0"/>
                    <a:pt x="23" y="46"/>
                    <a:pt x="23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3" name="Freeform 283">
              <a:extLst>
                <a:ext uri="{FF2B5EF4-FFF2-40B4-BE49-F238E27FC236}">
                  <a16:creationId xmlns:a16="http://schemas.microsoft.com/office/drawing/2014/main" xmlns="" id="{307FCF63-DF29-94F7-5F6C-29B2A3BAA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2" y="2277"/>
              <a:ext cx="65" cy="126"/>
            </a:xfrm>
            <a:custGeom>
              <a:avLst/>
              <a:gdLst>
                <a:gd name="T0" fmla="*/ 0 w 28"/>
                <a:gd name="T1" fmla="*/ 54 h 54"/>
                <a:gd name="T2" fmla="*/ 17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7" y="0"/>
                  </a:cubicBezTo>
                  <a:cubicBezTo>
                    <a:pt x="17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4" name="Freeform 284">
              <a:extLst>
                <a:ext uri="{FF2B5EF4-FFF2-40B4-BE49-F238E27FC236}">
                  <a16:creationId xmlns:a16="http://schemas.microsoft.com/office/drawing/2014/main" xmlns="" id="{C350576E-2CD9-EDB0-B7F4-23DBBFB683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3" y="2277"/>
              <a:ext cx="67" cy="126"/>
            </a:xfrm>
            <a:custGeom>
              <a:avLst/>
              <a:gdLst>
                <a:gd name="T0" fmla="*/ 29 w 29"/>
                <a:gd name="T1" fmla="*/ 54 h 54"/>
                <a:gd name="T2" fmla="*/ 11 w 29"/>
                <a:gd name="T3" fmla="*/ 0 h 54"/>
                <a:gd name="T4" fmla="*/ 0 w 29"/>
                <a:gd name="T5" fmla="*/ 54 h 54"/>
                <a:gd name="T6" fmla="*/ 29 w 29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9" y="54"/>
                  </a:moveTo>
                  <a:cubicBezTo>
                    <a:pt x="29" y="54"/>
                    <a:pt x="26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9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5" name="Freeform 285">
              <a:extLst>
                <a:ext uri="{FF2B5EF4-FFF2-40B4-BE49-F238E27FC236}">
                  <a16:creationId xmlns:a16="http://schemas.microsoft.com/office/drawing/2014/main" xmlns="" id="{35E29566-A806-FC93-9D9E-72DBEF210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" y="2277"/>
              <a:ext cx="65" cy="126"/>
            </a:xfrm>
            <a:custGeom>
              <a:avLst/>
              <a:gdLst>
                <a:gd name="T0" fmla="*/ 28 w 28"/>
                <a:gd name="T1" fmla="*/ 54 h 54"/>
                <a:gd name="T2" fmla="*/ 10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0" y="0"/>
                  </a:cubicBezTo>
                  <a:cubicBezTo>
                    <a:pt x="10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6" name="Freeform 286">
              <a:extLst>
                <a:ext uri="{FF2B5EF4-FFF2-40B4-BE49-F238E27FC236}">
                  <a16:creationId xmlns:a16="http://schemas.microsoft.com/office/drawing/2014/main" xmlns="" id="{2DB84138-C990-174F-ADD0-1C0425E01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9" y="2303"/>
              <a:ext cx="39" cy="100"/>
            </a:xfrm>
            <a:custGeom>
              <a:avLst/>
              <a:gdLst>
                <a:gd name="T0" fmla="*/ 0 w 17"/>
                <a:gd name="T1" fmla="*/ 43 h 43"/>
                <a:gd name="T2" fmla="*/ 11 w 17"/>
                <a:gd name="T3" fmla="*/ 0 h 43"/>
                <a:gd name="T4" fmla="*/ 17 w 17"/>
                <a:gd name="T5" fmla="*/ 43 h 43"/>
                <a:gd name="T6" fmla="*/ 0 w 17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3">
                  <a:moveTo>
                    <a:pt x="0" y="43"/>
                  </a:moveTo>
                  <a:cubicBezTo>
                    <a:pt x="0" y="43"/>
                    <a:pt x="1" y="26"/>
                    <a:pt x="11" y="0"/>
                  </a:cubicBezTo>
                  <a:cubicBezTo>
                    <a:pt x="11" y="0"/>
                    <a:pt x="17" y="39"/>
                    <a:pt x="17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7" name="Freeform 287">
              <a:extLst>
                <a:ext uri="{FF2B5EF4-FFF2-40B4-BE49-F238E27FC236}">
                  <a16:creationId xmlns:a16="http://schemas.microsoft.com/office/drawing/2014/main" xmlns="" id="{DB064984-D058-3617-B29C-428803FE0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9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8" name="Freeform 288">
              <a:extLst>
                <a:ext uri="{FF2B5EF4-FFF2-40B4-BE49-F238E27FC236}">
                  <a16:creationId xmlns:a16="http://schemas.microsoft.com/office/drawing/2014/main" xmlns="" id="{4220F66B-982C-C752-04CF-CAE884F43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2" y="2303"/>
              <a:ext cx="39" cy="100"/>
            </a:xfrm>
            <a:custGeom>
              <a:avLst/>
              <a:gdLst>
                <a:gd name="T0" fmla="*/ 0 w 17"/>
                <a:gd name="T1" fmla="*/ 43 h 43"/>
                <a:gd name="T2" fmla="*/ 10 w 17"/>
                <a:gd name="T3" fmla="*/ 0 h 43"/>
                <a:gd name="T4" fmla="*/ 17 w 17"/>
                <a:gd name="T5" fmla="*/ 43 h 43"/>
                <a:gd name="T6" fmla="*/ 0 w 17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3">
                  <a:moveTo>
                    <a:pt x="0" y="43"/>
                  </a:moveTo>
                  <a:cubicBezTo>
                    <a:pt x="0" y="43"/>
                    <a:pt x="2" y="23"/>
                    <a:pt x="10" y="0"/>
                  </a:cubicBezTo>
                  <a:cubicBezTo>
                    <a:pt x="10" y="0"/>
                    <a:pt x="17" y="40"/>
                    <a:pt x="17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09" name="Freeform 289">
              <a:extLst>
                <a:ext uri="{FF2B5EF4-FFF2-40B4-BE49-F238E27FC236}">
                  <a16:creationId xmlns:a16="http://schemas.microsoft.com/office/drawing/2014/main" xmlns="" id="{25823F27-AC9D-4F12-826E-EDEED7BE4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5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0" name="Freeform 290">
              <a:extLst>
                <a:ext uri="{FF2B5EF4-FFF2-40B4-BE49-F238E27FC236}">
                  <a16:creationId xmlns:a16="http://schemas.microsoft.com/office/drawing/2014/main" xmlns="" id="{EDE28A21-CBBE-E775-C6C9-A5FFE49B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7" y="2305"/>
              <a:ext cx="65" cy="98"/>
            </a:xfrm>
            <a:custGeom>
              <a:avLst/>
              <a:gdLst>
                <a:gd name="T0" fmla="*/ 28 w 28"/>
                <a:gd name="T1" fmla="*/ 42 h 42"/>
                <a:gd name="T2" fmla="*/ 10 w 28"/>
                <a:gd name="T3" fmla="*/ 0 h 42"/>
                <a:gd name="T4" fmla="*/ 0 w 28"/>
                <a:gd name="T5" fmla="*/ 42 h 42"/>
                <a:gd name="T6" fmla="*/ 28 w 2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42">
                  <a:moveTo>
                    <a:pt x="28" y="42"/>
                  </a:moveTo>
                  <a:cubicBezTo>
                    <a:pt x="28" y="42"/>
                    <a:pt x="25" y="24"/>
                    <a:pt x="10" y="0"/>
                  </a:cubicBezTo>
                  <a:cubicBezTo>
                    <a:pt x="10" y="0"/>
                    <a:pt x="0" y="39"/>
                    <a:pt x="0" y="42"/>
                  </a:cubicBezTo>
                  <a:lnTo>
                    <a:pt x="28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1" name="Freeform 291">
              <a:extLst>
                <a:ext uri="{FF2B5EF4-FFF2-40B4-BE49-F238E27FC236}">
                  <a16:creationId xmlns:a16="http://schemas.microsoft.com/office/drawing/2014/main" xmlns="" id="{1F8C7204-EA66-71EE-184D-C06F7BA9B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" y="2287"/>
              <a:ext cx="64" cy="116"/>
            </a:xfrm>
            <a:custGeom>
              <a:avLst/>
              <a:gdLst>
                <a:gd name="T0" fmla="*/ 0 w 28"/>
                <a:gd name="T1" fmla="*/ 50 h 50"/>
                <a:gd name="T2" fmla="*/ 18 w 28"/>
                <a:gd name="T3" fmla="*/ 0 h 50"/>
                <a:gd name="T4" fmla="*/ 28 w 28"/>
                <a:gd name="T5" fmla="*/ 50 h 50"/>
                <a:gd name="T6" fmla="*/ 0 w 28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0">
                  <a:moveTo>
                    <a:pt x="0" y="50"/>
                  </a:moveTo>
                  <a:cubicBezTo>
                    <a:pt x="0" y="50"/>
                    <a:pt x="3" y="30"/>
                    <a:pt x="18" y="0"/>
                  </a:cubicBezTo>
                  <a:cubicBezTo>
                    <a:pt x="18" y="0"/>
                    <a:pt x="28" y="46"/>
                    <a:pt x="28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2" name="Freeform 292">
              <a:extLst>
                <a:ext uri="{FF2B5EF4-FFF2-40B4-BE49-F238E27FC236}">
                  <a16:creationId xmlns:a16="http://schemas.microsoft.com/office/drawing/2014/main" xmlns="" id="{FDFFEA1E-0815-4569-5F3B-8C6FE12FF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9" y="2277"/>
              <a:ext cx="51" cy="126"/>
            </a:xfrm>
            <a:custGeom>
              <a:avLst/>
              <a:gdLst>
                <a:gd name="T0" fmla="*/ 0 w 22"/>
                <a:gd name="T1" fmla="*/ 54 h 54"/>
                <a:gd name="T2" fmla="*/ 14 w 22"/>
                <a:gd name="T3" fmla="*/ 0 h 54"/>
                <a:gd name="T4" fmla="*/ 22 w 22"/>
                <a:gd name="T5" fmla="*/ 54 h 54"/>
                <a:gd name="T6" fmla="*/ 0 w 22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4">
                  <a:moveTo>
                    <a:pt x="0" y="54"/>
                  </a:moveTo>
                  <a:cubicBezTo>
                    <a:pt x="0" y="54"/>
                    <a:pt x="2" y="32"/>
                    <a:pt x="14" y="0"/>
                  </a:cubicBezTo>
                  <a:cubicBezTo>
                    <a:pt x="14" y="0"/>
                    <a:pt x="22" y="49"/>
                    <a:pt x="22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3" name="Freeform 293">
              <a:extLst>
                <a:ext uri="{FF2B5EF4-FFF2-40B4-BE49-F238E27FC236}">
                  <a16:creationId xmlns:a16="http://schemas.microsoft.com/office/drawing/2014/main" xmlns="" id="{EF891B33-B804-C32F-1E7B-1FA7D1374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9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8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8" y="0"/>
                  </a:cubicBezTo>
                  <a:cubicBezTo>
                    <a:pt x="8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4" name="Freeform 294">
              <a:extLst>
                <a:ext uri="{FF2B5EF4-FFF2-40B4-BE49-F238E27FC236}">
                  <a16:creationId xmlns:a16="http://schemas.microsoft.com/office/drawing/2014/main" xmlns="" id="{D492EC9A-17FE-81E7-6FEE-F4623FCCC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6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5" name="Freeform 295">
              <a:extLst>
                <a:ext uri="{FF2B5EF4-FFF2-40B4-BE49-F238E27FC236}">
                  <a16:creationId xmlns:a16="http://schemas.microsoft.com/office/drawing/2014/main" xmlns="" id="{263D5D09-F3D4-0E07-4929-8F61C76D7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1" y="2303"/>
              <a:ext cx="32" cy="100"/>
            </a:xfrm>
            <a:custGeom>
              <a:avLst/>
              <a:gdLst>
                <a:gd name="T0" fmla="*/ 0 w 14"/>
                <a:gd name="T1" fmla="*/ 43 h 43"/>
                <a:gd name="T2" fmla="*/ 8 w 14"/>
                <a:gd name="T3" fmla="*/ 0 h 43"/>
                <a:gd name="T4" fmla="*/ 14 w 14"/>
                <a:gd name="T5" fmla="*/ 43 h 43"/>
                <a:gd name="T6" fmla="*/ 0 w 14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3">
                  <a:moveTo>
                    <a:pt x="0" y="43"/>
                  </a:moveTo>
                  <a:cubicBezTo>
                    <a:pt x="0" y="43"/>
                    <a:pt x="1" y="26"/>
                    <a:pt x="8" y="0"/>
                  </a:cubicBezTo>
                  <a:cubicBezTo>
                    <a:pt x="8" y="0"/>
                    <a:pt x="14" y="39"/>
                    <a:pt x="14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6" name="Freeform 296">
              <a:extLst>
                <a:ext uri="{FF2B5EF4-FFF2-40B4-BE49-F238E27FC236}">
                  <a16:creationId xmlns:a16="http://schemas.microsoft.com/office/drawing/2014/main" xmlns="" id="{1E624220-0F6A-A1F6-F15E-FCC392FD4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9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7" name="Freeform 297">
              <a:extLst>
                <a:ext uri="{FF2B5EF4-FFF2-40B4-BE49-F238E27FC236}">
                  <a16:creationId xmlns:a16="http://schemas.microsoft.com/office/drawing/2014/main" xmlns="" id="{495920FD-804C-1322-B9D7-003C910AC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0" y="2303"/>
              <a:ext cx="27" cy="100"/>
            </a:xfrm>
            <a:custGeom>
              <a:avLst/>
              <a:gdLst>
                <a:gd name="T0" fmla="*/ 0 w 12"/>
                <a:gd name="T1" fmla="*/ 43 h 43"/>
                <a:gd name="T2" fmla="*/ 8 w 12"/>
                <a:gd name="T3" fmla="*/ 0 h 43"/>
                <a:gd name="T4" fmla="*/ 12 w 12"/>
                <a:gd name="T5" fmla="*/ 43 h 43"/>
                <a:gd name="T6" fmla="*/ 0 w 12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2" y="40"/>
                    <a:pt x="12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8" name="Freeform 298">
              <a:extLst>
                <a:ext uri="{FF2B5EF4-FFF2-40B4-BE49-F238E27FC236}">
                  <a16:creationId xmlns:a16="http://schemas.microsoft.com/office/drawing/2014/main" xmlns="" id="{2E081467-DAF8-479B-A092-C4A553105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4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4" y="0"/>
                  </a:cubicBezTo>
                  <a:cubicBezTo>
                    <a:pt x="4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9" name="Freeform 299">
              <a:extLst>
                <a:ext uri="{FF2B5EF4-FFF2-40B4-BE49-F238E27FC236}">
                  <a16:creationId xmlns:a16="http://schemas.microsoft.com/office/drawing/2014/main" xmlns="" id="{FFDCCE63-9B67-271A-40C4-7E5E958B7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3" y="2305"/>
              <a:ext cx="53" cy="98"/>
            </a:xfrm>
            <a:custGeom>
              <a:avLst/>
              <a:gdLst>
                <a:gd name="T0" fmla="*/ 23 w 23"/>
                <a:gd name="T1" fmla="*/ 42 h 42"/>
                <a:gd name="T2" fmla="*/ 9 w 23"/>
                <a:gd name="T3" fmla="*/ 0 h 42"/>
                <a:gd name="T4" fmla="*/ 0 w 23"/>
                <a:gd name="T5" fmla="*/ 42 h 42"/>
                <a:gd name="T6" fmla="*/ 23 w 23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23" y="42"/>
                  </a:moveTo>
                  <a:cubicBezTo>
                    <a:pt x="23" y="42"/>
                    <a:pt x="20" y="24"/>
                    <a:pt x="9" y="0"/>
                  </a:cubicBezTo>
                  <a:cubicBezTo>
                    <a:pt x="9" y="0"/>
                    <a:pt x="0" y="39"/>
                    <a:pt x="0" y="42"/>
                  </a:cubicBezTo>
                  <a:lnTo>
                    <a:pt x="23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0" name="Freeform 300">
              <a:extLst>
                <a:ext uri="{FF2B5EF4-FFF2-40B4-BE49-F238E27FC236}">
                  <a16:creationId xmlns:a16="http://schemas.microsoft.com/office/drawing/2014/main" xmlns="" id="{8CF1B1A8-86D1-1C4D-7B6F-0538607D5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0" y="2287"/>
              <a:ext cx="53" cy="116"/>
            </a:xfrm>
            <a:custGeom>
              <a:avLst/>
              <a:gdLst>
                <a:gd name="T0" fmla="*/ 0 w 23"/>
                <a:gd name="T1" fmla="*/ 50 h 50"/>
                <a:gd name="T2" fmla="*/ 14 w 23"/>
                <a:gd name="T3" fmla="*/ 0 h 50"/>
                <a:gd name="T4" fmla="*/ 23 w 23"/>
                <a:gd name="T5" fmla="*/ 50 h 50"/>
                <a:gd name="T6" fmla="*/ 0 w 23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0">
                  <a:moveTo>
                    <a:pt x="0" y="50"/>
                  </a:moveTo>
                  <a:cubicBezTo>
                    <a:pt x="0" y="50"/>
                    <a:pt x="3" y="30"/>
                    <a:pt x="14" y="0"/>
                  </a:cubicBezTo>
                  <a:cubicBezTo>
                    <a:pt x="14" y="0"/>
                    <a:pt x="23" y="46"/>
                    <a:pt x="23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1" name="Freeform 301">
              <a:extLst>
                <a:ext uri="{FF2B5EF4-FFF2-40B4-BE49-F238E27FC236}">
                  <a16:creationId xmlns:a16="http://schemas.microsoft.com/office/drawing/2014/main" xmlns="" id="{436E9D53-4C6E-0DFE-99BD-5974C2FCA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3" y="2277"/>
              <a:ext cx="64" cy="126"/>
            </a:xfrm>
            <a:custGeom>
              <a:avLst/>
              <a:gdLst>
                <a:gd name="T0" fmla="*/ 0 w 28"/>
                <a:gd name="T1" fmla="*/ 54 h 54"/>
                <a:gd name="T2" fmla="*/ 17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7" y="0"/>
                  </a:cubicBezTo>
                  <a:cubicBezTo>
                    <a:pt x="17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2" name="Freeform 302">
              <a:extLst>
                <a:ext uri="{FF2B5EF4-FFF2-40B4-BE49-F238E27FC236}">
                  <a16:creationId xmlns:a16="http://schemas.microsoft.com/office/drawing/2014/main" xmlns="" id="{A43115B8-0DFD-6E1B-CDCF-CBB85AEFC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3" y="2277"/>
              <a:ext cx="66" cy="126"/>
            </a:xfrm>
            <a:custGeom>
              <a:avLst/>
              <a:gdLst>
                <a:gd name="T0" fmla="*/ 29 w 29"/>
                <a:gd name="T1" fmla="*/ 54 h 54"/>
                <a:gd name="T2" fmla="*/ 11 w 29"/>
                <a:gd name="T3" fmla="*/ 0 h 54"/>
                <a:gd name="T4" fmla="*/ 0 w 29"/>
                <a:gd name="T5" fmla="*/ 54 h 54"/>
                <a:gd name="T6" fmla="*/ 29 w 29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9" y="54"/>
                  </a:moveTo>
                  <a:cubicBezTo>
                    <a:pt x="29" y="54"/>
                    <a:pt x="26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9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3" name="Freeform 303">
              <a:extLst>
                <a:ext uri="{FF2B5EF4-FFF2-40B4-BE49-F238E27FC236}">
                  <a16:creationId xmlns:a16="http://schemas.microsoft.com/office/drawing/2014/main" xmlns="" id="{3E693056-AEB1-1004-F42A-71797E2663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7" y="2303"/>
              <a:ext cx="42" cy="100"/>
            </a:xfrm>
            <a:custGeom>
              <a:avLst/>
              <a:gdLst>
                <a:gd name="T0" fmla="*/ 0 w 18"/>
                <a:gd name="T1" fmla="*/ 43 h 43"/>
                <a:gd name="T2" fmla="*/ 12 w 18"/>
                <a:gd name="T3" fmla="*/ 0 h 43"/>
                <a:gd name="T4" fmla="*/ 18 w 18"/>
                <a:gd name="T5" fmla="*/ 43 h 43"/>
                <a:gd name="T6" fmla="*/ 0 w 18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43">
                  <a:moveTo>
                    <a:pt x="0" y="43"/>
                  </a:moveTo>
                  <a:cubicBezTo>
                    <a:pt x="0" y="43"/>
                    <a:pt x="2" y="26"/>
                    <a:pt x="12" y="0"/>
                  </a:cubicBezTo>
                  <a:cubicBezTo>
                    <a:pt x="12" y="0"/>
                    <a:pt x="18" y="39"/>
                    <a:pt x="18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4" name="Freeform 304">
              <a:extLst>
                <a:ext uri="{FF2B5EF4-FFF2-40B4-BE49-F238E27FC236}">
                  <a16:creationId xmlns:a16="http://schemas.microsoft.com/office/drawing/2014/main" xmlns="" id="{CDF6A737-EEFA-A5C6-E6F6-4DC95F62E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9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5" name="Freeform 305">
              <a:extLst>
                <a:ext uri="{FF2B5EF4-FFF2-40B4-BE49-F238E27FC236}">
                  <a16:creationId xmlns:a16="http://schemas.microsoft.com/office/drawing/2014/main" xmlns="" id="{3B584B21-91DD-1A37-40C8-71D79D2D5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7" y="2287"/>
              <a:ext cx="65" cy="116"/>
            </a:xfrm>
            <a:custGeom>
              <a:avLst/>
              <a:gdLst>
                <a:gd name="T0" fmla="*/ 0 w 28"/>
                <a:gd name="T1" fmla="*/ 50 h 50"/>
                <a:gd name="T2" fmla="*/ 17 w 28"/>
                <a:gd name="T3" fmla="*/ 0 h 50"/>
                <a:gd name="T4" fmla="*/ 28 w 28"/>
                <a:gd name="T5" fmla="*/ 50 h 50"/>
                <a:gd name="T6" fmla="*/ 0 w 28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0">
                  <a:moveTo>
                    <a:pt x="0" y="50"/>
                  </a:moveTo>
                  <a:cubicBezTo>
                    <a:pt x="0" y="50"/>
                    <a:pt x="3" y="30"/>
                    <a:pt x="17" y="0"/>
                  </a:cubicBezTo>
                  <a:cubicBezTo>
                    <a:pt x="17" y="0"/>
                    <a:pt x="28" y="46"/>
                    <a:pt x="28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5044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01A7014F-F180-FC15-CB61-E013B091DD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Rectangle: Rounded Corners 16">
            <a:extLst>
              <a:ext uri="{FF2B5EF4-FFF2-40B4-BE49-F238E27FC236}">
                <a16:creationId xmlns:a16="http://schemas.microsoft.com/office/drawing/2014/main" xmlns="" id="{1D416C5D-88C5-A520-ABCF-F2691BE15707}"/>
              </a:ext>
            </a:extLst>
          </p:cNvPr>
          <p:cNvSpPr/>
          <p:nvPr/>
        </p:nvSpPr>
        <p:spPr>
          <a:xfrm>
            <a:off x="540774" y="459000"/>
            <a:ext cx="11208774" cy="5961465"/>
          </a:xfrm>
          <a:custGeom>
            <a:avLst/>
            <a:gdLst>
              <a:gd name="connsiteX0" fmla="*/ 0 w 7661923"/>
              <a:gd name="connsiteY0" fmla="*/ 590674 h 3543972"/>
              <a:gd name="connsiteX1" fmla="*/ 590674 w 7661923"/>
              <a:gd name="connsiteY1" fmla="*/ 0 h 3543972"/>
              <a:gd name="connsiteX2" fmla="*/ 7071249 w 7661923"/>
              <a:gd name="connsiteY2" fmla="*/ 0 h 3543972"/>
              <a:gd name="connsiteX3" fmla="*/ 7661923 w 7661923"/>
              <a:gd name="connsiteY3" fmla="*/ 590674 h 3543972"/>
              <a:gd name="connsiteX4" fmla="*/ 7661923 w 7661923"/>
              <a:gd name="connsiteY4" fmla="*/ 2953298 h 3543972"/>
              <a:gd name="connsiteX5" fmla="*/ 7071249 w 7661923"/>
              <a:gd name="connsiteY5" fmla="*/ 3543972 h 3543972"/>
              <a:gd name="connsiteX6" fmla="*/ 590674 w 7661923"/>
              <a:gd name="connsiteY6" fmla="*/ 3543972 h 3543972"/>
              <a:gd name="connsiteX7" fmla="*/ 0 w 7661923"/>
              <a:gd name="connsiteY7" fmla="*/ 2953298 h 3543972"/>
              <a:gd name="connsiteX8" fmla="*/ 0 w 7661923"/>
              <a:gd name="connsiteY8" fmla="*/ 590674 h 354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61923" h="3543972" fill="none" extrusionOk="0">
                <a:moveTo>
                  <a:pt x="0" y="590674"/>
                </a:moveTo>
                <a:cubicBezTo>
                  <a:pt x="-3129" y="320218"/>
                  <a:pt x="266416" y="35318"/>
                  <a:pt x="590674" y="0"/>
                </a:cubicBezTo>
                <a:cubicBezTo>
                  <a:pt x="1794467" y="-123866"/>
                  <a:pt x="6042098" y="81108"/>
                  <a:pt x="7071249" y="0"/>
                </a:cubicBezTo>
                <a:cubicBezTo>
                  <a:pt x="7404141" y="-10251"/>
                  <a:pt x="7623705" y="267606"/>
                  <a:pt x="7661923" y="590674"/>
                </a:cubicBezTo>
                <a:cubicBezTo>
                  <a:pt x="7829640" y="866682"/>
                  <a:pt x="7532024" y="2657065"/>
                  <a:pt x="7661923" y="2953298"/>
                </a:cubicBezTo>
                <a:cubicBezTo>
                  <a:pt x="7682195" y="3225688"/>
                  <a:pt x="7408293" y="3563608"/>
                  <a:pt x="7071249" y="3543972"/>
                </a:cubicBezTo>
                <a:cubicBezTo>
                  <a:pt x="5427670" y="3526117"/>
                  <a:pt x="3047081" y="3434628"/>
                  <a:pt x="590674" y="3543972"/>
                </a:cubicBezTo>
                <a:cubicBezTo>
                  <a:pt x="279635" y="3506129"/>
                  <a:pt x="27738" y="3331312"/>
                  <a:pt x="0" y="2953298"/>
                </a:cubicBezTo>
                <a:cubicBezTo>
                  <a:pt x="118672" y="2050218"/>
                  <a:pt x="-34222" y="1755439"/>
                  <a:pt x="0" y="590674"/>
                </a:cubicBezTo>
                <a:close/>
              </a:path>
              <a:path w="7661923" h="3543972" stroke="0" extrusionOk="0">
                <a:moveTo>
                  <a:pt x="0" y="590674"/>
                </a:moveTo>
                <a:cubicBezTo>
                  <a:pt x="9589" y="265019"/>
                  <a:pt x="246261" y="36136"/>
                  <a:pt x="590674" y="0"/>
                </a:cubicBezTo>
                <a:cubicBezTo>
                  <a:pt x="2619233" y="96512"/>
                  <a:pt x="3878262" y="-165548"/>
                  <a:pt x="7071249" y="0"/>
                </a:cubicBezTo>
                <a:cubicBezTo>
                  <a:pt x="7459543" y="1557"/>
                  <a:pt x="7711327" y="272522"/>
                  <a:pt x="7661923" y="590674"/>
                </a:cubicBezTo>
                <a:cubicBezTo>
                  <a:pt x="7531710" y="1385815"/>
                  <a:pt x="7786896" y="1901943"/>
                  <a:pt x="7661923" y="2953298"/>
                </a:cubicBezTo>
                <a:cubicBezTo>
                  <a:pt x="7670145" y="3235322"/>
                  <a:pt x="7423708" y="3532093"/>
                  <a:pt x="7071249" y="3543972"/>
                </a:cubicBezTo>
                <a:cubicBezTo>
                  <a:pt x="6392904" y="3705684"/>
                  <a:pt x="3771159" y="3687594"/>
                  <a:pt x="590674" y="3543972"/>
                </a:cubicBezTo>
                <a:cubicBezTo>
                  <a:pt x="308331" y="3520807"/>
                  <a:pt x="52007" y="3257170"/>
                  <a:pt x="0" y="2953298"/>
                </a:cubicBezTo>
                <a:cubicBezTo>
                  <a:pt x="128997" y="2318506"/>
                  <a:pt x="-102252" y="1067692"/>
                  <a:pt x="0" y="590674"/>
                </a:cubicBezTo>
                <a:close/>
              </a:path>
            </a:pathLst>
          </a:custGeom>
          <a:solidFill>
            <a:srgbClr val="FFFF99">
              <a:alpha val="96000"/>
            </a:srgbClr>
          </a:solidFill>
          <a:ln w="38100">
            <a:solidFill>
              <a:srgbClr val="795C4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Flowchart: Alternate Process 33">
            <a:extLst>
              <a:ext uri="{FF2B5EF4-FFF2-40B4-BE49-F238E27FC236}">
                <a16:creationId xmlns:a16="http://schemas.microsoft.com/office/drawing/2014/main" xmlns="" id="{BB141A8E-1B3B-42E3-AA5A-7622EBC53504}"/>
              </a:ext>
            </a:extLst>
          </p:cNvPr>
          <p:cNvSpPr/>
          <p:nvPr/>
        </p:nvSpPr>
        <p:spPr>
          <a:xfrm>
            <a:off x="4962943" y="3718560"/>
            <a:ext cx="5503420" cy="1627374"/>
          </a:xfrm>
          <a:custGeom>
            <a:avLst/>
            <a:gdLst>
              <a:gd name="connsiteX0" fmla="*/ 0 w 5503420"/>
              <a:gd name="connsiteY0" fmla="*/ 271229 h 1627374"/>
              <a:gd name="connsiteX1" fmla="*/ 271229 w 5503420"/>
              <a:gd name="connsiteY1" fmla="*/ 0 h 1627374"/>
              <a:gd name="connsiteX2" fmla="*/ 940959 w 5503420"/>
              <a:gd name="connsiteY2" fmla="*/ 0 h 1627374"/>
              <a:gd name="connsiteX3" fmla="*/ 1461860 w 5503420"/>
              <a:gd name="connsiteY3" fmla="*/ 0 h 1627374"/>
              <a:gd name="connsiteX4" fmla="*/ 2131590 w 5503420"/>
              <a:gd name="connsiteY4" fmla="*/ 0 h 1627374"/>
              <a:gd name="connsiteX5" fmla="*/ 2702100 w 5503420"/>
              <a:gd name="connsiteY5" fmla="*/ 0 h 1627374"/>
              <a:gd name="connsiteX6" fmla="*/ 3421440 w 5503420"/>
              <a:gd name="connsiteY6" fmla="*/ 0 h 1627374"/>
              <a:gd name="connsiteX7" fmla="*/ 3991951 w 5503420"/>
              <a:gd name="connsiteY7" fmla="*/ 0 h 1627374"/>
              <a:gd name="connsiteX8" fmla="*/ 4512852 w 5503420"/>
              <a:gd name="connsiteY8" fmla="*/ 0 h 1627374"/>
              <a:gd name="connsiteX9" fmla="*/ 5232191 w 5503420"/>
              <a:gd name="connsiteY9" fmla="*/ 0 h 1627374"/>
              <a:gd name="connsiteX10" fmla="*/ 5503420 w 5503420"/>
              <a:gd name="connsiteY10" fmla="*/ 271229 h 1627374"/>
              <a:gd name="connsiteX11" fmla="*/ 5503420 w 5503420"/>
              <a:gd name="connsiteY11" fmla="*/ 791989 h 1627374"/>
              <a:gd name="connsiteX12" fmla="*/ 5503420 w 5503420"/>
              <a:gd name="connsiteY12" fmla="*/ 1356145 h 1627374"/>
              <a:gd name="connsiteX13" fmla="*/ 5232191 w 5503420"/>
              <a:gd name="connsiteY13" fmla="*/ 1627374 h 1627374"/>
              <a:gd name="connsiteX14" fmla="*/ 4760900 w 5503420"/>
              <a:gd name="connsiteY14" fmla="*/ 1627374 h 1627374"/>
              <a:gd name="connsiteX15" fmla="*/ 4239999 w 5503420"/>
              <a:gd name="connsiteY15" fmla="*/ 1627374 h 1627374"/>
              <a:gd name="connsiteX16" fmla="*/ 3619878 w 5503420"/>
              <a:gd name="connsiteY16" fmla="*/ 1627374 h 1627374"/>
              <a:gd name="connsiteX17" fmla="*/ 2900539 w 5503420"/>
              <a:gd name="connsiteY17" fmla="*/ 1627374 h 1627374"/>
              <a:gd name="connsiteX18" fmla="*/ 2230809 w 5503420"/>
              <a:gd name="connsiteY18" fmla="*/ 1627374 h 1627374"/>
              <a:gd name="connsiteX19" fmla="*/ 1561079 w 5503420"/>
              <a:gd name="connsiteY19" fmla="*/ 1627374 h 1627374"/>
              <a:gd name="connsiteX20" fmla="*/ 891349 w 5503420"/>
              <a:gd name="connsiteY20" fmla="*/ 1627374 h 1627374"/>
              <a:gd name="connsiteX21" fmla="*/ 271229 w 5503420"/>
              <a:gd name="connsiteY21" fmla="*/ 1627374 h 1627374"/>
              <a:gd name="connsiteX22" fmla="*/ 0 w 5503420"/>
              <a:gd name="connsiteY22" fmla="*/ 1356145 h 1627374"/>
              <a:gd name="connsiteX23" fmla="*/ 0 w 5503420"/>
              <a:gd name="connsiteY23" fmla="*/ 802838 h 1627374"/>
              <a:gd name="connsiteX24" fmla="*/ 0 w 5503420"/>
              <a:gd name="connsiteY24" fmla="*/ 271229 h 1627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503420" h="1627374" fill="none" extrusionOk="0">
                <a:moveTo>
                  <a:pt x="0" y="271229"/>
                </a:moveTo>
                <a:cubicBezTo>
                  <a:pt x="-17585" y="114332"/>
                  <a:pt x="134429" y="-33427"/>
                  <a:pt x="271229" y="0"/>
                </a:cubicBezTo>
                <a:cubicBezTo>
                  <a:pt x="470982" y="8430"/>
                  <a:pt x="640760" y="-22239"/>
                  <a:pt x="940959" y="0"/>
                </a:cubicBezTo>
                <a:cubicBezTo>
                  <a:pt x="1241158" y="22239"/>
                  <a:pt x="1316759" y="-9386"/>
                  <a:pt x="1461860" y="0"/>
                </a:cubicBezTo>
                <a:cubicBezTo>
                  <a:pt x="1606961" y="9386"/>
                  <a:pt x="1983746" y="-29501"/>
                  <a:pt x="2131590" y="0"/>
                </a:cubicBezTo>
                <a:cubicBezTo>
                  <a:pt x="2279434" y="29501"/>
                  <a:pt x="2448091" y="98"/>
                  <a:pt x="2702100" y="0"/>
                </a:cubicBezTo>
                <a:cubicBezTo>
                  <a:pt x="2956109" y="-98"/>
                  <a:pt x="3197841" y="21686"/>
                  <a:pt x="3421440" y="0"/>
                </a:cubicBezTo>
                <a:cubicBezTo>
                  <a:pt x="3645039" y="-21686"/>
                  <a:pt x="3867243" y="-14303"/>
                  <a:pt x="3991951" y="0"/>
                </a:cubicBezTo>
                <a:cubicBezTo>
                  <a:pt x="4116659" y="14303"/>
                  <a:pt x="4332939" y="25614"/>
                  <a:pt x="4512852" y="0"/>
                </a:cubicBezTo>
                <a:cubicBezTo>
                  <a:pt x="4692765" y="-25614"/>
                  <a:pt x="4950572" y="26643"/>
                  <a:pt x="5232191" y="0"/>
                </a:cubicBezTo>
                <a:cubicBezTo>
                  <a:pt x="5380680" y="9121"/>
                  <a:pt x="5540319" y="120732"/>
                  <a:pt x="5503420" y="271229"/>
                </a:cubicBezTo>
                <a:cubicBezTo>
                  <a:pt x="5481436" y="391458"/>
                  <a:pt x="5518299" y="656062"/>
                  <a:pt x="5503420" y="791989"/>
                </a:cubicBezTo>
                <a:cubicBezTo>
                  <a:pt x="5488541" y="927916"/>
                  <a:pt x="5505667" y="1075488"/>
                  <a:pt x="5503420" y="1356145"/>
                </a:cubicBezTo>
                <a:cubicBezTo>
                  <a:pt x="5501454" y="1501555"/>
                  <a:pt x="5375707" y="1633241"/>
                  <a:pt x="5232191" y="1627374"/>
                </a:cubicBezTo>
                <a:cubicBezTo>
                  <a:pt x="5067948" y="1626483"/>
                  <a:pt x="4862202" y="1638068"/>
                  <a:pt x="4760900" y="1627374"/>
                </a:cubicBezTo>
                <a:cubicBezTo>
                  <a:pt x="4659598" y="1616680"/>
                  <a:pt x="4390576" y="1619195"/>
                  <a:pt x="4239999" y="1627374"/>
                </a:cubicBezTo>
                <a:cubicBezTo>
                  <a:pt x="4089422" y="1635553"/>
                  <a:pt x="3747497" y="1638327"/>
                  <a:pt x="3619878" y="1627374"/>
                </a:cubicBezTo>
                <a:cubicBezTo>
                  <a:pt x="3492259" y="1616421"/>
                  <a:pt x="3073308" y="1656978"/>
                  <a:pt x="2900539" y="1627374"/>
                </a:cubicBezTo>
                <a:cubicBezTo>
                  <a:pt x="2727770" y="1597770"/>
                  <a:pt x="2430117" y="1655172"/>
                  <a:pt x="2230809" y="1627374"/>
                </a:cubicBezTo>
                <a:cubicBezTo>
                  <a:pt x="2031501" y="1599577"/>
                  <a:pt x="1736147" y="1599412"/>
                  <a:pt x="1561079" y="1627374"/>
                </a:cubicBezTo>
                <a:cubicBezTo>
                  <a:pt x="1386011" y="1655337"/>
                  <a:pt x="1193740" y="1635060"/>
                  <a:pt x="891349" y="1627374"/>
                </a:cubicBezTo>
                <a:cubicBezTo>
                  <a:pt x="588958" y="1619689"/>
                  <a:pt x="463811" y="1602202"/>
                  <a:pt x="271229" y="1627374"/>
                </a:cubicBezTo>
                <a:cubicBezTo>
                  <a:pt x="117915" y="1626484"/>
                  <a:pt x="8713" y="1506270"/>
                  <a:pt x="0" y="1356145"/>
                </a:cubicBezTo>
                <a:cubicBezTo>
                  <a:pt x="-22653" y="1180081"/>
                  <a:pt x="-9855" y="936943"/>
                  <a:pt x="0" y="802838"/>
                </a:cubicBezTo>
                <a:cubicBezTo>
                  <a:pt x="9855" y="668733"/>
                  <a:pt x="18862" y="420515"/>
                  <a:pt x="0" y="271229"/>
                </a:cubicBezTo>
                <a:close/>
              </a:path>
              <a:path w="5503420" h="1627374" stroke="0" extrusionOk="0">
                <a:moveTo>
                  <a:pt x="0" y="271229"/>
                </a:moveTo>
                <a:cubicBezTo>
                  <a:pt x="-5665" y="140750"/>
                  <a:pt x="152154" y="10149"/>
                  <a:pt x="271229" y="0"/>
                </a:cubicBezTo>
                <a:cubicBezTo>
                  <a:pt x="505683" y="-6333"/>
                  <a:pt x="646381" y="-23141"/>
                  <a:pt x="841740" y="0"/>
                </a:cubicBezTo>
                <a:cubicBezTo>
                  <a:pt x="1037099" y="23141"/>
                  <a:pt x="1231296" y="-35490"/>
                  <a:pt x="1561079" y="0"/>
                </a:cubicBezTo>
                <a:cubicBezTo>
                  <a:pt x="1890862" y="35490"/>
                  <a:pt x="2008773" y="-19494"/>
                  <a:pt x="2131590" y="0"/>
                </a:cubicBezTo>
                <a:cubicBezTo>
                  <a:pt x="2254407" y="19494"/>
                  <a:pt x="2451089" y="9677"/>
                  <a:pt x="2602881" y="0"/>
                </a:cubicBezTo>
                <a:cubicBezTo>
                  <a:pt x="2754673" y="-9677"/>
                  <a:pt x="3110485" y="-13190"/>
                  <a:pt x="3272611" y="0"/>
                </a:cubicBezTo>
                <a:cubicBezTo>
                  <a:pt x="3434737" y="13190"/>
                  <a:pt x="3737306" y="-30794"/>
                  <a:pt x="3991951" y="0"/>
                </a:cubicBezTo>
                <a:cubicBezTo>
                  <a:pt x="4246596" y="30794"/>
                  <a:pt x="4312507" y="2180"/>
                  <a:pt x="4463242" y="0"/>
                </a:cubicBezTo>
                <a:cubicBezTo>
                  <a:pt x="4613977" y="-2180"/>
                  <a:pt x="5053865" y="-19819"/>
                  <a:pt x="5232191" y="0"/>
                </a:cubicBezTo>
                <a:cubicBezTo>
                  <a:pt x="5379136" y="-9449"/>
                  <a:pt x="5505766" y="114794"/>
                  <a:pt x="5503420" y="271229"/>
                </a:cubicBezTo>
                <a:cubicBezTo>
                  <a:pt x="5483775" y="448668"/>
                  <a:pt x="5518668" y="655954"/>
                  <a:pt x="5503420" y="802838"/>
                </a:cubicBezTo>
                <a:cubicBezTo>
                  <a:pt x="5488172" y="949722"/>
                  <a:pt x="5523739" y="1204863"/>
                  <a:pt x="5503420" y="1356145"/>
                </a:cubicBezTo>
                <a:cubicBezTo>
                  <a:pt x="5483840" y="1488496"/>
                  <a:pt x="5352094" y="1613782"/>
                  <a:pt x="5232191" y="1627374"/>
                </a:cubicBezTo>
                <a:cubicBezTo>
                  <a:pt x="5122677" y="1634213"/>
                  <a:pt x="4876492" y="1620174"/>
                  <a:pt x="4760900" y="1627374"/>
                </a:cubicBezTo>
                <a:cubicBezTo>
                  <a:pt x="4645308" y="1634574"/>
                  <a:pt x="4308110" y="1627938"/>
                  <a:pt x="4091170" y="1627374"/>
                </a:cubicBezTo>
                <a:cubicBezTo>
                  <a:pt x="3874230" y="1626811"/>
                  <a:pt x="3751295" y="1640853"/>
                  <a:pt x="3619878" y="1627374"/>
                </a:cubicBezTo>
                <a:cubicBezTo>
                  <a:pt x="3488461" y="1613895"/>
                  <a:pt x="3302947" y="1612227"/>
                  <a:pt x="3049368" y="1627374"/>
                </a:cubicBezTo>
                <a:cubicBezTo>
                  <a:pt x="2795789" y="1642522"/>
                  <a:pt x="2685363" y="1622644"/>
                  <a:pt x="2528467" y="1627374"/>
                </a:cubicBezTo>
                <a:cubicBezTo>
                  <a:pt x="2371571" y="1632104"/>
                  <a:pt x="2129358" y="1621946"/>
                  <a:pt x="1957956" y="1627374"/>
                </a:cubicBezTo>
                <a:cubicBezTo>
                  <a:pt x="1786554" y="1632802"/>
                  <a:pt x="1596340" y="1609696"/>
                  <a:pt x="1387445" y="1627374"/>
                </a:cubicBezTo>
                <a:cubicBezTo>
                  <a:pt x="1178550" y="1645052"/>
                  <a:pt x="1047493" y="1637732"/>
                  <a:pt x="816935" y="1627374"/>
                </a:cubicBezTo>
                <a:cubicBezTo>
                  <a:pt x="586377" y="1617017"/>
                  <a:pt x="415878" y="1628774"/>
                  <a:pt x="271229" y="1627374"/>
                </a:cubicBezTo>
                <a:cubicBezTo>
                  <a:pt x="106223" y="1640718"/>
                  <a:pt x="2977" y="1530724"/>
                  <a:pt x="0" y="1356145"/>
                </a:cubicBezTo>
                <a:cubicBezTo>
                  <a:pt x="22907" y="1171855"/>
                  <a:pt x="17416" y="984300"/>
                  <a:pt x="0" y="835385"/>
                </a:cubicBezTo>
                <a:cubicBezTo>
                  <a:pt x="-17416" y="686470"/>
                  <a:pt x="-19378" y="458928"/>
                  <a:pt x="0" y="271229"/>
                </a:cubicBezTo>
                <a:close/>
              </a:path>
            </a:pathLst>
          </a:custGeom>
          <a:solidFill>
            <a:sysClr val="window" lastClr="FFFFFF"/>
          </a:solidFill>
          <a:ln w="28575" cap="flat" cmpd="sng" algn="ctr">
            <a:solidFill>
              <a:srgbClr val="0070C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xmlns="" sd="3478589231">
                  <a:prstGeom prst="flowChartAlternateProcess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vi-VN" sz="3200" b="1" kern="0">
                <a:solidFill>
                  <a:srgbClr val="FF0000"/>
                </a:solidFill>
              </a:rPr>
              <a:t> </a:t>
            </a:r>
            <a:r>
              <a:rPr lang="en-US" sz="3200" b="1" ker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ể hiện sự </a:t>
            </a:r>
            <a:r>
              <a:rPr lang="vi-VN" sz="3200" b="1" ker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 tâm đến hàng xóm láng giềng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274D77F6-39E8-4017-AAE2-19412D7DEC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6984" y="4178793"/>
            <a:ext cx="2093828" cy="2675185"/>
          </a:xfrm>
          <a:prstGeom prst="rect">
            <a:avLst/>
          </a:prstGeom>
        </p:spPr>
      </p:pic>
      <p:sp>
        <p:nvSpPr>
          <p:cNvPr id="36" name="Speech Bubble: Rectangle with Corners Rounded 35">
            <a:extLst>
              <a:ext uri="{FF2B5EF4-FFF2-40B4-BE49-F238E27FC236}">
                <a16:creationId xmlns:a16="http://schemas.microsoft.com/office/drawing/2014/main" xmlns="" id="{10D90863-631A-4729-A81A-5692D73B194C}"/>
              </a:ext>
            </a:extLst>
          </p:cNvPr>
          <p:cNvSpPr/>
          <p:nvPr/>
        </p:nvSpPr>
        <p:spPr>
          <a:xfrm>
            <a:off x="5273040" y="1341614"/>
            <a:ext cx="5384800" cy="2025932"/>
          </a:xfrm>
          <a:prstGeom prst="wedgeRoundRectCallout">
            <a:avLst>
              <a:gd name="adj1" fmla="val 42483"/>
              <a:gd name="adj2" fmla="val 58854"/>
              <a:gd name="adj3" fmla="val 16667"/>
            </a:avLst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3600" ker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ị đã giúp Hiếu bấm lên thang máy.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D0374280-3B24-421F-800E-C209D385B3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2400" y="46896"/>
            <a:ext cx="7010400" cy="9437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0D7F0F64-287C-43B7-95A3-83A82A66A8C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299" b="46229"/>
          <a:stretch/>
        </p:blipFill>
        <p:spPr>
          <a:xfrm>
            <a:off x="247613" y="1836656"/>
            <a:ext cx="4285939" cy="3492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5366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FDFD057B-9FE4-F9E8-0893-F93146AF37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Rectangle: Rounded Corners 16">
            <a:extLst>
              <a:ext uri="{FF2B5EF4-FFF2-40B4-BE49-F238E27FC236}">
                <a16:creationId xmlns:a16="http://schemas.microsoft.com/office/drawing/2014/main" xmlns="" id="{ED90BA5B-47F5-605A-AFB6-88C78ABF8FFF}"/>
              </a:ext>
            </a:extLst>
          </p:cNvPr>
          <p:cNvSpPr/>
          <p:nvPr/>
        </p:nvSpPr>
        <p:spPr>
          <a:xfrm>
            <a:off x="540774" y="459000"/>
            <a:ext cx="11208774" cy="5961465"/>
          </a:xfrm>
          <a:custGeom>
            <a:avLst/>
            <a:gdLst>
              <a:gd name="connsiteX0" fmla="*/ 0 w 7661923"/>
              <a:gd name="connsiteY0" fmla="*/ 590674 h 3543972"/>
              <a:gd name="connsiteX1" fmla="*/ 590674 w 7661923"/>
              <a:gd name="connsiteY1" fmla="*/ 0 h 3543972"/>
              <a:gd name="connsiteX2" fmla="*/ 7071249 w 7661923"/>
              <a:gd name="connsiteY2" fmla="*/ 0 h 3543972"/>
              <a:gd name="connsiteX3" fmla="*/ 7661923 w 7661923"/>
              <a:gd name="connsiteY3" fmla="*/ 590674 h 3543972"/>
              <a:gd name="connsiteX4" fmla="*/ 7661923 w 7661923"/>
              <a:gd name="connsiteY4" fmla="*/ 2953298 h 3543972"/>
              <a:gd name="connsiteX5" fmla="*/ 7071249 w 7661923"/>
              <a:gd name="connsiteY5" fmla="*/ 3543972 h 3543972"/>
              <a:gd name="connsiteX6" fmla="*/ 590674 w 7661923"/>
              <a:gd name="connsiteY6" fmla="*/ 3543972 h 3543972"/>
              <a:gd name="connsiteX7" fmla="*/ 0 w 7661923"/>
              <a:gd name="connsiteY7" fmla="*/ 2953298 h 3543972"/>
              <a:gd name="connsiteX8" fmla="*/ 0 w 7661923"/>
              <a:gd name="connsiteY8" fmla="*/ 590674 h 354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61923" h="3543972" fill="none" extrusionOk="0">
                <a:moveTo>
                  <a:pt x="0" y="590674"/>
                </a:moveTo>
                <a:cubicBezTo>
                  <a:pt x="-3129" y="320218"/>
                  <a:pt x="266416" y="35318"/>
                  <a:pt x="590674" y="0"/>
                </a:cubicBezTo>
                <a:cubicBezTo>
                  <a:pt x="1794467" y="-123866"/>
                  <a:pt x="6042098" y="81108"/>
                  <a:pt x="7071249" y="0"/>
                </a:cubicBezTo>
                <a:cubicBezTo>
                  <a:pt x="7404141" y="-10251"/>
                  <a:pt x="7623705" y="267606"/>
                  <a:pt x="7661923" y="590674"/>
                </a:cubicBezTo>
                <a:cubicBezTo>
                  <a:pt x="7829640" y="866682"/>
                  <a:pt x="7532024" y="2657065"/>
                  <a:pt x="7661923" y="2953298"/>
                </a:cubicBezTo>
                <a:cubicBezTo>
                  <a:pt x="7682195" y="3225688"/>
                  <a:pt x="7408293" y="3563608"/>
                  <a:pt x="7071249" y="3543972"/>
                </a:cubicBezTo>
                <a:cubicBezTo>
                  <a:pt x="5427670" y="3526117"/>
                  <a:pt x="3047081" y="3434628"/>
                  <a:pt x="590674" y="3543972"/>
                </a:cubicBezTo>
                <a:cubicBezTo>
                  <a:pt x="279635" y="3506129"/>
                  <a:pt x="27738" y="3331312"/>
                  <a:pt x="0" y="2953298"/>
                </a:cubicBezTo>
                <a:cubicBezTo>
                  <a:pt x="118672" y="2050218"/>
                  <a:pt x="-34222" y="1755439"/>
                  <a:pt x="0" y="590674"/>
                </a:cubicBezTo>
                <a:close/>
              </a:path>
              <a:path w="7661923" h="3543972" stroke="0" extrusionOk="0">
                <a:moveTo>
                  <a:pt x="0" y="590674"/>
                </a:moveTo>
                <a:cubicBezTo>
                  <a:pt x="9589" y="265019"/>
                  <a:pt x="246261" y="36136"/>
                  <a:pt x="590674" y="0"/>
                </a:cubicBezTo>
                <a:cubicBezTo>
                  <a:pt x="2619233" y="96512"/>
                  <a:pt x="3878262" y="-165548"/>
                  <a:pt x="7071249" y="0"/>
                </a:cubicBezTo>
                <a:cubicBezTo>
                  <a:pt x="7459543" y="1557"/>
                  <a:pt x="7711327" y="272522"/>
                  <a:pt x="7661923" y="590674"/>
                </a:cubicBezTo>
                <a:cubicBezTo>
                  <a:pt x="7531710" y="1385815"/>
                  <a:pt x="7786896" y="1901943"/>
                  <a:pt x="7661923" y="2953298"/>
                </a:cubicBezTo>
                <a:cubicBezTo>
                  <a:pt x="7670145" y="3235322"/>
                  <a:pt x="7423708" y="3532093"/>
                  <a:pt x="7071249" y="3543972"/>
                </a:cubicBezTo>
                <a:cubicBezTo>
                  <a:pt x="6392904" y="3705684"/>
                  <a:pt x="3771159" y="3687594"/>
                  <a:pt x="590674" y="3543972"/>
                </a:cubicBezTo>
                <a:cubicBezTo>
                  <a:pt x="308331" y="3520807"/>
                  <a:pt x="52007" y="3257170"/>
                  <a:pt x="0" y="2953298"/>
                </a:cubicBezTo>
                <a:cubicBezTo>
                  <a:pt x="128997" y="2318506"/>
                  <a:pt x="-102252" y="1067692"/>
                  <a:pt x="0" y="590674"/>
                </a:cubicBezTo>
                <a:close/>
              </a:path>
            </a:pathLst>
          </a:custGeom>
          <a:solidFill>
            <a:srgbClr val="FFFF99">
              <a:alpha val="96000"/>
            </a:srgbClr>
          </a:solidFill>
          <a:ln w="38100">
            <a:solidFill>
              <a:srgbClr val="795C4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Flowchart: Alternate Process 33">
            <a:extLst>
              <a:ext uri="{FF2B5EF4-FFF2-40B4-BE49-F238E27FC236}">
                <a16:creationId xmlns:a16="http://schemas.microsoft.com/office/drawing/2014/main" xmlns="" id="{BB141A8E-1B3B-42E3-AA5A-7622EBC53504}"/>
              </a:ext>
            </a:extLst>
          </p:cNvPr>
          <p:cNvSpPr/>
          <p:nvPr/>
        </p:nvSpPr>
        <p:spPr>
          <a:xfrm>
            <a:off x="4962943" y="3367545"/>
            <a:ext cx="5221372" cy="2089977"/>
          </a:xfrm>
          <a:custGeom>
            <a:avLst/>
            <a:gdLst>
              <a:gd name="connsiteX0" fmla="*/ 0 w 5221372"/>
              <a:gd name="connsiteY0" fmla="*/ 348330 h 2089977"/>
              <a:gd name="connsiteX1" fmla="*/ 348330 w 5221372"/>
              <a:gd name="connsiteY1" fmla="*/ 0 h 2089977"/>
              <a:gd name="connsiteX2" fmla="*/ 823425 w 5221372"/>
              <a:gd name="connsiteY2" fmla="*/ 0 h 2089977"/>
              <a:gd name="connsiteX3" fmla="*/ 1253273 w 5221372"/>
              <a:gd name="connsiteY3" fmla="*/ 0 h 2089977"/>
              <a:gd name="connsiteX4" fmla="*/ 1773615 w 5221372"/>
              <a:gd name="connsiteY4" fmla="*/ 0 h 2089977"/>
              <a:gd name="connsiteX5" fmla="*/ 2293957 w 5221372"/>
              <a:gd name="connsiteY5" fmla="*/ 0 h 2089977"/>
              <a:gd name="connsiteX6" fmla="*/ 2723804 w 5221372"/>
              <a:gd name="connsiteY6" fmla="*/ 0 h 2089977"/>
              <a:gd name="connsiteX7" fmla="*/ 3198899 w 5221372"/>
              <a:gd name="connsiteY7" fmla="*/ 0 h 2089977"/>
              <a:gd name="connsiteX8" fmla="*/ 3673994 w 5221372"/>
              <a:gd name="connsiteY8" fmla="*/ 0 h 2089977"/>
              <a:gd name="connsiteX9" fmla="*/ 4149089 w 5221372"/>
              <a:gd name="connsiteY9" fmla="*/ 0 h 2089977"/>
              <a:gd name="connsiteX10" fmla="*/ 4873043 w 5221372"/>
              <a:gd name="connsiteY10" fmla="*/ 0 h 2089977"/>
              <a:gd name="connsiteX11" fmla="*/ 5221373 w 5221372"/>
              <a:gd name="connsiteY11" fmla="*/ 348330 h 2089977"/>
              <a:gd name="connsiteX12" fmla="*/ 5221372 w 5221372"/>
              <a:gd name="connsiteY12" fmla="*/ 1741648 h 2089977"/>
              <a:gd name="connsiteX13" fmla="*/ 4873042 w 5221372"/>
              <a:gd name="connsiteY13" fmla="*/ 2089978 h 2089977"/>
              <a:gd name="connsiteX14" fmla="*/ 4307453 w 5221372"/>
              <a:gd name="connsiteY14" fmla="*/ 2089978 h 2089977"/>
              <a:gd name="connsiteX15" fmla="*/ 3787111 w 5221372"/>
              <a:gd name="connsiteY15" fmla="*/ 2089978 h 2089977"/>
              <a:gd name="connsiteX16" fmla="*/ 3221522 w 5221372"/>
              <a:gd name="connsiteY16" fmla="*/ 2089978 h 2089977"/>
              <a:gd name="connsiteX17" fmla="*/ 2655933 w 5221372"/>
              <a:gd name="connsiteY17" fmla="*/ 2089978 h 2089977"/>
              <a:gd name="connsiteX18" fmla="*/ 2226085 w 5221372"/>
              <a:gd name="connsiteY18" fmla="*/ 2089977 h 2089977"/>
              <a:gd name="connsiteX19" fmla="*/ 1750991 w 5221372"/>
              <a:gd name="connsiteY19" fmla="*/ 2089977 h 2089977"/>
              <a:gd name="connsiteX20" fmla="*/ 1230649 w 5221372"/>
              <a:gd name="connsiteY20" fmla="*/ 2089977 h 2089977"/>
              <a:gd name="connsiteX21" fmla="*/ 348330 w 5221372"/>
              <a:gd name="connsiteY21" fmla="*/ 2089977 h 2089977"/>
              <a:gd name="connsiteX22" fmla="*/ 0 w 5221372"/>
              <a:gd name="connsiteY22" fmla="*/ 1741647 h 2089977"/>
              <a:gd name="connsiteX23" fmla="*/ 0 w 5221372"/>
              <a:gd name="connsiteY23" fmla="*/ 1291141 h 2089977"/>
              <a:gd name="connsiteX24" fmla="*/ 0 w 5221372"/>
              <a:gd name="connsiteY24" fmla="*/ 854569 h 2089977"/>
              <a:gd name="connsiteX25" fmla="*/ 0 w 5221372"/>
              <a:gd name="connsiteY25" fmla="*/ 348330 h 2089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221372" h="2089977" fill="none" extrusionOk="0">
                <a:moveTo>
                  <a:pt x="0" y="348330"/>
                </a:moveTo>
                <a:cubicBezTo>
                  <a:pt x="-36024" y="177590"/>
                  <a:pt x="142413" y="34510"/>
                  <a:pt x="348330" y="0"/>
                </a:cubicBezTo>
                <a:cubicBezTo>
                  <a:pt x="555081" y="-22069"/>
                  <a:pt x="656231" y="46117"/>
                  <a:pt x="823425" y="0"/>
                </a:cubicBezTo>
                <a:cubicBezTo>
                  <a:pt x="990620" y="-46117"/>
                  <a:pt x="1099742" y="25509"/>
                  <a:pt x="1253273" y="0"/>
                </a:cubicBezTo>
                <a:cubicBezTo>
                  <a:pt x="1406804" y="-25509"/>
                  <a:pt x="1626940" y="20081"/>
                  <a:pt x="1773615" y="0"/>
                </a:cubicBezTo>
                <a:cubicBezTo>
                  <a:pt x="1920290" y="-20081"/>
                  <a:pt x="2046639" y="22532"/>
                  <a:pt x="2293957" y="0"/>
                </a:cubicBezTo>
                <a:cubicBezTo>
                  <a:pt x="2541275" y="-22532"/>
                  <a:pt x="2584769" y="38048"/>
                  <a:pt x="2723804" y="0"/>
                </a:cubicBezTo>
                <a:cubicBezTo>
                  <a:pt x="2862839" y="-38048"/>
                  <a:pt x="3003373" y="16534"/>
                  <a:pt x="3198899" y="0"/>
                </a:cubicBezTo>
                <a:cubicBezTo>
                  <a:pt x="3394426" y="-16534"/>
                  <a:pt x="3504952" y="4255"/>
                  <a:pt x="3673994" y="0"/>
                </a:cubicBezTo>
                <a:cubicBezTo>
                  <a:pt x="3843036" y="-4255"/>
                  <a:pt x="4039444" y="51048"/>
                  <a:pt x="4149089" y="0"/>
                </a:cubicBezTo>
                <a:cubicBezTo>
                  <a:pt x="4258734" y="-51048"/>
                  <a:pt x="4624809" y="24175"/>
                  <a:pt x="4873043" y="0"/>
                </a:cubicBezTo>
                <a:cubicBezTo>
                  <a:pt x="5052610" y="-31432"/>
                  <a:pt x="5264686" y="153190"/>
                  <a:pt x="5221373" y="348330"/>
                </a:cubicBezTo>
                <a:cubicBezTo>
                  <a:pt x="5342258" y="770490"/>
                  <a:pt x="5251489" y="1270199"/>
                  <a:pt x="5221372" y="1741648"/>
                </a:cubicBezTo>
                <a:cubicBezTo>
                  <a:pt x="5195945" y="1928470"/>
                  <a:pt x="5048863" y="2058529"/>
                  <a:pt x="4873042" y="2089978"/>
                </a:cubicBezTo>
                <a:cubicBezTo>
                  <a:pt x="4722335" y="2122678"/>
                  <a:pt x="4478606" y="2084627"/>
                  <a:pt x="4307453" y="2089978"/>
                </a:cubicBezTo>
                <a:cubicBezTo>
                  <a:pt x="4136300" y="2095329"/>
                  <a:pt x="3934308" y="2060380"/>
                  <a:pt x="3787111" y="2089978"/>
                </a:cubicBezTo>
                <a:cubicBezTo>
                  <a:pt x="3639914" y="2119576"/>
                  <a:pt x="3453230" y="2063107"/>
                  <a:pt x="3221522" y="2089978"/>
                </a:cubicBezTo>
                <a:cubicBezTo>
                  <a:pt x="2989814" y="2116849"/>
                  <a:pt x="2929908" y="2069528"/>
                  <a:pt x="2655933" y="2089978"/>
                </a:cubicBezTo>
                <a:cubicBezTo>
                  <a:pt x="2381958" y="2110427"/>
                  <a:pt x="2355663" y="2065268"/>
                  <a:pt x="2226085" y="2089977"/>
                </a:cubicBezTo>
                <a:cubicBezTo>
                  <a:pt x="2096507" y="2114686"/>
                  <a:pt x="1926901" y="2054508"/>
                  <a:pt x="1750991" y="2089977"/>
                </a:cubicBezTo>
                <a:cubicBezTo>
                  <a:pt x="1575081" y="2125446"/>
                  <a:pt x="1450094" y="2073748"/>
                  <a:pt x="1230649" y="2089977"/>
                </a:cubicBezTo>
                <a:cubicBezTo>
                  <a:pt x="1011204" y="2106206"/>
                  <a:pt x="588288" y="1996699"/>
                  <a:pt x="348330" y="2089977"/>
                </a:cubicBezTo>
                <a:cubicBezTo>
                  <a:pt x="144192" y="2078615"/>
                  <a:pt x="17159" y="1952926"/>
                  <a:pt x="0" y="1741647"/>
                </a:cubicBezTo>
                <a:cubicBezTo>
                  <a:pt x="-26857" y="1572853"/>
                  <a:pt x="372" y="1398684"/>
                  <a:pt x="0" y="1291141"/>
                </a:cubicBezTo>
                <a:cubicBezTo>
                  <a:pt x="-372" y="1183598"/>
                  <a:pt x="29844" y="993239"/>
                  <a:pt x="0" y="854569"/>
                </a:cubicBezTo>
                <a:cubicBezTo>
                  <a:pt x="-29844" y="715899"/>
                  <a:pt x="47242" y="515557"/>
                  <a:pt x="0" y="348330"/>
                </a:cubicBezTo>
                <a:close/>
              </a:path>
              <a:path w="5221372" h="2089977" stroke="0" extrusionOk="0">
                <a:moveTo>
                  <a:pt x="0" y="348330"/>
                </a:moveTo>
                <a:cubicBezTo>
                  <a:pt x="25745" y="147346"/>
                  <a:pt x="176481" y="-10484"/>
                  <a:pt x="348330" y="0"/>
                </a:cubicBezTo>
                <a:cubicBezTo>
                  <a:pt x="647719" y="-64338"/>
                  <a:pt x="783739" y="2466"/>
                  <a:pt x="959166" y="0"/>
                </a:cubicBezTo>
                <a:cubicBezTo>
                  <a:pt x="1134593" y="-2466"/>
                  <a:pt x="1260511" y="41373"/>
                  <a:pt x="1389014" y="0"/>
                </a:cubicBezTo>
                <a:cubicBezTo>
                  <a:pt x="1517517" y="-41373"/>
                  <a:pt x="1909420" y="23077"/>
                  <a:pt x="2045097" y="0"/>
                </a:cubicBezTo>
                <a:cubicBezTo>
                  <a:pt x="2180774" y="-23077"/>
                  <a:pt x="2357571" y="34584"/>
                  <a:pt x="2655934" y="0"/>
                </a:cubicBezTo>
                <a:cubicBezTo>
                  <a:pt x="2954297" y="-34584"/>
                  <a:pt x="3077304" y="29428"/>
                  <a:pt x="3312017" y="0"/>
                </a:cubicBezTo>
                <a:cubicBezTo>
                  <a:pt x="3546730" y="-29428"/>
                  <a:pt x="3582781" y="19268"/>
                  <a:pt x="3832359" y="0"/>
                </a:cubicBezTo>
                <a:cubicBezTo>
                  <a:pt x="4081937" y="-19268"/>
                  <a:pt x="4181606" y="61961"/>
                  <a:pt x="4352701" y="0"/>
                </a:cubicBezTo>
                <a:cubicBezTo>
                  <a:pt x="4523796" y="-61961"/>
                  <a:pt x="4682722" y="27900"/>
                  <a:pt x="4873043" y="0"/>
                </a:cubicBezTo>
                <a:cubicBezTo>
                  <a:pt x="5051096" y="9767"/>
                  <a:pt x="5169005" y="131952"/>
                  <a:pt x="5221373" y="348330"/>
                </a:cubicBezTo>
                <a:cubicBezTo>
                  <a:pt x="5354572" y="802822"/>
                  <a:pt x="5198429" y="1292347"/>
                  <a:pt x="5221372" y="1741648"/>
                </a:cubicBezTo>
                <a:cubicBezTo>
                  <a:pt x="5225419" y="1941020"/>
                  <a:pt x="5073933" y="2069142"/>
                  <a:pt x="4873042" y="2089978"/>
                </a:cubicBezTo>
                <a:cubicBezTo>
                  <a:pt x="4660565" y="2139619"/>
                  <a:pt x="4618125" y="2043866"/>
                  <a:pt x="4397947" y="2089978"/>
                </a:cubicBezTo>
                <a:cubicBezTo>
                  <a:pt x="4177770" y="2136090"/>
                  <a:pt x="3877145" y="2063482"/>
                  <a:pt x="3741864" y="2089978"/>
                </a:cubicBezTo>
                <a:cubicBezTo>
                  <a:pt x="3606583" y="2116474"/>
                  <a:pt x="3309972" y="2071855"/>
                  <a:pt x="3085781" y="2089978"/>
                </a:cubicBezTo>
                <a:cubicBezTo>
                  <a:pt x="2861590" y="2108101"/>
                  <a:pt x="2754567" y="2063368"/>
                  <a:pt x="2565439" y="2089977"/>
                </a:cubicBezTo>
                <a:cubicBezTo>
                  <a:pt x="2376311" y="2116586"/>
                  <a:pt x="2142970" y="2084968"/>
                  <a:pt x="1954603" y="2089977"/>
                </a:cubicBezTo>
                <a:cubicBezTo>
                  <a:pt x="1766236" y="2094986"/>
                  <a:pt x="1614521" y="2074471"/>
                  <a:pt x="1389014" y="2089977"/>
                </a:cubicBezTo>
                <a:cubicBezTo>
                  <a:pt x="1163507" y="2105483"/>
                  <a:pt x="1114920" y="2056591"/>
                  <a:pt x="913919" y="2089977"/>
                </a:cubicBezTo>
                <a:cubicBezTo>
                  <a:pt x="712919" y="2123363"/>
                  <a:pt x="576532" y="2033592"/>
                  <a:pt x="348330" y="2089977"/>
                </a:cubicBezTo>
                <a:cubicBezTo>
                  <a:pt x="149977" y="2092119"/>
                  <a:pt x="-1078" y="1978670"/>
                  <a:pt x="0" y="1741647"/>
                </a:cubicBezTo>
                <a:cubicBezTo>
                  <a:pt x="-17570" y="1609680"/>
                  <a:pt x="36235" y="1457710"/>
                  <a:pt x="0" y="1291141"/>
                </a:cubicBezTo>
                <a:cubicBezTo>
                  <a:pt x="-36235" y="1124572"/>
                  <a:pt x="47698" y="1022719"/>
                  <a:pt x="0" y="854569"/>
                </a:cubicBezTo>
                <a:cubicBezTo>
                  <a:pt x="-47698" y="686419"/>
                  <a:pt x="53444" y="521220"/>
                  <a:pt x="0" y="348330"/>
                </a:cubicBezTo>
                <a:close/>
              </a:path>
            </a:pathLst>
          </a:custGeom>
          <a:solidFill>
            <a:sysClr val="window" lastClr="FFFFFF"/>
          </a:solidFill>
          <a:ln w="28575" cap="flat" cmpd="sng" algn="ctr">
            <a:solidFill>
              <a:srgbClr val="0070C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xmlns="" sd="1487734217">
                  <a:prstGeom prst="flowChartAlternateProcess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vi-VN" sz="3200" b="1" kern="0">
                <a:solidFill>
                  <a:srgbClr val="FF0000"/>
                </a:solidFill>
              </a:rPr>
              <a:t> </a:t>
            </a:r>
            <a:r>
              <a:rPr lang="en-US" sz="3200" b="1" ker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ệc làm này t</a:t>
            </a:r>
            <a:r>
              <a:rPr lang="vi-VN" sz="3200" b="1" ker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ể hiện </a:t>
            </a:r>
            <a:r>
              <a:rPr lang="en-US" sz="3200" b="1" ker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ưa</a:t>
            </a:r>
            <a:r>
              <a:rPr lang="vi-VN" sz="3200" b="1" ker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an tâm đến hàng xóm láng giềng</a:t>
            </a:r>
            <a:endParaRPr lang="vi-VN" sz="3200" b="1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274D77F6-39E8-4017-AAE2-19412D7DEC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8172" y="3367546"/>
            <a:ext cx="2093828" cy="2675185"/>
          </a:xfrm>
          <a:prstGeom prst="rect">
            <a:avLst/>
          </a:prstGeom>
        </p:spPr>
      </p:pic>
      <p:sp>
        <p:nvSpPr>
          <p:cNvPr id="36" name="Speech Bubble: Rectangle with Corners Rounded 35">
            <a:extLst>
              <a:ext uri="{FF2B5EF4-FFF2-40B4-BE49-F238E27FC236}">
                <a16:creationId xmlns:a16="http://schemas.microsoft.com/office/drawing/2014/main" xmlns="" id="{10D90863-631A-4729-A81A-5692D73B194C}"/>
              </a:ext>
            </a:extLst>
          </p:cNvPr>
          <p:cNvSpPr/>
          <p:nvPr/>
        </p:nvSpPr>
        <p:spPr>
          <a:xfrm>
            <a:off x="5699760" y="1400477"/>
            <a:ext cx="5385582" cy="1739900"/>
          </a:xfrm>
          <a:prstGeom prst="wedgeRoundRectCallout">
            <a:avLst>
              <a:gd name="adj1" fmla="val 42483"/>
              <a:gd name="adj2" fmla="val 58854"/>
              <a:gd name="adj3" fmla="val 16667"/>
            </a:avLst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vi-VN" sz="3200" kern="0">
                <a:solidFill>
                  <a:srgbClr val="002060"/>
                </a:solidFill>
                <a:cs typeface="Arial" panose="020B0604020202020204" pitchFamily="34" charset="0"/>
              </a:rPr>
              <a:t>Bin và các bạn đã nô đùa quá to khiến cho em bé hàng xóm không ngủ được.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D0374280-3B24-421F-800E-C209D385B3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2400" y="46896"/>
            <a:ext cx="7010400" cy="9437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FAB0E24-1956-456A-8004-6FE52F34D9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84" t="-866" r="-9785" b="47095"/>
          <a:stretch/>
        </p:blipFill>
        <p:spPr>
          <a:xfrm>
            <a:off x="427773" y="1570413"/>
            <a:ext cx="5099715" cy="415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1062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FDFD057B-9FE4-F9E8-0893-F93146AF37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Rectangle: Rounded Corners 16">
            <a:extLst>
              <a:ext uri="{FF2B5EF4-FFF2-40B4-BE49-F238E27FC236}">
                <a16:creationId xmlns:a16="http://schemas.microsoft.com/office/drawing/2014/main" xmlns="" id="{ED90BA5B-47F5-605A-AFB6-88C78ABF8FFF}"/>
              </a:ext>
            </a:extLst>
          </p:cNvPr>
          <p:cNvSpPr/>
          <p:nvPr/>
        </p:nvSpPr>
        <p:spPr>
          <a:xfrm>
            <a:off x="540774" y="459000"/>
            <a:ext cx="11208774" cy="5961465"/>
          </a:xfrm>
          <a:custGeom>
            <a:avLst/>
            <a:gdLst>
              <a:gd name="connsiteX0" fmla="*/ 0 w 7661923"/>
              <a:gd name="connsiteY0" fmla="*/ 590674 h 3543972"/>
              <a:gd name="connsiteX1" fmla="*/ 590674 w 7661923"/>
              <a:gd name="connsiteY1" fmla="*/ 0 h 3543972"/>
              <a:gd name="connsiteX2" fmla="*/ 7071249 w 7661923"/>
              <a:gd name="connsiteY2" fmla="*/ 0 h 3543972"/>
              <a:gd name="connsiteX3" fmla="*/ 7661923 w 7661923"/>
              <a:gd name="connsiteY3" fmla="*/ 590674 h 3543972"/>
              <a:gd name="connsiteX4" fmla="*/ 7661923 w 7661923"/>
              <a:gd name="connsiteY4" fmla="*/ 2953298 h 3543972"/>
              <a:gd name="connsiteX5" fmla="*/ 7071249 w 7661923"/>
              <a:gd name="connsiteY5" fmla="*/ 3543972 h 3543972"/>
              <a:gd name="connsiteX6" fmla="*/ 590674 w 7661923"/>
              <a:gd name="connsiteY6" fmla="*/ 3543972 h 3543972"/>
              <a:gd name="connsiteX7" fmla="*/ 0 w 7661923"/>
              <a:gd name="connsiteY7" fmla="*/ 2953298 h 3543972"/>
              <a:gd name="connsiteX8" fmla="*/ 0 w 7661923"/>
              <a:gd name="connsiteY8" fmla="*/ 590674 h 354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61923" h="3543972" fill="none" extrusionOk="0">
                <a:moveTo>
                  <a:pt x="0" y="590674"/>
                </a:moveTo>
                <a:cubicBezTo>
                  <a:pt x="-3129" y="320218"/>
                  <a:pt x="266416" y="35318"/>
                  <a:pt x="590674" y="0"/>
                </a:cubicBezTo>
                <a:cubicBezTo>
                  <a:pt x="1794467" y="-123866"/>
                  <a:pt x="6042098" y="81108"/>
                  <a:pt x="7071249" y="0"/>
                </a:cubicBezTo>
                <a:cubicBezTo>
                  <a:pt x="7404141" y="-10251"/>
                  <a:pt x="7623705" y="267606"/>
                  <a:pt x="7661923" y="590674"/>
                </a:cubicBezTo>
                <a:cubicBezTo>
                  <a:pt x="7829640" y="866682"/>
                  <a:pt x="7532024" y="2657065"/>
                  <a:pt x="7661923" y="2953298"/>
                </a:cubicBezTo>
                <a:cubicBezTo>
                  <a:pt x="7682195" y="3225688"/>
                  <a:pt x="7408293" y="3563608"/>
                  <a:pt x="7071249" y="3543972"/>
                </a:cubicBezTo>
                <a:cubicBezTo>
                  <a:pt x="5427670" y="3526117"/>
                  <a:pt x="3047081" y="3434628"/>
                  <a:pt x="590674" y="3543972"/>
                </a:cubicBezTo>
                <a:cubicBezTo>
                  <a:pt x="279635" y="3506129"/>
                  <a:pt x="27738" y="3331312"/>
                  <a:pt x="0" y="2953298"/>
                </a:cubicBezTo>
                <a:cubicBezTo>
                  <a:pt x="118672" y="2050218"/>
                  <a:pt x="-34222" y="1755439"/>
                  <a:pt x="0" y="590674"/>
                </a:cubicBezTo>
                <a:close/>
              </a:path>
              <a:path w="7661923" h="3543972" stroke="0" extrusionOk="0">
                <a:moveTo>
                  <a:pt x="0" y="590674"/>
                </a:moveTo>
                <a:cubicBezTo>
                  <a:pt x="9589" y="265019"/>
                  <a:pt x="246261" y="36136"/>
                  <a:pt x="590674" y="0"/>
                </a:cubicBezTo>
                <a:cubicBezTo>
                  <a:pt x="2619233" y="96512"/>
                  <a:pt x="3878262" y="-165548"/>
                  <a:pt x="7071249" y="0"/>
                </a:cubicBezTo>
                <a:cubicBezTo>
                  <a:pt x="7459543" y="1557"/>
                  <a:pt x="7711327" y="272522"/>
                  <a:pt x="7661923" y="590674"/>
                </a:cubicBezTo>
                <a:cubicBezTo>
                  <a:pt x="7531710" y="1385815"/>
                  <a:pt x="7786896" y="1901943"/>
                  <a:pt x="7661923" y="2953298"/>
                </a:cubicBezTo>
                <a:cubicBezTo>
                  <a:pt x="7670145" y="3235322"/>
                  <a:pt x="7423708" y="3532093"/>
                  <a:pt x="7071249" y="3543972"/>
                </a:cubicBezTo>
                <a:cubicBezTo>
                  <a:pt x="6392904" y="3705684"/>
                  <a:pt x="3771159" y="3687594"/>
                  <a:pt x="590674" y="3543972"/>
                </a:cubicBezTo>
                <a:cubicBezTo>
                  <a:pt x="308331" y="3520807"/>
                  <a:pt x="52007" y="3257170"/>
                  <a:pt x="0" y="2953298"/>
                </a:cubicBezTo>
                <a:cubicBezTo>
                  <a:pt x="128997" y="2318506"/>
                  <a:pt x="-102252" y="1067692"/>
                  <a:pt x="0" y="590674"/>
                </a:cubicBezTo>
                <a:close/>
              </a:path>
            </a:pathLst>
          </a:custGeom>
          <a:solidFill>
            <a:srgbClr val="FFFF99">
              <a:alpha val="96000"/>
            </a:srgbClr>
          </a:solidFill>
          <a:ln w="38100">
            <a:solidFill>
              <a:srgbClr val="795C4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Flowchart: Alternate Process 33">
            <a:extLst>
              <a:ext uri="{FF2B5EF4-FFF2-40B4-BE49-F238E27FC236}">
                <a16:creationId xmlns:a16="http://schemas.microsoft.com/office/drawing/2014/main" xmlns="" id="{BB141A8E-1B3B-42E3-AA5A-7622EBC53504}"/>
              </a:ext>
            </a:extLst>
          </p:cNvPr>
          <p:cNvSpPr/>
          <p:nvPr/>
        </p:nvSpPr>
        <p:spPr>
          <a:xfrm>
            <a:off x="4962943" y="3367545"/>
            <a:ext cx="5221372" cy="2817006"/>
          </a:xfrm>
          <a:custGeom>
            <a:avLst/>
            <a:gdLst>
              <a:gd name="connsiteX0" fmla="*/ 0 w 5221372"/>
              <a:gd name="connsiteY0" fmla="*/ 469501 h 2817006"/>
              <a:gd name="connsiteX1" fmla="*/ 469501 w 5221372"/>
              <a:gd name="connsiteY1" fmla="*/ 0 h 2817006"/>
              <a:gd name="connsiteX2" fmla="*/ 1090445 w 5221372"/>
              <a:gd name="connsiteY2" fmla="*/ 0 h 2817006"/>
              <a:gd name="connsiteX3" fmla="*/ 1625741 w 5221372"/>
              <a:gd name="connsiteY3" fmla="*/ 0 h 2817006"/>
              <a:gd name="connsiteX4" fmla="*/ 2161037 w 5221372"/>
              <a:gd name="connsiteY4" fmla="*/ 0 h 2817006"/>
              <a:gd name="connsiteX5" fmla="*/ 2739157 w 5221372"/>
              <a:gd name="connsiteY5" fmla="*/ 0 h 2817006"/>
              <a:gd name="connsiteX6" fmla="*/ 3360101 w 5221372"/>
              <a:gd name="connsiteY6" fmla="*/ 0 h 2817006"/>
              <a:gd name="connsiteX7" fmla="*/ 3809750 w 5221372"/>
              <a:gd name="connsiteY7" fmla="*/ 0 h 2817006"/>
              <a:gd name="connsiteX8" fmla="*/ 4259398 w 5221372"/>
              <a:gd name="connsiteY8" fmla="*/ 0 h 2817006"/>
              <a:gd name="connsiteX9" fmla="*/ 4751871 w 5221372"/>
              <a:gd name="connsiteY9" fmla="*/ 0 h 2817006"/>
              <a:gd name="connsiteX10" fmla="*/ 5221372 w 5221372"/>
              <a:gd name="connsiteY10" fmla="*/ 469501 h 2817006"/>
              <a:gd name="connsiteX11" fmla="*/ 5221372 w 5221372"/>
              <a:gd name="connsiteY11" fmla="*/ 901442 h 2817006"/>
              <a:gd name="connsiteX12" fmla="*/ 5221372 w 5221372"/>
              <a:gd name="connsiteY12" fmla="*/ 1389723 h 2817006"/>
              <a:gd name="connsiteX13" fmla="*/ 5221372 w 5221372"/>
              <a:gd name="connsiteY13" fmla="*/ 1896784 h 2817006"/>
              <a:gd name="connsiteX14" fmla="*/ 5221372 w 5221372"/>
              <a:gd name="connsiteY14" fmla="*/ 2347505 h 2817006"/>
              <a:gd name="connsiteX15" fmla="*/ 4751871 w 5221372"/>
              <a:gd name="connsiteY15" fmla="*/ 2817006 h 2817006"/>
              <a:gd name="connsiteX16" fmla="*/ 4259398 w 5221372"/>
              <a:gd name="connsiteY16" fmla="*/ 2817006 h 2817006"/>
              <a:gd name="connsiteX17" fmla="*/ 3852573 w 5221372"/>
              <a:gd name="connsiteY17" fmla="*/ 2817006 h 2817006"/>
              <a:gd name="connsiteX18" fmla="*/ 3402924 w 5221372"/>
              <a:gd name="connsiteY18" fmla="*/ 2817006 h 2817006"/>
              <a:gd name="connsiteX19" fmla="*/ 2867628 w 5221372"/>
              <a:gd name="connsiteY19" fmla="*/ 2817006 h 2817006"/>
              <a:gd name="connsiteX20" fmla="*/ 2246685 w 5221372"/>
              <a:gd name="connsiteY20" fmla="*/ 2817006 h 2817006"/>
              <a:gd name="connsiteX21" fmla="*/ 1711388 w 5221372"/>
              <a:gd name="connsiteY21" fmla="*/ 2817006 h 2817006"/>
              <a:gd name="connsiteX22" fmla="*/ 1304563 w 5221372"/>
              <a:gd name="connsiteY22" fmla="*/ 2817006 h 2817006"/>
              <a:gd name="connsiteX23" fmla="*/ 469501 w 5221372"/>
              <a:gd name="connsiteY23" fmla="*/ 2817006 h 2817006"/>
              <a:gd name="connsiteX24" fmla="*/ 0 w 5221372"/>
              <a:gd name="connsiteY24" fmla="*/ 2347505 h 2817006"/>
              <a:gd name="connsiteX25" fmla="*/ 0 w 5221372"/>
              <a:gd name="connsiteY25" fmla="*/ 1934344 h 2817006"/>
              <a:gd name="connsiteX26" fmla="*/ 0 w 5221372"/>
              <a:gd name="connsiteY26" fmla="*/ 1446063 h 2817006"/>
              <a:gd name="connsiteX27" fmla="*/ 0 w 5221372"/>
              <a:gd name="connsiteY27" fmla="*/ 939002 h 2817006"/>
              <a:gd name="connsiteX28" fmla="*/ 0 w 5221372"/>
              <a:gd name="connsiteY28" fmla="*/ 469501 h 2817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221372" h="2817006" fill="none" extrusionOk="0">
                <a:moveTo>
                  <a:pt x="0" y="469501"/>
                </a:moveTo>
                <a:cubicBezTo>
                  <a:pt x="5646" y="197139"/>
                  <a:pt x="204156" y="2528"/>
                  <a:pt x="469501" y="0"/>
                </a:cubicBezTo>
                <a:cubicBezTo>
                  <a:pt x="652760" y="-24289"/>
                  <a:pt x="944189" y="29570"/>
                  <a:pt x="1090445" y="0"/>
                </a:cubicBezTo>
                <a:cubicBezTo>
                  <a:pt x="1236701" y="-29570"/>
                  <a:pt x="1421869" y="19580"/>
                  <a:pt x="1625741" y="0"/>
                </a:cubicBezTo>
                <a:cubicBezTo>
                  <a:pt x="1829613" y="-19580"/>
                  <a:pt x="2015892" y="37957"/>
                  <a:pt x="2161037" y="0"/>
                </a:cubicBezTo>
                <a:cubicBezTo>
                  <a:pt x="2306182" y="-37957"/>
                  <a:pt x="2461893" y="18061"/>
                  <a:pt x="2739157" y="0"/>
                </a:cubicBezTo>
                <a:cubicBezTo>
                  <a:pt x="3016421" y="-18061"/>
                  <a:pt x="3208894" y="34184"/>
                  <a:pt x="3360101" y="0"/>
                </a:cubicBezTo>
                <a:cubicBezTo>
                  <a:pt x="3511308" y="-34184"/>
                  <a:pt x="3674981" y="17256"/>
                  <a:pt x="3809750" y="0"/>
                </a:cubicBezTo>
                <a:cubicBezTo>
                  <a:pt x="3944519" y="-17256"/>
                  <a:pt x="4061191" y="33245"/>
                  <a:pt x="4259398" y="0"/>
                </a:cubicBezTo>
                <a:cubicBezTo>
                  <a:pt x="4457605" y="-33245"/>
                  <a:pt x="4649158" y="36919"/>
                  <a:pt x="4751871" y="0"/>
                </a:cubicBezTo>
                <a:cubicBezTo>
                  <a:pt x="4981702" y="-55973"/>
                  <a:pt x="5262113" y="267772"/>
                  <a:pt x="5221372" y="469501"/>
                </a:cubicBezTo>
                <a:cubicBezTo>
                  <a:pt x="5242714" y="652675"/>
                  <a:pt x="5201424" y="772759"/>
                  <a:pt x="5221372" y="901442"/>
                </a:cubicBezTo>
                <a:cubicBezTo>
                  <a:pt x="5241320" y="1030125"/>
                  <a:pt x="5200031" y="1226036"/>
                  <a:pt x="5221372" y="1389723"/>
                </a:cubicBezTo>
                <a:cubicBezTo>
                  <a:pt x="5242713" y="1553410"/>
                  <a:pt x="5194965" y="1645667"/>
                  <a:pt x="5221372" y="1896784"/>
                </a:cubicBezTo>
                <a:cubicBezTo>
                  <a:pt x="5247779" y="2147901"/>
                  <a:pt x="5188309" y="2251913"/>
                  <a:pt x="5221372" y="2347505"/>
                </a:cubicBezTo>
                <a:cubicBezTo>
                  <a:pt x="5296937" y="2591685"/>
                  <a:pt x="5039208" y="2849040"/>
                  <a:pt x="4751871" y="2817006"/>
                </a:cubicBezTo>
                <a:cubicBezTo>
                  <a:pt x="4551515" y="2825092"/>
                  <a:pt x="4475452" y="2816871"/>
                  <a:pt x="4259398" y="2817006"/>
                </a:cubicBezTo>
                <a:cubicBezTo>
                  <a:pt x="4043344" y="2817141"/>
                  <a:pt x="3983988" y="2789226"/>
                  <a:pt x="3852573" y="2817006"/>
                </a:cubicBezTo>
                <a:cubicBezTo>
                  <a:pt x="3721158" y="2844786"/>
                  <a:pt x="3537472" y="2772971"/>
                  <a:pt x="3402924" y="2817006"/>
                </a:cubicBezTo>
                <a:cubicBezTo>
                  <a:pt x="3268376" y="2861041"/>
                  <a:pt x="3096607" y="2811122"/>
                  <a:pt x="2867628" y="2817006"/>
                </a:cubicBezTo>
                <a:cubicBezTo>
                  <a:pt x="2638649" y="2822890"/>
                  <a:pt x="2442981" y="2749506"/>
                  <a:pt x="2246685" y="2817006"/>
                </a:cubicBezTo>
                <a:cubicBezTo>
                  <a:pt x="2050389" y="2884506"/>
                  <a:pt x="1925121" y="2770692"/>
                  <a:pt x="1711388" y="2817006"/>
                </a:cubicBezTo>
                <a:cubicBezTo>
                  <a:pt x="1497655" y="2863320"/>
                  <a:pt x="1472444" y="2789919"/>
                  <a:pt x="1304563" y="2817006"/>
                </a:cubicBezTo>
                <a:cubicBezTo>
                  <a:pt x="1136683" y="2844093"/>
                  <a:pt x="728743" y="2749549"/>
                  <a:pt x="469501" y="2817006"/>
                </a:cubicBezTo>
                <a:cubicBezTo>
                  <a:pt x="230606" y="2749342"/>
                  <a:pt x="-14428" y="2540019"/>
                  <a:pt x="0" y="2347505"/>
                </a:cubicBezTo>
                <a:cubicBezTo>
                  <a:pt x="-30783" y="2152086"/>
                  <a:pt x="31416" y="2107481"/>
                  <a:pt x="0" y="1934344"/>
                </a:cubicBezTo>
                <a:cubicBezTo>
                  <a:pt x="-31416" y="1761207"/>
                  <a:pt x="45985" y="1647094"/>
                  <a:pt x="0" y="1446063"/>
                </a:cubicBezTo>
                <a:cubicBezTo>
                  <a:pt x="-45985" y="1245032"/>
                  <a:pt x="3406" y="1054557"/>
                  <a:pt x="0" y="939002"/>
                </a:cubicBezTo>
                <a:cubicBezTo>
                  <a:pt x="-3406" y="823447"/>
                  <a:pt x="49973" y="647836"/>
                  <a:pt x="0" y="469501"/>
                </a:cubicBezTo>
                <a:close/>
              </a:path>
              <a:path w="5221372" h="2817006" stroke="0" extrusionOk="0">
                <a:moveTo>
                  <a:pt x="0" y="469501"/>
                </a:moveTo>
                <a:cubicBezTo>
                  <a:pt x="67891" y="187506"/>
                  <a:pt x="264107" y="-27531"/>
                  <a:pt x="469501" y="0"/>
                </a:cubicBezTo>
                <a:cubicBezTo>
                  <a:pt x="602654" y="-42650"/>
                  <a:pt x="877800" y="49257"/>
                  <a:pt x="1047621" y="0"/>
                </a:cubicBezTo>
                <a:cubicBezTo>
                  <a:pt x="1217442" y="-49257"/>
                  <a:pt x="1320886" y="29581"/>
                  <a:pt x="1454446" y="0"/>
                </a:cubicBezTo>
                <a:cubicBezTo>
                  <a:pt x="1588006" y="-29581"/>
                  <a:pt x="1881336" y="40373"/>
                  <a:pt x="2075390" y="0"/>
                </a:cubicBezTo>
                <a:cubicBezTo>
                  <a:pt x="2269444" y="-40373"/>
                  <a:pt x="2444367" y="19711"/>
                  <a:pt x="2653510" y="0"/>
                </a:cubicBezTo>
                <a:cubicBezTo>
                  <a:pt x="2862653" y="-19711"/>
                  <a:pt x="3038927" y="24758"/>
                  <a:pt x="3274453" y="0"/>
                </a:cubicBezTo>
                <a:cubicBezTo>
                  <a:pt x="3509979" y="-24758"/>
                  <a:pt x="3656017" y="6793"/>
                  <a:pt x="3766926" y="0"/>
                </a:cubicBezTo>
                <a:cubicBezTo>
                  <a:pt x="3877835" y="-6793"/>
                  <a:pt x="4074886" y="37727"/>
                  <a:pt x="4259398" y="0"/>
                </a:cubicBezTo>
                <a:cubicBezTo>
                  <a:pt x="4443910" y="-37727"/>
                  <a:pt x="4590101" y="6843"/>
                  <a:pt x="4751871" y="0"/>
                </a:cubicBezTo>
                <a:cubicBezTo>
                  <a:pt x="5000335" y="7387"/>
                  <a:pt x="5160897" y="182487"/>
                  <a:pt x="5221372" y="469501"/>
                </a:cubicBezTo>
                <a:cubicBezTo>
                  <a:pt x="5256857" y="707261"/>
                  <a:pt x="5166131" y="725762"/>
                  <a:pt x="5221372" y="957782"/>
                </a:cubicBezTo>
                <a:cubicBezTo>
                  <a:pt x="5276613" y="1189802"/>
                  <a:pt x="5183113" y="1329316"/>
                  <a:pt x="5221372" y="1427283"/>
                </a:cubicBezTo>
                <a:cubicBezTo>
                  <a:pt x="5259631" y="1525250"/>
                  <a:pt x="5211347" y="1662911"/>
                  <a:pt x="5221372" y="1859224"/>
                </a:cubicBezTo>
                <a:cubicBezTo>
                  <a:pt x="5231397" y="2055537"/>
                  <a:pt x="5186389" y="2171593"/>
                  <a:pt x="5221372" y="2347505"/>
                </a:cubicBezTo>
                <a:cubicBezTo>
                  <a:pt x="5204922" y="2616423"/>
                  <a:pt x="4971609" y="2777313"/>
                  <a:pt x="4751871" y="2817006"/>
                </a:cubicBezTo>
                <a:cubicBezTo>
                  <a:pt x="4570619" y="2849452"/>
                  <a:pt x="4456661" y="2809646"/>
                  <a:pt x="4259398" y="2817006"/>
                </a:cubicBezTo>
                <a:cubicBezTo>
                  <a:pt x="4062135" y="2824366"/>
                  <a:pt x="3984318" y="2761968"/>
                  <a:pt x="3724102" y="2817006"/>
                </a:cubicBezTo>
                <a:cubicBezTo>
                  <a:pt x="3463886" y="2872044"/>
                  <a:pt x="3404851" y="2798801"/>
                  <a:pt x="3231630" y="2817006"/>
                </a:cubicBezTo>
                <a:cubicBezTo>
                  <a:pt x="3058409" y="2835211"/>
                  <a:pt x="2996756" y="2784848"/>
                  <a:pt x="2824805" y="2817006"/>
                </a:cubicBezTo>
                <a:cubicBezTo>
                  <a:pt x="2652855" y="2849164"/>
                  <a:pt x="2471117" y="2793861"/>
                  <a:pt x="2332332" y="2817006"/>
                </a:cubicBezTo>
                <a:cubicBezTo>
                  <a:pt x="2193547" y="2840151"/>
                  <a:pt x="1987958" y="2781528"/>
                  <a:pt x="1882683" y="2817006"/>
                </a:cubicBezTo>
                <a:cubicBezTo>
                  <a:pt x="1777408" y="2852484"/>
                  <a:pt x="1550911" y="2778703"/>
                  <a:pt x="1390211" y="2817006"/>
                </a:cubicBezTo>
                <a:cubicBezTo>
                  <a:pt x="1229511" y="2855309"/>
                  <a:pt x="710628" y="2789656"/>
                  <a:pt x="469501" y="2817006"/>
                </a:cubicBezTo>
                <a:cubicBezTo>
                  <a:pt x="197751" y="2853917"/>
                  <a:pt x="-5388" y="2615291"/>
                  <a:pt x="0" y="2347505"/>
                </a:cubicBezTo>
                <a:cubicBezTo>
                  <a:pt x="-12710" y="2143795"/>
                  <a:pt x="11588" y="2029594"/>
                  <a:pt x="0" y="1840444"/>
                </a:cubicBezTo>
                <a:cubicBezTo>
                  <a:pt x="-11588" y="1651294"/>
                  <a:pt x="47807" y="1613805"/>
                  <a:pt x="0" y="1408503"/>
                </a:cubicBezTo>
                <a:cubicBezTo>
                  <a:pt x="-47807" y="1203201"/>
                  <a:pt x="49224" y="1157646"/>
                  <a:pt x="0" y="957782"/>
                </a:cubicBezTo>
                <a:cubicBezTo>
                  <a:pt x="-49224" y="757918"/>
                  <a:pt x="41154" y="567762"/>
                  <a:pt x="0" y="469501"/>
                </a:cubicBezTo>
                <a:close/>
              </a:path>
            </a:pathLst>
          </a:custGeom>
          <a:solidFill>
            <a:sysClr val="window" lastClr="FFFFFF"/>
          </a:solidFill>
          <a:ln w="28575" cap="flat" cmpd="sng" algn="ctr">
            <a:solidFill>
              <a:srgbClr val="0070C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xmlns="" sd="1487734217">
                  <a:prstGeom prst="flowChartAlternateProcess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3200" b="1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ếu</a:t>
            </a:r>
            <a:r>
              <a:rPr kumimoji="0" lang="en-US" sz="3200" b="1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0" cap="none" spc="0" normalizeH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ũng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ặt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ong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ổi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ệc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ày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ẽ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àm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ì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ể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hông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ảnh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ưởng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ến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ng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óm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áng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ềng</a:t>
            </a:r>
            <a:r>
              <a:rPr lang="en-US" sz="32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endParaRPr kumimoji="0" lang="vi-VN" sz="32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274D77F6-39E8-4017-AAE2-19412D7DEC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8172" y="3367546"/>
            <a:ext cx="2093828" cy="2675185"/>
          </a:xfrm>
          <a:prstGeom prst="rect">
            <a:avLst/>
          </a:prstGeom>
        </p:spPr>
      </p:pic>
      <p:sp>
        <p:nvSpPr>
          <p:cNvPr id="36" name="Speech Bubble: Rectangle with Corners Rounded 35">
            <a:extLst>
              <a:ext uri="{FF2B5EF4-FFF2-40B4-BE49-F238E27FC236}">
                <a16:creationId xmlns:a16="http://schemas.microsoft.com/office/drawing/2014/main" xmlns="" id="{10D90863-631A-4729-A81A-5692D73B194C}"/>
              </a:ext>
            </a:extLst>
          </p:cNvPr>
          <p:cNvSpPr/>
          <p:nvPr/>
        </p:nvSpPr>
        <p:spPr>
          <a:xfrm>
            <a:off x="5699759" y="1400477"/>
            <a:ext cx="5708469" cy="1739900"/>
          </a:xfrm>
          <a:prstGeom prst="wedgeRoundRectCallout">
            <a:avLst>
              <a:gd name="adj1" fmla="val 42483"/>
              <a:gd name="adj2" fmla="val 58854"/>
              <a:gd name="adj3" fmla="val 16667"/>
            </a:avLst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ệc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àm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ủa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ác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ạn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ong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h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ó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ảnh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ưởng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ế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ào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đến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àng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xóm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áng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iềng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?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D0374280-3B24-421F-800E-C209D385B3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2400" y="46896"/>
            <a:ext cx="7010400" cy="9437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FAB0E24-1956-456A-8004-6FE52F34D9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84" t="-866" r="-9785" b="47095"/>
          <a:stretch/>
        </p:blipFill>
        <p:spPr>
          <a:xfrm>
            <a:off x="427773" y="1570413"/>
            <a:ext cx="5099715" cy="415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819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08E20595-6A36-00B1-F78B-694D58A944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Rectangle: Rounded Corners 16">
            <a:extLst>
              <a:ext uri="{FF2B5EF4-FFF2-40B4-BE49-F238E27FC236}">
                <a16:creationId xmlns:a16="http://schemas.microsoft.com/office/drawing/2014/main" xmlns="" id="{EBF2CC59-E424-FB93-AF61-EE6CEB3005FA}"/>
              </a:ext>
            </a:extLst>
          </p:cNvPr>
          <p:cNvSpPr/>
          <p:nvPr/>
        </p:nvSpPr>
        <p:spPr>
          <a:xfrm>
            <a:off x="540774" y="459000"/>
            <a:ext cx="11208774" cy="5961465"/>
          </a:xfrm>
          <a:custGeom>
            <a:avLst/>
            <a:gdLst>
              <a:gd name="connsiteX0" fmla="*/ 0 w 7661923"/>
              <a:gd name="connsiteY0" fmla="*/ 590674 h 3543972"/>
              <a:gd name="connsiteX1" fmla="*/ 590674 w 7661923"/>
              <a:gd name="connsiteY1" fmla="*/ 0 h 3543972"/>
              <a:gd name="connsiteX2" fmla="*/ 7071249 w 7661923"/>
              <a:gd name="connsiteY2" fmla="*/ 0 h 3543972"/>
              <a:gd name="connsiteX3" fmla="*/ 7661923 w 7661923"/>
              <a:gd name="connsiteY3" fmla="*/ 590674 h 3543972"/>
              <a:gd name="connsiteX4" fmla="*/ 7661923 w 7661923"/>
              <a:gd name="connsiteY4" fmla="*/ 2953298 h 3543972"/>
              <a:gd name="connsiteX5" fmla="*/ 7071249 w 7661923"/>
              <a:gd name="connsiteY5" fmla="*/ 3543972 h 3543972"/>
              <a:gd name="connsiteX6" fmla="*/ 590674 w 7661923"/>
              <a:gd name="connsiteY6" fmla="*/ 3543972 h 3543972"/>
              <a:gd name="connsiteX7" fmla="*/ 0 w 7661923"/>
              <a:gd name="connsiteY7" fmla="*/ 2953298 h 3543972"/>
              <a:gd name="connsiteX8" fmla="*/ 0 w 7661923"/>
              <a:gd name="connsiteY8" fmla="*/ 590674 h 354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61923" h="3543972" fill="none" extrusionOk="0">
                <a:moveTo>
                  <a:pt x="0" y="590674"/>
                </a:moveTo>
                <a:cubicBezTo>
                  <a:pt x="-3129" y="320218"/>
                  <a:pt x="266416" y="35318"/>
                  <a:pt x="590674" y="0"/>
                </a:cubicBezTo>
                <a:cubicBezTo>
                  <a:pt x="1794467" y="-123866"/>
                  <a:pt x="6042098" y="81108"/>
                  <a:pt x="7071249" y="0"/>
                </a:cubicBezTo>
                <a:cubicBezTo>
                  <a:pt x="7404141" y="-10251"/>
                  <a:pt x="7623705" y="267606"/>
                  <a:pt x="7661923" y="590674"/>
                </a:cubicBezTo>
                <a:cubicBezTo>
                  <a:pt x="7829640" y="866682"/>
                  <a:pt x="7532024" y="2657065"/>
                  <a:pt x="7661923" y="2953298"/>
                </a:cubicBezTo>
                <a:cubicBezTo>
                  <a:pt x="7682195" y="3225688"/>
                  <a:pt x="7408293" y="3563608"/>
                  <a:pt x="7071249" y="3543972"/>
                </a:cubicBezTo>
                <a:cubicBezTo>
                  <a:pt x="5427670" y="3526117"/>
                  <a:pt x="3047081" y="3434628"/>
                  <a:pt x="590674" y="3543972"/>
                </a:cubicBezTo>
                <a:cubicBezTo>
                  <a:pt x="279635" y="3506129"/>
                  <a:pt x="27738" y="3331312"/>
                  <a:pt x="0" y="2953298"/>
                </a:cubicBezTo>
                <a:cubicBezTo>
                  <a:pt x="118672" y="2050218"/>
                  <a:pt x="-34222" y="1755439"/>
                  <a:pt x="0" y="590674"/>
                </a:cubicBezTo>
                <a:close/>
              </a:path>
              <a:path w="7661923" h="3543972" stroke="0" extrusionOk="0">
                <a:moveTo>
                  <a:pt x="0" y="590674"/>
                </a:moveTo>
                <a:cubicBezTo>
                  <a:pt x="9589" y="265019"/>
                  <a:pt x="246261" y="36136"/>
                  <a:pt x="590674" y="0"/>
                </a:cubicBezTo>
                <a:cubicBezTo>
                  <a:pt x="2619233" y="96512"/>
                  <a:pt x="3878262" y="-165548"/>
                  <a:pt x="7071249" y="0"/>
                </a:cubicBezTo>
                <a:cubicBezTo>
                  <a:pt x="7459543" y="1557"/>
                  <a:pt x="7711327" y="272522"/>
                  <a:pt x="7661923" y="590674"/>
                </a:cubicBezTo>
                <a:cubicBezTo>
                  <a:pt x="7531710" y="1385815"/>
                  <a:pt x="7786896" y="1901943"/>
                  <a:pt x="7661923" y="2953298"/>
                </a:cubicBezTo>
                <a:cubicBezTo>
                  <a:pt x="7670145" y="3235322"/>
                  <a:pt x="7423708" y="3532093"/>
                  <a:pt x="7071249" y="3543972"/>
                </a:cubicBezTo>
                <a:cubicBezTo>
                  <a:pt x="6392904" y="3705684"/>
                  <a:pt x="3771159" y="3687594"/>
                  <a:pt x="590674" y="3543972"/>
                </a:cubicBezTo>
                <a:cubicBezTo>
                  <a:pt x="308331" y="3520807"/>
                  <a:pt x="52007" y="3257170"/>
                  <a:pt x="0" y="2953298"/>
                </a:cubicBezTo>
                <a:cubicBezTo>
                  <a:pt x="128997" y="2318506"/>
                  <a:pt x="-102252" y="1067692"/>
                  <a:pt x="0" y="590674"/>
                </a:cubicBezTo>
                <a:close/>
              </a:path>
            </a:pathLst>
          </a:custGeom>
          <a:solidFill>
            <a:srgbClr val="FFFF99">
              <a:alpha val="96000"/>
            </a:srgbClr>
          </a:solidFill>
          <a:ln w="38100">
            <a:solidFill>
              <a:srgbClr val="795C4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Flowchart: Alternate Process 33">
            <a:extLst>
              <a:ext uri="{FF2B5EF4-FFF2-40B4-BE49-F238E27FC236}">
                <a16:creationId xmlns:a16="http://schemas.microsoft.com/office/drawing/2014/main" xmlns="" id="{BB141A8E-1B3B-42E3-AA5A-7622EBC53504}"/>
              </a:ext>
            </a:extLst>
          </p:cNvPr>
          <p:cNvSpPr/>
          <p:nvPr/>
        </p:nvSpPr>
        <p:spPr>
          <a:xfrm>
            <a:off x="4962943" y="3838875"/>
            <a:ext cx="5221372" cy="2089977"/>
          </a:xfrm>
          <a:custGeom>
            <a:avLst/>
            <a:gdLst>
              <a:gd name="connsiteX0" fmla="*/ 0 w 5221372"/>
              <a:gd name="connsiteY0" fmla="*/ 348330 h 2089977"/>
              <a:gd name="connsiteX1" fmla="*/ 348330 w 5221372"/>
              <a:gd name="connsiteY1" fmla="*/ 0 h 2089977"/>
              <a:gd name="connsiteX2" fmla="*/ 823425 w 5221372"/>
              <a:gd name="connsiteY2" fmla="*/ 0 h 2089977"/>
              <a:gd name="connsiteX3" fmla="*/ 1253273 w 5221372"/>
              <a:gd name="connsiteY3" fmla="*/ 0 h 2089977"/>
              <a:gd name="connsiteX4" fmla="*/ 1773615 w 5221372"/>
              <a:gd name="connsiteY4" fmla="*/ 0 h 2089977"/>
              <a:gd name="connsiteX5" fmla="*/ 2293957 w 5221372"/>
              <a:gd name="connsiteY5" fmla="*/ 0 h 2089977"/>
              <a:gd name="connsiteX6" fmla="*/ 2723804 w 5221372"/>
              <a:gd name="connsiteY6" fmla="*/ 0 h 2089977"/>
              <a:gd name="connsiteX7" fmla="*/ 3198899 w 5221372"/>
              <a:gd name="connsiteY7" fmla="*/ 0 h 2089977"/>
              <a:gd name="connsiteX8" fmla="*/ 3673994 w 5221372"/>
              <a:gd name="connsiteY8" fmla="*/ 0 h 2089977"/>
              <a:gd name="connsiteX9" fmla="*/ 4149089 w 5221372"/>
              <a:gd name="connsiteY9" fmla="*/ 0 h 2089977"/>
              <a:gd name="connsiteX10" fmla="*/ 4873043 w 5221372"/>
              <a:gd name="connsiteY10" fmla="*/ 0 h 2089977"/>
              <a:gd name="connsiteX11" fmla="*/ 5221373 w 5221372"/>
              <a:gd name="connsiteY11" fmla="*/ 348330 h 2089977"/>
              <a:gd name="connsiteX12" fmla="*/ 5221372 w 5221372"/>
              <a:gd name="connsiteY12" fmla="*/ 1741648 h 2089977"/>
              <a:gd name="connsiteX13" fmla="*/ 4873042 w 5221372"/>
              <a:gd name="connsiteY13" fmla="*/ 2089978 h 2089977"/>
              <a:gd name="connsiteX14" fmla="*/ 4307453 w 5221372"/>
              <a:gd name="connsiteY14" fmla="*/ 2089978 h 2089977"/>
              <a:gd name="connsiteX15" fmla="*/ 3787111 w 5221372"/>
              <a:gd name="connsiteY15" fmla="*/ 2089978 h 2089977"/>
              <a:gd name="connsiteX16" fmla="*/ 3221522 w 5221372"/>
              <a:gd name="connsiteY16" fmla="*/ 2089978 h 2089977"/>
              <a:gd name="connsiteX17" fmla="*/ 2655933 w 5221372"/>
              <a:gd name="connsiteY17" fmla="*/ 2089978 h 2089977"/>
              <a:gd name="connsiteX18" fmla="*/ 2226085 w 5221372"/>
              <a:gd name="connsiteY18" fmla="*/ 2089977 h 2089977"/>
              <a:gd name="connsiteX19" fmla="*/ 1750991 w 5221372"/>
              <a:gd name="connsiteY19" fmla="*/ 2089977 h 2089977"/>
              <a:gd name="connsiteX20" fmla="*/ 1230649 w 5221372"/>
              <a:gd name="connsiteY20" fmla="*/ 2089977 h 2089977"/>
              <a:gd name="connsiteX21" fmla="*/ 348330 w 5221372"/>
              <a:gd name="connsiteY21" fmla="*/ 2089977 h 2089977"/>
              <a:gd name="connsiteX22" fmla="*/ 0 w 5221372"/>
              <a:gd name="connsiteY22" fmla="*/ 1741647 h 2089977"/>
              <a:gd name="connsiteX23" fmla="*/ 0 w 5221372"/>
              <a:gd name="connsiteY23" fmla="*/ 1291141 h 2089977"/>
              <a:gd name="connsiteX24" fmla="*/ 0 w 5221372"/>
              <a:gd name="connsiteY24" fmla="*/ 854569 h 2089977"/>
              <a:gd name="connsiteX25" fmla="*/ 0 w 5221372"/>
              <a:gd name="connsiteY25" fmla="*/ 348330 h 2089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221372" h="2089977" fill="none" extrusionOk="0">
                <a:moveTo>
                  <a:pt x="0" y="348330"/>
                </a:moveTo>
                <a:cubicBezTo>
                  <a:pt x="-36024" y="177590"/>
                  <a:pt x="142413" y="34510"/>
                  <a:pt x="348330" y="0"/>
                </a:cubicBezTo>
                <a:cubicBezTo>
                  <a:pt x="555081" y="-22069"/>
                  <a:pt x="656231" y="46117"/>
                  <a:pt x="823425" y="0"/>
                </a:cubicBezTo>
                <a:cubicBezTo>
                  <a:pt x="990620" y="-46117"/>
                  <a:pt x="1099742" y="25509"/>
                  <a:pt x="1253273" y="0"/>
                </a:cubicBezTo>
                <a:cubicBezTo>
                  <a:pt x="1406804" y="-25509"/>
                  <a:pt x="1626940" y="20081"/>
                  <a:pt x="1773615" y="0"/>
                </a:cubicBezTo>
                <a:cubicBezTo>
                  <a:pt x="1920290" y="-20081"/>
                  <a:pt x="2046639" y="22532"/>
                  <a:pt x="2293957" y="0"/>
                </a:cubicBezTo>
                <a:cubicBezTo>
                  <a:pt x="2541275" y="-22532"/>
                  <a:pt x="2584769" y="38048"/>
                  <a:pt x="2723804" y="0"/>
                </a:cubicBezTo>
                <a:cubicBezTo>
                  <a:pt x="2862839" y="-38048"/>
                  <a:pt x="3003373" y="16534"/>
                  <a:pt x="3198899" y="0"/>
                </a:cubicBezTo>
                <a:cubicBezTo>
                  <a:pt x="3394426" y="-16534"/>
                  <a:pt x="3504952" y="4255"/>
                  <a:pt x="3673994" y="0"/>
                </a:cubicBezTo>
                <a:cubicBezTo>
                  <a:pt x="3843036" y="-4255"/>
                  <a:pt x="4039444" y="51048"/>
                  <a:pt x="4149089" y="0"/>
                </a:cubicBezTo>
                <a:cubicBezTo>
                  <a:pt x="4258734" y="-51048"/>
                  <a:pt x="4624809" y="24175"/>
                  <a:pt x="4873043" y="0"/>
                </a:cubicBezTo>
                <a:cubicBezTo>
                  <a:pt x="5052610" y="-31432"/>
                  <a:pt x="5264686" y="153190"/>
                  <a:pt x="5221373" y="348330"/>
                </a:cubicBezTo>
                <a:cubicBezTo>
                  <a:pt x="5342258" y="770490"/>
                  <a:pt x="5251489" y="1270199"/>
                  <a:pt x="5221372" y="1741648"/>
                </a:cubicBezTo>
                <a:cubicBezTo>
                  <a:pt x="5195945" y="1928470"/>
                  <a:pt x="5048863" y="2058529"/>
                  <a:pt x="4873042" y="2089978"/>
                </a:cubicBezTo>
                <a:cubicBezTo>
                  <a:pt x="4722335" y="2122678"/>
                  <a:pt x="4478606" y="2084627"/>
                  <a:pt x="4307453" y="2089978"/>
                </a:cubicBezTo>
                <a:cubicBezTo>
                  <a:pt x="4136300" y="2095329"/>
                  <a:pt x="3934308" y="2060380"/>
                  <a:pt x="3787111" y="2089978"/>
                </a:cubicBezTo>
                <a:cubicBezTo>
                  <a:pt x="3639914" y="2119576"/>
                  <a:pt x="3453230" y="2063107"/>
                  <a:pt x="3221522" y="2089978"/>
                </a:cubicBezTo>
                <a:cubicBezTo>
                  <a:pt x="2989814" y="2116849"/>
                  <a:pt x="2929908" y="2069528"/>
                  <a:pt x="2655933" y="2089978"/>
                </a:cubicBezTo>
                <a:cubicBezTo>
                  <a:pt x="2381958" y="2110427"/>
                  <a:pt x="2355663" y="2065268"/>
                  <a:pt x="2226085" y="2089977"/>
                </a:cubicBezTo>
                <a:cubicBezTo>
                  <a:pt x="2096507" y="2114686"/>
                  <a:pt x="1926901" y="2054508"/>
                  <a:pt x="1750991" y="2089977"/>
                </a:cubicBezTo>
                <a:cubicBezTo>
                  <a:pt x="1575081" y="2125446"/>
                  <a:pt x="1450094" y="2073748"/>
                  <a:pt x="1230649" y="2089977"/>
                </a:cubicBezTo>
                <a:cubicBezTo>
                  <a:pt x="1011204" y="2106206"/>
                  <a:pt x="588288" y="1996699"/>
                  <a:pt x="348330" y="2089977"/>
                </a:cubicBezTo>
                <a:cubicBezTo>
                  <a:pt x="144192" y="2078615"/>
                  <a:pt x="17159" y="1952926"/>
                  <a:pt x="0" y="1741647"/>
                </a:cubicBezTo>
                <a:cubicBezTo>
                  <a:pt x="-26857" y="1572853"/>
                  <a:pt x="372" y="1398684"/>
                  <a:pt x="0" y="1291141"/>
                </a:cubicBezTo>
                <a:cubicBezTo>
                  <a:pt x="-372" y="1183598"/>
                  <a:pt x="29844" y="993239"/>
                  <a:pt x="0" y="854569"/>
                </a:cubicBezTo>
                <a:cubicBezTo>
                  <a:pt x="-29844" y="715899"/>
                  <a:pt x="47242" y="515557"/>
                  <a:pt x="0" y="348330"/>
                </a:cubicBezTo>
                <a:close/>
              </a:path>
              <a:path w="5221372" h="2089977" stroke="0" extrusionOk="0">
                <a:moveTo>
                  <a:pt x="0" y="348330"/>
                </a:moveTo>
                <a:cubicBezTo>
                  <a:pt x="25745" y="147346"/>
                  <a:pt x="176481" y="-10484"/>
                  <a:pt x="348330" y="0"/>
                </a:cubicBezTo>
                <a:cubicBezTo>
                  <a:pt x="647719" y="-64338"/>
                  <a:pt x="783739" y="2466"/>
                  <a:pt x="959166" y="0"/>
                </a:cubicBezTo>
                <a:cubicBezTo>
                  <a:pt x="1134593" y="-2466"/>
                  <a:pt x="1260511" y="41373"/>
                  <a:pt x="1389014" y="0"/>
                </a:cubicBezTo>
                <a:cubicBezTo>
                  <a:pt x="1517517" y="-41373"/>
                  <a:pt x="1909420" y="23077"/>
                  <a:pt x="2045097" y="0"/>
                </a:cubicBezTo>
                <a:cubicBezTo>
                  <a:pt x="2180774" y="-23077"/>
                  <a:pt x="2357571" y="34584"/>
                  <a:pt x="2655934" y="0"/>
                </a:cubicBezTo>
                <a:cubicBezTo>
                  <a:pt x="2954297" y="-34584"/>
                  <a:pt x="3077304" y="29428"/>
                  <a:pt x="3312017" y="0"/>
                </a:cubicBezTo>
                <a:cubicBezTo>
                  <a:pt x="3546730" y="-29428"/>
                  <a:pt x="3582781" y="19268"/>
                  <a:pt x="3832359" y="0"/>
                </a:cubicBezTo>
                <a:cubicBezTo>
                  <a:pt x="4081937" y="-19268"/>
                  <a:pt x="4181606" y="61961"/>
                  <a:pt x="4352701" y="0"/>
                </a:cubicBezTo>
                <a:cubicBezTo>
                  <a:pt x="4523796" y="-61961"/>
                  <a:pt x="4682722" y="27900"/>
                  <a:pt x="4873043" y="0"/>
                </a:cubicBezTo>
                <a:cubicBezTo>
                  <a:pt x="5051096" y="9767"/>
                  <a:pt x="5169005" y="131952"/>
                  <a:pt x="5221373" y="348330"/>
                </a:cubicBezTo>
                <a:cubicBezTo>
                  <a:pt x="5354572" y="802822"/>
                  <a:pt x="5198429" y="1292347"/>
                  <a:pt x="5221372" y="1741648"/>
                </a:cubicBezTo>
                <a:cubicBezTo>
                  <a:pt x="5225419" y="1941020"/>
                  <a:pt x="5073933" y="2069142"/>
                  <a:pt x="4873042" y="2089978"/>
                </a:cubicBezTo>
                <a:cubicBezTo>
                  <a:pt x="4660565" y="2139619"/>
                  <a:pt x="4618125" y="2043866"/>
                  <a:pt x="4397947" y="2089978"/>
                </a:cubicBezTo>
                <a:cubicBezTo>
                  <a:pt x="4177770" y="2136090"/>
                  <a:pt x="3877145" y="2063482"/>
                  <a:pt x="3741864" y="2089978"/>
                </a:cubicBezTo>
                <a:cubicBezTo>
                  <a:pt x="3606583" y="2116474"/>
                  <a:pt x="3309972" y="2071855"/>
                  <a:pt x="3085781" y="2089978"/>
                </a:cubicBezTo>
                <a:cubicBezTo>
                  <a:pt x="2861590" y="2108101"/>
                  <a:pt x="2754567" y="2063368"/>
                  <a:pt x="2565439" y="2089977"/>
                </a:cubicBezTo>
                <a:cubicBezTo>
                  <a:pt x="2376311" y="2116586"/>
                  <a:pt x="2142970" y="2084968"/>
                  <a:pt x="1954603" y="2089977"/>
                </a:cubicBezTo>
                <a:cubicBezTo>
                  <a:pt x="1766236" y="2094986"/>
                  <a:pt x="1614521" y="2074471"/>
                  <a:pt x="1389014" y="2089977"/>
                </a:cubicBezTo>
                <a:cubicBezTo>
                  <a:pt x="1163507" y="2105483"/>
                  <a:pt x="1114920" y="2056591"/>
                  <a:pt x="913919" y="2089977"/>
                </a:cubicBezTo>
                <a:cubicBezTo>
                  <a:pt x="712919" y="2123363"/>
                  <a:pt x="576532" y="2033592"/>
                  <a:pt x="348330" y="2089977"/>
                </a:cubicBezTo>
                <a:cubicBezTo>
                  <a:pt x="149977" y="2092119"/>
                  <a:pt x="-1078" y="1978670"/>
                  <a:pt x="0" y="1741647"/>
                </a:cubicBezTo>
                <a:cubicBezTo>
                  <a:pt x="-17570" y="1609680"/>
                  <a:pt x="36235" y="1457710"/>
                  <a:pt x="0" y="1291141"/>
                </a:cubicBezTo>
                <a:cubicBezTo>
                  <a:pt x="-36235" y="1124572"/>
                  <a:pt x="47698" y="1022719"/>
                  <a:pt x="0" y="854569"/>
                </a:cubicBezTo>
                <a:cubicBezTo>
                  <a:pt x="-47698" y="686419"/>
                  <a:pt x="53444" y="521220"/>
                  <a:pt x="0" y="348330"/>
                </a:cubicBezTo>
                <a:close/>
              </a:path>
            </a:pathLst>
          </a:custGeom>
          <a:solidFill>
            <a:sysClr val="window" lastClr="FFFFFF"/>
          </a:solidFill>
          <a:ln w="28575" cap="flat" cmpd="sng" algn="ctr">
            <a:solidFill>
              <a:srgbClr val="0070C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xmlns="" sd="1487734217">
                  <a:prstGeom prst="flowChartAlternateProcess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32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ệc làm này t</a:t>
            </a:r>
            <a:r>
              <a:rPr kumimoji="0" lang="vi-VN" sz="32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ể hiện quan tâm đến hàng xóm láng giềng</a:t>
            </a:r>
            <a:endParaRPr kumimoji="0" lang="vi-VN" sz="32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274D77F6-39E8-4017-AAE2-19412D7DEC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8172" y="3367546"/>
            <a:ext cx="2093828" cy="2675185"/>
          </a:xfrm>
          <a:prstGeom prst="rect">
            <a:avLst/>
          </a:prstGeom>
        </p:spPr>
      </p:pic>
      <p:sp>
        <p:nvSpPr>
          <p:cNvPr id="36" name="Speech Bubble: Rectangle with Corners Rounded 35">
            <a:extLst>
              <a:ext uri="{FF2B5EF4-FFF2-40B4-BE49-F238E27FC236}">
                <a16:creationId xmlns:a16="http://schemas.microsoft.com/office/drawing/2014/main" xmlns="" id="{10D90863-631A-4729-A81A-5692D73B194C}"/>
              </a:ext>
            </a:extLst>
          </p:cNvPr>
          <p:cNvSpPr/>
          <p:nvPr/>
        </p:nvSpPr>
        <p:spPr>
          <a:xfrm>
            <a:off x="5699760" y="1400476"/>
            <a:ext cx="5385582" cy="2028523"/>
          </a:xfrm>
          <a:prstGeom prst="wedgeRoundRectCallout">
            <a:avLst>
              <a:gd name="adj1" fmla="val 42483"/>
              <a:gd name="adj2" fmla="val 58854"/>
              <a:gd name="adj3" fmla="val 16667"/>
            </a:avLst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3200" kern="0">
                <a:solidFill>
                  <a:srgbClr val="002060"/>
                </a:solidFill>
                <a:cs typeface="Arial" panose="020B0604020202020204" pitchFamily="34" charset="0"/>
              </a:rPr>
              <a:t>Bạn nữ </a:t>
            </a:r>
            <a:r>
              <a:rPr lang="vi-VN" sz="3200" kern="0">
                <a:solidFill>
                  <a:srgbClr val="002060"/>
                </a:solidFill>
                <a:cs typeface="Arial" panose="020B0604020202020204" pitchFamily="34" charset="0"/>
              </a:rPr>
              <a:t>đưa ra lời đề nghị nhận giúp thư mời họp tổ dân phố cho nhà chú Trí vì cả nhà chú Trí đi vắng.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D0374280-3B24-421F-800E-C209D385B3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2400" y="46896"/>
            <a:ext cx="7010400" cy="9437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FAB0E24-1956-456A-8004-6FE52F34D9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" t="52199" r="41359" b="-5606"/>
          <a:stretch/>
        </p:blipFill>
        <p:spPr>
          <a:xfrm>
            <a:off x="-345950" y="1915729"/>
            <a:ext cx="5308893" cy="3865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1432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1026CDB6-896F-7EAF-3155-9AB1CF5AD9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Rectangle: Rounded Corners 16">
            <a:extLst>
              <a:ext uri="{FF2B5EF4-FFF2-40B4-BE49-F238E27FC236}">
                <a16:creationId xmlns:a16="http://schemas.microsoft.com/office/drawing/2014/main" xmlns="" id="{3E72E28D-0648-2D97-33E8-7F7BBD4DCE89}"/>
              </a:ext>
            </a:extLst>
          </p:cNvPr>
          <p:cNvSpPr/>
          <p:nvPr/>
        </p:nvSpPr>
        <p:spPr>
          <a:xfrm>
            <a:off x="540774" y="459000"/>
            <a:ext cx="11208774" cy="5961465"/>
          </a:xfrm>
          <a:custGeom>
            <a:avLst/>
            <a:gdLst>
              <a:gd name="connsiteX0" fmla="*/ 0 w 7661923"/>
              <a:gd name="connsiteY0" fmla="*/ 590674 h 3543972"/>
              <a:gd name="connsiteX1" fmla="*/ 590674 w 7661923"/>
              <a:gd name="connsiteY1" fmla="*/ 0 h 3543972"/>
              <a:gd name="connsiteX2" fmla="*/ 7071249 w 7661923"/>
              <a:gd name="connsiteY2" fmla="*/ 0 h 3543972"/>
              <a:gd name="connsiteX3" fmla="*/ 7661923 w 7661923"/>
              <a:gd name="connsiteY3" fmla="*/ 590674 h 3543972"/>
              <a:gd name="connsiteX4" fmla="*/ 7661923 w 7661923"/>
              <a:gd name="connsiteY4" fmla="*/ 2953298 h 3543972"/>
              <a:gd name="connsiteX5" fmla="*/ 7071249 w 7661923"/>
              <a:gd name="connsiteY5" fmla="*/ 3543972 h 3543972"/>
              <a:gd name="connsiteX6" fmla="*/ 590674 w 7661923"/>
              <a:gd name="connsiteY6" fmla="*/ 3543972 h 3543972"/>
              <a:gd name="connsiteX7" fmla="*/ 0 w 7661923"/>
              <a:gd name="connsiteY7" fmla="*/ 2953298 h 3543972"/>
              <a:gd name="connsiteX8" fmla="*/ 0 w 7661923"/>
              <a:gd name="connsiteY8" fmla="*/ 590674 h 354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61923" h="3543972" fill="none" extrusionOk="0">
                <a:moveTo>
                  <a:pt x="0" y="590674"/>
                </a:moveTo>
                <a:cubicBezTo>
                  <a:pt x="-3129" y="320218"/>
                  <a:pt x="266416" y="35318"/>
                  <a:pt x="590674" y="0"/>
                </a:cubicBezTo>
                <a:cubicBezTo>
                  <a:pt x="1794467" y="-123866"/>
                  <a:pt x="6042098" y="81108"/>
                  <a:pt x="7071249" y="0"/>
                </a:cubicBezTo>
                <a:cubicBezTo>
                  <a:pt x="7404141" y="-10251"/>
                  <a:pt x="7623705" y="267606"/>
                  <a:pt x="7661923" y="590674"/>
                </a:cubicBezTo>
                <a:cubicBezTo>
                  <a:pt x="7829640" y="866682"/>
                  <a:pt x="7532024" y="2657065"/>
                  <a:pt x="7661923" y="2953298"/>
                </a:cubicBezTo>
                <a:cubicBezTo>
                  <a:pt x="7682195" y="3225688"/>
                  <a:pt x="7408293" y="3563608"/>
                  <a:pt x="7071249" y="3543972"/>
                </a:cubicBezTo>
                <a:cubicBezTo>
                  <a:pt x="5427670" y="3526117"/>
                  <a:pt x="3047081" y="3434628"/>
                  <a:pt x="590674" y="3543972"/>
                </a:cubicBezTo>
                <a:cubicBezTo>
                  <a:pt x="279635" y="3506129"/>
                  <a:pt x="27738" y="3331312"/>
                  <a:pt x="0" y="2953298"/>
                </a:cubicBezTo>
                <a:cubicBezTo>
                  <a:pt x="118672" y="2050218"/>
                  <a:pt x="-34222" y="1755439"/>
                  <a:pt x="0" y="590674"/>
                </a:cubicBezTo>
                <a:close/>
              </a:path>
              <a:path w="7661923" h="3543972" stroke="0" extrusionOk="0">
                <a:moveTo>
                  <a:pt x="0" y="590674"/>
                </a:moveTo>
                <a:cubicBezTo>
                  <a:pt x="9589" y="265019"/>
                  <a:pt x="246261" y="36136"/>
                  <a:pt x="590674" y="0"/>
                </a:cubicBezTo>
                <a:cubicBezTo>
                  <a:pt x="2619233" y="96512"/>
                  <a:pt x="3878262" y="-165548"/>
                  <a:pt x="7071249" y="0"/>
                </a:cubicBezTo>
                <a:cubicBezTo>
                  <a:pt x="7459543" y="1557"/>
                  <a:pt x="7711327" y="272522"/>
                  <a:pt x="7661923" y="590674"/>
                </a:cubicBezTo>
                <a:cubicBezTo>
                  <a:pt x="7531710" y="1385815"/>
                  <a:pt x="7786896" y="1901943"/>
                  <a:pt x="7661923" y="2953298"/>
                </a:cubicBezTo>
                <a:cubicBezTo>
                  <a:pt x="7670145" y="3235322"/>
                  <a:pt x="7423708" y="3532093"/>
                  <a:pt x="7071249" y="3543972"/>
                </a:cubicBezTo>
                <a:cubicBezTo>
                  <a:pt x="6392904" y="3705684"/>
                  <a:pt x="3771159" y="3687594"/>
                  <a:pt x="590674" y="3543972"/>
                </a:cubicBezTo>
                <a:cubicBezTo>
                  <a:pt x="308331" y="3520807"/>
                  <a:pt x="52007" y="3257170"/>
                  <a:pt x="0" y="2953298"/>
                </a:cubicBezTo>
                <a:cubicBezTo>
                  <a:pt x="128997" y="2318506"/>
                  <a:pt x="-102252" y="1067692"/>
                  <a:pt x="0" y="590674"/>
                </a:cubicBezTo>
                <a:close/>
              </a:path>
            </a:pathLst>
          </a:custGeom>
          <a:solidFill>
            <a:srgbClr val="FFFF99">
              <a:alpha val="96000"/>
            </a:srgbClr>
          </a:solidFill>
          <a:ln w="38100">
            <a:solidFill>
              <a:srgbClr val="795C4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Flowchart: Alternate Process 33">
            <a:extLst>
              <a:ext uri="{FF2B5EF4-FFF2-40B4-BE49-F238E27FC236}">
                <a16:creationId xmlns:a16="http://schemas.microsoft.com/office/drawing/2014/main" xmlns="" id="{BB141A8E-1B3B-42E3-AA5A-7622EBC53504}"/>
              </a:ext>
            </a:extLst>
          </p:cNvPr>
          <p:cNvSpPr/>
          <p:nvPr/>
        </p:nvSpPr>
        <p:spPr>
          <a:xfrm>
            <a:off x="4962943" y="3838875"/>
            <a:ext cx="5221372" cy="2089977"/>
          </a:xfrm>
          <a:custGeom>
            <a:avLst/>
            <a:gdLst>
              <a:gd name="connsiteX0" fmla="*/ 0 w 5221372"/>
              <a:gd name="connsiteY0" fmla="*/ 348330 h 2089977"/>
              <a:gd name="connsiteX1" fmla="*/ 348330 w 5221372"/>
              <a:gd name="connsiteY1" fmla="*/ 0 h 2089977"/>
              <a:gd name="connsiteX2" fmla="*/ 823425 w 5221372"/>
              <a:gd name="connsiteY2" fmla="*/ 0 h 2089977"/>
              <a:gd name="connsiteX3" fmla="*/ 1253273 w 5221372"/>
              <a:gd name="connsiteY3" fmla="*/ 0 h 2089977"/>
              <a:gd name="connsiteX4" fmla="*/ 1773615 w 5221372"/>
              <a:gd name="connsiteY4" fmla="*/ 0 h 2089977"/>
              <a:gd name="connsiteX5" fmla="*/ 2293957 w 5221372"/>
              <a:gd name="connsiteY5" fmla="*/ 0 h 2089977"/>
              <a:gd name="connsiteX6" fmla="*/ 2723804 w 5221372"/>
              <a:gd name="connsiteY6" fmla="*/ 0 h 2089977"/>
              <a:gd name="connsiteX7" fmla="*/ 3198899 w 5221372"/>
              <a:gd name="connsiteY7" fmla="*/ 0 h 2089977"/>
              <a:gd name="connsiteX8" fmla="*/ 3673994 w 5221372"/>
              <a:gd name="connsiteY8" fmla="*/ 0 h 2089977"/>
              <a:gd name="connsiteX9" fmla="*/ 4149089 w 5221372"/>
              <a:gd name="connsiteY9" fmla="*/ 0 h 2089977"/>
              <a:gd name="connsiteX10" fmla="*/ 4873043 w 5221372"/>
              <a:gd name="connsiteY10" fmla="*/ 0 h 2089977"/>
              <a:gd name="connsiteX11" fmla="*/ 5221373 w 5221372"/>
              <a:gd name="connsiteY11" fmla="*/ 348330 h 2089977"/>
              <a:gd name="connsiteX12" fmla="*/ 5221372 w 5221372"/>
              <a:gd name="connsiteY12" fmla="*/ 1741648 h 2089977"/>
              <a:gd name="connsiteX13" fmla="*/ 4873042 w 5221372"/>
              <a:gd name="connsiteY13" fmla="*/ 2089978 h 2089977"/>
              <a:gd name="connsiteX14" fmla="*/ 4307453 w 5221372"/>
              <a:gd name="connsiteY14" fmla="*/ 2089978 h 2089977"/>
              <a:gd name="connsiteX15" fmla="*/ 3787111 w 5221372"/>
              <a:gd name="connsiteY15" fmla="*/ 2089978 h 2089977"/>
              <a:gd name="connsiteX16" fmla="*/ 3221522 w 5221372"/>
              <a:gd name="connsiteY16" fmla="*/ 2089978 h 2089977"/>
              <a:gd name="connsiteX17" fmla="*/ 2655933 w 5221372"/>
              <a:gd name="connsiteY17" fmla="*/ 2089978 h 2089977"/>
              <a:gd name="connsiteX18" fmla="*/ 2226085 w 5221372"/>
              <a:gd name="connsiteY18" fmla="*/ 2089977 h 2089977"/>
              <a:gd name="connsiteX19" fmla="*/ 1750991 w 5221372"/>
              <a:gd name="connsiteY19" fmla="*/ 2089977 h 2089977"/>
              <a:gd name="connsiteX20" fmla="*/ 1230649 w 5221372"/>
              <a:gd name="connsiteY20" fmla="*/ 2089977 h 2089977"/>
              <a:gd name="connsiteX21" fmla="*/ 348330 w 5221372"/>
              <a:gd name="connsiteY21" fmla="*/ 2089977 h 2089977"/>
              <a:gd name="connsiteX22" fmla="*/ 0 w 5221372"/>
              <a:gd name="connsiteY22" fmla="*/ 1741647 h 2089977"/>
              <a:gd name="connsiteX23" fmla="*/ 0 w 5221372"/>
              <a:gd name="connsiteY23" fmla="*/ 1291141 h 2089977"/>
              <a:gd name="connsiteX24" fmla="*/ 0 w 5221372"/>
              <a:gd name="connsiteY24" fmla="*/ 854569 h 2089977"/>
              <a:gd name="connsiteX25" fmla="*/ 0 w 5221372"/>
              <a:gd name="connsiteY25" fmla="*/ 348330 h 2089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221372" h="2089977" fill="none" extrusionOk="0">
                <a:moveTo>
                  <a:pt x="0" y="348330"/>
                </a:moveTo>
                <a:cubicBezTo>
                  <a:pt x="-36024" y="177590"/>
                  <a:pt x="142413" y="34510"/>
                  <a:pt x="348330" y="0"/>
                </a:cubicBezTo>
                <a:cubicBezTo>
                  <a:pt x="555081" y="-22069"/>
                  <a:pt x="656231" y="46117"/>
                  <a:pt x="823425" y="0"/>
                </a:cubicBezTo>
                <a:cubicBezTo>
                  <a:pt x="990620" y="-46117"/>
                  <a:pt x="1099742" y="25509"/>
                  <a:pt x="1253273" y="0"/>
                </a:cubicBezTo>
                <a:cubicBezTo>
                  <a:pt x="1406804" y="-25509"/>
                  <a:pt x="1626940" y="20081"/>
                  <a:pt x="1773615" y="0"/>
                </a:cubicBezTo>
                <a:cubicBezTo>
                  <a:pt x="1920290" y="-20081"/>
                  <a:pt x="2046639" y="22532"/>
                  <a:pt x="2293957" y="0"/>
                </a:cubicBezTo>
                <a:cubicBezTo>
                  <a:pt x="2541275" y="-22532"/>
                  <a:pt x="2584769" y="38048"/>
                  <a:pt x="2723804" y="0"/>
                </a:cubicBezTo>
                <a:cubicBezTo>
                  <a:pt x="2862839" y="-38048"/>
                  <a:pt x="3003373" y="16534"/>
                  <a:pt x="3198899" y="0"/>
                </a:cubicBezTo>
                <a:cubicBezTo>
                  <a:pt x="3394426" y="-16534"/>
                  <a:pt x="3504952" y="4255"/>
                  <a:pt x="3673994" y="0"/>
                </a:cubicBezTo>
                <a:cubicBezTo>
                  <a:pt x="3843036" y="-4255"/>
                  <a:pt x="4039444" y="51048"/>
                  <a:pt x="4149089" y="0"/>
                </a:cubicBezTo>
                <a:cubicBezTo>
                  <a:pt x="4258734" y="-51048"/>
                  <a:pt x="4624809" y="24175"/>
                  <a:pt x="4873043" y="0"/>
                </a:cubicBezTo>
                <a:cubicBezTo>
                  <a:pt x="5052610" y="-31432"/>
                  <a:pt x="5264686" y="153190"/>
                  <a:pt x="5221373" y="348330"/>
                </a:cubicBezTo>
                <a:cubicBezTo>
                  <a:pt x="5342258" y="770490"/>
                  <a:pt x="5251489" y="1270199"/>
                  <a:pt x="5221372" y="1741648"/>
                </a:cubicBezTo>
                <a:cubicBezTo>
                  <a:pt x="5195945" y="1928470"/>
                  <a:pt x="5048863" y="2058529"/>
                  <a:pt x="4873042" y="2089978"/>
                </a:cubicBezTo>
                <a:cubicBezTo>
                  <a:pt x="4722335" y="2122678"/>
                  <a:pt x="4478606" y="2084627"/>
                  <a:pt x="4307453" y="2089978"/>
                </a:cubicBezTo>
                <a:cubicBezTo>
                  <a:pt x="4136300" y="2095329"/>
                  <a:pt x="3934308" y="2060380"/>
                  <a:pt x="3787111" y="2089978"/>
                </a:cubicBezTo>
                <a:cubicBezTo>
                  <a:pt x="3639914" y="2119576"/>
                  <a:pt x="3453230" y="2063107"/>
                  <a:pt x="3221522" y="2089978"/>
                </a:cubicBezTo>
                <a:cubicBezTo>
                  <a:pt x="2989814" y="2116849"/>
                  <a:pt x="2929908" y="2069528"/>
                  <a:pt x="2655933" y="2089978"/>
                </a:cubicBezTo>
                <a:cubicBezTo>
                  <a:pt x="2381958" y="2110427"/>
                  <a:pt x="2355663" y="2065268"/>
                  <a:pt x="2226085" y="2089977"/>
                </a:cubicBezTo>
                <a:cubicBezTo>
                  <a:pt x="2096507" y="2114686"/>
                  <a:pt x="1926901" y="2054508"/>
                  <a:pt x="1750991" y="2089977"/>
                </a:cubicBezTo>
                <a:cubicBezTo>
                  <a:pt x="1575081" y="2125446"/>
                  <a:pt x="1450094" y="2073748"/>
                  <a:pt x="1230649" y="2089977"/>
                </a:cubicBezTo>
                <a:cubicBezTo>
                  <a:pt x="1011204" y="2106206"/>
                  <a:pt x="588288" y="1996699"/>
                  <a:pt x="348330" y="2089977"/>
                </a:cubicBezTo>
                <a:cubicBezTo>
                  <a:pt x="144192" y="2078615"/>
                  <a:pt x="17159" y="1952926"/>
                  <a:pt x="0" y="1741647"/>
                </a:cubicBezTo>
                <a:cubicBezTo>
                  <a:pt x="-26857" y="1572853"/>
                  <a:pt x="372" y="1398684"/>
                  <a:pt x="0" y="1291141"/>
                </a:cubicBezTo>
                <a:cubicBezTo>
                  <a:pt x="-372" y="1183598"/>
                  <a:pt x="29844" y="993239"/>
                  <a:pt x="0" y="854569"/>
                </a:cubicBezTo>
                <a:cubicBezTo>
                  <a:pt x="-29844" y="715899"/>
                  <a:pt x="47242" y="515557"/>
                  <a:pt x="0" y="348330"/>
                </a:cubicBezTo>
                <a:close/>
              </a:path>
              <a:path w="5221372" h="2089977" stroke="0" extrusionOk="0">
                <a:moveTo>
                  <a:pt x="0" y="348330"/>
                </a:moveTo>
                <a:cubicBezTo>
                  <a:pt x="25745" y="147346"/>
                  <a:pt x="176481" y="-10484"/>
                  <a:pt x="348330" y="0"/>
                </a:cubicBezTo>
                <a:cubicBezTo>
                  <a:pt x="647719" y="-64338"/>
                  <a:pt x="783739" y="2466"/>
                  <a:pt x="959166" y="0"/>
                </a:cubicBezTo>
                <a:cubicBezTo>
                  <a:pt x="1134593" y="-2466"/>
                  <a:pt x="1260511" y="41373"/>
                  <a:pt x="1389014" y="0"/>
                </a:cubicBezTo>
                <a:cubicBezTo>
                  <a:pt x="1517517" y="-41373"/>
                  <a:pt x="1909420" y="23077"/>
                  <a:pt x="2045097" y="0"/>
                </a:cubicBezTo>
                <a:cubicBezTo>
                  <a:pt x="2180774" y="-23077"/>
                  <a:pt x="2357571" y="34584"/>
                  <a:pt x="2655934" y="0"/>
                </a:cubicBezTo>
                <a:cubicBezTo>
                  <a:pt x="2954297" y="-34584"/>
                  <a:pt x="3077304" y="29428"/>
                  <a:pt x="3312017" y="0"/>
                </a:cubicBezTo>
                <a:cubicBezTo>
                  <a:pt x="3546730" y="-29428"/>
                  <a:pt x="3582781" y="19268"/>
                  <a:pt x="3832359" y="0"/>
                </a:cubicBezTo>
                <a:cubicBezTo>
                  <a:pt x="4081937" y="-19268"/>
                  <a:pt x="4181606" y="61961"/>
                  <a:pt x="4352701" y="0"/>
                </a:cubicBezTo>
                <a:cubicBezTo>
                  <a:pt x="4523796" y="-61961"/>
                  <a:pt x="4682722" y="27900"/>
                  <a:pt x="4873043" y="0"/>
                </a:cubicBezTo>
                <a:cubicBezTo>
                  <a:pt x="5051096" y="9767"/>
                  <a:pt x="5169005" y="131952"/>
                  <a:pt x="5221373" y="348330"/>
                </a:cubicBezTo>
                <a:cubicBezTo>
                  <a:pt x="5354572" y="802822"/>
                  <a:pt x="5198429" y="1292347"/>
                  <a:pt x="5221372" y="1741648"/>
                </a:cubicBezTo>
                <a:cubicBezTo>
                  <a:pt x="5225419" y="1941020"/>
                  <a:pt x="5073933" y="2069142"/>
                  <a:pt x="4873042" y="2089978"/>
                </a:cubicBezTo>
                <a:cubicBezTo>
                  <a:pt x="4660565" y="2139619"/>
                  <a:pt x="4618125" y="2043866"/>
                  <a:pt x="4397947" y="2089978"/>
                </a:cubicBezTo>
                <a:cubicBezTo>
                  <a:pt x="4177770" y="2136090"/>
                  <a:pt x="3877145" y="2063482"/>
                  <a:pt x="3741864" y="2089978"/>
                </a:cubicBezTo>
                <a:cubicBezTo>
                  <a:pt x="3606583" y="2116474"/>
                  <a:pt x="3309972" y="2071855"/>
                  <a:pt x="3085781" y="2089978"/>
                </a:cubicBezTo>
                <a:cubicBezTo>
                  <a:pt x="2861590" y="2108101"/>
                  <a:pt x="2754567" y="2063368"/>
                  <a:pt x="2565439" y="2089977"/>
                </a:cubicBezTo>
                <a:cubicBezTo>
                  <a:pt x="2376311" y="2116586"/>
                  <a:pt x="2142970" y="2084968"/>
                  <a:pt x="1954603" y="2089977"/>
                </a:cubicBezTo>
                <a:cubicBezTo>
                  <a:pt x="1766236" y="2094986"/>
                  <a:pt x="1614521" y="2074471"/>
                  <a:pt x="1389014" y="2089977"/>
                </a:cubicBezTo>
                <a:cubicBezTo>
                  <a:pt x="1163507" y="2105483"/>
                  <a:pt x="1114920" y="2056591"/>
                  <a:pt x="913919" y="2089977"/>
                </a:cubicBezTo>
                <a:cubicBezTo>
                  <a:pt x="712919" y="2123363"/>
                  <a:pt x="576532" y="2033592"/>
                  <a:pt x="348330" y="2089977"/>
                </a:cubicBezTo>
                <a:cubicBezTo>
                  <a:pt x="149977" y="2092119"/>
                  <a:pt x="-1078" y="1978670"/>
                  <a:pt x="0" y="1741647"/>
                </a:cubicBezTo>
                <a:cubicBezTo>
                  <a:pt x="-17570" y="1609680"/>
                  <a:pt x="36235" y="1457710"/>
                  <a:pt x="0" y="1291141"/>
                </a:cubicBezTo>
                <a:cubicBezTo>
                  <a:pt x="-36235" y="1124572"/>
                  <a:pt x="47698" y="1022719"/>
                  <a:pt x="0" y="854569"/>
                </a:cubicBezTo>
                <a:cubicBezTo>
                  <a:pt x="-47698" y="686419"/>
                  <a:pt x="53444" y="521220"/>
                  <a:pt x="0" y="348330"/>
                </a:cubicBezTo>
                <a:close/>
              </a:path>
            </a:pathLst>
          </a:custGeom>
          <a:solidFill>
            <a:sysClr val="window" lastClr="FFFFFF"/>
          </a:solidFill>
          <a:ln w="28575" cap="flat" cmpd="sng" algn="ctr">
            <a:solidFill>
              <a:srgbClr val="0070C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xmlns="" sd="1487734217">
                  <a:prstGeom prst="flowChartAlternateProcess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32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ệc làm này t</a:t>
            </a:r>
            <a:r>
              <a:rPr kumimoji="0" lang="vi-VN" sz="32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ể hiện quan tâm đến hàng xóm láng giềng</a:t>
            </a:r>
            <a:endParaRPr kumimoji="0" lang="vi-VN" sz="32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274D77F6-39E8-4017-AAE2-19412D7DEC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8172" y="3367546"/>
            <a:ext cx="2093828" cy="2675185"/>
          </a:xfrm>
          <a:prstGeom prst="rect">
            <a:avLst/>
          </a:prstGeom>
        </p:spPr>
      </p:pic>
      <p:sp>
        <p:nvSpPr>
          <p:cNvPr id="36" name="Speech Bubble: Rectangle with Corners Rounded 35">
            <a:extLst>
              <a:ext uri="{FF2B5EF4-FFF2-40B4-BE49-F238E27FC236}">
                <a16:creationId xmlns:a16="http://schemas.microsoft.com/office/drawing/2014/main" xmlns="" id="{10D90863-631A-4729-A81A-5692D73B194C}"/>
              </a:ext>
            </a:extLst>
          </p:cNvPr>
          <p:cNvSpPr/>
          <p:nvPr/>
        </p:nvSpPr>
        <p:spPr>
          <a:xfrm>
            <a:off x="5699760" y="1400476"/>
            <a:ext cx="5385582" cy="2028523"/>
          </a:xfrm>
          <a:prstGeom prst="wedgeRoundRectCallout">
            <a:avLst>
              <a:gd name="adj1" fmla="val 42483"/>
              <a:gd name="adj2" fmla="val 58854"/>
              <a:gd name="adj3" fmla="val 16667"/>
            </a:avLst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vi-VN" sz="3200" kern="0">
                <a:solidFill>
                  <a:srgbClr val="002060"/>
                </a:solidFill>
                <a:latin typeface="Calibri"/>
                <a:cs typeface="Arial" panose="020B0604020202020204" pitchFamily="34" charset="0"/>
              </a:rPr>
              <a:t>Bạn nữ trong tranh đã nhắc nhở các em nhỏ không nên ra ngoài chơi kẻo nắng.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D0374280-3B24-421F-800E-C209D385B3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2400" y="46896"/>
            <a:ext cx="7010400" cy="9437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FAB0E24-1956-456A-8004-6FE52F34D9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59" t="54691" r="-16136" b="-8098"/>
          <a:stretch/>
        </p:blipFill>
        <p:spPr>
          <a:xfrm>
            <a:off x="582517" y="2116181"/>
            <a:ext cx="5308893" cy="3865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18286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6154" y="-991472"/>
            <a:ext cx="12073674" cy="867116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6263" y="908858"/>
            <a:ext cx="8619473" cy="5505317"/>
          </a:xfrm>
          <a:prstGeom prst="rect">
            <a:avLst/>
          </a:prstGeom>
        </p:spPr>
      </p:pic>
      <p:sp>
        <p:nvSpPr>
          <p:cNvPr id="12" name="Freeform 4">
            <a:extLst>
              <a:ext uri="{FF2B5EF4-FFF2-40B4-BE49-F238E27FC236}">
                <a16:creationId xmlns:a16="http://schemas.microsoft.com/office/drawing/2014/main" xmlns="" id="{63D6472D-9DCF-57D6-5F1E-EA414ABAE687}"/>
              </a:ext>
            </a:extLst>
          </p:cNvPr>
          <p:cNvSpPr/>
          <p:nvPr/>
        </p:nvSpPr>
        <p:spPr>
          <a:xfrm>
            <a:off x="9073512" y="3071275"/>
            <a:ext cx="2996756" cy="3737024"/>
          </a:xfrm>
          <a:custGeom>
            <a:avLst/>
            <a:gdLst/>
            <a:ahLst/>
            <a:cxnLst/>
            <a:rect l="l" t="t" r="r" b="b"/>
            <a:pathLst>
              <a:path w="2360866" h="4114800">
                <a:moveTo>
                  <a:pt x="0" y="0"/>
                </a:moveTo>
                <a:lnTo>
                  <a:pt x="2360867" y="0"/>
                </a:lnTo>
                <a:lnTo>
                  <a:pt x="2360867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Freeform 9">
            <a:extLst>
              <a:ext uri="{FF2B5EF4-FFF2-40B4-BE49-F238E27FC236}">
                <a16:creationId xmlns:a16="http://schemas.microsoft.com/office/drawing/2014/main" xmlns="" id="{C803CEB9-71E5-6A01-5ADB-6F9C1F044645}"/>
              </a:ext>
            </a:extLst>
          </p:cNvPr>
          <p:cNvSpPr/>
          <p:nvPr/>
        </p:nvSpPr>
        <p:spPr>
          <a:xfrm>
            <a:off x="858304" y="4414033"/>
            <a:ext cx="880918" cy="1607327"/>
          </a:xfrm>
          <a:custGeom>
            <a:avLst/>
            <a:gdLst/>
            <a:ahLst/>
            <a:cxnLst/>
            <a:rect l="l" t="t" r="r" b="b"/>
            <a:pathLst>
              <a:path w="6779133" h="8229600">
                <a:moveTo>
                  <a:pt x="0" y="0"/>
                </a:moveTo>
                <a:lnTo>
                  <a:pt x="6779132" y="0"/>
                </a:lnTo>
                <a:lnTo>
                  <a:pt x="6779132" y="8229600"/>
                </a:lnTo>
                <a:lnTo>
                  <a:pt x="0" y="82296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eform 10">
            <a:extLst>
              <a:ext uri="{FF2B5EF4-FFF2-40B4-BE49-F238E27FC236}">
                <a16:creationId xmlns:a16="http://schemas.microsoft.com/office/drawing/2014/main" xmlns="" id="{C018B08F-E6EA-F8C5-FA46-7C5FB095599A}"/>
              </a:ext>
            </a:extLst>
          </p:cNvPr>
          <p:cNvSpPr/>
          <p:nvPr/>
        </p:nvSpPr>
        <p:spPr>
          <a:xfrm>
            <a:off x="121732" y="3429000"/>
            <a:ext cx="856306" cy="1607327"/>
          </a:xfrm>
          <a:custGeom>
            <a:avLst/>
            <a:gdLst/>
            <a:ahLst/>
            <a:cxnLst/>
            <a:rect l="l" t="t" r="r" b="b"/>
            <a:pathLst>
              <a:path w="3878199" h="8229600">
                <a:moveTo>
                  <a:pt x="0" y="0"/>
                </a:moveTo>
                <a:lnTo>
                  <a:pt x="3878200" y="0"/>
                </a:lnTo>
                <a:lnTo>
                  <a:pt x="3878200" y="8229600"/>
                </a:lnTo>
                <a:lnTo>
                  <a:pt x="0" y="82296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A4D4196A-B7BB-4D20-BAF6-9B9D6DB65A18}"/>
              </a:ext>
            </a:extLst>
          </p:cNvPr>
          <p:cNvSpPr txBox="1"/>
          <p:nvPr/>
        </p:nvSpPr>
        <p:spPr>
          <a:xfrm>
            <a:off x="2547447" y="1523467"/>
            <a:ext cx="700252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m</a:t>
            </a:r>
            <a:r>
              <a:rPr kumimoji="0" lang="en-US" sz="5400" b="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5400" b="0" i="0" u="none" strike="noStrike" kern="120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ãy</a:t>
            </a:r>
            <a:r>
              <a:rPr kumimoji="0" lang="en-US" sz="5400" b="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5400" b="0" i="0" u="none" strike="noStrike" kern="120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ể</a:t>
            </a:r>
            <a:r>
              <a:rPr kumimoji="0" lang="en-US" sz="5400" b="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5400" b="0" i="0" u="none" strike="noStrike" kern="120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êm</a:t>
            </a:r>
            <a:r>
              <a:rPr kumimoji="0" lang="en-US" sz="5400" b="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5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ác</a:t>
            </a:r>
            <a:r>
              <a:rPr kumimoji="0" lang="en-US" sz="5400" b="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5400" b="0" i="0" u="none" strike="noStrike" kern="120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iểu</a:t>
            </a:r>
            <a:r>
              <a:rPr kumimoji="0" lang="en-US" sz="5400" b="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5400" b="0" i="0" u="none" strike="noStrike" kern="120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iện</a:t>
            </a:r>
            <a:r>
              <a:rPr kumimoji="0" lang="en-US" sz="5400" b="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vi-VN" sz="5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ể hiện sự quan tâm</a:t>
            </a: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</a:t>
            </a:r>
            <a:r>
              <a:rPr kumimoji="0" lang="en-US" sz="5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iúp</a:t>
            </a:r>
            <a:r>
              <a:rPr kumimoji="0" lang="en-US" sz="5400" b="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5400" b="0" i="0" u="none" strike="noStrike" kern="120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đỡ</a:t>
            </a:r>
            <a:r>
              <a:rPr kumimoji="0" lang="vi-VN" sz="5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hàng xóm láng giềng</a:t>
            </a: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15413298-6F44-D2A0-16CD-6AF9497D1C7D}"/>
              </a:ext>
            </a:extLst>
          </p:cNvPr>
          <p:cNvGrpSpPr/>
          <p:nvPr/>
        </p:nvGrpSpPr>
        <p:grpSpPr>
          <a:xfrm>
            <a:off x="-21855" y="-163983"/>
            <a:ext cx="10170363" cy="2052000"/>
            <a:chOff x="1" y="-202428"/>
            <a:chExt cx="9086780" cy="173422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xmlns="" id="{A5D6710D-518F-A5E6-A2CC-D03D66D961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186" t="37830" r="15924" b="37830"/>
            <a:stretch/>
          </p:blipFill>
          <p:spPr>
            <a:xfrm flipH="1">
              <a:off x="1" y="-202428"/>
              <a:ext cx="9086780" cy="1734223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xmlns="" id="{702223A7-EC1A-BB94-8D2E-FA7BA5827380}"/>
                </a:ext>
              </a:extLst>
            </p:cNvPr>
            <p:cNvSpPr txBox="1"/>
            <p:nvPr/>
          </p:nvSpPr>
          <p:spPr>
            <a:xfrm>
              <a:off x="2112630" y="88100"/>
              <a:ext cx="6253221" cy="707886"/>
            </a:xfrm>
            <a:prstGeom prst="rect">
              <a:avLst/>
            </a:prstGeom>
            <a:noFill/>
          </p:spPr>
          <p:txBody>
            <a:bodyPr wrap="none" rtlCol="0">
              <a:prstTxWarp prst="textWave1">
                <a:avLst/>
              </a:prstTxWarp>
              <a:spAutoFit/>
            </a:bodyPr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999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àng</a:t>
              </a:r>
              <a:r>
                <a:rPr kumimoji="0" lang="en-US" sz="3999" b="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3999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xóm</a:t>
              </a:r>
              <a:r>
                <a:rPr kumimoji="0" lang="en-US" sz="3999" b="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3999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áng</a:t>
              </a:r>
              <a:r>
                <a:rPr kumimoji="0" lang="en-US" sz="3999" b="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3999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iềng</a:t>
              </a:r>
              <a:r>
                <a:rPr kumimoji="0" lang="en-US" sz="3999" b="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3999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ần</a:t>
              </a:r>
              <a:r>
                <a:rPr kumimoji="0" lang="en-US" sz="3999" b="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3999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quan</a:t>
              </a:r>
              <a:r>
                <a:rPr kumimoji="0" lang="en-US" sz="3999" b="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3999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âm</a:t>
              </a:r>
              <a:r>
                <a:rPr kumimoji="0" lang="en-US" sz="3999" b="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en-US" sz="3999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iúp</a:t>
              </a:r>
              <a:r>
                <a:rPr kumimoji="0" lang="en-US" sz="3999" b="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3999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đỡ</a:t>
              </a:r>
              <a:r>
                <a:rPr kumimoji="0" lang="en-US" sz="3999" b="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3999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ẫn</a:t>
              </a:r>
              <a:r>
                <a:rPr kumimoji="0" lang="en-US" sz="3999" b="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3999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hau</a:t>
              </a:r>
              <a:r>
                <a:rPr kumimoji="0" lang="en-US" sz="3999" b="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 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123CD4D4-2DC4-AB17-DB82-B00F69E5A276}"/>
              </a:ext>
            </a:extLst>
          </p:cNvPr>
          <p:cNvGrpSpPr/>
          <p:nvPr/>
        </p:nvGrpSpPr>
        <p:grpSpPr>
          <a:xfrm>
            <a:off x="428508" y="1269000"/>
            <a:ext cx="10410942" cy="4320000"/>
            <a:chOff x="1383341" y="1290771"/>
            <a:chExt cx="9720000" cy="4320000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xmlns="" id="{F5039311-3906-B12A-DD0E-5CD68833F821}"/>
                </a:ext>
              </a:extLst>
            </p:cNvPr>
            <p:cNvSpPr/>
            <p:nvPr/>
          </p:nvSpPr>
          <p:spPr>
            <a:xfrm>
              <a:off x="1383341" y="1290771"/>
              <a:ext cx="9720000" cy="4320000"/>
            </a:xfrm>
            <a:custGeom>
              <a:avLst/>
              <a:gdLst>
                <a:gd name="connsiteX0" fmla="*/ 0 w 9720000"/>
                <a:gd name="connsiteY0" fmla="*/ 806846 h 4320000"/>
                <a:gd name="connsiteX1" fmla="*/ 806846 w 9720000"/>
                <a:gd name="connsiteY1" fmla="*/ 0 h 4320000"/>
                <a:gd name="connsiteX2" fmla="*/ 8913154 w 9720000"/>
                <a:gd name="connsiteY2" fmla="*/ 0 h 4320000"/>
                <a:gd name="connsiteX3" fmla="*/ 9720000 w 9720000"/>
                <a:gd name="connsiteY3" fmla="*/ 806846 h 4320000"/>
                <a:gd name="connsiteX4" fmla="*/ 9720000 w 9720000"/>
                <a:gd name="connsiteY4" fmla="*/ 3513154 h 4320000"/>
                <a:gd name="connsiteX5" fmla="*/ 8913154 w 9720000"/>
                <a:gd name="connsiteY5" fmla="*/ 4320000 h 4320000"/>
                <a:gd name="connsiteX6" fmla="*/ 806846 w 9720000"/>
                <a:gd name="connsiteY6" fmla="*/ 4320000 h 4320000"/>
                <a:gd name="connsiteX7" fmla="*/ 0 w 9720000"/>
                <a:gd name="connsiteY7" fmla="*/ 3513154 h 4320000"/>
                <a:gd name="connsiteX8" fmla="*/ 0 w 9720000"/>
                <a:gd name="connsiteY8" fmla="*/ 806846 h 43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20000" h="4320000" fill="none" extrusionOk="0">
                  <a:moveTo>
                    <a:pt x="0" y="806846"/>
                  </a:moveTo>
                  <a:cubicBezTo>
                    <a:pt x="-26620" y="348276"/>
                    <a:pt x="372994" y="-40959"/>
                    <a:pt x="806846" y="0"/>
                  </a:cubicBezTo>
                  <a:cubicBezTo>
                    <a:pt x="2757853" y="69703"/>
                    <a:pt x="7964899" y="-75058"/>
                    <a:pt x="8913154" y="0"/>
                  </a:cubicBezTo>
                  <a:cubicBezTo>
                    <a:pt x="9385981" y="9798"/>
                    <a:pt x="9702205" y="324633"/>
                    <a:pt x="9720000" y="806846"/>
                  </a:cubicBezTo>
                  <a:cubicBezTo>
                    <a:pt x="9667096" y="1854906"/>
                    <a:pt x="9836473" y="2975472"/>
                    <a:pt x="9720000" y="3513154"/>
                  </a:cubicBezTo>
                  <a:cubicBezTo>
                    <a:pt x="9653431" y="3965014"/>
                    <a:pt x="9334931" y="4338833"/>
                    <a:pt x="8913154" y="4320000"/>
                  </a:cubicBezTo>
                  <a:cubicBezTo>
                    <a:pt x="6008191" y="4347067"/>
                    <a:pt x="4466004" y="4467548"/>
                    <a:pt x="806846" y="4320000"/>
                  </a:cubicBezTo>
                  <a:cubicBezTo>
                    <a:pt x="411568" y="4387610"/>
                    <a:pt x="-19304" y="3966378"/>
                    <a:pt x="0" y="3513154"/>
                  </a:cubicBezTo>
                  <a:cubicBezTo>
                    <a:pt x="9703" y="2354722"/>
                    <a:pt x="132738" y="2157755"/>
                    <a:pt x="0" y="806846"/>
                  </a:cubicBezTo>
                  <a:close/>
                </a:path>
                <a:path w="9720000" h="4320000" stroke="0" extrusionOk="0">
                  <a:moveTo>
                    <a:pt x="0" y="806846"/>
                  </a:moveTo>
                  <a:cubicBezTo>
                    <a:pt x="20102" y="321121"/>
                    <a:pt x="382212" y="56846"/>
                    <a:pt x="806846" y="0"/>
                  </a:cubicBezTo>
                  <a:cubicBezTo>
                    <a:pt x="2145881" y="-11997"/>
                    <a:pt x="5438796" y="-107784"/>
                    <a:pt x="8913154" y="0"/>
                  </a:cubicBezTo>
                  <a:cubicBezTo>
                    <a:pt x="9295748" y="28308"/>
                    <a:pt x="9654802" y="340472"/>
                    <a:pt x="9720000" y="806846"/>
                  </a:cubicBezTo>
                  <a:cubicBezTo>
                    <a:pt x="9687307" y="2010273"/>
                    <a:pt x="9698594" y="2838719"/>
                    <a:pt x="9720000" y="3513154"/>
                  </a:cubicBezTo>
                  <a:cubicBezTo>
                    <a:pt x="9692152" y="4028765"/>
                    <a:pt x="9441238" y="4302421"/>
                    <a:pt x="8913154" y="4320000"/>
                  </a:cubicBezTo>
                  <a:cubicBezTo>
                    <a:pt x="6591981" y="4177415"/>
                    <a:pt x="1865282" y="4176765"/>
                    <a:pt x="806846" y="4320000"/>
                  </a:cubicBezTo>
                  <a:cubicBezTo>
                    <a:pt x="365519" y="4297155"/>
                    <a:pt x="-45136" y="3980558"/>
                    <a:pt x="0" y="3513154"/>
                  </a:cubicBezTo>
                  <a:cubicBezTo>
                    <a:pt x="155752" y="2508895"/>
                    <a:pt x="-100087" y="1207347"/>
                    <a:pt x="0" y="806846"/>
                  </a:cubicBezTo>
                  <a:close/>
                </a:path>
              </a:pathLst>
            </a:custGeom>
            <a:solidFill>
              <a:schemeClr val="lt1">
                <a:alpha val="93000"/>
              </a:schemeClr>
            </a:solidFill>
            <a:ln w="25400" cap="rnd" cmpd="thinThick">
              <a:solidFill>
                <a:srgbClr val="FF3F6E"/>
              </a:solidFill>
              <a:prstDash val="sysDash"/>
              <a:round/>
              <a:extLst>
                <a:ext uri="{C807C97D-BFC1-408E-A445-0C87EB9F89A2}">
                  <ask:lineSketchStyleProps xmlns:ask="http://schemas.microsoft.com/office/drawing/2018/sketchyshapes" xmlns="" sd="3816812094">
                    <a:prstGeom prst="roundRect">
                      <a:avLst>
                        <a:gd name="adj" fmla="val 18677"/>
                      </a:avLst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xmlns="" id="{8869D6FE-405B-3961-789F-9988C33A77EB}"/>
                </a:ext>
              </a:extLst>
            </p:cNvPr>
            <p:cNvSpPr txBox="1"/>
            <p:nvPr/>
          </p:nvSpPr>
          <p:spPr>
            <a:xfrm>
              <a:off x="1632406" y="1755994"/>
              <a:ext cx="930057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98D9BE1-324B-5F95-8BE2-3189E702CD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8508" y="0"/>
            <a:ext cx="2043492" cy="2052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809A77E2-B43C-1328-FAF8-5E831202C7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46826" y="3690000"/>
            <a:ext cx="1785345" cy="316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41532E76-881E-98A8-76F3-9FFC16E7707C}"/>
              </a:ext>
            </a:extLst>
          </p:cNvPr>
          <p:cNvSpPr txBox="1"/>
          <p:nvPr/>
        </p:nvSpPr>
        <p:spPr>
          <a:xfrm>
            <a:off x="940660" y="2181537"/>
            <a:ext cx="9470935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vi-VN" sz="3600" dirty="0">
                <a:solidFill>
                  <a:srgbClr val="000000"/>
                </a:solidFill>
                <a:cs typeface="Arial" panose="020B0604020202020204" pitchFamily="34" charset="0"/>
              </a:rPr>
              <a:t>Dù còn nhỏ, các em cũng cần biết làm các việc phù hợp với lứa tuổi như: chào hỏi khi gặp hàng xóm, hỏi thăm khi hàng xóm có chuyện buồn, giúp đỡ hàng xóm khi cần thiết,.....</a:t>
            </a:r>
            <a:endParaRPr lang="en-US" sz="3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34">
            <a:extLst>
              <a:ext uri="{FF2B5EF4-FFF2-40B4-BE49-F238E27FC236}">
                <a16:creationId xmlns:a16="http://schemas.microsoft.com/office/drawing/2014/main" xmlns="" id="{BAD5A9FA-2C34-0306-745C-239A98E4A8F6}"/>
              </a:ext>
            </a:extLst>
          </p:cNvPr>
          <p:cNvSpPr/>
          <p:nvPr/>
        </p:nvSpPr>
        <p:spPr>
          <a:xfrm>
            <a:off x="677573" y="1255441"/>
            <a:ext cx="1279934" cy="884197"/>
          </a:xfrm>
          <a:custGeom>
            <a:avLst/>
            <a:gdLst>
              <a:gd name="connsiteX0" fmla="*/ 5495 w 730885"/>
              <a:gd name="connsiteY0" fmla="*/ 130766 h 536889"/>
              <a:gd name="connsiteX1" fmla="*/ 71904 w 730885"/>
              <a:gd name="connsiteY1" fmla="*/ 222717 h 536889"/>
              <a:gd name="connsiteX2" fmla="*/ 189397 w 730885"/>
              <a:gd name="connsiteY2" fmla="*/ 322331 h 536889"/>
              <a:gd name="connsiteX3" fmla="*/ 350311 w 730885"/>
              <a:gd name="connsiteY3" fmla="*/ 424498 h 536889"/>
              <a:gd name="connsiteX4" fmla="*/ 460141 w 730885"/>
              <a:gd name="connsiteY4" fmla="*/ 455148 h 536889"/>
              <a:gd name="connsiteX5" fmla="*/ 416720 w 730885"/>
              <a:gd name="connsiteY5" fmla="*/ 534328 h 536889"/>
              <a:gd name="connsiteX6" fmla="*/ 603176 w 730885"/>
              <a:gd name="connsiteY6" fmla="*/ 519003 h 536889"/>
              <a:gd name="connsiteX7" fmla="*/ 730885 w 730885"/>
              <a:gd name="connsiteY7" fmla="*/ 508786 h 536889"/>
              <a:gd name="connsiteX8" fmla="*/ 603176 w 730885"/>
              <a:gd name="connsiteY8" fmla="*/ 289126 h 536889"/>
              <a:gd name="connsiteX9" fmla="*/ 521442 w 730885"/>
              <a:gd name="connsiteY9" fmla="*/ 347872 h 536889"/>
              <a:gd name="connsiteX10" fmla="*/ 332431 w 730885"/>
              <a:gd name="connsiteY10" fmla="*/ 179296 h 536889"/>
              <a:gd name="connsiteX11" fmla="*/ 214939 w 730885"/>
              <a:gd name="connsiteY11" fmla="*/ 503 h 536889"/>
              <a:gd name="connsiteX12" fmla="*/ 5495 w 730885"/>
              <a:gd name="connsiteY12" fmla="*/ 130766 h 536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0885" h="536889">
                <a:moveTo>
                  <a:pt x="5495" y="130766"/>
                </a:moveTo>
                <a:cubicBezTo>
                  <a:pt x="-18344" y="167802"/>
                  <a:pt x="41254" y="190789"/>
                  <a:pt x="71904" y="222717"/>
                </a:cubicBezTo>
                <a:cubicBezTo>
                  <a:pt x="102554" y="254645"/>
                  <a:pt x="142996" y="288701"/>
                  <a:pt x="189397" y="322331"/>
                </a:cubicBezTo>
                <a:cubicBezTo>
                  <a:pt x="235798" y="355961"/>
                  <a:pt x="305187" y="402362"/>
                  <a:pt x="350311" y="424498"/>
                </a:cubicBezTo>
                <a:cubicBezTo>
                  <a:pt x="395435" y="446634"/>
                  <a:pt x="449073" y="436843"/>
                  <a:pt x="460141" y="455148"/>
                </a:cubicBezTo>
                <a:cubicBezTo>
                  <a:pt x="471209" y="473453"/>
                  <a:pt x="392881" y="523686"/>
                  <a:pt x="416720" y="534328"/>
                </a:cubicBezTo>
                <a:cubicBezTo>
                  <a:pt x="440559" y="544971"/>
                  <a:pt x="603176" y="519003"/>
                  <a:pt x="603176" y="519003"/>
                </a:cubicBezTo>
                <a:cubicBezTo>
                  <a:pt x="655537" y="514746"/>
                  <a:pt x="730885" y="547099"/>
                  <a:pt x="730885" y="508786"/>
                </a:cubicBezTo>
                <a:cubicBezTo>
                  <a:pt x="730885" y="470473"/>
                  <a:pt x="638083" y="315945"/>
                  <a:pt x="603176" y="289126"/>
                </a:cubicBezTo>
                <a:cubicBezTo>
                  <a:pt x="568269" y="262307"/>
                  <a:pt x="566566" y="366177"/>
                  <a:pt x="521442" y="347872"/>
                </a:cubicBezTo>
                <a:cubicBezTo>
                  <a:pt x="476318" y="329567"/>
                  <a:pt x="383515" y="237191"/>
                  <a:pt x="332431" y="179296"/>
                </a:cubicBezTo>
                <a:cubicBezTo>
                  <a:pt x="281347" y="121401"/>
                  <a:pt x="267726" y="9017"/>
                  <a:pt x="214939" y="503"/>
                </a:cubicBezTo>
                <a:cubicBezTo>
                  <a:pt x="162152" y="-8011"/>
                  <a:pt x="29334" y="93730"/>
                  <a:pt x="5495" y="130766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F0502020204030204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8667714"/>
      </p:ext>
    </p:extLst>
  </p:cSld>
  <p:clrMapOvr>
    <a:masterClrMapping/>
  </p:clrMapOvr>
  <p:transition spd="slow">
    <p:fad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15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 fmla="#ppt_x+(cos(-2*pi*(1-$))*-#ppt_x-sin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 fmla="#ppt_y+(sin(-2*pi*(1-$))*-#ppt_x+cos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11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2" name="Trò-chơi-ting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7" fill="hold">
                          <p:stCondLst>
                            <p:cond delay="indefinite"/>
                          </p:stCondLst>
                          <p:childTnLst>
                            <p:par>
                              <p:cTn id="1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9" presetID="22" presetClass="entr" presetSubtype="1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1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3" presetID="2" presetClass="entr" presetSubtype="4" fill="hold" nodeType="after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25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26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23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3" name="Trò-chơi-chíu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  <p:par>
                                    <p:cTn id="27" presetID="32" presetClass="emph" presetSubtype="0" repeatCount="3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28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29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30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31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32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33" presetID="16" presetClass="entr" presetSubtype="2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inVertical)">
                                          <p:cBhvr>
                                            <p:cTn id="35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15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 fmla="#ppt_x+(cos(-2*pi*(1-$))*-#ppt_x-sin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 fmla="#ppt_y+(sin(-2*pi*(1-$))*-#ppt_x+cos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11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7" name="Trò-chơi-ting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7" fill="hold">
                          <p:stCondLst>
                            <p:cond delay="indefinite"/>
                          </p:stCondLst>
                          <p:childTnLst>
                            <p:par>
                              <p:cTn id="1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9" presetID="22" presetClass="entr" presetSubtype="1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1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3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23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8" name="Trò-chơi-chíu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  <p:par>
                                    <p:cTn id="27" presetID="32" presetClass="emph" presetSubtype="0" repeatCount="3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28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29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30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31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32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33" presetID="16" presetClass="entr" presetSubtype="2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inVertical)">
                                          <p:cBhvr>
                                            <p:cTn id="35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 animBg="1"/>
        </p:bldLst>
      </p:timing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397D544-5C9B-E5B3-A4E3-D17316B62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890C1654-223F-F4D6-55F1-D0C4E02C8460}"/>
              </a:ext>
            </a:extLst>
          </p:cNvPr>
          <p:cNvGrpSpPr/>
          <p:nvPr/>
        </p:nvGrpSpPr>
        <p:grpSpPr>
          <a:xfrm>
            <a:off x="0" y="0"/>
            <a:ext cx="24384000" cy="6858000"/>
            <a:chOff x="0" y="0"/>
            <a:chExt cx="24384000" cy="68580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29178058-37FF-2ABF-E023-9AD1614422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xmlns="" id="{6FF8B639-36E5-858F-B47C-9BCA7E346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2192000" y="0"/>
              <a:ext cx="12192000" cy="685800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1C061620-304D-3384-1488-E03345431E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7918" y="0"/>
            <a:ext cx="4109279" cy="5273728"/>
          </a:xfrm>
          <a:prstGeom prst="rect">
            <a:avLst/>
          </a:prstGeom>
        </p:spPr>
      </p:pic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xmlns="" id="{99CACEE2-7BBC-7AB4-553E-73E1D2A86DD0}"/>
              </a:ext>
            </a:extLst>
          </p:cNvPr>
          <p:cNvSpPr/>
          <p:nvPr/>
        </p:nvSpPr>
        <p:spPr>
          <a:xfrm>
            <a:off x="4721343" y="346037"/>
            <a:ext cx="9752940" cy="3444913"/>
          </a:xfrm>
          <a:prstGeom prst="round2DiagRect">
            <a:avLst>
              <a:gd name="adj1" fmla="val 38492"/>
              <a:gd name="adj2" fmla="val 0"/>
            </a:avLst>
          </a:prstGeom>
          <a:solidFill>
            <a:srgbClr val="CCECFF"/>
          </a:solidFill>
          <a:ln w="381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rPr>
              <a:t>Hoạt</a:t>
            </a: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rPr>
              <a:t> </a:t>
            </a:r>
            <a:r>
              <a:rPr lang="en-US" sz="6600" b="1" dirty="0" err="1">
                <a:solidFill>
                  <a:srgbClr val="FF0000"/>
                </a:solidFill>
                <a:latin typeface="iCiel Cadena" panose="02000503000000020004" charset="0"/>
                <a:cs typeface="iCiel Cadena" panose="02000503000000020004" charset="0"/>
              </a:rPr>
              <a:t>động</a:t>
            </a:r>
            <a:r>
              <a:rPr lang="en-US" sz="6600" b="1" dirty="0">
                <a:solidFill>
                  <a:srgbClr val="FF0000"/>
                </a:solidFill>
                <a:latin typeface="iCiel Cadena" panose="02000503000000020004" charset="0"/>
                <a:cs typeface="iCiel Cadena" panose="02000503000000020004" charset="0"/>
              </a:rPr>
              <a:t> 3: </a:t>
            </a:r>
            <a:r>
              <a:rPr kumimoji="0" lang="en-US" sz="6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rPr>
              <a:t>Kể</a:t>
            </a: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rPr>
              <a:t> </a:t>
            </a:r>
            <a:r>
              <a:rPr kumimoji="0" lang="en-US" sz="6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rPr>
              <a:t>chuyện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Ciel Cadena" panose="02000503000000020004" charset="0"/>
              <a:cs typeface="iCiel Cadena" panose="0200050300000002000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rPr>
              <a:t> </a:t>
            </a:r>
            <a:r>
              <a:rPr kumimoji="0" lang="en-US" sz="6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rPr>
              <a:t>theo</a:t>
            </a: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rPr>
              <a:t> </a:t>
            </a:r>
            <a:r>
              <a:rPr kumimoji="0" lang="en-US" sz="6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rPr>
              <a:t>tranh</a:t>
            </a: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rPr>
              <a:t> </a:t>
            </a:r>
          </a:p>
        </p:txBody>
      </p:sp>
      <p:pic>
        <p:nvPicPr>
          <p:cNvPr id="9" name="Picture 2" descr="LINE Creators' Stickers - happy bunny 1 Example with GIF Animation">
            <a:extLst>
              <a:ext uri="{FF2B5EF4-FFF2-40B4-BE49-F238E27FC236}">
                <a16:creationId xmlns:a16="http://schemas.microsoft.com/office/drawing/2014/main" xmlns="" id="{21B1AC49-C595-15A6-B6F2-95547BE1EDD2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17513" y="137374"/>
            <a:ext cx="3897149" cy="3653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41723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3ACC9E0A-B574-2F63-B55A-1A894FEE97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9F09FCA3-E82C-CF55-68E8-2D3042B257DF}"/>
              </a:ext>
            </a:extLst>
          </p:cNvPr>
          <p:cNvGrpSpPr/>
          <p:nvPr/>
        </p:nvGrpSpPr>
        <p:grpSpPr>
          <a:xfrm>
            <a:off x="-1650381" y="0"/>
            <a:ext cx="24384000" cy="6858000"/>
            <a:chOff x="0" y="0"/>
            <a:chExt cx="24384000" cy="68580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12A1BEFC-24D5-0DA3-9825-C2E1EB0FE0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xmlns="" id="{1B489C4C-6F3D-2213-A4B6-1662C05538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2192000" y="0"/>
              <a:ext cx="12192000" cy="6858000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4BBA1D24-C1B3-FCEC-C9B8-4C9C186FB2EB}"/>
              </a:ext>
            </a:extLst>
          </p:cNvPr>
          <p:cNvGrpSpPr/>
          <p:nvPr/>
        </p:nvGrpSpPr>
        <p:grpSpPr>
          <a:xfrm>
            <a:off x="204704" y="826860"/>
            <a:ext cx="11701546" cy="5856954"/>
            <a:chOff x="1383341" y="1290771"/>
            <a:chExt cx="9720000" cy="432000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xmlns="" id="{4B73D0D2-3A8B-32E7-E03D-EA030A2B765D}"/>
                </a:ext>
              </a:extLst>
            </p:cNvPr>
            <p:cNvSpPr/>
            <p:nvPr/>
          </p:nvSpPr>
          <p:spPr>
            <a:xfrm>
              <a:off x="1383341" y="1290771"/>
              <a:ext cx="9720000" cy="4320000"/>
            </a:xfrm>
            <a:custGeom>
              <a:avLst/>
              <a:gdLst>
                <a:gd name="connsiteX0" fmla="*/ 0 w 11701546"/>
                <a:gd name="connsiteY0" fmla="*/ 1093903 h 5856954"/>
                <a:gd name="connsiteX1" fmla="*/ 1093903 w 11701546"/>
                <a:gd name="connsiteY1" fmla="*/ 0 h 5856954"/>
                <a:gd name="connsiteX2" fmla="*/ 10607643 w 11701546"/>
                <a:gd name="connsiteY2" fmla="*/ 0 h 5856954"/>
                <a:gd name="connsiteX3" fmla="*/ 11701546 w 11701546"/>
                <a:gd name="connsiteY3" fmla="*/ 1093903 h 5856954"/>
                <a:gd name="connsiteX4" fmla="*/ 11701546 w 11701546"/>
                <a:gd name="connsiteY4" fmla="*/ 4763051 h 5856954"/>
                <a:gd name="connsiteX5" fmla="*/ 10607643 w 11701546"/>
                <a:gd name="connsiteY5" fmla="*/ 5856954 h 5856954"/>
                <a:gd name="connsiteX6" fmla="*/ 1093903 w 11701546"/>
                <a:gd name="connsiteY6" fmla="*/ 5856954 h 5856954"/>
                <a:gd name="connsiteX7" fmla="*/ 0 w 11701546"/>
                <a:gd name="connsiteY7" fmla="*/ 4763051 h 5856954"/>
                <a:gd name="connsiteX8" fmla="*/ 0 w 11701546"/>
                <a:gd name="connsiteY8" fmla="*/ 1093903 h 585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01546" h="5856954" fill="none" extrusionOk="0">
                  <a:moveTo>
                    <a:pt x="0" y="1093903"/>
                  </a:moveTo>
                  <a:cubicBezTo>
                    <a:pt x="-92877" y="444536"/>
                    <a:pt x="518618" y="-100549"/>
                    <a:pt x="1093903" y="0"/>
                  </a:cubicBezTo>
                  <a:cubicBezTo>
                    <a:pt x="4346897" y="69703"/>
                    <a:pt x="9109538" y="-75058"/>
                    <a:pt x="10607643" y="0"/>
                  </a:cubicBezTo>
                  <a:cubicBezTo>
                    <a:pt x="11307892" y="34593"/>
                    <a:pt x="11675934" y="437075"/>
                    <a:pt x="11701546" y="1093903"/>
                  </a:cubicBezTo>
                  <a:cubicBezTo>
                    <a:pt x="11648642" y="2682043"/>
                    <a:pt x="11818019" y="3767913"/>
                    <a:pt x="11701546" y="4763051"/>
                  </a:cubicBezTo>
                  <a:cubicBezTo>
                    <a:pt x="11591480" y="5377533"/>
                    <a:pt x="11170518" y="5889567"/>
                    <a:pt x="10607643" y="5856954"/>
                  </a:cubicBezTo>
                  <a:cubicBezTo>
                    <a:pt x="6982220" y="5884021"/>
                    <a:pt x="2120575" y="6004502"/>
                    <a:pt x="1093903" y="5856954"/>
                  </a:cubicBezTo>
                  <a:cubicBezTo>
                    <a:pt x="518008" y="5894903"/>
                    <a:pt x="-45775" y="5385255"/>
                    <a:pt x="0" y="4763051"/>
                  </a:cubicBezTo>
                  <a:cubicBezTo>
                    <a:pt x="9703" y="3986567"/>
                    <a:pt x="132738" y="2470206"/>
                    <a:pt x="0" y="1093903"/>
                  </a:cubicBezTo>
                  <a:close/>
                </a:path>
                <a:path w="11701546" h="5856954" stroke="0" extrusionOk="0">
                  <a:moveTo>
                    <a:pt x="0" y="1093903"/>
                  </a:moveTo>
                  <a:cubicBezTo>
                    <a:pt x="17920" y="453996"/>
                    <a:pt x="519348" y="80196"/>
                    <a:pt x="1093903" y="0"/>
                  </a:cubicBezTo>
                  <a:cubicBezTo>
                    <a:pt x="3429002" y="-11997"/>
                    <a:pt x="7777717" y="-107784"/>
                    <a:pt x="10607643" y="0"/>
                  </a:cubicBezTo>
                  <a:cubicBezTo>
                    <a:pt x="11167684" y="19813"/>
                    <a:pt x="11644088" y="471457"/>
                    <a:pt x="11701546" y="1093903"/>
                  </a:cubicBezTo>
                  <a:cubicBezTo>
                    <a:pt x="11668853" y="2270313"/>
                    <a:pt x="11680140" y="4017297"/>
                    <a:pt x="11701546" y="4763051"/>
                  </a:cubicBezTo>
                  <a:cubicBezTo>
                    <a:pt x="11695245" y="5383037"/>
                    <a:pt x="11278334" y="5842771"/>
                    <a:pt x="10607643" y="5856954"/>
                  </a:cubicBezTo>
                  <a:cubicBezTo>
                    <a:pt x="8155683" y="5714369"/>
                    <a:pt x="5495330" y="5713719"/>
                    <a:pt x="1093903" y="5856954"/>
                  </a:cubicBezTo>
                  <a:cubicBezTo>
                    <a:pt x="505929" y="5770672"/>
                    <a:pt x="-78723" y="5405211"/>
                    <a:pt x="0" y="4763051"/>
                  </a:cubicBezTo>
                  <a:cubicBezTo>
                    <a:pt x="155752" y="4320455"/>
                    <a:pt x="-100087" y="2639012"/>
                    <a:pt x="0" y="1093903"/>
                  </a:cubicBezTo>
                  <a:close/>
                </a:path>
              </a:pathLst>
            </a:custGeom>
            <a:solidFill>
              <a:schemeClr val="lt1">
                <a:alpha val="93000"/>
              </a:schemeClr>
            </a:solidFill>
            <a:ln w="25400" cap="rnd" cmpd="thinThick">
              <a:solidFill>
                <a:srgbClr val="FF3F6E"/>
              </a:solidFill>
              <a:prstDash val="sysDash"/>
              <a:round/>
              <a:extLst>
                <a:ext uri="{C807C97D-BFC1-408E-A445-0C87EB9F89A2}">
                  <ask:lineSketchStyleProps xmlns:ask="http://schemas.microsoft.com/office/drawing/2018/sketchyshapes" xmlns="" sd="3816812094">
                    <a:prstGeom prst="roundRect">
                      <a:avLst>
                        <a:gd name="adj" fmla="val 18677"/>
                      </a:avLst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F4CD08AF-A78D-C4AA-B7AD-53C22C56161C}"/>
                </a:ext>
              </a:extLst>
            </p:cNvPr>
            <p:cNvSpPr txBox="1"/>
            <p:nvPr/>
          </p:nvSpPr>
          <p:spPr>
            <a:xfrm>
              <a:off x="1632406" y="1755994"/>
              <a:ext cx="930057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264F263F-64B9-8085-AC38-2FAA95D069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0635" y="3840468"/>
            <a:ext cx="6350524" cy="2777472"/>
          </a:xfrm>
          <a:prstGeom prst="rect">
            <a:avLst/>
          </a:prstGeom>
        </p:spPr>
      </p:pic>
      <p:sp>
        <p:nvSpPr>
          <p:cNvPr id="2" name="Hình chữ nhật 6">
            <a:extLst>
              <a:ext uri="{FF2B5EF4-FFF2-40B4-BE49-F238E27FC236}">
                <a16:creationId xmlns:a16="http://schemas.microsoft.com/office/drawing/2014/main" xmlns="" id="{7CFAB743-71F5-AA55-8379-68711CD185E0}"/>
              </a:ext>
            </a:extLst>
          </p:cNvPr>
          <p:cNvSpPr/>
          <p:nvPr/>
        </p:nvSpPr>
        <p:spPr>
          <a:xfrm>
            <a:off x="3854568" y="0"/>
            <a:ext cx="4401818" cy="769441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err="1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Helvetica"/>
                <a:cs typeface="+mn-cs"/>
              </a:rPr>
              <a:t>Bà</a:t>
            </a:r>
            <a:r>
              <a:rPr kumimoji="0" lang="en-US" sz="4400" b="1" i="0" u="none" strike="noStrike" kern="1200" cap="none" spc="0" normalizeH="0" baseline="0" noProof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Helvetica"/>
                <a:cs typeface="+mn-cs"/>
              </a:rPr>
              <a:t> </a:t>
            </a:r>
            <a:r>
              <a:rPr kumimoji="0" lang="en-US" sz="4400" b="1" i="0" u="none" strike="noStrike" kern="1200" cap="none" spc="0" normalizeH="0" baseline="0" noProof="0" dirty="0" err="1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Helvetica"/>
                <a:cs typeface="+mn-cs"/>
              </a:rPr>
              <a:t>hàng</a:t>
            </a:r>
            <a:r>
              <a:rPr kumimoji="0" lang="en-US" sz="4400" b="1" i="0" u="none" strike="noStrike" kern="1200" cap="none" spc="0" normalizeH="0" baseline="0" noProof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Helvetica"/>
                <a:cs typeface="+mn-cs"/>
              </a:rPr>
              <a:t> </a:t>
            </a:r>
            <a:r>
              <a:rPr kumimoji="0" lang="en-US" sz="4400" b="1" i="0" u="none" strike="noStrike" kern="1200" cap="none" spc="0" normalizeH="0" baseline="0" noProof="0" dirty="0" err="1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Helvetica"/>
                <a:cs typeface="+mn-cs"/>
              </a:rPr>
              <a:t>xóm</a:t>
            </a:r>
            <a:endParaRPr kumimoji="0" lang="vi-VN" sz="4400" b="1" i="0" u="none" strike="noStrike" kern="1200" cap="none" spc="0" normalizeH="0" baseline="0" noProof="0" dirty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Helvetic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1AF3F58-81CC-ACBB-D01D-50A5B851FBB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453" y="885243"/>
            <a:ext cx="3648607" cy="287009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8B384338-3900-D731-2F3A-2FB75F27719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9958" y="652674"/>
            <a:ext cx="3502537" cy="325257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5D0BCB5D-DB50-6C8C-E655-3EEB9C40CC9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716" y="652674"/>
            <a:ext cx="3803434" cy="343657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00217618-57EA-5F5C-CFB9-9CC57B83A1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984" y="3514363"/>
            <a:ext cx="3803434" cy="3103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693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630496" y="158117"/>
            <a:ext cx="12192002" cy="6858000"/>
          </a:xfrm>
          <a:prstGeom prst="rect">
            <a:avLst/>
          </a:prstGeom>
        </p:spPr>
      </p:pic>
      <p:pic>
        <p:nvPicPr>
          <p:cNvPr id="30" name="图片 29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115"/>
          <a:stretch>
            <a:fillRect/>
          </a:stretch>
        </p:blipFill>
        <p:spPr>
          <a:xfrm>
            <a:off x="-275147" y="1859538"/>
            <a:ext cx="12687300" cy="2201107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1923415" y="263525"/>
            <a:ext cx="8465185" cy="2058035"/>
            <a:chOff x="3029" y="415"/>
            <a:chExt cx="13331" cy="3241"/>
          </a:xfrm>
        </p:grpSpPr>
        <p:sp>
          <p:nvSpPr>
            <p:cNvPr id="12" name="Rounded Rectangle 11"/>
            <p:cNvSpPr/>
            <p:nvPr/>
          </p:nvSpPr>
          <p:spPr>
            <a:xfrm>
              <a:off x="3029" y="715"/>
              <a:ext cx="13330" cy="2941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3029" y="415"/>
              <a:ext cx="13331" cy="2941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Tìm</a:t>
              </a:r>
              <a:r>
                <a:rPr kumimoji="0" lang="en-US" sz="7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7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hiểu</a:t>
              </a:r>
              <a:r>
                <a:rPr kumimoji="0" lang="en-US" sz="7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7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về</a:t>
              </a:r>
              <a:r>
                <a:rPr kumimoji="0" lang="en-US" sz="7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7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nội</a:t>
              </a:r>
              <a:r>
                <a:rPr kumimoji="0" lang="en-US" sz="7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dung </a:t>
              </a:r>
              <a:r>
                <a:rPr kumimoji="0" lang="en-US" sz="7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câu</a:t>
              </a:r>
              <a:r>
                <a:rPr kumimoji="0" lang="en-US" sz="7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7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chuyện</a:t>
              </a:r>
              <a:endPara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endParaRPr>
            </a:p>
          </p:txBody>
        </p: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-415290"/>
            <a:ext cx="2558415" cy="2157095"/>
          </a:xfrm>
          <a:prstGeom prst="rect">
            <a:avLst/>
          </a:prstGeom>
        </p:spPr>
      </p:pic>
      <p:pic>
        <p:nvPicPr>
          <p:cNvPr id="32" name="图片 31"/>
          <p:cNvPicPr>
            <a:picLocks noGrp="1" noChangeAspect="1"/>
          </p:cNvPicPr>
          <p:nvPr>
            <p:ph idx="1"/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60000">
            <a:off x="10597515" y="-132080"/>
            <a:ext cx="1594485" cy="159004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749926" y="3138200"/>
            <a:ext cx="3485132" cy="3186400"/>
            <a:chOff x="1140" y="4931"/>
            <a:chExt cx="3930" cy="4206"/>
          </a:xfrm>
        </p:grpSpPr>
        <p:grpSp>
          <p:nvGrpSpPr>
            <p:cNvPr id="14" name="Group 13"/>
            <p:cNvGrpSpPr/>
            <p:nvPr/>
          </p:nvGrpSpPr>
          <p:grpSpPr>
            <a:xfrm>
              <a:off x="1140" y="4931"/>
              <a:ext cx="3930" cy="4206"/>
              <a:chOff x="1320" y="4931"/>
              <a:chExt cx="3930" cy="4206"/>
            </a:xfrm>
          </p:grpSpPr>
          <p:grpSp>
            <p:nvGrpSpPr>
              <p:cNvPr id="101" name="组合 100"/>
              <p:cNvGrpSpPr/>
              <p:nvPr/>
            </p:nvGrpSpPr>
            <p:grpSpPr>
              <a:xfrm>
                <a:off x="1320" y="4931"/>
                <a:ext cx="3931" cy="4207"/>
                <a:chOff x="3459164" y="2427288"/>
                <a:chExt cx="928687" cy="2671762"/>
              </a:xfrm>
            </p:grpSpPr>
            <p:sp>
              <p:nvSpPr>
                <p:cNvPr id="102" name="MH_SubTitle_1"/>
                <p:cNvSpPr/>
                <p:nvPr>
                  <p:custDataLst>
                    <p:tags r:id="rId6"/>
                  </p:custDataLst>
                </p:nvPr>
              </p:nvSpPr>
              <p:spPr>
                <a:xfrm>
                  <a:off x="3459164" y="2427288"/>
                  <a:ext cx="928687" cy="2671762"/>
                </a:xfrm>
                <a:prstGeom prst="roundRect">
                  <a:avLst>
                    <a:gd name="adj" fmla="val 5729"/>
                  </a:avLst>
                </a:prstGeom>
                <a:blipFill dpi="0" rotWithShape="1">
                  <a:blip r:embed="rId14"/>
                  <a:srcRect/>
                  <a:tile tx="0" ty="0" sx="100000" sy="5000" flip="xy" algn="tl"/>
                </a:blipFill>
                <a:ln w="25400">
                  <a:solidFill>
                    <a:srgbClr val="FEFEFE"/>
                  </a:solidFill>
                </a:ln>
                <a:effectLst>
                  <a:outerShdw blurRad="38100" sx="101000" sy="101000" algn="ctr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792000" rIns="0" bIns="0" anchor="ctr">
                  <a:norm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uLnTx/>
                      <a:uFillTx/>
                      <a:latin typeface="Helvetica"/>
                      <a:cs typeface="Helvetica"/>
                      <a:sym typeface="+mn-lt"/>
                    </a:rPr>
                    <a:t>ADD YOUR TITLE</a:t>
                  </a:r>
                </a:p>
              </p:txBody>
            </p:sp>
            <p:sp>
              <p:nvSpPr>
                <p:cNvPr id="103" name="MH_Other_1"/>
                <p:cNvSpPr/>
                <p:nvPr>
                  <p:custDataLst>
                    <p:tags r:id="rId7"/>
                  </p:custDataLst>
                </p:nvPr>
              </p:nvSpPr>
              <p:spPr>
                <a:xfrm>
                  <a:off x="3621313" y="2698750"/>
                  <a:ext cx="603250" cy="60325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innerShdw blurRad="50800" dist="63500" dir="18900000">
                    <a:prstClr val="black">
                      <a:alpha val="6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2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18C80"/>
                      </a:solidFill>
                      <a:effectLst/>
                      <a:uLnTx/>
                      <a:uFillTx/>
                      <a:latin typeface="Helvetica"/>
                      <a:cs typeface="Helvetica"/>
                      <a:sym typeface="+mn-lt"/>
                    </a:rPr>
                    <a:t>01</a:t>
                  </a:r>
                  <a:endParaRPr kumimoji="0" lang="zh-CN" alt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8C80"/>
                    </a:solidFill>
                    <a:effectLst/>
                    <a:uLnTx/>
                    <a:uFillTx/>
                    <a:latin typeface="Helvetica"/>
                    <a:cs typeface="Helvetica"/>
                    <a:sym typeface="+mn-lt"/>
                  </a:endParaRPr>
                </a:p>
              </p:txBody>
            </p:sp>
          </p:grpSp>
          <p:sp>
            <p:nvSpPr>
              <p:cNvPr id="13" name="Rounded Rectangle 12"/>
              <p:cNvSpPr/>
              <p:nvPr/>
            </p:nvSpPr>
            <p:spPr>
              <a:xfrm>
                <a:off x="1446" y="5070"/>
                <a:ext cx="3680" cy="3934"/>
              </a:xfrm>
              <a:prstGeom prst="roundRect">
                <a:avLst>
                  <a:gd name="adj" fmla="val 8164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/>
                  <a:cs typeface="+mn-cs"/>
                </a:endParaRPr>
              </a:p>
            </p:txBody>
          </p:sp>
        </p:grpSp>
        <p:sp>
          <p:nvSpPr>
            <p:cNvPr id="15" name="Text Box 14"/>
            <p:cNvSpPr txBox="1"/>
            <p:nvPr/>
          </p:nvSpPr>
          <p:spPr>
            <a:xfrm>
              <a:off x="1361" y="5358"/>
              <a:ext cx="3585" cy="30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Tin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đã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làm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gì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để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quan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tâm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đến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hàng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xóm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láng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giềng</a:t>
              </a: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endParaRPr>
            </a:p>
          </p:txBody>
        </p:sp>
      </p:grpSp>
      <p:pic>
        <p:nvPicPr>
          <p:cNvPr id="105" name="Picture 104"/>
          <p:cNvPicPr/>
          <p:nvPr/>
        </p:nvPicPr>
        <p:blipFill>
          <a:blip r:embed="rId15"/>
          <a:stretch>
            <a:fillRect/>
          </a:stretch>
        </p:blipFill>
        <p:spPr>
          <a:xfrm>
            <a:off x="5981700" y="3429000"/>
            <a:ext cx="0" cy="0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4" name="Group 3"/>
          <p:cNvGrpSpPr/>
          <p:nvPr/>
        </p:nvGrpSpPr>
        <p:grpSpPr>
          <a:xfrm rot="20852769">
            <a:off x="4649079" y="3085725"/>
            <a:ext cx="2894101" cy="3289289"/>
            <a:chOff x="5557" y="5207"/>
            <a:chExt cx="3952" cy="5272"/>
          </a:xfrm>
        </p:grpSpPr>
        <p:grpSp>
          <p:nvGrpSpPr>
            <p:cNvPr id="17" name="Group 16"/>
            <p:cNvGrpSpPr/>
            <p:nvPr/>
          </p:nvGrpSpPr>
          <p:grpSpPr>
            <a:xfrm rot="660000">
              <a:off x="5557" y="5207"/>
              <a:ext cx="3952" cy="5272"/>
              <a:chOff x="1299" y="4931"/>
              <a:chExt cx="3952" cy="4207"/>
            </a:xfrm>
          </p:grpSpPr>
          <p:grpSp>
            <p:nvGrpSpPr>
              <p:cNvPr id="18" name="组合 100"/>
              <p:cNvGrpSpPr/>
              <p:nvPr/>
            </p:nvGrpSpPr>
            <p:grpSpPr>
              <a:xfrm>
                <a:off x="1320" y="4931"/>
                <a:ext cx="3931" cy="4207"/>
                <a:chOff x="3459164" y="2427288"/>
                <a:chExt cx="928687" cy="2671762"/>
              </a:xfrm>
            </p:grpSpPr>
            <p:sp>
              <p:nvSpPr>
                <p:cNvPr id="19" name="MH_SubTitle_1"/>
                <p:cNvSpPr/>
                <p:nvPr>
                  <p:custDataLst>
                    <p:tags r:id="rId4"/>
                  </p:custDataLst>
                </p:nvPr>
              </p:nvSpPr>
              <p:spPr>
                <a:xfrm>
                  <a:off x="3459164" y="2427288"/>
                  <a:ext cx="928687" cy="2671762"/>
                </a:xfrm>
                <a:prstGeom prst="roundRect">
                  <a:avLst>
                    <a:gd name="adj" fmla="val 5729"/>
                  </a:avLst>
                </a:prstGeom>
                <a:blipFill dpi="0" rotWithShape="1">
                  <a:blip r:embed="rId14"/>
                  <a:srcRect/>
                  <a:tile tx="0" ty="0" sx="100000" sy="5000" flip="xy" algn="tl"/>
                </a:blipFill>
                <a:ln w="25400">
                  <a:solidFill>
                    <a:srgbClr val="FEFEFE"/>
                  </a:solidFill>
                </a:ln>
                <a:effectLst>
                  <a:outerShdw blurRad="38100" sx="101000" sy="101000" algn="ctr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792000" rIns="0" bIns="0" anchor="ctr">
                  <a:norm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uLnTx/>
                      <a:uFillTx/>
                      <a:latin typeface="Helvetica"/>
                      <a:cs typeface="Helvetica"/>
                      <a:sym typeface="+mn-lt"/>
                    </a:rPr>
                    <a:t>ADD YOUR TITLE</a:t>
                  </a:r>
                </a:p>
              </p:txBody>
            </p:sp>
            <p:sp>
              <p:nvSpPr>
                <p:cNvPr id="20" name="MH_Other_1"/>
                <p:cNvSpPr/>
                <p:nvPr>
                  <p:custDataLst>
                    <p:tags r:id="rId5"/>
                  </p:custDataLst>
                </p:nvPr>
              </p:nvSpPr>
              <p:spPr>
                <a:xfrm>
                  <a:off x="3621313" y="2698750"/>
                  <a:ext cx="603250" cy="60325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innerShdw blurRad="50800" dist="63500" dir="18900000">
                    <a:prstClr val="black">
                      <a:alpha val="6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2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18C80"/>
                      </a:solidFill>
                      <a:effectLst/>
                      <a:uLnTx/>
                      <a:uFillTx/>
                      <a:latin typeface="Helvetica"/>
                      <a:cs typeface="Helvetica"/>
                      <a:sym typeface="+mn-lt"/>
                    </a:rPr>
                    <a:t>01</a:t>
                  </a:r>
                  <a:endParaRPr kumimoji="0" lang="zh-CN" alt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8C80"/>
                    </a:solidFill>
                    <a:effectLst/>
                    <a:uLnTx/>
                    <a:uFillTx/>
                    <a:latin typeface="Helvetica"/>
                    <a:cs typeface="Helvetica"/>
                    <a:sym typeface="+mn-lt"/>
                  </a:endParaRPr>
                </a:p>
              </p:txBody>
            </p:sp>
          </p:grpSp>
          <p:sp>
            <p:nvSpPr>
              <p:cNvPr id="21" name="Rounded Rectangle 20"/>
              <p:cNvSpPr/>
              <p:nvPr/>
            </p:nvSpPr>
            <p:spPr>
              <a:xfrm>
                <a:off x="1299" y="5070"/>
                <a:ext cx="3827" cy="3596"/>
              </a:xfrm>
              <a:prstGeom prst="roundRect">
                <a:avLst>
                  <a:gd name="adj" fmla="val 8164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/>
                  <a:cs typeface="+mn-cs"/>
                </a:endParaRPr>
              </a:p>
            </p:txBody>
          </p:sp>
        </p:grpSp>
        <p:sp>
          <p:nvSpPr>
            <p:cNvPr id="22" name="Text Box 21"/>
            <p:cNvSpPr txBox="1"/>
            <p:nvPr/>
          </p:nvSpPr>
          <p:spPr>
            <a:xfrm rot="697161">
              <a:off x="5649" y="6043"/>
              <a:ext cx="3839" cy="28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Việc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làm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của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Tin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đã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mang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lại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lợi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ích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gì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318C8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?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7967504" y="3160507"/>
            <a:ext cx="3763550" cy="2909142"/>
            <a:chOff x="14543" y="5309"/>
            <a:chExt cx="3931" cy="4229"/>
          </a:xfrm>
        </p:grpSpPr>
        <p:grpSp>
          <p:nvGrpSpPr>
            <p:cNvPr id="26" name="Group 25"/>
            <p:cNvGrpSpPr/>
            <p:nvPr/>
          </p:nvGrpSpPr>
          <p:grpSpPr>
            <a:xfrm>
              <a:off x="14543" y="5331"/>
              <a:ext cx="3931" cy="4207"/>
              <a:chOff x="5848" y="5069"/>
              <a:chExt cx="3931" cy="4207"/>
            </a:xfrm>
          </p:grpSpPr>
          <p:grpSp>
            <p:nvGrpSpPr>
              <p:cNvPr id="27" name="组合 100"/>
              <p:cNvGrpSpPr/>
              <p:nvPr/>
            </p:nvGrpSpPr>
            <p:grpSpPr>
              <a:xfrm>
                <a:off x="5848" y="5069"/>
                <a:ext cx="3931" cy="4207"/>
                <a:chOff x="4528896" y="2514952"/>
                <a:chExt cx="928687" cy="2671762"/>
              </a:xfrm>
            </p:grpSpPr>
            <p:sp>
              <p:nvSpPr>
                <p:cNvPr id="28" name="MH_SubTitle_1"/>
                <p:cNvSpPr/>
                <p:nvPr>
                  <p:custDataLst>
                    <p:tags r:id="rId2"/>
                  </p:custDataLst>
                </p:nvPr>
              </p:nvSpPr>
              <p:spPr>
                <a:xfrm>
                  <a:off x="4528896" y="2514952"/>
                  <a:ext cx="928687" cy="2671762"/>
                </a:xfrm>
                <a:prstGeom prst="roundRect">
                  <a:avLst>
                    <a:gd name="adj" fmla="val 5729"/>
                  </a:avLst>
                </a:prstGeom>
                <a:blipFill dpi="0" rotWithShape="1">
                  <a:blip r:embed="rId14"/>
                  <a:srcRect/>
                  <a:tile tx="0" ty="0" sx="100000" sy="5000" flip="xy" algn="tl"/>
                </a:blipFill>
                <a:ln w="25400">
                  <a:solidFill>
                    <a:srgbClr val="FEFEFE"/>
                  </a:solidFill>
                </a:ln>
                <a:effectLst>
                  <a:outerShdw blurRad="38100" sx="101000" sy="101000" algn="ctr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792000" rIns="0" bIns="0" anchor="ctr">
                  <a:norm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uLnTx/>
                      <a:uFillTx/>
                      <a:latin typeface="Helvetica"/>
                      <a:cs typeface="Helvetica"/>
                      <a:sym typeface="+mn-lt"/>
                    </a:rPr>
                    <a:t>ADD YOUR TITLE</a:t>
                  </a:r>
                </a:p>
              </p:txBody>
            </p:sp>
            <p:sp>
              <p:nvSpPr>
                <p:cNvPr id="29" name="MH_Other_1"/>
                <p:cNvSpPr/>
                <p:nvPr>
                  <p:custDataLst>
                    <p:tags r:id="rId3"/>
                  </p:custDataLst>
                </p:nvPr>
              </p:nvSpPr>
              <p:spPr>
                <a:xfrm>
                  <a:off x="4532863" y="2666339"/>
                  <a:ext cx="603250" cy="60325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innerShdw blurRad="50800" dist="63500" dir="18900000">
                    <a:prstClr val="black">
                      <a:alpha val="6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2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18C80"/>
                      </a:solidFill>
                      <a:effectLst/>
                      <a:uLnTx/>
                      <a:uFillTx/>
                      <a:latin typeface="Helvetica"/>
                      <a:cs typeface="Helvetica"/>
                      <a:sym typeface="+mn-lt"/>
                    </a:rPr>
                    <a:t>01</a:t>
                  </a:r>
                  <a:endParaRPr kumimoji="0" lang="zh-CN" alt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8C80"/>
                    </a:solidFill>
                    <a:effectLst/>
                    <a:uLnTx/>
                    <a:uFillTx/>
                    <a:latin typeface="Helvetica"/>
                    <a:cs typeface="Helvetica"/>
                    <a:sym typeface="+mn-lt"/>
                  </a:endParaRPr>
                </a:p>
              </p:txBody>
            </p:sp>
          </p:grpSp>
          <p:sp>
            <p:nvSpPr>
              <p:cNvPr id="33" name="Rounded Rectangle 32"/>
              <p:cNvSpPr/>
              <p:nvPr/>
            </p:nvSpPr>
            <p:spPr>
              <a:xfrm>
                <a:off x="5931" y="5115"/>
                <a:ext cx="3680" cy="3934"/>
              </a:xfrm>
              <a:prstGeom prst="roundRect">
                <a:avLst>
                  <a:gd name="adj" fmla="val 8164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/>
                  <a:cs typeface="+mn-cs"/>
                </a:endParaRPr>
              </a:p>
            </p:txBody>
          </p:sp>
        </p:grpSp>
        <p:sp>
          <p:nvSpPr>
            <p:cNvPr id="34" name="Text Box 33"/>
            <p:cNvSpPr txBox="1"/>
            <p:nvPr/>
          </p:nvSpPr>
          <p:spPr>
            <a:xfrm>
              <a:off x="14601" y="5309"/>
              <a:ext cx="3585" cy="36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Vì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sao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chúng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ta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cần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phải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quan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tâm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dến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hàng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xóm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láng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 </a:t>
              </a:r>
              <a:r>
                <a:rPr kumimoji="0" lang="en-US" sz="3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iCiel Cadena" panose="02000503000000020004" charset="0"/>
                  <a:cs typeface="iCiel Cadena" panose="02000503000000020004" charset="0"/>
                </a:rPr>
                <a:t>giềng</a:t>
              </a: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iCiel Cadena" panose="02000503000000020004" charset="0"/>
                <a:cs typeface="iCiel Cadena" panose="02000503000000020004" charset="0"/>
              </a:endParaRPr>
            </a:p>
          </p:txBody>
        </p:sp>
      </p:grpSp>
    </p:spTree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7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base">
                                        <p:cTn id="25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7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base">
                                        <p:cTn id="33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7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base">
                                        <p:cTn id="41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DD8C3B8B-8455-BFC3-198F-BEDA465FA00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49"/>
          <a:stretch/>
        </p:blipFill>
        <p:spPr>
          <a:xfrm>
            <a:off x="-152400" y="-9244"/>
            <a:ext cx="12344400" cy="6867244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D7A4637A-4ADE-AE64-DABA-70D6A845C77C}"/>
              </a:ext>
            </a:extLst>
          </p:cNvPr>
          <p:cNvGrpSpPr/>
          <p:nvPr/>
        </p:nvGrpSpPr>
        <p:grpSpPr>
          <a:xfrm>
            <a:off x="2245128" y="1721946"/>
            <a:ext cx="6303900" cy="1417156"/>
            <a:chOff x="2245128" y="1721946"/>
            <a:chExt cx="6303900" cy="141715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xmlns="" id="{F7D4011B-B8EA-47C8-0BC7-DB06BB830C4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5128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8" y="1262126"/>
                    <a:pt x="4368728" y="1326463"/>
                  </a:cubicBezTo>
                  <a:cubicBezTo>
                    <a:pt x="4368728" y="1386925"/>
                    <a:pt x="4338885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0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4" y="1164845"/>
                  </a:moveTo>
                  <a:cubicBezTo>
                    <a:pt x="686004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4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3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5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6" y="562557"/>
                    <a:pt x="3480931" y="554418"/>
                    <a:pt x="3443724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3" y="638909"/>
                    <a:pt x="4169903" y="719524"/>
                  </a:cubicBezTo>
                  <a:cubicBezTo>
                    <a:pt x="4169903" y="778435"/>
                    <a:pt x="4176880" y="823393"/>
                    <a:pt x="4190832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6" y="917186"/>
                    <a:pt x="4360589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90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0" y="330013"/>
                  </a:moveTo>
                  <a:lnTo>
                    <a:pt x="2619430" y="576509"/>
                  </a:lnTo>
                  <a:cubicBezTo>
                    <a:pt x="2619430" y="667976"/>
                    <a:pt x="2620206" y="750917"/>
                    <a:pt x="2621756" y="825331"/>
                  </a:cubicBezTo>
                  <a:cubicBezTo>
                    <a:pt x="2623306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1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4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6" y="542403"/>
                    <a:pt x="3825096" y="702083"/>
                  </a:cubicBezTo>
                  <a:cubicBezTo>
                    <a:pt x="3825096" y="854787"/>
                    <a:pt x="3797191" y="965245"/>
                    <a:pt x="3741381" y="1033458"/>
                  </a:cubicBezTo>
                  <a:cubicBezTo>
                    <a:pt x="3681694" y="1107872"/>
                    <a:pt x="3566585" y="1145079"/>
                    <a:pt x="3396053" y="1145079"/>
                  </a:cubicBezTo>
                  <a:lnTo>
                    <a:pt x="3335591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1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6" y="291837"/>
                    <a:pt x="4839897" y="294743"/>
                    <a:pt x="4880204" y="298619"/>
                  </a:cubicBezTo>
                  <a:cubicBezTo>
                    <a:pt x="4924388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7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4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2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5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50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3" y="664101"/>
                    <a:pt x="595506" y="667395"/>
                    <a:pt x="588918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7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2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3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4" y="821843"/>
                    <a:pt x="283704" y="849748"/>
                  </a:cubicBezTo>
                  <a:cubicBezTo>
                    <a:pt x="283704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29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6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5" y="312184"/>
                    <a:pt x="4568329" y="362569"/>
                    <a:pt x="4609411" y="439308"/>
                  </a:cubicBezTo>
                  <a:cubicBezTo>
                    <a:pt x="4650494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6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7" y="1011754"/>
                    <a:pt x="3878836" y="916411"/>
                    <a:pt x="3875735" y="793938"/>
                  </a:cubicBezTo>
                  <a:cubicBezTo>
                    <a:pt x="3874960" y="790062"/>
                    <a:pt x="3874572" y="778435"/>
                    <a:pt x="3874572" y="759056"/>
                  </a:cubicBezTo>
                  <a:cubicBezTo>
                    <a:pt x="3874572" y="609453"/>
                    <a:pt x="3909454" y="494344"/>
                    <a:pt x="3979217" y="413728"/>
                  </a:cubicBezTo>
                  <a:cubicBezTo>
                    <a:pt x="4009448" y="378072"/>
                    <a:pt x="4044717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2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2" y="599764"/>
                  </a:lnTo>
                  <a:lnTo>
                    <a:pt x="6050003" y="611391"/>
                  </a:lnTo>
                  <a:lnTo>
                    <a:pt x="6050003" y="592787"/>
                  </a:lnTo>
                  <a:cubicBezTo>
                    <a:pt x="6050003" y="573409"/>
                    <a:pt x="6041864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7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1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6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70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5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7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7" y="243953"/>
                  </a:cubicBezTo>
                  <a:cubicBezTo>
                    <a:pt x="4374155" y="245516"/>
                    <a:pt x="4357876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4" y="246684"/>
                    <a:pt x="4200522" y="246103"/>
                    <a:pt x="4185019" y="245715"/>
                  </a:cubicBezTo>
                  <a:cubicBezTo>
                    <a:pt x="4169516" y="245328"/>
                    <a:pt x="4152850" y="244746"/>
                    <a:pt x="4135022" y="243971"/>
                  </a:cubicBezTo>
                  <a:lnTo>
                    <a:pt x="4057120" y="241628"/>
                  </a:lnTo>
                  <a:cubicBezTo>
                    <a:pt x="4065646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4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9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7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8" y="86229"/>
                    <a:pt x="1898666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solidFill>
              <a:schemeClr val="bg1"/>
            </a:solidFill>
            <a:ln w="254000">
              <a:solidFill>
                <a:schemeClr val="accent6">
                  <a:lumMod val="75000"/>
                </a:schemeClr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 w="254000">
                  <a:solidFill>
                    <a:srgbClr val="4EA72E">
                      <a:lumMod val="7500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77FB755D-B4B6-2682-721B-A4E07A07093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5128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8" y="1262126"/>
                    <a:pt x="4368728" y="1326463"/>
                  </a:cubicBezTo>
                  <a:cubicBezTo>
                    <a:pt x="4368728" y="1386925"/>
                    <a:pt x="4338885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0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4" y="1164845"/>
                  </a:moveTo>
                  <a:cubicBezTo>
                    <a:pt x="686004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4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3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5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6" y="562557"/>
                    <a:pt x="3480931" y="554418"/>
                    <a:pt x="3443724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3" y="638909"/>
                    <a:pt x="4169903" y="719524"/>
                  </a:cubicBezTo>
                  <a:cubicBezTo>
                    <a:pt x="4169903" y="778435"/>
                    <a:pt x="4176880" y="823393"/>
                    <a:pt x="4190832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6" y="917186"/>
                    <a:pt x="4360589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90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0" y="330013"/>
                  </a:moveTo>
                  <a:lnTo>
                    <a:pt x="2619430" y="576509"/>
                  </a:lnTo>
                  <a:cubicBezTo>
                    <a:pt x="2619430" y="667976"/>
                    <a:pt x="2620206" y="750917"/>
                    <a:pt x="2621756" y="825331"/>
                  </a:cubicBezTo>
                  <a:cubicBezTo>
                    <a:pt x="2623306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1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4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6" y="542403"/>
                    <a:pt x="3825096" y="702083"/>
                  </a:cubicBezTo>
                  <a:cubicBezTo>
                    <a:pt x="3825096" y="854787"/>
                    <a:pt x="3797191" y="965245"/>
                    <a:pt x="3741381" y="1033458"/>
                  </a:cubicBezTo>
                  <a:cubicBezTo>
                    <a:pt x="3681694" y="1107872"/>
                    <a:pt x="3566585" y="1145079"/>
                    <a:pt x="3396053" y="1145079"/>
                  </a:cubicBezTo>
                  <a:lnTo>
                    <a:pt x="3335591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1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6" y="291837"/>
                    <a:pt x="4839897" y="294743"/>
                    <a:pt x="4880204" y="298619"/>
                  </a:cubicBezTo>
                  <a:cubicBezTo>
                    <a:pt x="4924388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7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4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2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5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50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3" y="664101"/>
                    <a:pt x="595506" y="667395"/>
                    <a:pt x="588918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7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2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3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4" y="821843"/>
                    <a:pt x="283704" y="849748"/>
                  </a:cubicBezTo>
                  <a:cubicBezTo>
                    <a:pt x="283704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29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6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5" y="312184"/>
                    <a:pt x="4568329" y="362569"/>
                    <a:pt x="4609411" y="439308"/>
                  </a:cubicBezTo>
                  <a:cubicBezTo>
                    <a:pt x="4650494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6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7" y="1011754"/>
                    <a:pt x="3878836" y="916411"/>
                    <a:pt x="3875735" y="793938"/>
                  </a:cubicBezTo>
                  <a:cubicBezTo>
                    <a:pt x="3874960" y="790062"/>
                    <a:pt x="3874572" y="778435"/>
                    <a:pt x="3874572" y="759056"/>
                  </a:cubicBezTo>
                  <a:cubicBezTo>
                    <a:pt x="3874572" y="609453"/>
                    <a:pt x="3909454" y="494344"/>
                    <a:pt x="3979217" y="413728"/>
                  </a:cubicBezTo>
                  <a:cubicBezTo>
                    <a:pt x="4009448" y="378072"/>
                    <a:pt x="4044717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2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2" y="599764"/>
                  </a:lnTo>
                  <a:lnTo>
                    <a:pt x="6050003" y="611391"/>
                  </a:lnTo>
                  <a:lnTo>
                    <a:pt x="6050003" y="592787"/>
                  </a:lnTo>
                  <a:cubicBezTo>
                    <a:pt x="6050003" y="573409"/>
                    <a:pt x="6041864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7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1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6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70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5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7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7" y="243953"/>
                  </a:cubicBezTo>
                  <a:cubicBezTo>
                    <a:pt x="4374155" y="245516"/>
                    <a:pt x="4357876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4" y="246684"/>
                    <a:pt x="4200522" y="246103"/>
                    <a:pt x="4185019" y="245715"/>
                  </a:cubicBezTo>
                  <a:cubicBezTo>
                    <a:pt x="4169516" y="245328"/>
                    <a:pt x="4152850" y="244746"/>
                    <a:pt x="4135022" y="243971"/>
                  </a:cubicBezTo>
                  <a:lnTo>
                    <a:pt x="4057120" y="241628"/>
                  </a:lnTo>
                  <a:cubicBezTo>
                    <a:pt x="4065646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4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9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7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8" y="86229"/>
                    <a:pt x="1898666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solidFill>
              <a:schemeClr val="bg1"/>
            </a:solidFill>
            <a:ln w="177800">
              <a:solidFill>
                <a:schemeClr val="bg1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 w="177800"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5FE0B441-82BD-FA01-C3BF-6AA240ACE042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6716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9" y="1262126"/>
                    <a:pt x="4368729" y="1326463"/>
                  </a:cubicBezTo>
                  <a:cubicBezTo>
                    <a:pt x="4368729" y="1386925"/>
                    <a:pt x="4338886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1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5" y="1164845"/>
                  </a:moveTo>
                  <a:cubicBezTo>
                    <a:pt x="686005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5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4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6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7" y="562557"/>
                    <a:pt x="3480932" y="554418"/>
                    <a:pt x="3443725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4" y="638909"/>
                    <a:pt x="4169904" y="719524"/>
                  </a:cubicBezTo>
                  <a:cubicBezTo>
                    <a:pt x="4169904" y="778435"/>
                    <a:pt x="4176880" y="823393"/>
                    <a:pt x="4190833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7" y="917186"/>
                    <a:pt x="4360590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89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1" y="330013"/>
                  </a:moveTo>
                  <a:lnTo>
                    <a:pt x="2619431" y="576509"/>
                  </a:lnTo>
                  <a:cubicBezTo>
                    <a:pt x="2619431" y="667976"/>
                    <a:pt x="2620206" y="750917"/>
                    <a:pt x="2621756" y="825331"/>
                  </a:cubicBezTo>
                  <a:cubicBezTo>
                    <a:pt x="2623307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2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5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7" y="542403"/>
                    <a:pt x="3825097" y="702083"/>
                  </a:cubicBezTo>
                  <a:cubicBezTo>
                    <a:pt x="3825097" y="854787"/>
                    <a:pt x="3797191" y="965245"/>
                    <a:pt x="3741381" y="1033458"/>
                  </a:cubicBezTo>
                  <a:cubicBezTo>
                    <a:pt x="3681695" y="1107872"/>
                    <a:pt x="3566585" y="1145079"/>
                    <a:pt x="3396053" y="1145079"/>
                  </a:cubicBezTo>
                  <a:lnTo>
                    <a:pt x="3335592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2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5" y="291837"/>
                    <a:pt x="4839897" y="294743"/>
                    <a:pt x="4880204" y="298619"/>
                  </a:cubicBezTo>
                  <a:cubicBezTo>
                    <a:pt x="4924387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6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3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1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6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49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4" y="664101"/>
                    <a:pt x="595506" y="667395"/>
                    <a:pt x="588917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8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1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4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3" y="821843"/>
                    <a:pt x="283703" y="849748"/>
                  </a:cubicBezTo>
                  <a:cubicBezTo>
                    <a:pt x="283703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30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5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6" y="312184"/>
                    <a:pt x="4568329" y="362569"/>
                    <a:pt x="4609412" y="439308"/>
                  </a:cubicBezTo>
                  <a:cubicBezTo>
                    <a:pt x="4650495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7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8" y="1011754"/>
                    <a:pt x="3878836" y="916411"/>
                    <a:pt x="3875735" y="793938"/>
                  </a:cubicBezTo>
                  <a:cubicBezTo>
                    <a:pt x="3874960" y="790062"/>
                    <a:pt x="3874573" y="778435"/>
                    <a:pt x="3874573" y="759056"/>
                  </a:cubicBezTo>
                  <a:cubicBezTo>
                    <a:pt x="3874573" y="609453"/>
                    <a:pt x="3909454" y="494344"/>
                    <a:pt x="3979217" y="413728"/>
                  </a:cubicBezTo>
                  <a:cubicBezTo>
                    <a:pt x="4009448" y="378072"/>
                    <a:pt x="4044718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1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1" y="599764"/>
                  </a:lnTo>
                  <a:lnTo>
                    <a:pt x="6050002" y="611391"/>
                  </a:lnTo>
                  <a:lnTo>
                    <a:pt x="6050002" y="592787"/>
                  </a:lnTo>
                  <a:cubicBezTo>
                    <a:pt x="6050002" y="573409"/>
                    <a:pt x="6041863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6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0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5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69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6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8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8" y="243953"/>
                  </a:cubicBezTo>
                  <a:cubicBezTo>
                    <a:pt x="4374155" y="245516"/>
                    <a:pt x="4357877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5" y="246684"/>
                    <a:pt x="4200522" y="246103"/>
                    <a:pt x="4185019" y="245715"/>
                  </a:cubicBezTo>
                  <a:cubicBezTo>
                    <a:pt x="4169516" y="245328"/>
                    <a:pt x="4152851" y="244746"/>
                    <a:pt x="4135022" y="243971"/>
                  </a:cubicBezTo>
                  <a:lnTo>
                    <a:pt x="4057120" y="241628"/>
                  </a:lnTo>
                  <a:cubicBezTo>
                    <a:pt x="4065647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5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8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6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7" y="86229"/>
                    <a:pt x="1898665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gradFill>
              <a:gsLst>
                <a:gs pos="100000">
                  <a:schemeClr val="accent5"/>
                </a:gs>
                <a:gs pos="0">
                  <a:schemeClr val="accent6">
                    <a:lumMod val="75000"/>
                  </a:scheme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>
                  <a:noFill/>
                </a:ln>
                <a:gradFill>
                  <a:gsLst>
                    <a:gs pos="100000">
                      <a:srgbClr val="A02B93"/>
                    </a:gs>
                    <a:gs pos="0">
                      <a:srgbClr val="4EA72E">
                        <a:lumMod val="75000"/>
                      </a:srgbClr>
                    </a:gs>
                  </a:gsLst>
                  <a:lin ang="5400000" scaled="1"/>
                </a:gra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099942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2" presetClass="emph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120000">
                                      <p:cBhvr>
                                        <p:cTn id="12" dur="7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150" fill="hold">
                                          <p:stCondLst>
                                            <p:cond delay="1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15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15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15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6">
          <a:extLst>
            <a:ext uri="{FF2B5EF4-FFF2-40B4-BE49-F238E27FC236}">
              <a16:creationId xmlns:a16="http://schemas.microsoft.com/office/drawing/2014/main" xmlns="" id="{A1FCA1BF-DD7A-240D-0D67-0EEF5D168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xmlns="" id="{05F0864E-F4BF-F4C8-660E-DA3931127687}"/>
              </a:ext>
            </a:extLst>
          </p:cNvPr>
          <p:cNvSpPr/>
          <p:nvPr/>
        </p:nvSpPr>
        <p:spPr>
          <a:xfrm>
            <a:off x="1898047" y="-207487"/>
            <a:ext cx="10041306" cy="6752437"/>
          </a:xfrm>
          <a:custGeom>
            <a:avLst/>
            <a:gdLst>
              <a:gd name="connsiteX0" fmla="*/ 0 w 10041306"/>
              <a:gd name="connsiteY0" fmla="*/ 1125429 h 6752437"/>
              <a:gd name="connsiteX1" fmla="*/ 1125429 w 10041306"/>
              <a:gd name="connsiteY1" fmla="*/ 0 h 6752437"/>
              <a:gd name="connsiteX2" fmla="*/ 8915877 w 10041306"/>
              <a:gd name="connsiteY2" fmla="*/ 0 h 6752437"/>
              <a:gd name="connsiteX3" fmla="*/ 10041306 w 10041306"/>
              <a:gd name="connsiteY3" fmla="*/ 1125429 h 6752437"/>
              <a:gd name="connsiteX4" fmla="*/ 10041306 w 10041306"/>
              <a:gd name="connsiteY4" fmla="*/ 5627008 h 6752437"/>
              <a:gd name="connsiteX5" fmla="*/ 8915877 w 10041306"/>
              <a:gd name="connsiteY5" fmla="*/ 6752437 h 6752437"/>
              <a:gd name="connsiteX6" fmla="*/ 1125429 w 10041306"/>
              <a:gd name="connsiteY6" fmla="*/ 6752437 h 6752437"/>
              <a:gd name="connsiteX7" fmla="*/ 0 w 10041306"/>
              <a:gd name="connsiteY7" fmla="*/ 5627008 h 6752437"/>
              <a:gd name="connsiteX8" fmla="*/ 0 w 10041306"/>
              <a:gd name="connsiteY8" fmla="*/ 1125429 h 675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41306" h="6752437" fill="none" extrusionOk="0">
                <a:moveTo>
                  <a:pt x="0" y="1125429"/>
                </a:moveTo>
                <a:cubicBezTo>
                  <a:pt x="2366" y="567919"/>
                  <a:pt x="549912" y="77270"/>
                  <a:pt x="1125429" y="0"/>
                </a:cubicBezTo>
                <a:cubicBezTo>
                  <a:pt x="4192693" y="72427"/>
                  <a:pt x="6233270" y="61419"/>
                  <a:pt x="8915877" y="0"/>
                </a:cubicBezTo>
                <a:cubicBezTo>
                  <a:pt x="9524926" y="-86101"/>
                  <a:pt x="10029348" y="500255"/>
                  <a:pt x="10041306" y="1125429"/>
                </a:cubicBezTo>
                <a:cubicBezTo>
                  <a:pt x="10142182" y="1911160"/>
                  <a:pt x="9933993" y="3957540"/>
                  <a:pt x="10041306" y="5627008"/>
                </a:cubicBezTo>
                <a:cubicBezTo>
                  <a:pt x="10052251" y="6193017"/>
                  <a:pt x="9512082" y="6724017"/>
                  <a:pt x="8915877" y="6752437"/>
                </a:cubicBezTo>
                <a:cubicBezTo>
                  <a:pt x="5116945" y="6782264"/>
                  <a:pt x="3755025" y="6673131"/>
                  <a:pt x="1125429" y="6752437"/>
                </a:cubicBezTo>
                <a:cubicBezTo>
                  <a:pt x="593985" y="6742250"/>
                  <a:pt x="-38498" y="6256178"/>
                  <a:pt x="0" y="5627008"/>
                </a:cubicBezTo>
                <a:cubicBezTo>
                  <a:pt x="50037" y="3407428"/>
                  <a:pt x="770" y="3264396"/>
                  <a:pt x="0" y="1125429"/>
                </a:cubicBezTo>
                <a:close/>
              </a:path>
              <a:path w="10041306" h="6752437" stroke="0" extrusionOk="0">
                <a:moveTo>
                  <a:pt x="0" y="1125429"/>
                </a:moveTo>
                <a:cubicBezTo>
                  <a:pt x="99253" y="530926"/>
                  <a:pt x="527030" y="48249"/>
                  <a:pt x="1125429" y="0"/>
                </a:cubicBezTo>
                <a:cubicBezTo>
                  <a:pt x="3358207" y="123000"/>
                  <a:pt x="7929639" y="-96860"/>
                  <a:pt x="8915877" y="0"/>
                </a:cubicBezTo>
                <a:cubicBezTo>
                  <a:pt x="9521678" y="-12009"/>
                  <a:pt x="10057613" y="470997"/>
                  <a:pt x="10041306" y="1125429"/>
                </a:cubicBezTo>
                <a:cubicBezTo>
                  <a:pt x="10044479" y="2789203"/>
                  <a:pt x="10135573" y="3840875"/>
                  <a:pt x="10041306" y="5627008"/>
                </a:cubicBezTo>
                <a:cubicBezTo>
                  <a:pt x="9925893" y="6290377"/>
                  <a:pt x="9500770" y="6746437"/>
                  <a:pt x="8915877" y="6752437"/>
                </a:cubicBezTo>
                <a:cubicBezTo>
                  <a:pt x="7147279" y="6591730"/>
                  <a:pt x="4260098" y="6792104"/>
                  <a:pt x="1125429" y="6752437"/>
                </a:cubicBezTo>
                <a:cubicBezTo>
                  <a:pt x="488070" y="6749245"/>
                  <a:pt x="-54971" y="6223662"/>
                  <a:pt x="0" y="5627008"/>
                </a:cubicBezTo>
                <a:cubicBezTo>
                  <a:pt x="32216" y="3795719"/>
                  <a:pt x="57206" y="2933928"/>
                  <a:pt x="0" y="1125429"/>
                </a:cubicBezTo>
                <a:close/>
              </a:path>
            </a:pathLst>
          </a:custGeom>
          <a:ln w="38100">
            <a:extLst>
              <a:ext uri="{C807C97D-BFC1-408E-A445-0C87EB9F89A2}">
                <ask:lineSketchStyleProps xmlns:ask="http://schemas.microsoft.com/office/drawing/2018/sketchyshapes" xmlns="" sd="852854689">
                  <a:prstGeom prst="round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Hà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xóm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lá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giề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là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nhữ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người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số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bên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cạnh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gần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gũi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với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gia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đình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ta,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vì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thế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chú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ta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cần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quan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tâm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giúp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đỡ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họ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khi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gặp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khó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khăn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lvl="0" algn="just"/>
            <a:endParaRPr lang="en-US" sz="3600" b="1" dirty="0">
              <a:solidFill>
                <a:prstClr val="black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/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Việc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quan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tâm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giúp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đỡ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hà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xóm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lá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giề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ma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lại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niềm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vui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cho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bản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thân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và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mọi</a:t>
            </a:r>
            <a:r>
              <a:rPr lang="vi-VN" sz="3600" b="1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người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xu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quanh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lvl="0" algn="just"/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 -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Việc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quan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tâm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,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giúp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đỡ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hà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xóm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lá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giề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giúp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tình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làng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,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nghĩa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xóm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thêm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gắn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 </a:t>
            </a:r>
            <a:r>
              <a:rPr lang="en-US" sz="3600" b="1" dirty="0" err="1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kết</a:t>
            </a:r>
            <a:r>
              <a:rPr lang="en-US" sz="3600" b="1" dirty="0">
                <a:solidFill>
                  <a:prstClr val="black"/>
                </a:solidFill>
                <a:latin typeface="Calibri"/>
                <a:ea typeface="Calibri" panose="020F0502020204030204" pitchFamily="34" charset="0"/>
              </a:rPr>
              <a:t>.</a:t>
            </a:r>
            <a:endParaRPr lang="en-US" sz="3600" b="1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331" name="Google Shape;1310;p45">
            <a:extLst>
              <a:ext uri="{FF2B5EF4-FFF2-40B4-BE49-F238E27FC236}">
                <a16:creationId xmlns:a16="http://schemas.microsoft.com/office/drawing/2014/main" xmlns="" id="{B28591D9-A301-4A7A-A77B-FA3ACD1DC267}"/>
              </a:ext>
            </a:extLst>
          </p:cNvPr>
          <p:cNvGrpSpPr/>
          <p:nvPr/>
        </p:nvGrpSpPr>
        <p:grpSpPr>
          <a:xfrm>
            <a:off x="11567148" y="3863016"/>
            <a:ext cx="325655" cy="518853"/>
            <a:chOff x="5270725" y="2347600"/>
            <a:chExt cx="123750" cy="171800"/>
          </a:xfrm>
        </p:grpSpPr>
        <p:sp>
          <p:nvSpPr>
            <p:cNvPr id="332" name="Google Shape;1311;p45">
              <a:extLst>
                <a:ext uri="{FF2B5EF4-FFF2-40B4-BE49-F238E27FC236}">
                  <a16:creationId xmlns:a16="http://schemas.microsoft.com/office/drawing/2014/main" xmlns="" id="{884231FC-BBFE-D3A0-3FA3-508AADBFB355}"/>
                </a:ext>
              </a:extLst>
            </p:cNvPr>
            <p:cNvSpPr/>
            <p:nvPr/>
          </p:nvSpPr>
          <p:spPr>
            <a:xfrm>
              <a:off x="5312550" y="2445325"/>
              <a:ext cx="31775" cy="73150"/>
            </a:xfrm>
            <a:custGeom>
              <a:avLst/>
              <a:gdLst/>
              <a:ahLst/>
              <a:cxnLst/>
              <a:rect l="l" t="t" r="r" b="b"/>
              <a:pathLst>
                <a:path w="1271" h="2926" extrusionOk="0">
                  <a:moveTo>
                    <a:pt x="0" y="0"/>
                  </a:moveTo>
                  <a:lnTo>
                    <a:pt x="116" y="481"/>
                  </a:lnTo>
                  <a:lnTo>
                    <a:pt x="790" y="767"/>
                  </a:lnTo>
                  <a:lnTo>
                    <a:pt x="675" y="2925"/>
                  </a:lnTo>
                  <a:lnTo>
                    <a:pt x="1040" y="2925"/>
                  </a:lnTo>
                  <a:lnTo>
                    <a:pt x="1021" y="2616"/>
                  </a:lnTo>
                  <a:lnTo>
                    <a:pt x="966" y="2579"/>
                  </a:lnTo>
                  <a:lnTo>
                    <a:pt x="869" y="1618"/>
                  </a:lnTo>
                  <a:lnTo>
                    <a:pt x="906" y="1502"/>
                  </a:lnTo>
                  <a:lnTo>
                    <a:pt x="906" y="790"/>
                  </a:lnTo>
                  <a:lnTo>
                    <a:pt x="1234" y="675"/>
                  </a:lnTo>
                  <a:lnTo>
                    <a:pt x="1271" y="347"/>
                  </a:lnTo>
                  <a:lnTo>
                    <a:pt x="1252" y="328"/>
                  </a:lnTo>
                  <a:lnTo>
                    <a:pt x="1197" y="633"/>
                  </a:lnTo>
                  <a:lnTo>
                    <a:pt x="1003" y="675"/>
                  </a:lnTo>
                  <a:lnTo>
                    <a:pt x="869" y="712"/>
                  </a:lnTo>
                  <a:lnTo>
                    <a:pt x="790" y="633"/>
                  </a:lnTo>
                  <a:lnTo>
                    <a:pt x="675" y="250"/>
                  </a:lnTo>
                  <a:lnTo>
                    <a:pt x="638" y="56"/>
                  </a:lnTo>
                  <a:lnTo>
                    <a:pt x="656" y="268"/>
                  </a:lnTo>
                  <a:lnTo>
                    <a:pt x="735" y="652"/>
                  </a:lnTo>
                  <a:lnTo>
                    <a:pt x="157" y="462"/>
                  </a:lnTo>
                  <a:lnTo>
                    <a:pt x="250" y="97"/>
                  </a:lnTo>
                  <a:lnTo>
                    <a:pt x="134" y="4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3" name="Google Shape;1312;p45">
              <a:extLst>
                <a:ext uri="{FF2B5EF4-FFF2-40B4-BE49-F238E27FC236}">
                  <a16:creationId xmlns:a16="http://schemas.microsoft.com/office/drawing/2014/main" xmlns="" id="{631CC978-0848-2F5C-FAFF-E1AE29802B68}"/>
                </a:ext>
              </a:extLst>
            </p:cNvPr>
            <p:cNvSpPr/>
            <p:nvPr/>
          </p:nvSpPr>
          <p:spPr>
            <a:xfrm>
              <a:off x="5275450" y="2347600"/>
              <a:ext cx="112650" cy="109400"/>
            </a:xfrm>
            <a:custGeom>
              <a:avLst/>
              <a:gdLst/>
              <a:ahLst/>
              <a:cxnLst/>
              <a:rect l="l" t="t" r="r" b="b"/>
              <a:pathLst>
                <a:path w="4506" h="4376" extrusionOk="0">
                  <a:moveTo>
                    <a:pt x="2025" y="0"/>
                  </a:moveTo>
                  <a:cubicBezTo>
                    <a:pt x="1775" y="37"/>
                    <a:pt x="1119" y="310"/>
                    <a:pt x="1119" y="310"/>
                  </a:cubicBezTo>
                  <a:lnTo>
                    <a:pt x="1216" y="97"/>
                  </a:lnTo>
                  <a:lnTo>
                    <a:pt x="1216" y="97"/>
                  </a:lnTo>
                  <a:cubicBezTo>
                    <a:pt x="1198" y="97"/>
                    <a:pt x="389" y="596"/>
                    <a:pt x="158" y="943"/>
                  </a:cubicBezTo>
                  <a:cubicBezTo>
                    <a:pt x="140" y="1003"/>
                    <a:pt x="116" y="1058"/>
                    <a:pt x="116" y="1156"/>
                  </a:cubicBezTo>
                  <a:cubicBezTo>
                    <a:pt x="79" y="1368"/>
                    <a:pt x="79" y="1636"/>
                    <a:pt x="79" y="1886"/>
                  </a:cubicBezTo>
                  <a:cubicBezTo>
                    <a:pt x="98" y="1904"/>
                    <a:pt x="98" y="1946"/>
                    <a:pt x="98" y="1983"/>
                  </a:cubicBezTo>
                  <a:cubicBezTo>
                    <a:pt x="98" y="2232"/>
                    <a:pt x="116" y="2426"/>
                    <a:pt x="116" y="2426"/>
                  </a:cubicBezTo>
                  <a:cubicBezTo>
                    <a:pt x="116" y="2426"/>
                    <a:pt x="61" y="2311"/>
                    <a:pt x="1" y="2117"/>
                  </a:cubicBezTo>
                  <a:lnTo>
                    <a:pt x="1" y="2117"/>
                  </a:lnTo>
                  <a:cubicBezTo>
                    <a:pt x="60" y="3119"/>
                    <a:pt x="506" y="3618"/>
                    <a:pt x="540" y="3636"/>
                  </a:cubicBezTo>
                  <a:lnTo>
                    <a:pt x="540" y="3636"/>
                  </a:lnTo>
                  <a:cubicBezTo>
                    <a:pt x="531" y="3633"/>
                    <a:pt x="475" y="3613"/>
                    <a:pt x="371" y="3563"/>
                  </a:cubicBezTo>
                  <a:lnTo>
                    <a:pt x="371" y="3563"/>
                  </a:lnTo>
                  <a:cubicBezTo>
                    <a:pt x="560" y="3794"/>
                    <a:pt x="773" y="3965"/>
                    <a:pt x="1004" y="4080"/>
                  </a:cubicBezTo>
                  <a:cubicBezTo>
                    <a:pt x="1563" y="4353"/>
                    <a:pt x="2177" y="4353"/>
                    <a:pt x="2602" y="4371"/>
                  </a:cubicBezTo>
                  <a:cubicBezTo>
                    <a:pt x="2650" y="4374"/>
                    <a:pt x="2696" y="4376"/>
                    <a:pt x="2741" y="4376"/>
                  </a:cubicBezTo>
                  <a:cubicBezTo>
                    <a:pt x="3245" y="4376"/>
                    <a:pt x="3606" y="4192"/>
                    <a:pt x="3873" y="3946"/>
                  </a:cubicBezTo>
                  <a:lnTo>
                    <a:pt x="3891" y="3928"/>
                  </a:lnTo>
                  <a:lnTo>
                    <a:pt x="3891" y="3909"/>
                  </a:lnTo>
                  <a:lnTo>
                    <a:pt x="3910" y="3909"/>
                  </a:lnTo>
                  <a:lnTo>
                    <a:pt x="3928" y="3891"/>
                  </a:lnTo>
                  <a:lnTo>
                    <a:pt x="3928" y="3868"/>
                  </a:lnTo>
                  <a:cubicBezTo>
                    <a:pt x="3951" y="3868"/>
                    <a:pt x="3951" y="3849"/>
                    <a:pt x="3970" y="3831"/>
                  </a:cubicBezTo>
                  <a:lnTo>
                    <a:pt x="3988" y="3812"/>
                  </a:lnTo>
                  <a:lnTo>
                    <a:pt x="4007" y="3794"/>
                  </a:lnTo>
                  <a:lnTo>
                    <a:pt x="4025" y="3775"/>
                  </a:lnTo>
                  <a:lnTo>
                    <a:pt x="4025" y="3752"/>
                  </a:lnTo>
                  <a:lnTo>
                    <a:pt x="4044" y="3752"/>
                  </a:lnTo>
                  <a:cubicBezTo>
                    <a:pt x="4414" y="3253"/>
                    <a:pt x="4506" y="2657"/>
                    <a:pt x="4487" y="2597"/>
                  </a:cubicBezTo>
                  <a:lnTo>
                    <a:pt x="4487" y="2597"/>
                  </a:lnTo>
                  <a:cubicBezTo>
                    <a:pt x="4390" y="2925"/>
                    <a:pt x="4275" y="2985"/>
                    <a:pt x="4275" y="2985"/>
                  </a:cubicBezTo>
                  <a:cubicBezTo>
                    <a:pt x="4275" y="2985"/>
                    <a:pt x="4469" y="2389"/>
                    <a:pt x="4432" y="1733"/>
                  </a:cubicBezTo>
                  <a:cubicBezTo>
                    <a:pt x="4432" y="1655"/>
                    <a:pt x="4432" y="1558"/>
                    <a:pt x="4414" y="1484"/>
                  </a:cubicBezTo>
                  <a:cubicBezTo>
                    <a:pt x="4372" y="1290"/>
                    <a:pt x="4298" y="1137"/>
                    <a:pt x="4238" y="1022"/>
                  </a:cubicBezTo>
                  <a:cubicBezTo>
                    <a:pt x="4104" y="772"/>
                    <a:pt x="3970" y="633"/>
                    <a:pt x="3970" y="633"/>
                  </a:cubicBezTo>
                  <a:lnTo>
                    <a:pt x="3910" y="906"/>
                  </a:lnTo>
                  <a:cubicBezTo>
                    <a:pt x="3466" y="310"/>
                    <a:pt x="2833" y="37"/>
                    <a:pt x="2833" y="37"/>
                  </a:cubicBezTo>
                  <a:lnTo>
                    <a:pt x="2833" y="37"/>
                  </a:lnTo>
                  <a:lnTo>
                    <a:pt x="2870" y="444"/>
                  </a:lnTo>
                  <a:lnTo>
                    <a:pt x="2524" y="97"/>
                  </a:lnTo>
                  <a:lnTo>
                    <a:pt x="2025" y="0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4" name="Google Shape;1313;p45">
              <a:extLst>
                <a:ext uri="{FF2B5EF4-FFF2-40B4-BE49-F238E27FC236}">
                  <a16:creationId xmlns:a16="http://schemas.microsoft.com/office/drawing/2014/main" xmlns="" id="{C73BADC1-BDA7-6FD3-A803-35449F4D870F}"/>
                </a:ext>
              </a:extLst>
            </p:cNvPr>
            <p:cNvSpPr/>
            <p:nvPr/>
          </p:nvSpPr>
          <p:spPr>
            <a:xfrm>
              <a:off x="5275450" y="2397150"/>
              <a:ext cx="56875" cy="46225"/>
            </a:xfrm>
            <a:custGeom>
              <a:avLst/>
              <a:gdLst/>
              <a:ahLst/>
              <a:cxnLst/>
              <a:rect l="l" t="t" r="r" b="b"/>
              <a:pathLst>
                <a:path w="2275" h="1849" extrusionOk="0">
                  <a:moveTo>
                    <a:pt x="98" y="1"/>
                  </a:moveTo>
                  <a:cubicBezTo>
                    <a:pt x="98" y="250"/>
                    <a:pt x="116" y="444"/>
                    <a:pt x="116" y="444"/>
                  </a:cubicBezTo>
                  <a:cubicBezTo>
                    <a:pt x="116" y="444"/>
                    <a:pt x="61" y="329"/>
                    <a:pt x="1" y="135"/>
                  </a:cubicBezTo>
                  <a:lnTo>
                    <a:pt x="1" y="135"/>
                  </a:lnTo>
                  <a:cubicBezTo>
                    <a:pt x="61" y="1156"/>
                    <a:pt x="523" y="1655"/>
                    <a:pt x="541" y="1655"/>
                  </a:cubicBezTo>
                  <a:lnTo>
                    <a:pt x="541" y="1678"/>
                  </a:lnTo>
                  <a:lnTo>
                    <a:pt x="888" y="1849"/>
                  </a:lnTo>
                  <a:lnTo>
                    <a:pt x="791" y="1424"/>
                  </a:lnTo>
                  <a:lnTo>
                    <a:pt x="1581" y="1119"/>
                  </a:lnTo>
                  <a:lnTo>
                    <a:pt x="1581" y="1119"/>
                  </a:lnTo>
                  <a:lnTo>
                    <a:pt x="1484" y="1234"/>
                  </a:lnTo>
                  <a:lnTo>
                    <a:pt x="2274" y="1770"/>
                  </a:lnTo>
                  <a:lnTo>
                    <a:pt x="1946" y="828"/>
                  </a:lnTo>
                  <a:lnTo>
                    <a:pt x="1350" y="985"/>
                  </a:lnTo>
                  <a:lnTo>
                    <a:pt x="1101" y="560"/>
                  </a:lnTo>
                  <a:lnTo>
                    <a:pt x="657" y="1216"/>
                  </a:lnTo>
                  <a:lnTo>
                    <a:pt x="310" y="925"/>
                  </a:lnTo>
                  <a:lnTo>
                    <a:pt x="463" y="925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5" name="Google Shape;1314;p45">
              <a:extLst>
                <a:ext uri="{FF2B5EF4-FFF2-40B4-BE49-F238E27FC236}">
                  <a16:creationId xmlns:a16="http://schemas.microsoft.com/office/drawing/2014/main" xmlns="" id="{3B9072BD-AF3A-3B1B-C57B-B1DED97AC815}"/>
                </a:ext>
              </a:extLst>
            </p:cNvPr>
            <p:cNvSpPr/>
            <p:nvPr/>
          </p:nvSpPr>
          <p:spPr>
            <a:xfrm>
              <a:off x="5347200" y="2378900"/>
              <a:ext cx="40900" cy="62525"/>
            </a:xfrm>
            <a:custGeom>
              <a:avLst/>
              <a:gdLst/>
              <a:ahLst/>
              <a:cxnLst/>
              <a:rect l="l" t="t" r="r" b="b"/>
              <a:pathLst>
                <a:path w="1636" h="2501" extrusionOk="0">
                  <a:moveTo>
                    <a:pt x="1234" y="1"/>
                  </a:moveTo>
                  <a:lnTo>
                    <a:pt x="1021" y="463"/>
                  </a:lnTo>
                  <a:lnTo>
                    <a:pt x="675" y="500"/>
                  </a:lnTo>
                  <a:lnTo>
                    <a:pt x="1271" y="1114"/>
                  </a:lnTo>
                  <a:lnTo>
                    <a:pt x="1137" y="1599"/>
                  </a:lnTo>
                  <a:lnTo>
                    <a:pt x="966" y="1327"/>
                  </a:lnTo>
                  <a:lnTo>
                    <a:pt x="693" y="2001"/>
                  </a:lnTo>
                  <a:lnTo>
                    <a:pt x="559" y="1886"/>
                  </a:lnTo>
                  <a:lnTo>
                    <a:pt x="231" y="2292"/>
                  </a:lnTo>
                  <a:lnTo>
                    <a:pt x="0" y="2135"/>
                  </a:lnTo>
                  <a:lnTo>
                    <a:pt x="19" y="2408"/>
                  </a:lnTo>
                  <a:lnTo>
                    <a:pt x="504" y="2463"/>
                  </a:lnTo>
                  <a:lnTo>
                    <a:pt x="559" y="2292"/>
                  </a:lnTo>
                  <a:lnTo>
                    <a:pt x="675" y="2500"/>
                  </a:lnTo>
                  <a:lnTo>
                    <a:pt x="1118" y="2232"/>
                  </a:lnTo>
                  <a:lnTo>
                    <a:pt x="1234" y="1923"/>
                  </a:lnTo>
                  <a:lnTo>
                    <a:pt x="1174" y="2500"/>
                  </a:lnTo>
                  <a:cubicBezTo>
                    <a:pt x="1544" y="2001"/>
                    <a:pt x="1636" y="1405"/>
                    <a:pt x="1617" y="1345"/>
                  </a:cubicBezTo>
                  <a:lnTo>
                    <a:pt x="1617" y="1345"/>
                  </a:lnTo>
                  <a:cubicBezTo>
                    <a:pt x="1520" y="1673"/>
                    <a:pt x="1405" y="1733"/>
                    <a:pt x="1405" y="1733"/>
                  </a:cubicBezTo>
                  <a:cubicBezTo>
                    <a:pt x="1405" y="1733"/>
                    <a:pt x="1599" y="1137"/>
                    <a:pt x="1562" y="481"/>
                  </a:cubicBezTo>
                  <a:cubicBezTo>
                    <a:pt x="1562" y="403"/>
                    <a:pt x="1562" y="306"/>
                    <a:pt x="1544" y="232"/>
                  </a:cubicBezTo>
                  <a:lnTo>
                    <a:pt x="1289" y="287"/>
                  </a:lnTo>
                  <a:lnTo>
                    <a:pt x="1234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6" name="Google Shape;1315;p45">
              <a:extLst>
                <a:ext uri="{FF2B5EF4-FFF2-40B4-BE49-F238E27FC236}">
                  <a16:creationId xmlns:a16="http://schemas.microsoft.com/office/drawing/2014/main" xmlns="" id="{CA981F7D-82E0-18B7-E64E-9EA9E0E8B094}"/>
                </a:ext>
              </a:extLst>
            </p:cNvPr>
            <p:cNvSpPr/>
            <p:nvPr/>
          </p:nvSpPr>
          <p:spPr>
            <a:xfrm>
              <a:off x="5318775" y="2411600"/>
              <a:ext cx="47275" cy="32000"/>
            </a:xfrm>
            <a:custGeom>
              <a:avLst/>
              <a:gdLst/>
              <a:ahLst/>
              <a:cxnLst/>
              <a:rect l="l" t="t" r="r" b="b"/>
              <a:pathLst>
                <a:path w="1891" h="1280" extrusionOk="0">
                  <a:moveTo>
                    <a:pt x="292" y="0"/>
                  </a:moveTo>
                  <a:lnTo>
                    <a:pt x="1" y="310"/>
                  </a:lnTo>
                  <a:cubicBezTo>
                    <a:pt x="1" y="310"/>
                    <a:pt x="370" y="1058"/>
                    <a:pt x="389" y="1077"/>
                  </a:cubicBezTo>
                  <a:cubicBezTo>
                    <a:pt x="426" y="1100"/>
                    <a:pt x="541" y="1271"/>
                    <a:pt x="541" y="1271"/>
                  </a:cubicBezTo>
                  <a:cubicBezTo>
                    <a:pt x="541" y="1271"/>
                    <a:pt x="671" y="1279"/>
                    <a:pt x="762" y="1279"/>
                  </a:cubicBezTo>
                  <a:cubicBezTo>
                    <a:pt x="808" y="1279"/>
                    <a:pt x="845" y="1277"/>
                    <a:pt x="851" y="1271"/>
                  </a:cubicBezTo>
                  <a:cubicBezTo>
                    <a:pt x="888" y="1252"/>
                    <a:pt x="1253" y="1155"/>
                    <a:pt x="1271" y="1155"/>
                  </a:cubicBezTo>
                  <a:cubicBezTo>
                    <a:pt x="1313" y="1155"/>
                    <a:pt x="1465" y="943"/>
                    <a:pt x="1465" y="943"/>
                  </a:cubicBezTo>
                  <a:lnTo>
                    <a:pt x="1830" y="693"/>
                  </a:lnTo>
                  <a:lnTo>
                    <a:pt x="1890" y="541"/>
                  </a:lnTo>
                  <a:lnTo>
                    <a:pt x="1733" y="347"/>
                  </a:lnTo>
                  <a:lnTo>
                    <a:pt x="1465" y="541"/>
                  </a:lnTo>
                  <a:lnTo>
                    <a:pt x="1253" y="231"/>
                  </a:lnTo>
                  <a:lnTo>
                    <a:pt x="851" y="347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7" name="Google Shape;1316;p45">
              <a:extLst>
                <a:ext uri="{FF2B5EF4-FFF2-40B4-BE49-F238E27FC236}">
                  <a16:creationId xmlns:a16="http://schemas.microsoft.com/office/drawing/2014/main" xmlns="" id="{27E6106B-E469-EE76-7326-B5D5E215B585}"/>
                </a:ext>
              </a:extLst>
            </p:cNvPr>
            <p:cNvSpPr/>
            <p:nvPr/>
          </p:nvSpPr>
          <p:spPr>
            <a:xfrm>
              <a:off x="5284554" y="2424068"/>
              <a:ext cx="93901" cy="31900"/>
            </a:xfrm>
            <a:custGeom>
              <a:avLst/>
              <a:gdLst/>
              <a:ahLst/>
              <a:cxnLst/>
              <a:rect l="l" t="t" r="r" b="b"/>
              <a:pathLst>
                <a:path w="3734" h="1276" extrusionOk="0">
                  <a:moveTo>
                    <a:pt x="1" y="463"/>
                  </a:moveTo>
                  <a:cubicBezTo>
                    <a:pt x="6" y="465"/>
                    <a:pt x="11" y="468"/>
                    <a:pt x="16" y="470"/>
                  </a:cubicBezTo>
                  <a:lnTo>
                    <a:pt x="16" y="470"/>
                  </a:lnTo>
                  <a:cubicBezTo>
                    <a:pt x="12" y="466"/>
                    <a:pt x="8" y="463"/>
                    <a:pt x="1" y="463"/>
                  </a:cubicBezTo>
                  <a:close/>
                  <a:moveTo>
                    <a:pt x="1211" y="1"/>
                  </a:moveTo>
                  <a:lnTo>
                    <a:pt x="421" y="306"/>
                  </a:lnTo>
                  <a:lnTo>
                    <a:pt x="518" y="731"/>
                  </a:lnTo>
                  <a:lnTo>
                    <a:pt x="171" y="560"/>
                  </a:lnTo>
                  <a:lnTo>
                    <a:pt x="171" y="537"/>
                  </a:lnTo>
                  <a:cubicBezTo>
                    <a:pt x="171" y="537"/>
                    <a:pt x="121" y="520"/>
                    <a:pt x="16" y="470"/>
                  </a:cubicBezTo>
                  <a:lnTo>
                    <a:pt x="16" y="470"/>
                  </a:lnTo>
                  <a:cubicBezTo>
                    <a:pt x="22" y="477"/>
                    <a:pt x="26" y="489"/>
                    <a:pt x="37" y="500"/>
                  </a:cubicBezTo>
                  <a:lnTo>
                    <a:pt x="56" y="518"/>
                  </a:lnTo>
                  <a:lnTo>
                    <a:pt x="56" y="537"/>
                  </a:lnTo>
                  <a:cubicBezTo>
                    <a:pt x="93" y="560"/>
                    <a:pt x="116" y="578"/>
                    <a:pt x="135" y="597"/>
                  </a:cubicBezTo>
                  <a:lnTo>
                    <a:pt x="135" y="615"/>
                  </a:lnTo>
                  <a:lnTo>
                    <a:pt x="153" y="615"/>
                  </a:lnTo>
                  <a:lnTo>
                    <a:pt x="171" y="634"/>
                  </a:lnTo>
                  <a:lnTo>
                    <a:pt x="190" y="652"/>
                  </a:lnTo>
                  <a:lnTo>
                    <a:pt x="190" y="675"/>
                  </a:lnTo>
                  <a:lnTo>
                    <a:pt x="208" y="675"/>
                  </a:lnTo>
                  <a:lnTo>
                    <a:pt x="208" y="694"/>
                  </a:lnTo>
                  <a:lnTo>
                    <a:pt x="232" y="694"/>
                  </a:lnTo>
                  <a:cubicBezTo>
                    <a:pt x="269" y="731"/>
                    <a:pt x="324" y="791"/>
                    <a:pt x="384" y="828"/>
                  </a:cubicBezTo>
                  <a:lnTo>
                    <a:pt x="403" y="828"/>
                  </a:lnTo>
                  <a:lnTo>
                    <a:pt x="421" y="846"/>
                  </a:lnTo>
                  <a:lnTo>
                    <a:pt x="439" y="865"/>
                  </a:lnTo>
                  <a:lnTo>
                    <a:pt x="463" y="865"/>
                  </a:lnTo>
                  <a:lnTo>
                    <a:pt x="463" y="883"/>
                  </a:lnTo>
                  <a:lnTo>
                    <a:pt x="481" y="883"/>
                  </a:lnTo>
                  <a:cubicBezTo>
                    <a:pt x="500" y="883"/>
                    <a:pt x="500" y="906"/>
                    <a:pt x="518" y="906"/>
                  </a:cubicBezTo>
                  <a:lnTo>
                    <a:pt x="537" y="925"/>
                  </a:lnTo>
                  <a:lnTo>
                    <a:pt x="555" y="925"/>
                  </a:lnTo>
                  <a:lnTo>
                    <a:pt x="578" y="943"/>
                  </a:lnTo>
                  <a:lnTo>
                    <a:pt x="597" y="943"/>
                  </a:lnTo>
                  <a:lnTo>
                    <a:pt x="597" y="962"/>
                  </a:lnTo>
                  <a:cubicBezTo>
                    <a:pt x="615" y="962"/>
                    <a:pt x="634" y="962"/>
                    <a:pt x="634" y="980"/>
                  </a:cubicBezTo>
                  <a:cubicBezTo>
                    <a:pt x="1193" y="1253"/>
                    <a:pt x="1807" y="1253"/>
                    <a:pt x="2232" y="1271"/>
                  </a:cubicBezTo>
                  <a:cubicBezTo>
                    <a:pt x="2280" y="1274"/>
                    <a:pt x="2326" y="1276"/>
                    <a:pt x="2371" y="1276"/>
                  </a:cubicBezTo>
                  <a:cubicBezTo>
                    <a:pt x="2875" y="1276"/>
                    <a:pt x="3236" y="1092"/>
                    <a:pt x="3503" y="846"/>
                  </a:cubicBezTo>
                  <a:cubicBezTo>
                    <a:pt x="3558" y="768"/>
                    <a:pt x="3618" y="712"/>
                    <a:pt x="3674" y="652"/>
                  </a:cubicBezTo>
                  <a:lnTo>
                    <a:pt x="3734" y="75"/>
                  </a:lnTo>
                  <a:lnTo>
                    <a:pt x="3618" y="384"/>
                  </a:lnTo>
                  <a:lnTo>
                    <a:pt x="3175" y="652"/>
                  </a:lnTo>
                  <a:lnTo>
                    <a:pt x="3059" y="444"/>
                  </a:lnTo>
                  <a:lnTo>
                    <a:pt x="3004" y="615"/>
                  </a:lnTo>
                  <a:lnTo>
                    <a:pt x="2519" y="560"/>
                  </a:lnTo>
                  <a:lnTo>
                    <a:pt x="2500" y="287"/>
                  </a:lnTo>
                  <a:lnTo>
                    <a:pt x="1904" y="652"/>
                  </a:lnTo>
                  <a:lnTo>
                    <a:pt x="1114" y="116"/>
                  </a:lnTo>
                  <a:lnTo>
                    <a:pt x="1211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8" name="Google Shape;1317;p45">
              <a:extLst>
                <a:ext uri="{FF2B5EF4-FFF2-40B4-BE49-F238E27FC236}">
                  <a16:creationId xmlns:a16="http://schemas.microsoft.com/office/drawing/2014/main" xmlns="" id="{4D344BF9-FCF5-AA60-D151-675531D4A1FC}"/>
                </a:ext>
              </a:extLst>
            </p:cNvPr>
            <p:cNvSpPr/>
            <p:nvPr/>
          </p:nvSpPr>
          <p:spPr>
            <a:xfrm>
              <a:off x="5279375" y="2347600"/>
              <a:ext cx="102025" cy="51075"/>
            </a:xfrm>
            <a:custGeom>
              <a:avLst/>
              <a:gdLst/>
              <a:ahLst/>
              <a:cxnLst/>
              <a:rect l="l" t="t" r="r" b="b"/>
              <a:pathLst>
                <a:path w="4081" h="2043" extrusionOk="0">
                  <a:moveTo>
                    <a:pt x="1868" y="0"/>
                  </a:moveTo>
                  <a:cubicBezTo>
                    <a:pt x="1618" y="37"/>
                    <a:pt x="962" y="310"/>
                    <a:pt x="962" y="310"/>
                  </a:cubicBezTo>
                  <a:lnTo>
                    <a:pt x="1059" y="97"/>
                  </a:lnTo>
                  <a:lnTo>
                    <a:pt x="1059" y="97"/>
                  </a:lnTo>
                  <a:cubicBezTo>
                    <a:pt x="1041" y="97"/>
                    <a:pt x="232" y="596"/>
                    <a:pt x="1" y="943"/>
                  </a:cubicBezTo>
                  <a:lnTo>
                    <a:pt x="676" y="657"/>
                  </a:lnTo>
                  <a:lnTo>
                    <a:pt x="306" y="1156"/>
                  </a:lnTo>
                  <a:lnTo>
                    <a:pt x="306" y="1156"/>
                  </a:lnTo>
                  <a:lnTo>
                    <a:pt x="731" y="888"/>
                  </a:lnTo>
                  <a:lnTo>
                    <a:pt x="1115" y="1521"/>
                  </a:lnTo>
                  <a:lnTo>
                    <a:pt x="1272" y="1253"/>
                  </a:lnTo>
                  <a:lnTo>
                    <a:pt x="1618" y="1442"/>
                  </a:lnTo>
                  <a:lnTo>
                    <a:pt x="1831" y="1156"/>
                  </a:lnTo>
                  <a:lnTo>
                    <a:pt x="2293" y="1211"/>
                  </a:lnTo>
                  <a:lnTo>
                    <a:pt x="2639" y="2043"/>
                  </a:lnTo>
                  <a:lnTo>
                    <a:pt x="2639" y="1636"/>
                  </a:lnTo>
                  <a:lnTo>
                    <a:pt x="3120" y="1849"/>
                  </a:lnTo>
                  <a:lnTo>
                    <a:pt x="2829" y="1581"/>
                  </a:lnTo>
                  <a:lnTo>
                    <a:pt x="2944" y="1058"/>
                  </a:lnTo>
                  <a:lnTo>
                    <a:pt x="3351" y="1211"/>
                  </a:lnTo>
                  <a:lnTo>
                    <a:pt x="3120" y="1003"/>
                  </a:lnTo>
                  <a:lnTo>
                    <a:pt x="3522" y="906"/>
                  </a:lnTo>
                  <a:lnTo>
                    <a:pt x="3716" y="1058"/>
                  </a:lnTo>
                  <a:lnTo>
                    <a:pt x="3716" y="980"/>
                  </a:lnTo>
                  <a:lnTo>
                    <a:pt x="4062" y="1174"/>
                  </a:lnTo>
                  <a:lnTo>
                    <a:pt x="4081" y="1022"/>
                  </a:lnTo>
                  <a:cubicBezTo>
                    <a:pt x="3947" y="772"/>
                    <a:pt x="3813" y="633"/>
                    <a:pt x="3813" y="633"/>
                  </a:cubicBezTo>
                  <a:lnTo>
                    <a:pt x="3753" y="906"/>
                  </a:lnTo>
                  <a:cubicBezTo>
                    <a:pt x="3309" y="310"/>
                    <a:pt x="2676" y="37"/>
                    <a:pt x="2676" y="37"/>
                  </a:cubicBezTo>
                  <a:lnTo>
                    <a:pt x="2676" y="37"/>
                  </a:lnTo>
                  <a:lnTo>
                    <a:pt x="2713" y="444"/>
                  </a:lnTo>
                  <a:lnTo>
                    <a:pt x="2367" y="97"/>
                  </a:lnTo>
                  <a:lnTo>
                    <a:pt x="186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9" name="Google Shape;1318;p45">
              <a:extLst>
                <a:ext uri="{FF2B5EF4-FFF2-40B4-BE49-F238E27FC236}">
                  <a16:creationId xmlns:a16="http://schemas.microsoft.com/office/drawing/2014/main" xmlns="" id="{DF1165F1-F831-C25F-4E23-E0818F25646D}"/>
                </a:ext>
              </a:extLst>
            </p:cNvPr>
            <p:cNvSpPr/>
            <p:nvPr/>
          </p:nvSpPr>
          <p:spPr>
            <a:xfrm>
              <a:off x="5296250" y="2387100"/>
              <a:ext cx="45650" cy="26025"/>
            </a:xfrm>
            <a:custGeom>
              <a:avLst/>
              <a:gdLst/>
              <a:ahLst/>
              <a:cxnLst/>
              <a:rect l="l" t="t" r="r" b="b"/>
              <a:pathLst>
                <a:path w="1826" h="1041" extrusionOk="0">
                  <a:moveTo>
                    <a:pt x="1308" y="1"/>
                  </a:moveTo>
                  <a:lnTo>
                    <a:pt x="1271" y="537"/>
                  </a:lnTo>
                  <a:lnTo>
                    <a:pt x="962" y="19"/>
                  </a:lnTo>
                  <a:lnTo>
                    <a:pt x="384" y="366"/>
                  </a:lnTo>
                  <a:lnTo>
                    <a:pt x="75" y="250"/>
                  </a:lnTo>
                  <a:lnTo>
                    <a:pt x="1" y="749"/>
                  </a:lnTo>
                  <a:lnTo>
                    <a:pt x="440" y="828"/>
                  </a:lnTo>
                  <a:lnTo>
                    <a:pt x="768" y="1040"/>
                  </a:lnTo>
                  <a:lnTo>
                    <a:pt x="1211" y="902"/>
                  </a:lnTo>
                  <a:lnTo>
                    <a:pt x="1733" y="768"/>
                  </a:lnTo>
                  <a:lnTo>
                    <a:pt x="1655" y="634"/>
                  </a:lnTo>
                  <a:lnTo>
                    <a:pt x="1826" y="421"/>
                  </a:lnTo>
                  <a:lnTo>
                    <a:pt x="1461" y="306"/>
                  </a:lnTo>
                  <a:lnTo>
                    <a:pt x="1308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0" name="Google Shape;1319;p45">
              <a:extLst>
                <a:ext uri="{FF2B5EF4-FFF2-40B4-BE49-F238E27FC236}">
                  <a16:creationId xmlns:a16="http://schemas.microsoft.com/office/drawing/2014/main" xmlns="" id="{2D299307-E66B-FDF9-6ACB-B83A8627DDD8}"/>
                </a:ext>
              </a:extLst>
            </p:cNvPr>
            <p:cNvSpPr/>
            <p:nvPr/>
          </p:nvSpPr>
          <p:spPr>
            <a:xfrm>
              <a:off x="5349625" y="2400500"/>
              <a:ext cx="16425" cy="14475"/>
            </a:xfrm>
            <a:custGeom>
              <a:avLst/>
              <a:gdLst/>
              <a:ahLst/>
              <a:cxnLst/>
              <a:rect l="l" t="t" r="r" b="b"/>
              <a:pathLst>
                <a:path w="657" h="579" extrusionOk="0">
                  <a:moveTo>
                    <a:pt x="194" y="1"/>
                  </a:moveTo>
                  <a:lnTo>
                    <a:pt x="97" y="232"/>
                  </a:lnTo>
                  <a:lnTo>
                    <a:pt x="0" y="407"/>
                  </a:lnTo>
                  <a:lnTo>
                    <a:pt x="268" y="407"/>
                  </a:lnTo>
                  <a:lnTo>
                    <a:pt x="291" y="541"/>
                  </a:lnTo>
                  <a:lnTo>
                    <a:pt x="425" y="426"/>
                  </a:lnTo>
                  <a:lnTo>
                    <a:pt x="578" y="578"/>
                  </a:lnTo>
                  <a:lnTo>
                    <a:pt x="559" y="347"/>
                  </a:lnTo>
                  <a:lnTo>
                    <a:pt x="656" y="292"/>
                  </a:lnTo>
                  <a:lnTo>
                    <a:pt x="462" y="292"/>
                  </a:lnTo>
                  <a:lnTo>
                    <a:pt x="347" y="98"/>
                  </a:lnTo>
                  <a:lnTo>
                    <a:pt x="268" y="232"/>
                  </a:lnTo>
                  <a:lnTo>
                    <a:pt x="194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1" name="Google Shape;1320;p45">
              <a:extLst>
                <a:ext uri="{FF2B5EF4-FFF2-40B4-BE49-F238E27FC236}">
                  <a16:creationId xmlns:a16="http://schemas.microsoft.com/office/drawing/2014/main" xmlns="" id="{3764A4DB-792C-7B39-84D8-A221E88A285B}"/>
                </a:ext>
              </a:extLst>
            </p:cNvPr>
            <p:cNvSpPr/>
            <p:nvPr/>
          </p:nvSpPr>
          <p:spPr>
            <a:xfrm>
              <a:off x="5277425" y="2376475"/>
              <a:ext cx="16900" cy="23125"/>
            </a:xfrm>
            <a:custGeom>
              <a:avLst/>
              <a:gdLst/>
              <a:ahLst/>
              <a:cxnLst/>
              <a:rect l="l" t="t" r="r" b="b"/>
              <a:pathLst>
                <a:path w="676" h="925" extrusionOk="0">
                  <a:moveTo>
                    <a:pt x="37" y="1"/>
                  </a:moveTo>
                  <a:cubicBezTo>
                    <a:pt x="0" y="213"/>
                    <a:pt x="0" y="481"/>
                    <a:pt x="0" y="731"/>
                  </a:cubicBezTo>
                  <a:lnTo>
                    <a:pt x="347" y="925"/>
                  </a:lnTo>
                  <a:lnTo>
                    <a:pt x="328" y="560"/>
                  </a:lnTo>
                  <a:lnTo>
                    <a:pt x="578" y="657"/>
                  </a:lnTo>
                  <a:lnTo>
                    <a:pt x="407" y="347"/>
                  </a:lnTo>
                  <a:lnTo>
                    <a:pt x="675" y="56"/>
                  </a:lnTo>
                  <a:lnTo>
                    <a:pt x="213" y="287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2" name="Google Shape;1321;p45">
              <a:extLst>
                <a:ext uri="{FF2B5EF4-FFF2-40B4-BE49-F238E27FC236}">
                  <a16:creationId xmlns:a16="http://schemas.microsoft.com/office/drawing/2014/main" xmlns="" id="{1A021161-0AD5-740D-4CEE-5E7B65BE3BAA}"/>
                </a:ext>
              </a:extLst>
            </p:cNvPr>
            <p:cNvSpPr/>
            <p:nvPr/>
          </p:nvSpPr>
          <p:spPr>
            <a:xfrm>
              <a:off x="5325125" y="2513600"/>
              <a:ext cx="15850" cy="5800"/>
            </a:xfrm>
            <a:custGeom>
              <a:avLst/>
              <a:gdLst/>
              <a:ahLst/>
              <a:cxnLst/>
              <a:rect l="l" t="t" r="r" b="b"/>
              <a:pathLst>
                <a:path w="634" h="232" extrusionOk="0">
                  <a:moveTo>
                    <a:pt x="324" y="0"/>
                  </a:moveTo>
                  <a:lnTo>
                    <a:pt x="250" y="116"/>
                  </a:lnTo>
                  <a:lnTo>
                    <a:pt x="38" y="23"/>
                  </a:lnTo>
                  <a:lnTo>
                    <a:pt x="1" y="213"/>
                  </a:lnTo>
                  <a:lnTo>
                    <a:pt x="615" y="231"/>
                  </a:lnTo>
                  <a:lnTo>
                    <a:pt x="634" y="42"/>
                  </a:lnTo>
                  <a:lnTo>
                    <a:pt x="555" y="139"/>
                  </a:lnTo>
                  <a:lnTo>
                    <a:pt x="463" y="0"/>
                  </a:lnTo>
                  <a:lnTo>
                    <a:pt x="421" y="60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3" name="Google Shape;1322;p45">
              <a:extLst>
                <a:ext uri="{FF2B5EF4-FFF2-40B4-BE49-F238E27FC236}">
                  <a16:creationId xmlns:a16="http://schemas.microsoft.com/office/drawing/2014/main" xmlns="" id="{4F5428E1-3579-F67A-0D60-5C8A00E1A07C}"/>
                </a:ext>
              </a:extLst>
            </p:cNvPr>
            <p:cNvSpPr/>
            <p:nvPr/>
          </p:nvSpPr>
          <p:spPr>
            <a:xfrm>
              <a:off x="5270725" y="2376475"/>
              <a:ext cx="4750" cy="16900"/>
            </a:xfrm>
            <a:custGeom>
              <a:avLst/>
              <a:gdLst/>
              <a:ahLst/>
              <a:cxnLst/>
              <a:rect l="l" t="t" r="r" b="b"/>
              <a:pathLst>
                <a:path w="190" h="676" extrusionOk="0">
                  <a:moveTo>
                    <a:pt x="0" y="1"/>
                  </a:moveTo>
                  <a:lnTo>
                    <a:pt x="134" y="675"/>
                  </a:lnTo>
                  <a:lnTo>
                    <a:pt x="190" y="36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4" name="Google Shape;1323;p45">
              <a:extLst>
                <a:ext uri="{FF2B5EF4-FFF2-40B4-BE49-F238E27FC236}">
                  <a16:creationId xmlns:a16="http://schemas.microsoft.com/office/drawing/2014/main" xmlns="" id="{A28155A2-1989-F22B-7B45-5A51CEEF3FF2}"/>
                </a:ext>
              </a:extLst>
            </p:cNvPr>
            <p:cNvSpPr/>
            <p:nvPr/>
          </p:nvSpPr>
          <p:spPr>
            <a:xfrm>
              <a:off x="5388675" y="2397150"/>
              <a:ext cx="5800" cy="13075"/>
            </a:xfrm>
            <a:custGeom>
              <a:avLst/>
              <a:gdLst/>
              <a:ahLst/>
              <a:cxnLst/>
              <a:rect l="l" t="t" r="r" b="b"/>
              <a:pathLst>
                <a:path w="232" h="523" extrusionOk="0">
                  <a:moveTo>
                    <a:pt x="231" y="1"/>
                  </a:moveTo>
                  <a:lnTo>
                    <a:pt x="0" y="269"/>
                  </a:lnTo>
                  <a:lnTo>
                    <a:pt x="0" y="523"/>
                  </a:lnTo>
                  <a:lnTo>
                    <a:pt x="231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7" name="Google Shape;1310;p45">
            <a:extLst>
              <a:ext uri="{FF2B5EF4-FFF2-40B4-BE49-F238E27FC236}">
                <a16:creationId xmlns:a16="http://schemas.microsoft.com/office/drawing/2014/main" xmlns="" id="{F3C74A61-4E2D-3348-83FA-CF552DA65A6D}"/>
              </a:ext>
            </a:extLst>
          </p:cNvPr>
          <p:cNvGrpSpPr/>
          <p:nvPr/>
        </p:nvGrpSpPr>
        <p:grpSpPr>
          <a:xfrm>
            <a:off x="1783670" y="3801481"/>
            <a:ext cx="325655" cy="518853"/>
            <a:chOff x="5270725" y="2347600"/>
            <a:chExt cx="123750" cy="171800"/>
          </a:xfrm>
        </p:grpSpPr>
        <p:sp>
          <p:nvSpPr>
            <p:cNvPr id="8" name="Google Shape;1311;p45">
              <a:extLst>
                <a:ext uri="{FF2B5EF4-FFF2-40B4-BE49-F238E27FC236}">
                  <a16:creationId xmlns:a16="http://schemas.microsoft.com/office/drawing/2014/main" xmlns="" id="{9355B5F8-A9FC-F5FA-8680-1619A05C0AAE}"/>
                </a:ext>
              </a:extLst>
            </p:cNvPr>
            <p:cNvSpPr/>
            <p:nvPr/>
          </p:nvSpPr>
          <p:spPr>
            <a:xfrm>
              <a:off x="5312550" y="2445325"/>
              <a:ext cx="31775" cy="73150"/>
            </a:xfrm>
            <a:custGeom>
              <a:avLst/>
              <a:gdLst/>
              <a:ahLst/>
              <a:cxnLst/>
              <a:rect l="l" t="t" r="r" b="b"/>
              <a:pathLst>
                <a:path w="1271" h="2926" extrusionOk="0">
                  <a:moveTo>
                    <a:pt x="0" y="0"/>
                  </a:moveTo>
                  <a:lnTo>
                    <a:pt x="116" y="481"/>
                  </a:lnTo>
                  <a:lnTo>
                    <a:pt x="790" y="767"/>
                  </a:lnTo>
                  <a:lnTo>
                    <a:pt x="675" y="2925"/>
                  </a:lnTo>
                  <a:lnTo>
                    <a:pt x="1040" y="2925"/>
                  </a:lnTo>
                  <a:lnTo>
                    <a:pt x="1021" y="2616"/>
                  </a:lnTo>
                  <a:lnTo>
                    <a:pt x="966" y="2579"/>
                  </a:lnTo>
                  <a:lnTo>
                    <a:pt x="869" y="1618"/>
                  </a:lnTo>
                  <a:lnTo>
                    <a:pt x="906" y="1502"/>
                  </a:lnTo>
                  <a:lnTo>
                    <a:pt x="906" y="790"/>
                  </a:lnTo>
                  <a:lnTo>
                    <a:pt x="1234" y="675"/>
                  </a:lnTo>
                  <a:lnTo>
                    <a:pt x="1271" y="347"/>
                  </a:lnTo>
                  <a:lnTo>
                    <a:pt x="1252" y="328"/>
                  </a:lnTo>
                  <a:lnTo>
                    <a:pt x="1197" y="633"/>
                  </a:lnTo>
                  <a:lnTo>
                    <a:pt x="1003" y="675"/>
                  </a:lnTo>
                  <a:lnTo>
                    <a:pt x="869" y="712"/>
                  </a:lnTo>
                  <a:lnTo>
                    <a:pt x="790" y="633"/>
                  </a:lnTo>
                  <a:lnTo>
                    <a:pt x="675" y="250"/>
                  </a:lnTo>
                  <a:lnTo>
                    <a:pt x="638" y="56"/>
                  </a:lnTo>
                  <a:lnTo>
                    <a:pt x="656" y="268"/>
                  </a:lnTo>
                  <a:lnTo>
                    <a:pt x="735" y="652"/>
                  </a:lnTo>
                  <a:lnTo>
                    <a:pt x="157" y="462"/>
                  </a:lnTo>
                  <a:lnTo>
                    <a:pt x="250" y="97"/>
                  </a:lnTo>
                  <a:lnTo>
                    <a:pt x="134" y="4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Google Shape;1312;p45">
              <a:extLst>
                <a:ext uri="{FF2B5EF4-FFF2-40B4-BE49-F238E27FC236}">
                  <a16:creationId xmlns:a16="http://schemas.microsoft.com/office/drawing/2014/main" xmlns="" id="{C9F53C70-1EBD-7F36-77AE-FAF883F2DDB5}"/>
                </a:ext>
              </a:extLst>
            </p:cNvPr>
            <p:cNvSpPr/>
            <p:nvPr/>
          </p:nvSpPr>
          <p:spPr>
            <a:xfrm>
              <a:off x="5275450" y="2347600"/>
              <a:ext cx="112650" cy="109400"/>
            </a:xfrm>
            <a:custGeom>
              <a:avLst/>
              <a:gdLst/>
              <a:ahLst/>
              <a:cxnLst/>
              <a:rect l="l" t="t" r="r" b="b"/>
              <a:pathLst>
                <a:path w="4506" h="4376" extrusionOk="0">
                  <a:moveTo>
                    <a:pt x="2025" y="0"/>
                  </a:moveTo>
                  <a:cubicBezTo>
                    <a:pt x="1775" y="37"/>
                    <a:pt x="1119" y="310"/>
                    <a:pt x="1119" y="310"/>
                  </a:cubicBezTo>
                  <a:lnTo>
                    <a:pt x="1216" y="97"/>
                  </a:lnTo>
                  <a:lnTo>
                    <a:pt x="1216" y="97"/>
                  </a:lnTo>
                  <a:cubicBezTo>
                    <a:pt x="1198" y="97"/>
                    <a:pt x="389" y="596"/>
                    <a:pt x="158" y="943"/>
                  </a:cubicBezTo>
                  <a:cubicBezTo>
                    <a:pt x="140" y="1003"/>
                    <a:pt x="116" y="1058"/>
                    <a:pt x="116" y="1156"/>
                  </a:cubicBezTo>
                  <a:cubicBezTo>
                    <a:pt x="79" y="1368"/>
                    <a:pt x="79" y="1636"/>
                    <a:pt x="79" y="1886"/>
                  </a:cubicBezTo>
                  <a:cubicBezTo>
                    <a:pt x="98" y="1904"/>
                    <a:pt x="98" y="1946"/>
                    <a:pt x="98" y="1983"/>
                  </a:cubicBezTo>
                  <a:cubicBezTo>
                    <a:pt x="98" y="2232"/>
                    <a:pt x="116" y="2426"/>
                    <a:pt x="116" y="2426"/>
                  </a:cubicBezTo>
                  <a:cubicBezTo>
                    <a:pt x="116" y="2426"/>
                    <a:pt x="61" y="2311"/>
                    <a:pt x="1" y="2117"/>
                  </a:cubicBezTo>
                  <a:lnTo>
                    <a:pt x="1" y="2117"/>
                  </a:lnTo>
                  <a:cubicBezTo>
                    <a:pt x="60" y="3119"/>
                    <a:pt x="506" y="3618"/>
                    <a:pt x="540" y="3636"/>
                  </a:cubicBezTo>
                  <a:lnTo>
                    <a:pt x="540" y="3636"/>
                  </a:lnTo>
                  <a:cubicBezTo>
                    <a:pt x="531" y="3633"/>
                    <a:pt x="475" y="3613"/>
                    <a:pt x="371" y="3563"/>
                  </a:cubicBezTo>
                  <a:lnTo>
                    <a:pt x="371" y="3563"/>
                  </a:lnTo>
                  <a:cubicBezTo>
                    <a:pt x="560" y="3794"/>
                    <a:pt x="773" y="3965"/>
                    <a:pt x="1004" y="4080"/>
                  </a:cubicBezTo>
                  <a:cubicBezTo>
                    <a:pt x="1563" y="4353"/>
                    <a:pt x="2177" y="4353"/>
                    <a:pt x="2602" y="4371"/>
                  </a:cubicBezTo>
                  <a:cubicBezTo>
                    <a:pt x="2650" y="4374"/>
                    <a:pt x="2696" y="4376"/>
                    <a:pt x="2741" y="4376"/>
                  </a:cubicBezTo>
                  <a:cubicBezTo>
                    <a:pt x="3245" y="4376"/>
                    <a:pt x="3606" y="4192"/>
                    <a:pt x="3873" y="3946"/>
                  </a:cubicBezTo>
                  <a:lnTo>
                    <a:pt x="3891" y="3928"/>
                  </a:lnTo>
                  <a:lnTo>
                    <a:pt x="3891" y="3909"/>
                  </a:lnTo>
                  <a:lnTo>
                    <a:pt x="3910" y="3909"/>
                  </a:lnTo>
                  <a:lnTo>
                    <a:pt x="3928" y="3891"/>
                  </a:lnTo>
                  <a:lnTo>
                    <a:pt x="3928" y="3868"/>
                  </a:lnTo>
                  <a:cubicBezTo>
                    <a:pt x="3951" y="3868"/>
                    <a:pt x="3951" y="3849"/>
                    <a:pt x="3970" y="3831"/>
                  </a:cubicBezTo>
                  <a:lnTo>
                    <a:pt x="3988" y="3812"/>
                  </a:lnTo>
                  <a:lnTo>
                    <a:pt x="4007" y="3794"/>
                  </a:lnTo>
                  <a:lnTo>
                    <a:pt x="4025" y="3775"/>
                  </a:lnTo>
                  <a:lnTo>
                    <a:pt x="4025" y="3752"/>
                  </a:lnTo>
                  <a:lnTo>
                    <a:pt x="4044" y="3752"/>
                  </a:lnTo>
                  <a:cubicBezTo>
                    <a:pt x="4414" y="3253"/>
                    <a:pt x="4506" y="2657"/>
                    <a:pt x="4487" y="2597"/>
                  </a:cubicBezTo>
                  <a:lnTo>
                    <a:pt x="4487" y="2597"/>
                  </a:lnTo>
                  <a:cubicBezTo>
                    <a:pt x="4390" y="2925"/>
                    <a:pt x="4275" y="2985"/>
                    <a:pt x="4275" y="2985"/>
                  </a:cubicBezTo>
                  <a:cubicBezTo>
                    <a:pt x="4275" y="2985"/>
                    <a:pt x="4469" y="2389"/>
                    <a:pt x="4432" y="1733"/>
                  </a:cubicBezTo>
                  <a:cubicBezTo>
                    <a:pt x="4432" y="1655"/>
                    <a:pt x="4432" y="1558"/>
                    <a:pt x="4414" y="1484"/>
                  </a:cubicBezTo>
                  <a:cubicBezTo>
                    <a:pt x="4372" y="1290"/>
                    <a:pt x="4298" y="1137"/>
                    <a:pt x="4238" y="1022"/>
                  </a:cubicBezTo>
                  <a:cubicBezTo>
                    <a:pt x="4104" y="772"/>
                    <a:pt x="3970" y="633"/>
                    <a:pt x="3970" y="633"/>
                  </a:cubicBezTo>
                  <a:lnTo>
                    <a:pt x="3910" y="906"/>
                  </a:lnTo>
                  <a:cubicBezTo>
                    <a:pt x="3466" y="310"/>
                    <a:pt x="2833" y="37"/>
                    <a:pt x="2833" y="37"/>
                  </a:cubicBezTo>
                  <a:lnTo>
                    <a:pt x="2833" y="37"/>
                  </a:lnTo>
                  <a:lnTo>
                    <a:pt x="2870" y="444"/>
                  </a:lnTo>
                  <a:lnTo>
                    <a:pt x="2524" y="97"/>
                  </a:lnTo>
                  <a:lnTo>
                    <a:pt x="2025" y="0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Google Shape;1313;p45">
              <a:extLst>
                <a:ext uri="{FF2B5EF4-FFF2-40B4-BE49-F238E27FC236}">
                  <a16:creationId xmlns:a16="http://schemas.microsoft.com/office/drawing/2014/main" xmlns="" id="{F52BA5EB-B677-2E52-49B6-DB927750E9CE}"/>
                </a:ext>
              </a:extLst>
            </p:cNvPr>
            <p:cNvSpPr/>
            <p:nvPr/>
          </p:nvSpPr>
          <p:spPr>
            <a:xfrm>
              <a:off x="5275450" y="2397150"/>
              <a:ext cx="56875" cy="46225"/>
            </a:xfrm>
            <a:custGeom>
              <a:avLst/>
              <a:gdLst/>
              <a:ahLst/>
              <a:cxnLst/>
              <a:rect l="l" t="t" r="r" b="b"/>
              <a:pathLst>
                <a:path w="2275" h="1849" extrusionOk="0">
                  <a:moveTo>
                    <a:pt x="98" y="1"/>
                  </a:moveTo>
                  <a:cubicBezTo>
                    <a:pt x="98" y="250"/>
                    <a:pt x="116" y="444"/>
                    <a:pt x="116" y="444"/>
                  </a:cubicBezTo>
                  <a:cubicBezTo>
                    <a:pt x="116" y="444"/>
                    <a:pt x="61" y="329"/>
                    <a:pt x="1" y="135"/>
                  </a:cubicBezTo>
                  <a:lnTo>
                    <a:pt x="1" y="135"/>
                  </a:lnTo>
                  <a:cubicBezTo>
                    <a:pt x="61" y="1156"/>
                    <a:pt x="523" y="1655"/>
                    <a:pt x="541" y="1655"/>
                  </a:cubicBezTo>
                  <a:lnTo>
                    <a:pt x="541" y="1678"/>
                  </a:lnTo>
                  <a:lnTo>
                    <a:pt x="888" y="1849"/>
                  </a:lnTo>
                  <a:lnTo>
                    <a:pt x="791" y="1424"/>
                  </a:lnTo>
                  <a:lnTo>
                    <a:pt x="1581" y="1119"/>
                  </a:lnTo>
                  <a:lnTo>
                    <a:pt x="1581" y="1119"/>
                  </a:lnTo>
                  <a:lnTo>
                    <a:pt x="1484" y="1234"/>
                  </a:lnTo>
                  <a:lnTo>
                    <a:pt x="2274" y="1770"/>
                  </a:lnTo>
                  <a:lnTo>
                    <a:pt x="1946" y="828"/>
                  </a:lnTo>
                  <a:lnTo>
                    <a:pt x="1350" y="985"/>
                  </a:lnTo>
                  <a:lnTo>
                    <a:pt x="1101" y="560"/>
                  </a:lnTo>
                  <a:lnTo>
                    <a:pt x="657" y="1216"/>
                  </a:lnTo>
                  <a:lnTo>
                    <a:pt x="310" y="925"/>
                  </a:lnTo>
                  <a:lnTo>
                    <a:pt x="463" y="925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Google Shape;1314;p45">
              <a:extLst>
                <a:ext uri="{FF2B5EF4-FFF2-40B4-BE49-F238E27FC236}">
                  <a16:creationId xmlns:a16="http://schemas.microsoft.com/office/drawing/2014/main" xmlns="" id="{E4F82917-28EB-7F71-B26B-33B6AE3D79B7}"/>
                </a:ext>
              </a:extLst>
            </p:cNvPr>
            <p:cNvSpPr/>
            <p:nvPr/>
          </p:nvSpPr>
          <p:spPr>
            <a:xfrm>
              <a:off x="5347200" y="2378900"/>
              <a:ext cx="40900" cy="62525"/>
            </a:xfrm>
            <a:custGeom>
              <a:avLst/>
              <a:gdLst/>
              <a:ahLst/>
              <a:cxnLst/>
              <a:rect l="l" t="t" r="r" b="b"/>
              <a:pathLst>
                <a:path w="1636" h="2501" extrusionOk="0">
                  <a:moveTo>
                    <a:pt x="1234" y="1"/>
                  </a:moveTo>
                  <a:lnTo>
                    <a:pt x="1021" y="463"/>
                  </a:lnTo>
                  <a:lnTo>
                    <a:pt x="675" y="500"/>
                  </a:lnTo>
                  <a:lnTo>
                    <a:pt x="1271" y="1114"/>
                  </a:lnTo>
                  <a:lnTo>
                    <a:pt x="1137" y="1599"/>
                  </a:lnTo>
                  <a:lnTo>
                    <a:pt x="966" y="1327"/>
                  </a:lnTo>
                  <a:lnTo>
                    <a:pt x="693" y="2001"/>
                  </a:lnTo>
                  <a:lnTo>
                    <a:pt x="559" y="1886"/>
                  </a:lnTo>
                  <a:lnTo>
                    <a:pt x="231" y="2292"/>
                  </a:lnTo>
                  <a:lnTo>
                    <a:pt x="0" y="2135"/>
                  </a:lnTo>
                  <a:lnTo>
                    <a:pt x="19" y="2408"/>
                  </a:lnTo>
                  <a:lnTo>
                    <a:pt x="504" y="2463"/>
                  </a:lnTo>
                  <a:lnTo>
                    <a:pt x="559" y="2292"/>
                  </a:lnTo>
                  <a:lnTo>
                    <a:pt x="675" y="2500"/>
                  </a:lnTo>
                  <a:lnTo>
                    <a:pt x="1118" y="2232"/>
                  </a:lnTo>
                  <a:lnTo>
                    <a:pt x="1234" y="1923"/>
                  </a:lnTo>
                  <a:lnTo>
                    <a:pt x="1174" y="2500"/>
                  </a:lnTo>
                  <a:cubicBezTo>
                    <a:pt x="1544" y="2001"/>
                    <a:pt x="1636" y="1405"/>
                    <a:pt x="1617" y="1345"/>
                  </a:cubicBezTo>
                  <a:lnTo>
                    <a:pt x="1617" y="1345"/>
                  </a:lnTo>
                  <a:cubicBezTo>
                    <a:pt x="1520" y="1673"/>
                    <a:pt x="1405" y="1733"/>
                    <a:pt x="1405" y="1733"/>
                  </a:cubicBezTo>
                  <a:cubicBezTo>
                    <a:pt x="1405" y="1733"/>
                    <a:pt x="1599" y="1137"/>
                    <a:pt x="1562" y="481"/>
                  </a:cubicBezTo>
                  <a:cubicBezTo>
                    <a:pt x="1562" y="403"/>
                    <a:pt x="1562" y="306"/>
                    <a:pt x="1544" y="232"/>
                  </a:cubicBezTo>
                  <a:lnTo>
                    <a:pt x="1289" y="287"/>
                  </a:lnTo>
                  <a:lnTo>
                    <a:pt x="1234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Google Shape;1315;p45">
              <a:extLst>
                <a:ext uri="{FF2B5EF4-FFF2-40B4-BE49-F238E27FC236}">
                  <a16:creationId xmlns:a16="http://schemas.microsoft.com/office/drawing/2014/main" xmlns="" id="{4E1B895E-44A2-E76F-6CEE-C98B056A1224}"/>
                </a:ext>
              </a:extLst>
            </p:cNvPr>
            <p:cNvSpPr/>
            <p:nvPr/>
          </p:nvSpPr>
          <p:spPr>
            <a:xfrm>
              <a:off x="5318775" y="2411600"/>
              <a:ext cx="47275" cy="32000"/>
            </a:xfrm>
            <a:custGeom>
              <a:avLst/>
              <a:gdLst/>
              <a:ahLst/>
              <a:cxnLst/>
              <a:rect l="l" t="t" r="r" b="b"/>
              <a:pathLst>
                <a:path w="1891" h="1280" extrusionOk="0">
                  <a:moveTo>
                    <a:pt x="292" y="0"/>
                  </a:moveTo>
                  <a:lnTo>
                    <a:pt x="1" y="310"/>
                  </a:lnTo>
                  <a:cubicBezTo>
                    <a:pt x="1" y="310"/>
                    <a:pt x="370" y="1058"/>
                    <a:pt x="389" y="1077"/>
                  </a:cubicBezTo>
                  <a:cubicBezTo>
                    <a:pt x="426" y="1100"/>
                    <a:pt x="541" y="1271"/>
                    <a:pt x="541" y="1271"/>
                  </a:cubicBezTo>
                  <a:cubicBezTo>
                    <a:pt x="541" y="1271"/>
                    <a:pt x="671" y="1279"/>
                    <a:pt x="762" y="1279"/>
                  </a:cubicBezTo>
                  <a:cubicBezTo>
                    <a:pt x="808" y="1279"/>
                    <a:pt x="845" y="1277"/>
                    <a:pt x="851" y="1271"/>
                  </a:cubicBezTo>
                  <a:cubicBezTo>
                    <a:pt x="888" y="1252"/>
                    <a:pt x="1253" y="1155"/>
                    <a:pt x="1271" y="1155"/>
                  </a:cubicBezTo>
                  <a:cubicBezTo>
                    <a:pt x="1313" y="1155"/>
                    <a:pt x="1465" y="943"/>
                    <a:pt x="1465" y="943"/>
                  </a:cubicBezTo>
                  <a:lnTo>
                    <a:pt x="1830" y="693"/>
                  </a:lnTo>
                  <a:lnTo>
                    <a:pt x="1890" y="541"/>
                  </a:lnTo>
                  <a:lnTo>
                    <a:pt x="1733" y="347"/>
                  </a:lnTo>
                  <a:lnTo>
                    <a:pt x="1465" y="541"/>
                  </a:lnTo>
                  <a:lnTo>
                    <a:pt x="1253" y="231"/>
                  </a:lnTo>
                  <a:lnTo>
                    <a:pt x="851" y="347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Google Shape;1316;p45">
              <a:extLst>
                <a:ext uri="{FF2B5EF4-FFF2-40B4-BE49-F238E27FC236}">
                  <a16:creationId xmlns:a16="http://schemas.microsoft.com/office/drawing/2014/main" xmlns="" id="{1F760E2D-7638-DB98-59C0-CA7372EF97F2}"/>
                </a:ext>
              </a:extLst>
            </p:cNvPr>
            <p:cNvSpPr/>
            <p:nvPr/>
          </p:nvSpPr>
          <p:spPr>
            <a:xfrm>
              <a:off x="5284554" y="2424068"/>
              <a:ext cx="93901" cy="31900"/>
            </a:xfrm>
            <a:custGeom>
              <a:avLst/>
              <a:gdLst/>
              <a:ahLst/>
              <a:cxnLst/>
              <a:rect l="l" t="t" r="r" b="b"/>
              <a:pathLst>
                <a:path w="3734" h="1276" extrusionOk="0">
                  <a:moveTo>
                    <a:pt x="1" y="463"/>
                  </a:moveTo>
                  <a:cubicBezTo>
                    <a:pt x="6" y="465"/>
                    <a:pt x="11" y="468"/>
                    <a:pt x="16" y="470"/>
                  </a:cubicBezTo>
                  <a:lnTo>
                    <a:pt x="16" y="470"/>
                  </a:lnTo>
                  <a:cubicBezTo>
                    <a:pt x="12" y="466"/>
                    <a:pt x="8" y="463"/>
                    <a:pt x="1" y="463"/>
                  </a:cubicBezTo>
                  <a:close/>
                  <a:moveTo>
                    <a:pt x="1211" y="1"/>
                  </a:moveTo>
                  <a:lnTo>
                    <a:pt x="421" y="306"/>
                  </a:lnTo>
                  <a:lnTo>
                    <a:pt x="518" y="731"/>
                  </a:lnTo>
                  <a:lnTo>
                    <a:pt x="171" y="560"/>
                  </a:lnTo>
                  <a:lnTo>
                    <a:pt x="171" y="537"/>
                  </a:lnTo>
                  <a:cubicBezTo>
                    <a:pt x="171" y="537"/>
                    <a:pt x="121" y="520"/>
                    <a:pt x="16" y="470"/>
                  </a:cubicBezTo>
                  <a:lnTo>
                    <a:pt x="16" y="470"/>
                  </a:lnTo>
                  <a:cubicBezTo>
                    <a:pt x="22" y="477"/>
                    <a:pt x="26" y="489"/>
                    <a:pt x="37" y="500"/>
                  </a:cubicBezTo>
                  <a:lnTo>
                    <a:pt x="56" y="518"/>
                  </a:lnTo>
                  <a:lnTo>
                    <a:pt x="56" y="537"/>
                  </a:lnTo>
                  <a:cubicBezTo>
                    <a:pt x="93" y="560"/>
                    <a:pt x="116" y="578"/>
                    <a:pt x="135" y="597"/>
                  </a:cubicBezTo>
                  <a:lnTo>
                    <a:pt x="135" y="615"/>
                  </a:lnTo>
                  <a:lnTo>
                    <a:pt x="153" y="615"/>
                  </a:lnTo>
                  <a:lnTo>
                    <a:pt x="171" y="634"/>
                  </a:lnTo>
                  <a:lnTo>
                    <a:pt x="190" y="652"/>
                  </a:lnTo>
                  <a:lnTo>
                    <a:pt x="190" y="675"/>
                  </a:lnTo>
                  <a:lnTo>
                    <a:pt x="208" y="675"/>
                  </a:lnTo>
                  <a:lnTo>
                    <a:pt x="208" y="694"/>
                  </a:lnTo>
                  <a:lnTo>
                    <a:pt x="232" y="694"/>
                  </a:lnTo>
                  <a:cubicBezTo>
                    <a:pt x="269" y="731"/>
                    <a:pt x="324" y="791"/>
                    <a:pt x="384" y="828"/>
                  </a:cubicBezTo>
                  <a:lnTo>
                    <a:pt x="403" y="828"/>
                  </a:lnTo>
                  <a:lnTo>
                    <a:pt x="421" y="846"/>
                  </a:lnTo>
                  <a:lnTo>
                    <a:pt x="439" y="865"/>
                  </a:lnTo>
                  <a:lnTo>
                    <a:pt x="463" y="865"/>
                  </a:lnTo>
                  <a:lnTo>
                    <a:pt x="463" y="883"/>
                  </a:lnTo>
                  <a:lnTo>
                    <a:pt x="481" y="883"/>
                  </a:lnTo>
                  <a:cubicBezTo>
                    <a:pt x="500" y="883"/>
                    <a:pt x="500" y="906"/>
                    <a:pt x="518" y="906"/>
                  </a:cubicBezTo>
                  <a:lnTo>
                    <a:pt x="537" y="925"/>
                  </a:lnTo>
                  <a:lnTo>
                    <a:pt x="555" y="925"/>
                  </a:lnTo>
                  <a:lnTo>
                    <a:pt x="578" y="943"/>
                  </a:lnTo>
                  <a:lnTo>
                    <a:pt x="597" y="943"/>
                  </a:lnTo>
                  <a:lnTo>
                    <a:pt x="597" y="962"/>
                  </a:lnTo>
                  <a:cubicBezTo>
                    <a:pt x="615" y="962"/>
                    <a:pt x="634" y="962"/>
                    <a:pt x="634" y="980"/>
                  </a:cubicBezTo>
                  <a:cubicBezTo>
                    <a:pt x="1193" y="1253"/>
                    <a:pt x="1807" y="1253"/>
                    <a:pt x="2232" y="1271"/>
                  </a:cubicBezTo>
                  <a:cubicBezTo>
                    <a:pt x="2280" y="1274"/>
                    <a:pt x="2326" y="1276"/>
                    <a:pt x="2371" y="1276"/>
                  </a:cubicBezTo>
                  <a:cubicBezTo>
                    <a:pt x="2875" y="1276"/>
                    <a:pt x="3236" y="1092"/>
                    <a:pt x="3503" y="846"/>
                  </a:cubicBezTo>
                  <a:cubicBezTo>
                    <a:pt x="3558" y="768"/>
                    <a:pt x="3618" y="712"/>
                    <a:pt x="3674" y="652"/>
                  </a:cubicBezTo>
                  <a:lnTo>
                    <a:pt x="3734" y="75"/>
                  </a:lnTo>
                  <a:lnTo>
                    <a:pt x="3618" y="384"/>
                  </a:lnTo>
                  <a:lnTo>
                    <a:pt x="3175" y="652"/>
                  </a:lnTo>
                  <a:lnTo>
                    <a:pt x="3059" y="444"/>
                  </a:lnTo>
                  <a:lnTo>
                    <a:pt x="3004" y="615"/>
                  </a:lnTo>
                  <a:lnTo>
                    <a:pt x="2519" y="560"/>
                  </a:lnTo>
                  <a:lnTo>
                    <a:pt x="2500" y="287"/>
                  </a:lnTo>
                  <a:lnTo>
                    <a:pt x="1904" y="652"/>
                  </a:lnTo>
                  <a:lnTo>
                    <a:pt x="1114" y="116"/>
                  </a:lnTo>
                  <a:lnTo>
                    <a:pt x="1211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Google Shape;1317;p45">
              <a:extLst>
                <a:ext uri="{FF2B5EF4-FFF2-40B4-BE49-F238E27FC236}">
                  <a16:creationId xmlns:a16="http://schemas.microsoft.com/office/drawing/2014/main" xmlns="" id="{C1EAD1FC-0EAE-BF16-ACA1-5B228034F745}"/>
                </a:ext>
              </a:extLst>
            </p:cNvPr>
            <p:cNvSpPr/>
            <p:nvPr/>
          </p:nvSpPr>
          <p:spPr>
            <a:xfrm>
              <a:off x="5279375" y="2347600"/>
              <a:ext cx="102025" cy="51075"/>
            </a:xfrm>
            <a:custGeom>
              <a:avLst/>
              <a:gdLst/>
              <a:ahLst/>
              <a:cxnLst/>
              <a:rect l="l" t="t" r="r" b="b"/>
              <a:pathLst>
                <a:path w="4081" h="2043" extrusionOk="0">
                  <a:moveTo>
                    <a:pt x="1868" y="0"/>
                  </a:moveTo>
                  <a:cubicBezTo>
                    <a:pt x="1618" y="37"/>
                    <a:pt x="962" y="310"/>
                    <a:pt x="962" y="310"/>
                  </a:cubicBezTo>
                  <a:lnTo>
                    <a:pt x="1059" y="97"/>
                  </a:lnTo>
                  <a:lnTo>
                    <a:pt x="1059" y="97"/>
                  </a:lnTo>
                  <a:cubicBezTo>
                    <a:pt x="1041" y="97"/>
                    <a:pt x="232" y="596"/>
                    <a:pt x="1" y="943"/>
                  </a:cubicBezTo>
                  <a:lnTo>
                    <a:pt x="676" y="657"/>
                  </a:lnTo>
                  <a:lnTo>
                    <a:pt x="306" y="1156"/>
                  </a:lnTo>
                  <a:lnTo>
                    <a:pt x="306" y="1156"/>
                  </a:lnTo>
                  <a:lnTo>
                    <a:pt x="731" y="888"/>
                  </a:lnTo>
                  <a:lnTo>
                    <a:pt x="1115" y="1521"/>
                  </a:lnTo>
                  <a:lnTo>
                    <a:pt x="1272" y="1253"/>
                  </a:lnTo>
                  <a:lnTo>
                    <a:pt x="1618" y="1442"/>
                  </a:lnTo>
                  <a:lnTo>
                    <a:pt x="1831" y="1156"/>
                  </a:lnTo>
                  <a:lnTo>
                    <a:pt x="2293" y="1211"/>
                  </a:lnTo>
                  <a:lnTo>
                    <a:pt x="2639" y="2043"/>
                  </a:lnTo>
                  <a:lnTo>
                    <a:pt x="2639" y="1636"/>
                  </a:lnTo>
                  <a:lnTo>
                    <a:pt x="3120" y="1849"/>
                  </a:lnTo>
                  <a:lnTo>
                    <a:pt x="2829" y="1581"/>
                  </a:lnTo>
                  <a:lnTo>
                    <a:pt x="2944" y="1058"/>
                  </a:lnTo>
                  <a:lnTo>
                    <a:pt x="3351" y="1211"/>
                  </a:lnTo>
                  <a:lnTo>
                    <a:pt x="3120" y="1003"/>
                  </a:lnTo>
                  <a:lnTo>
                    <a:pt x="3522" y="906"/>
                  </a:lnTo>
                  <a:lnTo>
                    <a:pt x="3716" y="1058"/>
                  </a:lnTo>
                  <a:lnTo>
                    <a:pt x="3716" y="980"/>
                  </a:lnTo>
                  <a:lnTo>
                    <a:pt x="4062" y="1174"/>
                  </a:lnTo>
                  <a:lnTo>
                    <a:pt x="4081" y="1022"/>
                  </a:lnTo>
                  <a:cubicBezTo>
                    <a:pt x="3947" y="772"/>
                    <a:pt x="3813" y="633"/>
                    <a:pt x="3813" y="633"/>
                  </a:cubicBezTo>
                  <a:lnTo>
                    <a:pt x="3753" y="906"/>
                  </a:lnTo>
                  <a:cubicBezTo>
                    <a:pt x="3309" y="310"/>
                    <a:pt x="2676" y="37"/>
                    <a:pt x="2676" y="37"/>
                  </a:cubicBezTo>
                  <a:lnTo>
                    <a:pt x="2676" y="37"/>
                  </a:lnTo>
                  <a:lnTo>
                    <a:pt x="2713" y="444"/>
                  </a:lnTo>
                  <a:lnTo>
                    <a:pt x="2367" y="97"/>
                  </a:lnTo>
                  <a:lnTo>
                    <a:pt x="186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Google Shape;1318;p45">
              <a:extLst>
                <a:ext uri="{FF2B5EF4-FFF2-40B4-BE49-F238E27FC236}">
                  <a16:creationId xmlns:a16="http://schemas.microsoft.com/office/drawing/2014/main" xmlns="" id="{D9894E0F-4064-01CC-F1A5-EA8D39CA23C4}"/>
                </a:ext>
              </a:extLst>
            </p:cNvPr>
            <p:cNvSpPr/>
            <p:nvPr/>
          </p:nvSpPr>
          <p:spPr>
            <a:xfrm>
              <a:off x="5296250" y="2387100"/>
              <a:ext cx="45650" cy="26025"/>
            </a:xfrm>
            <a:custGeom>
              <a:avLst/>
              <a:gdLst/>
              <a:ahLst/>
              <a:cxnLst/>
              <a:rect l="l" t="t" r="r" b="b"/>
              <a:pathLst>
                <a:path w="1826" h="1041" extrusionOk="0">
                  <a:moveTo>
                    <a:pt x="1308" y="1"/>
                  </a:moveTo>
                  <a:lnTo>
                    <a:pt x="1271" y="537"/>
                  </a:lnTo>
                  <a:lnTo>
                    <a:pt x="962" y="19"/>
                  </a:lnTo>
                  <a:lnTo>
                    <a:pt x="384" y="366"/>
                  </a:lnTo>
                  <a:lnTo>
                    <a:pt x="75" y="250"/>
                  </a:lnTo>
                  <a:lnTo>
                    <a:pt x="1" y="749"/>
                  </a:lnTo>
                  <a:lnTo>
                    <a:pt x="440" y="828"/>
                  </a:lnTo>
                  <a:lnTo>
                    <a:pt x="768" y="1040"/>
                  </a:lnTo>
                  <a:lnTo>
                    <a:pt x="1211" y="902"/>
                  </a:lnTo>
                  <a:lnTo>
                    <a:pt x="1733" y="768"/>
                  </a:lnTo>
                  <a:lnTo>
                    <a:pt x="1655" y="634"/>
                  </a:lnTo>
                  <a:lnTo>
                    <a:pt x="1826" y="421"/>
                  </a:lnTo>
                  <a:lnTo>
                    <a:pt x="1461" y="306"/>
                  </a:lnTo>
                  <a:lnTo>
                    <a:pt x="1308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Google Shape;1319;p45">
              <a:extLst>
                <a:ext uri="{FF2B5EF4-FFF2-40B4-BE49-F238E27FC236}">
                  <a16:creationId xmlns:a16="http://schemas.microsoft.com/office/drawing/2014/main" xmlns="" id="{AA45B609-9161-0344-8F5A-62AB6DBC3F96}"/>
                </a:ext>
              </a:extLst>
            </p:cNvPr>
            <p:cNvSpPr/>
            <p:nvPr/>
          </p:nvSpPr>
          <p:spPr>
            <a:xfrm>
              <a:off x="5349625" y="2400500"/>
              <a:ext cx="16425" cy="14475"/>
            </a:xfrm>
            <a:custGeom>
              <a:avLst/>
              <a:gdLst/>
              <a:ahLst/>
              <a:cxnLst/>
              <a:rect l="l" t="t" r="r" b="b"/>
              <a:pathLst>
                <a:path w="657" h="579" extrusionOk="0">
                  <a:moveTo>
                    <a:pt x="194" y="1"/>
                  </a:moveTo>
                  <a:lnTo>
                    <a:pt x="97" y="232"/>
                  </a:lnTo>
                  <a:lnTo>
                    <a:pt x="0" y="407"/>
                  </a:lnTo>
                  <a:lnTo>
                    <a:pt x="268" y="407"/>
                  </a:lnTo>
                  <a:lnTo>
                    <a:pt x="291" y="541"/>
                  </a:lnTo>
                  <a:lnTo>
                    <a:pt x="425" y="426"/>
                  </a:lnTo>
                  <a:lnTo>
                    <a:pt x="578" y="578"/>
                  </a:lnTo>
                  <a:lnTo>
                    <a:pt x="559" y="347"/>
                  </a:lnTo>
                  <a:lnTo>
                    <a:pt x="656" y="292"/>
                  </a:lnTo>
                  <a:lnTo>
                    <a:pt x="462" y="292"/>
                  </a:lnTo>
                  <a:lnTo>
                    <a:pt x="347" y="98"/>
                  </a:lnTo>
                  <a:lnTo>
                    <a:pt x="268" y="232"/>
                  </a:lnTo>
                  <a:lnTo>
                    <a:pt x="194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Google Shape;1320;p45">
              <a:extLst>
                <a:ext uri="{FF2B5EF4-FFF2-40B4-BE49-F238E27FC236}">
                  <a16:creationId xmlns:a16="http://schemas.microsoft.com/office/drawing/2014/main" xmlns="" id="{D83ECE3B-216D-FC4D-0BEF-5E35DC157580}"/>
                </a:ext>
              </a:extLst>
            </p:cNvPr>
            <p:cNvSpPr/>
            <p:nvPr/>
          </p:nvSpPr>
          <p:spPr>
            <a:xfrm>
              <a:off x="5277425" y="2376475"/>
              <a:ext cx="16900" cy="23125"/>
            </a:xfrm>
            <a:custGeom>
              <a:avLst/>
              <a:gdLst/>
              <a:ahLst/>
              <a:cxnLst/>
              <a:rect l="l" t="t" r="r" b="b"/>
              <a:pathLst>
                <a:path w="676" h="925" extrusionOk="0">
                  <a:moveTo>
                    <a:pt x="37" y="1"/>
                  </a:moveTo>
                  <a:cubicBezTo>
                    <a:pt x="0" y="213"/>
                    <a:pt x="0" y="481"/>
                    <a:pt x="0" y="731"/>
                  </a:cubicBezTo>
                  <a:lnTo>
                    <a:pt x="347" y="925"/>
                  </a:lnTo>
                  <a:lnTo>
                    <a:pt x="328" y="560"/>
                  </a:lnTo>
                  <a:lnTo>
                    <a:pt x="578" y="657"/>
                  </a:lnTo>
                  <a:lnTo>
                    <a:pt x="407" y="347"/>
                  </a:lnTo>
                  <a:lnTo>
                    <a:pt x="675" y="56"/>
                  </a:lnTo>
                  <a:lnTo>
                    <a:pt x="213" y="287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Google Shape;1321;p45">
              <a:extLst>
                <a:ext uri="{FF2B5EF4-FFF2-40B4-BE49-F238E27FC236}">
                  <a16:creationId xmlns:a16="http://schemas.microsoft.com/office/drawing/2014/main" xmlns="" id="{2A3C6362-7E0C-F0CF-D142-B60C42C86FF4}"/>
                </a:ext>
              </a:extLst>
            </p:cNvPr>
            <p:cNvSpPr/>
            <p:nvPr/>
          </p:nvSpPr>
          <p:spPr>
            <a:xfrm>
              <a:off x="5325125" y="2513600"/>
              <a:ext cx="15850" cy="5800"/>
            </a:xfrm>
            <a:custGeom>
              <a:avLst/>
              <a:gdLst/>
              <a:ahLst/>
              <a:cxnLst/>
              <a:rect l="l" t="t" r="r" b="b"/>
              <a:pathLst>
                <a:path w="634" h="232" extrusionOk="0">
                  <a:moveTo>
                    <a:pt x="324" y="0"/>
                  </a:moveTo>
                  <a:lnTo>
                    <a:pt x="250" y="116"/>
                  </a:lnTo>
                  <a:lnTo>
                    <a:pt x="38" y="23"/>
                  </a:lnTo>
                  <a:lnTo>
                    <a:pt x="1" y="213"/>
                  </a:lnTo>
                  <a:lnTo>
                    <a:pt x="615" y="231"/>
                  </a:lnTo>
                  <a:lnTo>
                    <a:pt x="634" y="42"/>
                  </a:lnTo>
                  <a:lnTo>
                    <a:pt x="555" y="139"/>
                  </a:lnTo>
                  <a:lnTo>
                    <a:pt x="463" y="0"/>
                  </a:lnTo>
                  <a:lnTo>
                    <a:pt x="421" y="60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Google Shape;1322;p45">
              <a:extLst>
                <a:ext uri="{FF2B5EF4-FFF2-40B4-BE49-F238E27FC236}">
                  <a16:creationId xmlns:a16="http://schemas.microsoft.com/office/drawing/2014/main" xmlns="" id="{9105317F-14ED-4A21-F85E-2601DB4C38F2}"/>
                </a:ext>
              </a:extLst>
            </p:cNvPr>
            <p:cNvSpPr/>
            <p:nvPr/>
          </p:nvSpPr>
          <p:spPr>
            <a:xfrm>
              <a:off x="5270725" y="2376475"/>
              <a:ext cx="4750" cy="16900"/>
            </a:xfrm>
            <a:custGeom>
              <a:avLst/>
              <a:gdLst/>
              <a:ahLst/>
              <a:cxnLst/>
              <a:rect l="l" t="t" r="r" b="b"/>
              <a:pathLst>
                <a:path w="190" h="676" extrusionOk="0">
                  <a:moveTo>
                    <a:pt x="0" y="1"/>
                  </a:moveTo>
                  <a:lnTo>
                    <a:pt x="134" y="675"/>
                  </a:lnTo>
                  <a:lnTo>
                    <a:pt x="190" y="36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Google Shape;1323;p45">
              <a:extLst>
                <a:ext uri="{FF2B5EF4-FFF2-40B4-BE49-F238E27FC236}">
                  <a16:creationId xmlns:a16="http://schemas.microsoft.com/office/drawing/2014/main" xmlns="" id="{6EB3CCAA-521A-58B1-4132-D391CEA28C76}"/>
                </a:ext>
              </a:extLst>
            </p:cNvPr>
            <p:cNvSpPr/>
            <p:nvPr/>
          </p:nvSpPr>
          <p:spPr>
            <a:xfrm>
              <a:off x="5388675" y="2397150"/>
              <a:ext cx="5800" cy="13075"/>
            </a:xfrm>
            <a:custGeom>
              <a:avLst/>
              <a:gdLst/>
              <a:ahLst/>
              <a:cxnLst/>
              <a:rect l="l" t="t" r="r" b="b"/>
              <a:pathLst>
                <a:path w="232" h="523" extrusionOk="0">
                  <a:moveTo>
                    <a:pt x="231" y="1"/>
                  </a:moveTo>
                  <a:lnTo>
                    <a:pt x="0" y="269"/>
                  </a:lnTo>
                  <a:lnTo>
                    <a:pt x="0" y="523"/>
                  </a:lnTo>
                  <a:lnTo>
                    <a:pt x="231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23" name="Google Shape;1310;p45">
            <a:extLst>
              <a:ext uri="{FF2B5EF4-FFF2-40B4-BE49-F238E27FC236}">
                <a16:creationId xmlns:a16="http://schemas.microsoft.com/office/drawing/2014/main" xmlns="" id="{C0AEA6CD-C232-9A40-FECD-1ABA6604DF9E}"/>
              </a:ext>
            </a:extLst>
          </p:cNvPr>
          <p:cNvGrpSpPr/>
          <p:nvPr/>
        </p:nvGrpSpPr>
        <p:grpSpPr>
          <a:xfrm>
            <a:off x="10233067" y="4583183"/>
            <a:ext cx="325655" cy="518853"/>
            <a:chOff x="5270725" y="2347600"/>
            <a:chExt cx="123750" cy="171800"/>
          </a:xfrm>
        </p:grpSpPr>
        <p:sp>
          <p:nvSpPr>
            <p:cNvPr id="24" name="Google Shape;1311;p45">
              <a:extLst>
                <a:ext uri="{FF2B5EF4-FFF2-40B4-BE49-F238E27FC236}">
                  <a16:creationId xmlns:a16="http://schemas.microsoft.com/office/drawing/2014/main" xmlns="" id="{DBC2038E-60C8-83B8-5F79-80F3D1BFF402}"/>
                </a:ext>
              </a:extLst>
            </p:cNvPr>
            <p:cNvSpPr/>
            <p:nvPr/>
          </p:nvSpPr>
          <p:spPr>
            <a:xfrm>
              <a:off x="5312550" y="2445325"/>
              <a:ext cx="31775" cy="73150"/>
            </a:xfrm>
            <a:custGeom>
              <a:avLst/>
              <a:gdLst/>
              <a:ahLst/>
              <a:cxnLst/>
              <a:rect l="l" t="t" r="r" b="b"/>
              <a:pathLst>
                <a:path w="1271" h="2926" extrusionOk="0">
                  <a:moveTo>
                    <a:pt x="0" y="0"/>
                  </a:moveTo>
                  <a:lnTo>
                    <a:pt x="116" y="481"/>
                  </a:lnTo>
                  <a:lnTo>
                    <a:pt x="790" y="767"/>
                  </a:lnTo>
                  <a:lnTo>
                    <a:pt x="675" y="2925"/>
                  </a:lnTo>
                  <a:lnTo>
                    <a:pt x="1040" y="2925"/>
                  </a:lnTo>
                  <a:lnTo>
                    <a:pt x="1021" y="2616"/>
                  </a:lnTo>
                  <a:lnTo>
                    <a:pt x="966" y="2579"/>
                  </a:lnTo>
                  <a:lnTo>
                    <a:pt x="869" y="1618"/>
                  </a:lnTo>
                  <a:lnTo>
                    <a:pt x="906" y="1502"/>
                  </a:lnTo>
                  <a:lnTo>
                    <a:pt x="906" y="790"/>
                  </a:lnTo>
                  <a:lnTo>
                    <a:pt x="1234" y="675"/>
                  </a:lnTo>
                  <a:lnTo>
                    <a:pt x="1271" y="347"/>
                  </a:lnTo>
                  <a:lnTo>
                    <a:pt x="1252" y="328"/>
                  </a:lnTo>
                  <a:lnTo>
                    <a:pt x="1197" y="633"/>
                  </a:lnTo>
                  <a:lnTo>
                    <a:pt x="1003" y="675"/>
                  </a:lnTo>
                  <a:lnTo>
                    <a:pt x="869" y="712"/>
                  </a:lnTo>
                  <a:lnTo>
                    <a:pt x="790" y="633"/>
                  </a:lnTo>
                  <a:lnTo>
                    <a:pt x="675" y="250"/>
                  </a:lnTo>
                  <a:lnTo>
                    <a:pt x="638" y="56"/>
                  </a:lnTo>
                  <a:lnTo>
                    <a:pt x="656" y="268"/>
                  </a:lnTo>
                  <a:lnTo>
                    <a:pt x="735" y="652"/>
                  </a:lnTo>
                  <a:lnTo>
                    <a:pt x="157" y="462"/>
                  </a:lnTo>
                  <a:lnTo>
                    <a:pt x="250" y="97"/>
                  </a:lnTo>
                  <a:lnTo>
                    <a:pt x="134" y="4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Google Shape;1312;p45">
              <a:extLst>
                <a:ext uri="{FF2B5EF4-FFF2-40B4-BE49-F238E27FC236}">
                  <a16:creationId xmlns:a16="http://schemas.microsoft.com/office/drawing/2014/main" xmlns="" id="{BF94AD61-0ABA-0156-ECE9-F7A17A23315E}"/>
                </a:ext>
              </a:extLst>
            </p:cNvPr>
            <p:cNvSpPr/>
            <p:nvPr/>
          </p:nvSpPr>
          <p:spPr>
            <a:xfrm>
              <a:off x="5275450" y="2347600"/>
              <a:ext cx="112650" cy="109400"/>
            </a:xfrm>
            <a:custGeom>
              <a:avLst/>
              <a:gdLst/>
              <a:ahLst/>
              <a:cxnLst/>
              <a:rect l="l" t="t" r="r" b="b"/>
              <a:pathLst>
                <a:path w="4506" h="4376" extrusionOk="0">
                  <a:moveTo>
                    <a:pt x="2025" y="0"/>
                  </a:moveTo>
                  <a:cubicBezTo>
                    <a:pt x="1775" y="37"/>
                    <a:pt x="1119" y="310"/>
                    <a:pt x="1119" y="310"/>
                  </a:cubicBezTo>
                  <a:lnTo>
                    <a:pt x="1216" y="97"/>
                  </a:lnTo>
                  <a:lnTo>
                    <a:pt x="1216" y="97"/>
                  </a:lnTo>
                  <a:cubicBezTo>
                    <a:pt x="1198" y="97"/>
                    <a:pt x="389" y="596"/>
                    <a:pt x="158" y="943"/>
                  </a:cubicBezTo>
                  <a:cubicBezTo>
                    <a:pt x="140" y="1003"/>
                    <a:pt x="116" y="1058"/>
                    <a:pt x="116" y="1156"/>
                  </a:cubicBezTo>
                  <a:cubicBezTo>
                    <a:pt x="79" y="1368"/>
                    <a:pt x="79" y="1636"/>
                    <a:pt x="79" y="1886"/>
                  </a:cubicBezTo>
                  <a:cubicBezTo>
                    <a:pt x="98" y="1904"/>
                    <a:pt x="98" y="1946"/>
                    <a:pt x="98" y="1983"/>
                  </a:cubicBezTo>
                  <a:cubicBezTo>
                    <a:pt x="98" y="2232"/>
                    <a:pt x="116" y="2426"/>
                    <a:pt x="116" y="2426"/>
                  </a:cubicBezTo>
                  <a:cubicBezTo>
                    <a:pt x="116" y="2426"/>
                    <a:pt x="61" y="2311"/>
                    <a:pt x="1" y="2117"/>
                  </a:cubicBezTo>
                  <a:lnTo>
                    <a:pt x="1" y="2117"/>
                  </a:lnTo>
                  <a:cubicBezTo>
                    <a:pt x="60" y="3119"/>
                    <a:pt x="506" y="3618"/>
                    <a:pt x="540" y="3636"/>
                  </a:cubicBezTo>
                  <a:lnTo>
                    <a:pt x="540" y="3636"/>
                  </a:lnTo>
                  <a:cubicBezTo>
                    <a:pt x="531" y="3633"/>
                    <a:pt x="475" y="3613"/>
                    <a:pt x="371" y="3563"/>
                  </a:cubicBezTo>
                  <a:lnTo>
                    <a:pt x="371" y="3563"/>
                  </a:lnTo>
                  <a:cubicBezTo>
                    <a:pt x="560" y="3794"/>
                    <a:pt x="773" y="3965"/>
                    <a:pt x="1004" y="4080"/>
                  </a:cubicBezTo>
                  <a:cubicBezTo>
                    <a:pt x="1563" y="4353"/>
                    <a:pt x="2177" y="4353"/>
                    <a:pt x="2602" y="4371"/>
                  </a:cubicBezTo>
                  <a:cubicBezTo>
                    <a:pt x="2650" y="4374"/>
                    <a:pt x="2696" y="4376"/>
                    <a:pt x="2741" y="4376"/>
                  </a:cubicBezTo>
                  <a:cubicBezTo>
                    <a:pt x="3245" y="4376"/>
                    <a:pt x="3606" y="4192"/>
                    <a:pt x="3873" y="3946"/>
                  </a:cubicBezTo>
                  <a:lnTo>
                    <a:pt x="3891" y="3928"/>
                  </a:lnTo>
                  <a:lnTo>
                    <a:pt x="3891" y="3909"/>
                  </a:lnTo>
                  <a:lnTo>
                    <a:pt x="3910" y="3909"/>
                  </a:lnTo>
                  <a:lnTo>
                    <a:pt x="3928" y="3891"/>
                  </a:lnTo>
                  <a:lnTo>
                    <a:pt x="3928" y="3868"/>
                  </a:lnTo>
                  <a:cubicBezTo>
                    <a:pt x="3951" y="3868"/>
                    <a:pt x="3951" y="3849"/>
                    <a:pt x="3970" y="3831"/>
                  </a:cubicBezTo>
                  <a:lnTo>
                    <a:pt x="3988" y="3812"/>
                  </a:lnTo>
                  <a:lnTo>
                    <a:pt x="4007" y="3794"/>
                  </a:lnTo>
                  <a:lnTo>
                    <a:pt x="4025" y="3775"/>
                  </a:lnTo>
                  <a:lnTo>
                    <a:pt x="4025" y="3752"/>
                  </a:lnTo>
                  <a:lnTo>
                    <a:pt x="4044" y="3752"/>
                  </a:lnTo>
                  <a:cubicBezTo>
                    <a:pt x="4414" y="3253"/>
                    <a:pt x="4506" y="2657"/>
                    <a:pt x="4487" y="2597"/>
                  </a:cubicBezTo>
                  <a:lnTo>
                    <a:pt x="4487" y="2597"/>
                  </a:lnTo>
                  <a:cubicBezTo>
                    <a:pt x="4390" y="2925"/>
                    <a:pt x="4275" y="2985"/>
                    <a:pt x="4275" y="2985"/>
                  </a:cubicBezTo>
                  <a:cubicBezTo>
                    <a:pt x="4275" y="2985"/>
                    <a:pt x="4469" y="2389"/>
                    <a:pt x="4432" y="1733"/>
                  </a:cubicBezTo>
                  <a:cubicBezTo>
                    <a:pt x="4432" y="1655"/>
                    <a:pt x="4432" y="1558"/>
                    <a:pt x="4414" y="1484"/>
                  </a:cubicBezTo>
                  <a:cubicBezTo>
                    <a:pt x="4372" y="1290"/>
                    <a:pt x="4298" y="1137"/>
                    <a:pt x="4238" y="1022"/>
                  </a:cubicBezTo>
                  <a:cubicBezTo>
                    <a:pt x="4104" y="772"/>
                    <a:pt x="3970" y="633"/>
                    <a:pt x="3970" y="633"/>
                  </a:cubicBezTo>
                  <a:lnTo>
                    <a:pt x="3910" y="906"/>
                  </a:lnTo>
                  <a:cubicBezTo>
                    <a:pt x="3466" y="310"/>
                    <a:pt x="2833" y="37"/>
                    <a:pt x="2833" y="37"/>
                  </a:cubicBezTo>
                  <a:lnTo>
                    <a:pt x="2833" y="37"/>
                  </a:lnTo>
                  <a:lnTo>
                    <a:pt x="2870" y="444"/>
                  </a:lnTo>
                  <a:lnTo>
                    <a:pt x="2524" y="97"/>
                  </a:lnTo>
                  <a:lnTo>
                    <a:pt x="2025" y="0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Google Shape;1313;p45">
              <a:extLst>
                <a:ext uri="{FF2B5EF4-FFF2-40B4-BE49-F238E27FC236}">
                  <a16:creationId xmlns:a16="http://schemas.microsoft.com/office/drawing/2014/main" xmlns="" id="{EE556F22-FC04-B071-9375-1DD1DC64C9BF}"/>
                </a:ext>
              </a:extLst>
            </p:cNvPr>
            <p:cNvSpPr/>
            <p:nvPr/>
          </p:nvSpPr>
          <p:spPr>
            <a:xfrm>
              <a:off x="5275450" y="2397150"/>
              <a:ext cx="56875" cy="46225"/>
            </a:xfrm>
            <a:custGeom>
              <a:avLst/>
              <a:gdLst/>
              <a:ahLst/>
              <a:cxnLst/>
              <a:rect l="l" t="t" r="r" b="b"/>
              <a:pathLst>
                <a:path w="2275" h="1849" extrusionOk="0">
                  <a:moveTo>
                    <a:pt x="98" y="1"/>
                  </a:moveTo>
                  <a:cubicBezTo>
                    <a:pt x="98" y="250"/>
                    <a:pt x="116" y="444"/>
                    <a:pt x="116" y="444"/>
                  </a:cubicBezTo>
                  <a:cubicBezTo>
                    <a:pt x="116" y="444"/>
                    <a:pt x="61" y="329"/>
                    <a:pt x="1" y="135"/>
                  </a:cubicBezTo>
                  <a:lnTo>
                    <a:pt x="1" y="135"/>
                  </a:lnTo>
                  <a:cubicBezTo>
                    <a:pt x="61" y="1156"/>
                    <a:pt x="523" y="1655"/>
                    <a:pt x="541" y="1655"/>
                  </a:cubicBezTo>
                  <a:lnTo>
                    <a:pt x="541" y="1678"/>
                  </a:lnTo>
                  <a:lnTo>
                    <a:pt x="888" y="1849"/>
                  </a:lnTo>
                  <a:lnTo>
                    <a:pt x="791" y="1424"/>
                  </a:lnTo>
                  <a:lnTo>
                    <a:pt x="1581" y="1119"/>
                  </a:lnTo>
                  <a:lnTo>
                    <a:pt x="1581" y="1119"/>
                  </a:lnTo>
                  <a:lnTo>
                    <a:pt x="1484" y="1234"/>
                  </a:lnTo>
                  <a:lnTo>
                    <a:pt x="2274" y="1770"/>
                  </a:lnTo>
                  <a:lnTo>
                    <a:pt x="1946" y="828"/>
                  </a:lnTo>
                  <a:lnTo>
                    <a:pt x="1350" y="985"/>
                  </a:lnTo>
                  <a:lnTo>
                    <a:pt x="1101" y="560"/>
                  </a:lnTo>
                  <a:lnTo>
                    <a:pt x="657" y="1216"/>
                  </a:lnTo>
                  <a:lnTo>
                    <a:pt x="310" y="925"/>
                  </a:lnTo>
                  <a:lnTo>
                    <a:pt x="463" y="925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Google Shape;1314;p45">
              <a:extLst>
                <a:ext uri="{FF2B5EF4-FFF2-40B4-BE49-F238E27FC236}">
                  <a16:creationId xmlns:a16="http://schemas.microsoft.com/office/drawing/2014/main" xmlns="" id="{D9229816-B5AE-6410-4030-1C6765C5E8FC}"/>
                </a:ext>
              </a:extLst>
            </p:cNvPr>
            <p:cNvSpPr/>
            <p:nvPr/>
          </p:nvSpPr>
          <p:spPr>
            <a:xfrm>
              <a:off x="5347200" y="2378900"/>
              <a:ext cx="40900" cy="62525"/>
            </a:xfrm>
            <a:custGeom>
              <a:avLst/>
              <a:gdLst/>
              <a:ahLst/>
              <a:cxnLst/>
              <a:rect l="l" t="t" r="r" b="b"/>
              <a:pathLst>
                <a:path w="1636" h="2501" extrusionOk="0">
                  <a:moveTo>
                    <a:pt x="1234" y="1"/>
                  </a:moveTo>
                  <a:lnTo>
                    <a:pt x="1021" y="463"/>
                  </a:lnTo>
                  <a:lnTo>
                    <a:pt x="675" y="500"/>
                  </a:lnTo>
                  <a:lnTo>
                    <a:pt x="1271" y="1114"/>
                  </a:lnTo>
                  <a:lnTo>
                    <a:pt x="1137" y="1599"/>
                  </a:lnTo>
                  <a:lnTo>
                    <a:pt x="966" y="1327"/>
                  </a:lnTo>
                  <a:lnTo>
                    <a:pt x="693" y="2001"/>
                  </a:lnTo>
                  <a:lnTo>
                    <a:pt x="559" y="1886"/>
                  </a:lnTo>
                  <a:lnTo>
                    <a:pt x="231" y="2292"/>
                  </a:lnTo>
                  <a:lnTo>
                    <a:pt x="0" y="2135"/>
                  </a:lnTo>
                  <a:lnTo>
                    <a:pt x="19" y="2408"/>
                  </a:lnTo>
                  <a:lnTo>
                    <a:pt x="504" y="2463"/>
                  </a:lnTo>
                  <a:lnTo>
                    <a:pt x="559" y="2292"/>
                  </a:lnTo>
                  <a:lnTo>
                    <a:pt x="675" y="2500"/>
                  </a:lnTo>
                  <a:lnTo>
                    <a:pt x="1118" y="2232"/>
                  </a:lnTo>
                  <a:lnTo>
                    <a:pt x="1234" y="1923"/>
                  </a:lnTo>
                  <a:lnTo>
                    <a:pt x="1174" y="2500"/>
                  </a:lnTo>
                  <a:cubicBezTo>
                    <a:pt x="1544" y="2001"/>
                    <a:pt x="1636" y="1405"/>
                    <a:pt x="1617" y="1345"/>
                  </a:cubicBezTo>
                  <a:lnTo>
                    <a:pt x="1617" y="1345"/>
                  </a:lnTo>
                  <a:cubicBezTo>
                    <a:pt x="1520" y="1673"/>
                    <a:pt x="1405" y="1733"/>
                    <a:pt x="1405" y="1733"/>
                  </a:cubicBezTo>
                  <a:cubicBezTo>
                    <a:pt x="1405" y="1733"/>
                    <a:pt x="1599" y="1137"/>
                    <a:pt x="1562" y="481"/>
                  </a:cubicBezTo>
                  <a:cubicBezTo>
                    <a:pt x="1562" y="403"/>
                    <a:pt x="1562" y="306"/>
                    <a:pt x="1544" y="232"/>
                  </a:cubicBezTo>
                  <a:lnTo>
                    <a:pt x="1289" y="287"/>
                  </a:lnTo>
                  <a:lnTo>
                    <a:pt x="1234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Google Shape;1315;p45">
              <a:extLst>
                <a:ext uri="{FF2B5EF4-FFF2-40B4-BE49-F238E27FC236}">
                  <a16:creationId xmlns:a16="http://schemas.microsoft.com/office/drawing/2014/main" xmlns="" id="{0E72C4A4-8B54-14B9-79E4-E79DA67FAE64}"/>
                </a:ext>
              </a:extLst>
            </p:cNvPr>
            <p:cNvSpPr/>
            <p:nvPr/>
          </p:nvSpPr>
          <p:spPr>
            <a:xfrm>
              <a:off x="5318775" y="2411600"/>
              <a:ext cx="47275" cy="32000"/>
            </a:xfrm>
            <a:custGeom>
              <a:avLst/>
              <a:gdLst/>
              <a:ahLst/>
              <a:cxnLst/>
              <a:rect l="l" t="t" r="r" b="b"/>
              <a:pathLst>
                <a:path w="1891" h="1280" extrusionOk="0">
                  <a:moveTo>
                    <a:pt x="292" y="0"/>
                  </a:moveTo>
                  <a:lnTo>
                    <a:pt x="1" y="310"/>
                  </a:lnTo>
                  <a:cubicBezTo>
                    <a:pt x="1" y="310"/>
                    <a:pt x="370" y="1058"/>
                    <a:pt x="389" y="1077"/>
                  </a:cubicBezTo>
                  <a:cubicBezTo>
                    <a:pt x="426" y="1100"/>
                    <a:pt x="541" y="1271"/>
                    <a:pt x="541" y="1271"/>
                  </a:cubicBezTo>
                  <a:cubicBezTo>
                    <a:pt x="541" y="1271"/>
                    <a:pt x="671" y="1279"/>
                    <a:pt x="762" y="1279"/>
                  </a:cubicBezTo>
                  <a:cubicBezTo>
                    <a:pt x="808" y="1279"/>
                    <a:pt x="845" y="1277"/>
                    <a:pt x="851" y="1271"/>
                  </a:cubicBezTo>
                  <a:cubicBezTo>
                    <a:pt x="888" y="1252"/>
                    <a:pt x="1253" y="1155"/>
                    <a:pt x="1271" y="1155"/>
                  </a:cubicBezTo>
                  <a:cubicBezTo>
                    <a:pt x="1313" y="1155"/>
                    <a:pt x="1465" y="943"/>
                    <a:pt x="1465" y="943"/>
                  </a:cubicBezTo>
                  <a:lnTo>
                    <a:pt x="1830" y="693"/>
                  </a:lnTo>
                  <a:lnTo>
                    <a:pt x="1890" y="541"/>
                  </a:lnTo>
                  <a:lnTo>
                    <a:pt x="1733" y="347"/>
                  </a:lnTo>
                  <a:lnTo>
                    <a:pt x="1465" y="541"/>
                  </a:lnTo>
                  <a:lnTo>
                    <a:pt x="1253" y="231"/>
                  </a:lnTo>
                  <a:lnTo>
                    <a:pt x="851" y="347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Google Shape;1316;p45">
              <a:extLst>
                <a:ext uri="{FF2B5EF4-FFF2-40B4-BE49-F238E27FC236}">
                  <a16:creationId xmlns:a16="http://schemas.microsoft.com/office/drawing/2014/main" xmlns="" id="{7D243B58-2EBD-3FE0-15F2-9697947AD9E6}"/>
                </a:ext>
              </a:extLst>
            </p:cNvPr>
            <p:cNvSpPr/>
            <p:nvPr/>
          </p:nvSpPr>
          <p:spPr>
            <a:xfrm>
              <a:off x="5284554" y="2424068"/>
              <a:ext cx="93901" cy="31900"/>
            </a:xfrm>
            <a:custGeom>
              <a:avLst/>
              <a:gdLst/>
              <a:ahLst/>
              <a:cxnLst/>
              <a:rect l="l" t="t" r="r" b="b"/>
              <a:pathLst>
                <a:path w="3734" h="1276" extrusionOk="0">
                  <a:moveTo>
                    <a:pt x="1" y="463"/>
                  </a:moveTo>
                  <a:cubicBezTo>
                    <a:pt x="6" y="465"/>
                    <a:pt x="11" y="468"/>
                    <a:pt x="16" y="470"/>
                  </a:cubicBezTo>
                  <a:lnTo>
                    <a:pt x="16" y="470"/>
                  </a:lnTo>
                  <a:cubicBezTo>
                    <a:pt x="12" y="466"/>
                    <a:pt x="8" y="463"/>
                    <a:pt x="1" y="463"/>
                  </a:cubicBezTo>
                  <a:close/>
                  <a:moveTo>
                    <a:pt x="1211" y="1"/>
                  </a:moveTo>
                  <a:lnTo>
                    <a:pt x="421" y="306"/>
                  </a:lnTo>
                  <a:lnTo>
                    <a:pt x="518" y="731"/>
                  </a:lnTo>
                  <a:lnTo>
                    <a:pt x="171" y="560"/>
                  </a:lnTo>
                  <a:lnTo>
                    <a:pt x="171" y="537"/>
                  </a:lnTo>
                  <a:cubicBezTo>
                    <a:pt x="171" y="537"/>
                    <a:pt x="121" y="520"/>
                    <a:pt x="16" y="470"/>
                  </a:cubicBezTo>
                  <a:lnTo>
                    <a:pt x="16" y="470"/>
                  </a:lnTo>
                  <a:cubicBezTo>
                    <a:pt x="22" y="477"/>
                    <a:pt x="26" y="489"/>
                    <a:pt x="37" y="500"/>
                  </a:cubicBezTo>
                  <a:lnTo>
                    <a:pt x="56" y="518"/>
                  </a:lnTo>
                  <a:lnTo>
                    <a:pt x="56" y="537"/>
                  </a:lnTo>
                  <a:cubicBezTo>
                    <a:pt x="93" y="560"/>
                    <a:pt x="116" y="578"/>
                    <a:pt x="135" y="597"/>
                  </a:cubicBezTo>
                  <a:lnTo>
                    <a:pt x="135" y="615"/>
                  </a:lnTo>
                  <a:lnTo>
                    <a:pt x="153" y="615"/>
                  </a:lnTo>
                  <a:lnTo>
                    <a:pt x="171" y="634"/>
                  </a:lnTo>
                  <a:lnTo>
                    <a:pt x="190" y="652"/>
                  </a:lnTo>
                  <a:lnTo>
                    <a:pt x="190" y="675"/>
                  </a:lnTo>
                  <a:lnTo>
                    <a:pt x="208" y="675"/>
                  </a:lnTo>
                  <a:lnTo>
                    <a:pt x="208" y="694"/>
                  </a:lnTo>
                  <a:lnTo>
                    <a:pt x="232" y="694"/>
                  </a:lnTo>
                  <a:cubicBezTo>
                    <a:pt x="269" y="731"/>
                    <a:pt x="324" y="791"/>
                    <a:pt x="384" y="828"/>
                  </a:cubicBezTo>
                  <a:lnTo>
                    <a:pt x="403" y="828"/>
                  </a:lnTo>
                  <a:lnTo>
                    <a:pt x="421" y="846"/>
                  </a:lnTo>
                  <a:lnTo>
                    <a:pt x="439" y="865"/>
                  </a:lnTo>
                  <a:lnTo>
                    <a:pt x="463" y="865"/>
                  </a:lnTo>
                  <a:lnTo>
                    <a:pt x="463" y="883"/>
                  </a:lnTo>
                  <a:lnTo>
                    <a:pt x="481" y="883"/>
                  </a:lnTo>
                  <a:cubicBezTo>
                    <a:pt x="500" y="883"/>
                    <a:pt x="500" y="906"/>
                    <a:pt x="518" y="906"/>
                  </a:cubicBezTo>
                  <a:lnTo>
                    <a:pt x="537" y="925"/>
                  </a:lnTo>
                  <a:lnTo>
                    <a:pt x="555" y="925"/>
                  </a:lnTo>
                  <a:lnTo>
                    <a:pt x="578" y="943"/>
                  </a:lnTo>
                  <a:lnTo>
                    <a:pt x="597" y="943"/>
                  </a:lnTo>
                  <a:lnTo>
                    <a:pt x="597" y="962"/>
                  </a:lnTo>
                  <a:cubicBezTo>
                    <a:pt x="615" y="962"/>
                    <a:pt x="634" y="962"/>
                    <a:pt x="634" y="980"/>
                  </a:cubicBezTo>
                  <a:cubicBezTo>
                    <a:pt x="1193" y="1253"/>
                    <a:pt x="1807" y="1253"/>
                    <a:pt x="2232" y="1271"/>
                  </a:cubicBezTo>
                  <a:cubicBezTo>
                    <a:pt x="2280" y="1274"/>
                    <a:pt x="2326" y="1276"/>
                    <a:pt x="2371" y="1276"/>
                  </a:cubicBezTo>
                  <a:cubicBezTo>
                    <a:pt x="2875" y="1276"/>
                    <a:pt x="3236" y="1092"/>
                    <a:pt x="3503" y="846"/>
                  </a:cubicBezTo>
                  <a:cubicBezTo>
                    <a:pt x="3558" y="768"/>
                    <a:pt x="3618" y="712"/>
                    <a:pt x="3674" y="652"/>
                  </a:cubicBezTo>
                  <a:lnTo>
                    <a:pt x="3734" y="75"/>
                  </a:lnTo>
                  <a:lnTo>
                    <a:pt x="3618" y="384"/>
                  </a:lnTo>
                  <a:lnTo>
                    <a:pt x="3175" y="652"/>
                  </a:lnTo>
                  <a:lnTo>
                    <a:pt x="3059" y="444"/>
                  </a:lnTo>
                  <a:lnTo>
                    <a:pt x="3004" y="615"/>
                  </a:lnTo>
                  <a:lnTo>
                    <a:pt x="2519" y="560"/>
                  </a:lnTo>
                  <a:lnTo>
                    <a:pt x="2500" y="287"/>
                  </a:lnTo>
                  <a:lnTo>
                    <a:pt x="1904" y="652"/>
                  </a:lnTo>
                  <a:lnTo>
                    <a:pt x="1114" y="116"/>
                  </a:lnTo>
                  <a:lnTo>
                    <a:pt x="1211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Google Shape;1317;p45">
              <a:extLst>
                <a:ext uri="{FF2B5EF4-FFF2-40B4-BE49-F238E27FC236}">
                  <a16:creationId xmlns:a16="http://schemas.microsoft.com/office/drawing/2014/main" xmlns="" id="{5AD7ED51-E28F-5B6B-CB7F-CDAD6640F763}"/>
                </a:ext>
              </a:extLst>
            </p:cNvPr>
            <p:cNvSpPr/>
            <p:nvPr/>
          </p:nvSpPr>
          <p:spPr>
            <a:xfrm>
              <a:off x="5279375" y="2347600"/>
              <a:ext cx="102025" cy="51075"/>
            </a:xfrm>
            <a:custGeom>
              <a:avLst/>
              <a:gdLst/>
              <a:ahLst/>
              <a:cxnLst/>
              <a:rect l="l" t="t" r="r" b="b"/>
              <a:pathLst>
                <a:path w="4081" h="2043" extrusionOk="0">
                  <a:moveTo>
                    <a:pt x="1868" y="0"/>
                  </a:moveTo>
                  <a:cubicBezTo>
                    <a:pt x="1618" y="37"/>
                    <a:pt x="962" y="310"/>
                    <a:pt x="962" y="310"/>
                  </a:cubicBezTo>
                  <a:lnTo>
                    <a:pt x="1059" y="97"/>
                  </a:lnTo>
                  <a:lnTo>
                    <a:pt x="1059" y="97"/>
                  </a:lnTo>
                  <a:cubicBezTo>
                    <a:pt x="1041" y="97"/>
                    <a:pt x="232" y="596"/>
                    <a:pt x="1" y="943"/>
                  </a:cubicBezTo>
                  <a:lnTo>
                    <a:pt x="676" y="657"/>
                  </a:lnTo>
                  <a:lnTo>
                    <a:pt x="306" y="1156"/>
                  </a:lnTo>
                  <a:lnTo>
                    <a:pt x="306" y="1156"/>
                  </a:lnTo>
                  <a:lnTo>
                    <a:pt x="731" y="888"/>
                  </a:lnTo>
                  <a:lnTo>
                    <a:pt x="1115" y="1521"/>
                  </a:lnTo>
                  <a:lnTo>
                    <a:pt x="1272" y="1253"/>
                  </a:lnTo>
                  <a:lnTo>
                    <a:pt x="1618" y="1442"/>
                  </a:lnTo>
                  <a:lnTo>
                    <a:pt x="1831" y="1156"/>
                  </a:lnTo>
                  <a:lnTo>
                    <a:pt x="2293" y="1211"/>
                  </a:lnTo>
                  <a:lnTo>
                    <a:pt x="2639" y="2043"/>
                  </a:lnTo>
                  <a:lnTo>
                    <a:pt x="2639" y="1636"/>
                  </a:lnTo>
                  <a:lnTo>
                    <a:pt x="3120" y="1849"/>
                  </a:lnTo>
                  <a:lnTo>
                    <a:pt x="2829" y="1581"/>
                  </a:lnTo>
                  <a:lnTo>
                    <a:pt x="2944" y="1058"/>
                  </a:lnTo>
                  <a:lnTo>
                    <a:pt x="3351" y="1211"/>
                  </a:lnTo>
                  <a:lnTo>
                    <a:pt x="3120" y="1003"/>
                  </a:lnTo>
                  <a:lnTo>
                    <a:pt x="3522" y="906"/>
                  </a:lnTo>
                  <a:lnTo>
                    <a:pt x="3716" y="1058"/>
                  </a:lnTo>
                  <a:lnTo>
                    <a:pt x="3716" y="980"/>
                  </a:lnTo>
                  <a:lnTo>
                    <a:pt x="4062" y="1174"/>
                  </a:lnTo>
                  <a:lnTo>
                    <a:pt x="4081" y="1022"/>
                  </a:lnTo>
                  <a:cubicBezTo>
                    <a:pt x="3947" y="772"/>
                    <a:pt x="3813" y="633"/>
                    <a:pt x="3813" y="633"/>
                  </a:cubicBezTo>
                  <a:lnTo>
                    <a:pt x="3753" y="906"/>
                  </a:lnTo>
                  <a:cubicBezTo>
                    <a:pt x="3309" y="310"/>
                    <a:pt x="2676" y="37"/>
                    <a:pt x="2676" y="37"/>
                  </a:cubicBezTo>
                  <a:lnTo>
                    <a:pt x="2676" y="37"/>
                  </a:lnTo>
                  <a:lnTo>
                    <a:pt x="2713" y="444"/>
                  </a:lnTo>
                  <a:lnTo>
                    <a:pt x="2367" y="97"/>
                  </a:lnTo>
                  <a:lnTo>
                    <a:pt x="186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Google Shape;1318;p45">
              <a:extLst>
                <a:ext uri="{FF2B5EF4-FFF2-40B4-BE49-F238E27FC236}">
                  <a16:creationId xmlns:a16="http://schemas.microsoft.com/office/drawing/2014/main" xmlns="" id="{D49D1027-0214-4B56-16B8-C2740AD181C3}"/>
                </a:ext>
              </a:extLst>
            </p:cNvPr>
            <p:cNvSpPr/>
            <p:nvPr/>
          </p:nvSpPr>
          <p:spPr>
            <a:xfrm>
              <a:off x="5296250" y="2387100"/>
              <a:ext cx="45650" cy="26025"/>
            </a:xfrm>
            <a:custGeom>
              <a:avLst/>
              <a:gdLst/>
              <a:ahLst/>
              <a:cxnLst/>
              <a:rect l="l" t="t" r="r" b="b"/>
              <a:pathLst>
                <a:path w="1826" h="1041" extrusionOk="0">
                  <a:moveTo>
                    <a:pt x="1308" y="1"/>
                  </a:moveTo>
                  <a:lnTo>
                    <a:pt x="1271" y="537"/>
                  </a:lnTo>
                  <a:lnTo>
                    <a:pt x="962" y="19"/>
                  </a:lnTo>
                  <a:lnTo>
                    <a:pt x="384" y="366"/>
                  </a:lnTo>
                  <a:lnTo>
                    <a:pt x="75" y="250"/>
                  </a:lnTo>
                  <a:lnTo>
                    <a:pt x="1" y="749"/>
                  </a:lnTo>
                  <a:lnTo>
                    <a:pt x="440" y="828"/>
                  </a:lnTo>
                  <a:lnTo>
                    <a:pt x="768" y="1040"/>
                  </a:lnTo>
                  <a:lnTo>
                    <a:pt x="1211" y="902"/>
                  </a:lnTo>
                  <a:lnTo>
                    <a:pt x="1733" y="768"/>
                  </a:lnTo>
                  <a:lnTo>
                    <a:pt x="1655" y="634"/>
                  </a:lnTo>
                  <a:lnTo>
                    <a:pt x="1826" y="421"/>
                  </a:lnTo>
                  <a:lnTo>
                    <a:pt x="1461" y="306"/>
                  </a:lnTo>
                  <a:lnTo>
                    <a:pt x="1308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4" name="Google Shape;1319;p45">
              <a:extLst>
                <a:ext uri="{FF2B5EF4-FFF2-40B4-BE49-F238E27FC236}">
                  <a16:creationId xmlns:a16="http://schemas.microsoft.com/office/drawing/2014/main" xmlns="" id="{DEB08C83-3D9B-0F30-17E5-45C8A8421FDB}"/>
                </a:ext>
              </a:extLst>
            </p:cNvPr>
            <p:cNvSpPr/>
            <p:nvPr/>
          </p:nvSpPr>
          <p:spPr>
            <a:xfrm>
              <a:off x="5349625" y="2400500"/>
              <a:ext cx="16425" cy="14475"/>
            </a:xfrm>
            <a:custGeom>
              <a:avLst/>
              <a:gdLst/>
              <a:ahLst/>
              <a:cxnLst/>
              <a:rect l="l" t="t" r="r" b="b"/>
              <a:pathLst>
                <a:path w="657" h="579" extrusionOk="0">
                  <a:moveTo>
                    <a:pt x="194" y="1"/>
                  </a:moveTo>
                  <a:lnTo>
                    <a:pt x="97" y="232"/>
                  </a:lnTo>
                  <a:lnTo>
                    <a:pt x="0" y="407"/>
                  </a:lnTo>
                  <a:lnTo>
                    <a:pt x="268" y="407"/>
                  </a:lnTo>
                  <a:lnTo>
                    <a:pt x="291" y="541"/>
                  </a:lnTo>
                  <a:lnTo>
                    <a:pt x="425" y="426"/>
                  </a:lnTo>
                  <a:lnTo>
                    <a:pt x="578" y="578"/>
                  </a:lnTo>
                  <a:lnTo>
                    <a:pt x="559" y="347"/>
                  </a:lnTo>
                  <a:lnTo>
                    <a:pt x="656" y="292"/>
                  </a:lnTo>
                  <a:lnTo>
                    <a:pt x="462" y="292"/>
                  </a:lnTo>
                  <a:lnTo>
                    <a:pt x="347" y="98"/>
                  </a:lnTo>
                  <a:lnTo>
                    <a:pt x="268" y="232"/>
                  </a:lnTo>
                  <a:lnTo>
                    <a:pt x="194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5" name="Google Shape;1320;p45">
              <a:extLst>
                <a:ext uri="{FF2B5EF4-FFF2-40B4-BE49-F238E27FC236}">
                  <a16:creationId xmlns:a16="http://schemas.microsoft.com/office/drawing/2014/main" xmlns="" id="{E1B817FA-9431-8F2C-6BD0-8F2C61FDD64C}"/>
                </a:ext>
              </a:extLst>
            </p:cNvPr>
            <p:cNvSpPr/>
            <p:nvPr/>
          </p:nvSpPr>
          <p:spPr>
            <a:xfrm>
              <a:off x="5277425" y="2376475"/>
              <a:ext cx="16900" cy="23125"/>
            </a:xfrm>
            <a:custGeom>
              <a:avLst/>
              <a:gdLst/>
              <a:ahLst/>
              <a:cxnLst/>
              <a:rect l="l" t="t" r="r" b="b"/>
              <a:pathLst>
                <a:path w="676" h="925" extrusionOk="0">
                  <a:moveTo>
                    <a:pt x="37" y="1"/>
                  </a:moveTo>
                  <a:cubicBezTo>
                    <a:pt x="0" y="213"/>
                    <a:pt x="0" y="481"/>
                    <a:pt x="0" y="731"/>
                  </a:cubicBezTo>
                  <a:lnTo>
                    <a:pt x="347" y="925"/>
                  </a:lnTo>
                  <a:lnTo>
                    <a:pt x="328" y="560"/>
                  </a:lnTo>
                  <a:lnTo>
                    <a:pt x="578" y="657"/>
                  </a:lnTo>
                  <a:lnTo>
                    <a:pt x="407" y="347"/>
                  </a:lnTo>
                  <a:lnTo>
                    <a:pt x="675" y="56"/>
                  </a:lnTo>
                  <a:lnTo>
                    <a:pt x="213" y="287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6" name="Google Shape;1321;p45">
              <a:extLst>
                <a:ext uri="{FF2B5EF4-FFF2-40B4-BE49-F238E27FC236}">
                  <a16:creationId xmlns:a16="http://schemas.microsoft.com/office/drawing/2014/main" xmlns="" id="{6AA82014-CEC1-7582-05D8-0F30C3A70BB9}"/>
                </a:ext>
              </a:extLst>
            </p:cNvPr>
            <p:cNvSpPr/>
            <p:nvPr/>
          </p:nvSpPr>
          <p:spPr>
            <a:xfrm>
              <a:off x="5325125" y="2513600"/>
              <a:ext cx="15850" cy="5800"/>
            </a:xfrm>
            <a:custGeom>
              <a:avLst/>
              <a:gdLst/>
              <a:ahLst/>
              <a:cxnLst/>
              <a:rect l="l" t="t" r="r" b="b"/>
              <a:pathLst>
                <a:path w="634" h="232" extrusionOk="0">
                  <a:moveTo>
                    <a:pt x="324" y="0"/>
                  </a:moveTo>
                  <a:lnTo>
                    <a:pt x="250" y="116"/>
                  </a:lnTo>
                  <a:lnTo>
                    <a:pt x="38" y="23"/>
                  </a:lnTo>
                  <a:lnTo>
                    <a:pt x="1" y="213"/>
                  </a:lnTo>
                  <a:lnTo>
                    <a:pt x="615" y="231"/>
                  </a:lnTo>
                  <a:lnTo>
                    <a:pt x="634" y="42"/>
                  </a:lnTo>
                  <a:lnTo>
                    <a:pt x="555" y="139"/>
                  </a:lnTo>
                  <a:lnTo>
                    <a:pt x="463" y="0"/>
                  </a:lnTo>
                  <a:lnTo>
                    <a:pt x="421" y="60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7" name="Google Shape;1322;p45">
              <a:extLst>
                <a:ext uri="{FF2B5EF4-FFF2-40B4-BE49-F238E27FC236}">
                  <a16:creationId xmlns:a16="http://schemas.microsoft.com/office/drawing/2014/main" xmlns="" id="{7DBF291D-AF27-AD65-CA86-0C3E36799F1A}"/>
                </a:ext>
              </a:extLst>
            </p:cNvPr>
            <p:cNvSpPr/>
            <p:nvPr/>
          </p:nvSpPr>
          <p:spPr>
            <a:xfrm>
              <a:off x="5270725" y="2376475"/>
              <a:ext cx="4750" cy="16900"/>
            </a:xfrm>
            <a:custGeom>
              <a:avLst/>
              <a:gdLst/>
              <a:ahLst/>
              <a:cxnLst/>
              <a:rect l="l" t="t" r="r" b="b"/>
              <a:pathLst>
                <a:path w="190" h="676" extrusionOk="0">
                  <a:moveTo>
                    <a:pt x="0" y="1"/>
                  </a:moveTo>
                  <a:lnTo>
                    <a:pt x="134" y="675"/>
                  </a:lnTo>
                  <a:lnTo>
                    <a:pt x="190" y="36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8" name="Google Shape;1323;p45">
              <a:extLst>
                <a:ext uri="{FF2B5EF4-FFF2-40B4-BE49-F238E27FC236}">
                  <a16:creationId xmlns:a16="http://schemas.microsoft.com/office/drawing/2014/main" xmlns="" id="{A9C357F3-49FD-0E66-134B-1FB0EF49109F}"/>
                </a:ext>
              </a:extLst>
            </p:cNvPr>
            <p:cNvSpPr/>
            <p:nvPr/>
          </p:nvSpPr>
          <p:spPr>
            <a:xfrm>
              <a:off x="5388675" y="2397150"/>
              <a:ext cx="5800" cy="13075"/>
            </a:xfrm>
            <a:custGeom>
              <a:avLst/>
              <a:gdLst/>
              <a:ahLst/>
              <a:cxnLst/>
              <a:rect l="l" t="t" r="r" b="b"/>
              <a:pathLst>
                <a:path w="232" h="523" extrusionOk="0">
                  <a:moveTo>
                    <a:pt x="231" y="1"/>
                  </a:moveTo>
                  <a:lnTo>
                    <a:pt x="0" y="269"/>
                  </a:lnTo>
                  <a:lnTo>
                    <a:pt x="0" y="523"/>
                  </a:lnTo>
                  <a:lnTo>
                    <a:pt x="231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pic>
        <p:nvPicPr>
          <p:cNvPr id="1387" name="Picture 1386">
            <a:extLst>
              <a:ext uri="{FF2B5EF4-FFF2-40B4-BE49-F238E27FC236}">
                <a16:creationId xmlns:a16="http://schemas.microsoft.com/office/drawing/2014/main" xmlns="" id="{D63A7C7E-403D-2325-A89E-1CB6F9EB2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6051" y="-19241"/>
            <a:ext cx="1082040" cy="1077252"/>
          </a:xfrm>
          <a:prstGeom prst="rect">
            <a:avLst/>
          </a:prstGeom>
        </p:spPr>
      </p:pic>
      <p:pic>
        <p:nvPicPr>
          <p:cNvPr id="1388" name="Picture 1387">
            <a:extLst>
              <a:ext uri="{FF2B5EF4-FFF2-40B4-BE49-F238E27FC236}">
                <a16:creationId xmlns:a16="http://schemas.microsoft.com/office/drawing/2014/main" xmlns="" id="{92863A00-DE9E-3E16-04C0-D19B88A523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97919" y="-104709"/>
            <a:ext cx="1082040" cy="1077252"/>
          </a:xfrm>
          <a:prstGeom prst="rect">
            <a:avLst/>
          </a:prstGeom>
        </p:spPr>
      </p:pic>
      <p:sp>
        <p:nvSpPr>
          <p:cNvPr id="479" name="Freeform 9">
            <a:extLst>
              <a:ext uri="{FF2B5EF4-FFF2-40B4-BE49-F238E27FC236}">
                <a16:creationId xmlns:a16="http://schemas.microsoft.com/office/drawing/2014/main" xmlns="" id="{0A8F0916-C0FD-02DD-22D5-1BC9197E5F9F}"/>
              </a:ext>
            </a:extLst>
          </p:cNvPr>
          <p:cNvSpPr/>
          <p:nvPr/>
        </p:nvSpPr>
        <p:spPr>
          <a:xfrm>
            <a:off x="-280487" y="-207487"/>
            <a:ext cx="1858915" cy="2881314"/>
          </a:xfrm>
          <a:custGeom>
            <a:avLst/>
            <a:gdLst/>
            <a:ahLst/>
            <a:cxnLst/>
            <a:rect l="l" t="t" r="r" b="b"/>
            <a:pathLst>
              <a:path w="5894451" h="8229600">
                <a:moveTo>
                  <a:pt x="0" y="0"/>
                </a:moveTo>
                <a:lnTo>
                  <a:pt x="5894451" y="0"/>
                </a:lnTo>
                <a:lnTo>
                  <a:pt x="5894451" y="8229600"/>
                </a:lnTo>
                <a:lnTo>
                  <a:pt x="0" y="822960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2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2B1A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550621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8594AD99-F6FB-027E-9D6B-79723FF0A2C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9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3351" b="2899"/>
          <a:stretch>
            <a:fillRect/>
          </a:stretch>
        </p:blipFill>
        <p:spPr>
          <a:xfrm>
            <a:off x="0" y="-9379"/>
            <a:ext cx="12192001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7C547816-5C03-3A6B-F067-B6767C78366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b="29033"/>
          <a:stretch>
            <a:fillRect/>
          </a:stretch>
        </p:blipFill>
        <p:spPr>
          <a:xfrm>
            <a:off x="0" y="4950008"/>
            <a:ext cx="6819059" cy="18986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C5B8116-C858-41D6-4D9E-8171965497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18441" y="953758"/>
            <a:ext cx="3077558" cy="226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0926B56-DA25-D90D-F3EE-90B61FC5FF3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alphaModFix amt="95000"/>
          </a:blip>
          <a:srcRect b="1258"/>
          <a:stretch>
            <a:fillRect/>
          </a:stretch>
        </p:blipFill>
        <p:spPr>
          <a:xfrm>
            <a:off x="2700169" y="9379"/>
            <a:ext cx="9220605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CFD2A7DF-184E-FCA2-77B4-1FA734F5E43B}"/>
              </a:ext>
            </a:extLst>
          </p:cNvPr>
          <p:cNvSpPr txBox="1"/>
          <p:nvPr/>
        </p:nvSpPr>
        <p:spPr>
          <a:xfrm>
            <a:off x="4970305" y="4537142"/>
            <a:ext cx="491339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8000" b="1" i="0" u="none" strike="noStrike" kern="1200" cap="none" spc="0" normalizeH="0" baseline="0" noProof="0" dirty="0">
                <a:ln w="12700">
                  <a:solidFill>
                    <a:prstClr val="white"/>
                  </a:solidFill>
                </a:ln>
                <a:solidFill>
                  <a:srgbClr val="F927E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VN-Poky's" panose="020B0606040200020203" pitchFamily="34" charset="0"/>
                <a:ea typeface="+mn-ea"/>
                <a:cs typeface="+mn-cs"/>
              </a:rPr>
              <a:t>VẬN DỤNG</a:t>
            </a:r>
            <a:endParaRPr kumimoji="0" lang="en-US" sz="8000" b="1" i="0" u="none" strike="noStrike" kern="1200" cap="none" spc="0" normalizeH="0" baseline="0" noProof="0" dirty="0">
              <a:ln w="12700">
                <a:solidFill>
                  <a:prstClr val="white"/>
                </a:solidFill>
              </a:ln>
              <a:solidFill>
                <a:srgbClr val="F927E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VN-Poky's" panose="020B0606040200020203" pitchFamily="34" charset="0"/>
              <a:ea typeface="+mn-ea"/>
              <a:cs typeface="+mn-cs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xmlns="" id="{D4266EAA-1982-C28B-BC83-727BA9E7605D}"/>
              </a:ext>
            </a:extLst>
          </p:cNvPr>
          <p:cNvSpPr/>
          <p:nvPr/>
        </p:nvSpPr>
        <p:spPr>
          <a:xfrm>
            <a:off x="9491831" y="5091140"/>
            <a:ext cx="1452955" cy="1657299"/>
          </a:xfrm>
          <a:custGeom>
            <a:avLst/>
            <a:gdLst/>
            <a:ahLst/>
            <a:cxnLst/>
            <a:rect l="l" t="t" r="r" b="b"/>
            <a:pathLst>
              <a:path w="6779133" h="8229600">
                <a:moveTo>
                  <a:pt x="0" y="0"/>
                </a:moveTo>
                <a:lnTo>
                  <a:pt x="6779132" y="0"/>
                </a:lnTo>
                <a:lnTo>
                  <a:pt x="6779132" y="8229600"/>
                </a:lnTo>
                <a:lnTo>
                  <a:pt x="0" y="82296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xmlns="" id="{67791F85-8A0C-19E6-3E07-5794FF1F9850}"/>
              </a:ext>
            </a:extLst>
          </p:cNvPr>
          <p:cNvSpPr/>
          <p:nvPr/>
        </p:nvSpPr>
        <p:spPr>
          <a:xfrm flipH="1">
            <a:off x="3409529" y="3921298"/>
            <a:ext cx="1810479" cy="2927323"/>
          </a:xfrm>
          <a:custGeom>
            <a:avLst/>
            <a:gdLst/>
            <a:ahLst/>
            <a:cxnLst/>
            <a:rect l="l" t="t" r="r" b="b"/>
            <a:pathLst>
              <a:path w="5431536" h="8229600">
                <a:moveTo>
                  <a:pt x="0" y="0"/>
                </a:moveTo>
                <a:lnTo>
                  <a:pt x="5431536" y="0"/>
                </a:lnTo>
                <a:lnTo>
                  <a:pt x="5431536" y="8229600"/>
                </a:lnTo>
                <a:lnTo>
                  <a:pt x="0" y="822960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9507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4" presetClass="emph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-4.58333E-6 -1.85185E-6 L -4.58333E-6 -0.07222 " pathEditMode="relative" rAng="0" ptsTypes="AA">
                                      <p:cBhvr>
                                        <p:cTn id="6" dur="25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611"/>
                                    </p:animMotion>
                                    <p:animRot by="1500000">
                                      <p:cBhvr>
                                        <p:cTn id="7" dur="12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8" dur="125" fill="hold">
                                          <p:stCondLst>
                                            <p:cond delay="125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9" dur="125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0" dur="125" fill="hold">
                                          <p:stCondLst>
                                            <p:cond delay="375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6">
          <a:extLst>
            <a:ext uri="{FF2B5EF4-FFF2-40B4-BE49-F238E27FC236}">
              <a16:creationId xmlns:a16="http://schemas.microsoft.com/office/drawing/2014/main" xmlns="" id="{A1FCA1BF-DD7A-240D-0D67-0EEF5D168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xmlns="" id="{05F0864E-F4BF-F4C8-660E-DA3931127687}"/>
              </a:ext>
            </a:extLst>
          </p:cNvPr>
          <p:cNvSpPr/>
          <p:nvPr/>
        </p:nvSpPr>
        <p:spPr>
          <a:xfrm>
            <a:off x="1223424" y="1055925"/>
            <a:ext cx="9745152" cy="2064009"/>
          </a:xfrm>
          <a:custGeom>
            <a:avLst/>
            <a:gdLst>
              <a:gd name="connsiteX0" fmla="*/ 0 w 9745152"/>
              <a:gd name="connsiteY0" fmla="*/ 344008 h 2064009"/>
              <a:gd name="connsiteX1" fmla="*/ 344008 w 9745152"/>
              <a:gd name="connsiteY1" fmla="*/ 0 h 2064009"/>
              <a:gd name="connsiteX2" fmla="*/ 9401144 w 9745152"/>
              <a:gd name="connsiteY2" fmla="*/ 0 h 2064009"/>
              <a:gd name="connsiteX3" fmla="*/ 9745152 w 9745152"/>
              <a:gd name="connsiteY3" fmla="*/ 344008 h 2064009"/>
              <a:gd name="connsiteX4" fmla="*/ 9745152 w 9745152"/>
              <a:gd name="connsiteY4" fmla="*/ 1720001 h 2064009"/>
              <a:gd name="connsiteX5" fmla="*/ 9401144 w 9745152"/>
              <a:gd name="connsiteY5" fmla="*/ 2064009 h 2064009"/>
              <a:gd name="connsiteX6" fmla="*/ 344008 w 9745152"/>
              <a:gd name="connsiteY6" fmla="*/ 2064009 h 2064009"/>
              <a:gd name="connsiteX7" fmla="*/ 0 w 9745152"/>
              <a:gd name="connsiteY7" fmla="*/ 1720001 h 2064009"/>
              <a:gd name="connsiteX8" fmla="*/ 0 w 9745152"/>
              <a:gd name="connsiteY8" fmla="*/ 344008 h 2064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45152" h="2064009" fill="none" extrusionOk="0">
                <a:moveTo>
                  <a:pt x="0" y="344008"/>
                </a:moveTo>
                <a:cubicBezTo>
                  <a:pt x="576" y="169598"/>
                  <a:pt x="171998" y="30175"/>
                  <a:pt x="344008" y="0"/>
                </a:cubicBezTo>
                <a:cubicBezTo>
                  <a:pt x="3971041" y="72427"/>
                  <a:pt x="6930275" y="61419"/>
                  <a:pt x="9401144" y="0"/>
                </a:cubicBezTo>
                <a:cubicBezTo>
                  <a:pt x="9588634" y="-17207"/>
                  <a:pt x="9735446" y="151082"/>
                  <a:pt x="9745152" y="344008"/>
                </a:cubicBezTo>
                <a:cubicBezTo>
                  <a:pt x="9715653" y="687273"/>
                  <a:pt x="9629007" y="1470794"/>
                  <a:pt x="9745152" y="1720001"/>
                </a:cubicBezTo>
                <a:cubicBezTo>
                  <a:pt x="9752427" y="1873066"/>
                  <a:pt x="9585607" y="2057813"/>
                  <a:pt x="9401144" y="2064009"/>
                </a:cubicBezTo>
                <a:cubicBezTo>
                  <a:pt x="6492132" y="2093836"/>
                  <a:pt x="2234071" y="1984703"/>
                  <a:pt x="344008" y="2064009"/>
                </a:cubicBezTo>
                <a:cubicBezTo>
                  <a:pt x="180362" y="2061031"/>
                  <a:pt x="-17938" y="1913538"/>
                  <a:pt x="0" y="1720001"/>
                </a:cubicBezTo>
                <a:cubicBezTo>
                  <a:pt x="83373" y="1278547"/>
                  <a:pt x="-91520" y="796191"/>
                  <a:pt x="0" y="344008"/>
                </a:cubicBezTo>
                <a:close/>
              </a:path>
              <a:path w="9745152" h="2064009" stroke="0" extrusionOk="0">
                <a:moveTo>
                  <a:pt x="0" y="344008"/>
                </a:moveTo>
                <a:cubicBezTo>
                  <a:pt x="4801" y="155327"/>
                  <a:pt x="158285" y="8891"/>
                  <a:pt x="344008" y="0"/>
                </a:cubicBezTo>
                <a:cubicBezTo>
                  <a:pt x="4375738" y="123000"/>
                  <a:pt x="5166264" y="-96860"/>
                  <a:pt x="9401144" y="0"/>
                </a:cubicBezTo>
                <a:cubicBezTo>
                  <a:pt x="9571056" y="-15302"/>
                  <a:pt x="9753085" y="138024"/>
                  <a:pt x="9745152" y="344008"/>
                </a:cubicBezTo>
                <a:cubicBezTo>
                  <a:pt x="9768910" y="495932"/>
                  <a:pt x="9675356" y="1127832"/>
                  <a:pt x="9745152" y="1720001"/>
                </a:cubicBezTo>
                <a:cubicBezTo>
                  <a:pt x="9731312" y="1915005"/>
                  <a:pt x="9572783" y="2061006"/>
                  <a:pt x="9401144" y="2064009"/>
                </a:cubicBezTo>
                <a:cubicBezTo>
                  <a:pt x="7015213" y="1903302"/>
                  <a:pt x="4390310" y="2103676"/>
                  <a:pt x="344008" y="2064009"/>
                </a:cubicBezTo>
                <a:cubicBezTo>
                  <a:pt x="128227" y="2058800"/>
                  <a:pt x="-21822" y="1900105"/>
                  <a:pt x="0" y="1720001"/>
                </a:cubicBezTo>
                <a:cubicBezTo>
                  <a:pt x="-117382" y="1418904"/>
                  <a:pt x="84981" y="835989"/>
                  <a:pt x="0" y="344008"/>
                </a:cubicBezTo>
                <a:close/>
              </a:path>
            </a:pathLst>
          </a:custGeom>
          <a:ln w="38100">
            <a:extLst>
              <a:ext uri="{C807C97D-BFC1-408E-A445-0C87EB9F89A2}">
                <ask:lineSketchStyleProps xmlns:ask="http://schemas.microsoft.com/office/drawing/2018/sketchyshapes" xmlns="" sd="852854689">
                  <a:prstGeom prst="round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ò</a:t>
            </a:r>
            <a:r>
              <a:rPr kumimoji="0" lang="en-US" sz="4600" b="1" i="0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sng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ơi</a:t>
            </a:r>
            <a:r>
              <a:rPr kumimoji="0" lang="en-US" sz="4600" b="1" i="0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sng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ỏng</a:t>
            </a:r>
            <a:r>
              <a:rPr kumimoji="0" lang="en-US" sz="4600" b="1" i="0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sng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ấn</a:t>
            </a:r>
            <a:r>
              <a:rPr kumimoji="0" lang="en-US" sz="46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ãy</a:t>
            </a:r>
            <a:r>
              <a:rPr kumimoji="0" lang="en-US" sz="46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ể</a:t>
            </a:r>
            <a:r>
              <a:rPr kumimoji="0" lang="en-US" sz="46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hững</a:t>
            </a:r>
            <a:r>
              <a:rPr kumimoji="0" lang="en-US" sz="46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ệc</a:t>
            </a:r>
            <a:r>
              <a:rPr kumimoji="0" lang="en-US" sz="46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</a:t>
            </a:r>
            <a:r>
              <a:rPr kumimoji="0" lang="en-US" sz="46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4600" b="1" dirty="0" err="1">
                <a:solidFill>
                  <a:srgbClr val="000000"/>
                </a:solidFill>
                <a:latin typeface="Calibri"/>
              </a:rPr>
              <a:t>đã</a:t>
            </a:r>
            <a:r>
              <a:rPr lang="en-US" sz="4600" b="1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4600" b="1" dirty="0" err="1">
                <a:solidFill>
                  <a:srgbClr val="000000"/>
                </a:solidFill>
                <a:latin typeface="Calibri"/>
              </a:rPr>
              <a:t>làm</a:t>
            </a:r>
            <a:r>
              <a:rPr lang="en-US" sz="4600" b="1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4600" b="1" dirty="0" err="1">
                <a:solidFill>
                  <a:srgbClr val="000000"/>
                </a:solidFill>
                <a:latin typeface="Calibri"/>
              </a:rPr>
              <a:t>được</a:t>
            </a:r>
            <a:r>
              <a:rPr lang="en-US" sz="4600" b="1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4600" b="1" dirty="0" err="1">
                <a:solidFill>
                  <a:srgbClr val="000000"/>
                </a:solidFill>
                <a:latin typeface="Calibri"/>
              </a:rPr>
              <a:t>để</a:t>
            </a:r>
            <a:r>
              <a:rPr lang="en-US" sz="4600" b="1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4600" b="1" dirty="0" err="1">
                <a:solidFill>
                  <a:srgbClr val="000000"/>
                </a:solidFill>
                <a:latin typeface="Calibri"/>
              </a:rPr>
              <a:t>giúp</a:t>
            </a:r>
            <a:r>
              <a:rPr lang="en-US" sz="4600" b="1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US" sz="4600" b="1" dirty="0" err="1">
                <a:solidFill>
                  <a:srgbClr val="000000"/>
                </a:solidFill>
                <a:latin typeface="Calibri"/>
              </a:rPr>
              <a:t>đỡ</a:t>
            </a:r>
            <a:r>
              <a:rPr lang="en-US" sz="4600" b="1" dirty="0">
                <a:solidFill>
                  <a:srgbClr val="000000"/>
                </a:solidFill>
                <a:latin typeface="Calibri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àng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óm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áng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iềng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grpSp>
        <p:nvGrpSpPr>
          <p:cNvPr id="331" name="Google Shape;1310;p45">
            <a:extLst>
              <a:ext uri="{FF2B5EF4-FFF2-40B4-BE49-F238E27FC236}">
                <a16:creationId xmlns:a16="http://schemas.microsoft.com/office/drawing/2014/main" xmlns="" id="{B28591D9-A301-4A7A-A77B-FA3ACD1DC267}"/>
              </a:ext>
            </a:extLst>
          </p:cNvPr>
          <p:cNvGrpSpPr/>
          <p:nvPr/>
        </p:nvGrpSpPr>
        <p:grpSpPr>
          <a:xfrm>
            <a:off x="11567148" y="3863016"/>
            <a:ext cx="325655" cy="518853"/>
            <a:chOff x="5270725" y="2347600"/>
            <a:chExt cx="123750" cy="171800"/>
          </a:xfrm>
        </p:grpSpPr>
        <p:sp>
          <p:nvSpPr>
            <p:cNvPr id="332" name="Google Shape;1311;p45">
              <a:extLst>
                <a:ext uri="{FF2B5EF4-FFF2-40B4-BE49-F238E27FC236}">
                  <a16:creationId xmlns:a16="http://schemas.microsoft.com/office/drawing/2014/main" xmlns="" id="{884231FC-BBFE-D3A0-3FA3-508AADBFB355}"/>
                </a:ext>
              </a:extLst>
            </p:cNvPr>
            <p:cNvSpPr/>
            <p:nvPr/>
          </p:nvSpPr>
          <p:spPr>
            <a:xfrm>
              <a:off x="5312550" y="2445325"/>
              <a:ext cx="31775" cy="73150"/>
            </a:xfrm>
            <a:custGeom>
              <a:avLst/>
              <a:gdLst/>
              <a:ahLst/>
              <a:cxnLst/>
              <a:rect l="l" t="t" r="r" b="b"/>
              <a:pathLst>
                <a:path w="1271" h="2926" extrusionOk="0">
                  <a:moveTo>
                    <a:pt x="0" y="0"/>
                  </a:moveTo>
                  <a:lnTo>
                    <a:pt x="116" y="481"/>
                  </a:lnTo>
                  <a:lnTo>
                    <a:pt x="790" y="767"/>
                  </a:lnTo>
                  <a:lnTo>
                    <a:pt x="675" y="2925"/>
                  </a:lnTo>
                  <a:lnTo>
                    <a:pt x="1040" y="2925"/>
                  </a:lnTo>
                  <a:lnTo>
                    <a:pt x="1021" y="2616"/>
                  </a:lnTo>
                  <a:lnTo>
                    <a:pt x="966" y="2579"/>
                  </a:lnTo>
                  <a:lnTo>
                    <a:pt x="869" y="1618"/>
                  </a:lnTo>
                  <a:lnTo>
                    <a:pt x="906" y="1502"/>
                  </a:lnTo>
                  <a:lnTo>
                    <a:pt x="906" y="790"/>
                  </a:lnTo>
                  <a:lnTo>
                    <a:pt x="1234" y="675"/>
                  </a:lnTo>
                  <a:lnTo>
                    <a:pt x="1271" y="347"/>
                  </a:lnTo>
                  <a:lnTo>
                    <a:pt x="1252" y="328"/>
                  </a:lnTo>
                  <a:lnTo>
                    <a:pt x="1197" y="633"/>
                  </a:lnTo>
                  <a:lnTo>
                    <a:pt x="1003" y="675"/>
                  </a:lnTo>
                  <a:lnTo>
                    <a:pt x="869" y="712"/>
                  </a:lnTo>
                  <a:lnTo>
                    <a:pt x="790" y="633"/>
                  </a:lnTo>
                  <a:lnTo>
                    <a:pt x="675" y="250"/>
                  </a:lnTo>
                  <a:lnTo>
                    <a:pt x="638" y="56"/>
                  </a:lnTo>
                  <a:lnTo>
                    <a:pt x="656" y="268"/>
                  </a:lnTo>
                  <a:lnTo>
                    <a:pt x="735" y="652"/>
                  </a:lnTo>
                  <a:lnTo>
                    <a:pt x="157" y="462"/>
                  </a:lnTo>
                  <a:lnTo>
                    <a:pt x="250" y="97"/>
                  </a:lnTo>
                  <a:lnTo>
                    <a:pt x="134" y="4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3" name="Google Shape;1312;p45">
              <a:extLst>
                <a:ext uri="{FF2B5EF4-FFF2-40B4-BE49-F238E27FC236}">
                  <a16:creationId xmlns:a16="http://schemas.microsoft.com/office/drawing/2014/main" xmlns="" id="{631CC978-0848-2F5C-FAFF-E1AE29802B68}"/>
                </a:ext>
              </a:extLst>
            </p:cNvPr>
            <p:cNvSpPr/>
            <p:nvPr/>
          </p:nvSpPr>
          <p:spPr>
            <a:xfrm>
              <a:off x="5275450" y="2347600"/>
              <a:ext cx="112650" cy="109400"/>
            </a:xfrm>
            <a:custGeom>
              <a:avLst/>
              <a:gdLst/>
              <a:ahLst/>
              <a:cxnLst/>
              <a:rect l="l" t="t" r="r" b="b"/>
              <a:pathLst>
                <a:path w="4506" h="4376" extrusionOk="0">
                  <a:moveTo>
                    <a:pt x="2025" y="0"/>
                  </a:moveTo>
                  <a:cubicBezTo>
                    <a:pt x="1775" y="37"/>
                    <a:pt x="1119" y="310"/>
                    <a:pt x="1119" y="310"/>
                  </a:cubicBezTo>
                  <a:lnTo>
                    <a:pt x="1216" y="97"/>
                  </a:lnTo>
                  <a:lnTo>
                    <a:pt x="1216" y="97"/>
                  </a:lnTo>
                  <a:cubicBezTo>
                    <a:pt x="1198" y="97"/>
                    <a:pt x="389" y="596"/>
                    <a:pt x="158" y="943"/>
                  </a:cubicBezTo>
                  <a:cubicBezTo>
                    <a:pt x="140" y="1003"/>
                    <a:pt x="116" y="1058"/>
                    <a:pt x="116" y="1156"/>
                  </a:cubicBezTo>
                  <a:cubicBezTo>
                    <a:pt x="79" y="1368"/>
                    <a:pt x="79" y="1636"/>
                    <a:pt x="79" y="1886"/>
                  </a:cubicBezTo>
                  <a:cubicBezTo>
                    <a:pt x="98" y="1904"/>
                    <a:pt x="98" y="1946"/>
                    <a:pt x="98" y="1983"/>
                  </a:cubicBezTo>
                  <a:cubicBezTo>
                    <a:pt x="98" y="2232"/>
                    <a:pt x="116" y="2426"/>
                    <a:pt x="116" y="2426"/>
                  </a:cubicBezTo>
                  <a:cubicBezTo>
                    <a:pt x="116" y="2426"/>
                    <a:pt x="61" y="2311"/>
                    <a:pt x="1" y="2117"/>
                  </a:cubicBezTo>
                  <a:lnTo>
                    <a:pt x="1" y="2117"/>
                  </a:lnTo>
                  <a:cubicBezTo>
                    <a:pt x="60" y="3119"/>
                    <a:pt x="506" y="3618"/>
                    <a:pt x="540" y="3636"/>
                  </a:cubicBezTo>
                  <a:lnTo>
                    <a:pt x="540" y="3636"/>
                  </a:lnTo>
                  <a:cubicBezTo>
                    <a:pt x="531" y="3633"/>
                    <a:pt x="475" y="3613"/>
                    <a:pt x="371" y="3563"/>
                  </a:cubicBezTo>
                  <a:lnTo>
                    <a:pt x="371" y="3563"/>
                  </a:lnTo>
                  <a:cubicBezTo>
                    <a:pt x="560" y="3794"/>
                    <a:pt x="773" y="3965"/>
                    <a:pt x="1004" y="4080"/>
                  </a:cubicBezTo>
                  <a:cubicBezTo>
                    <a:pt x="1563" y="4353"/>
                    <a:pt x="2177" y="4353"/>
                    <a:pt x="2602" y="4371"/>
                  </a:cubicBezTo>
                  <a:cubicBezTo>
                    <a:pt x="2650" y="4374"/>
                    <a:pt x="2696" y="4376"/>
                    <a:pt x="2741" y="4376"/>
                  </a:cubicBezTo>
                  <a:cubicBezTo>
                    <a:pt x="3245" y="4376"/>
                    <a:pt x="3606" y="4192"/>
                    <a:pt x="3873" y="3946"/>
                  </a:cubicBezTo>
                  <a:lnTo>
                    <a:pt x="3891" y="3928"/>
                  </a:lnTo>
                  <a:lnTo>
                    <a:pt x="3891" y="3909"/>
                  </a:lnTo>
                  <a:lnTo>
                    <a:pt x="3910" y="3909"/>
                  </a:lnTo>
                  <a:lnTo>
                    <a:pt x="3928" y="3891"/>
                  </a:lnTo>
                  <a:lnTo>
                    <a:pt x="3928" y="3868"/>
                  </a:lnTo>
                  <a:cubicBezTo>
                    <a:pt x="3951" y="3868"/>
                    <a:pt x="3951" y="3849"/>
                    <a:pt x="3970" y="3831"/>
                  </a:cubicBezTo>
                  <a:lnTo>
                    <a:pt x="3988" y="3812"/>
                  </a:lnTo>
                  <a:lnTo>
                    <a:pt x="4007" y="3794"/>
                  </a:lnTo>
                  <a:lnTo>
                    <a:pt x="4025" y="3775"/>
                  </a:lnTo>
                  <a:lnTo>
                    <a:pt x="4025" y="3752"/>
                  </a:lnTo>
                  <a:lnTo>
                    <a:pt x="4044" y="3752"/>
                  </a:lnTo>
                  <a:cubicBezTo>
                    <a:pt x="4414" y="3253"/>
                    <a:pt x="4506" y="2657"/>
                    <a:pt x="4487" y="2597"/>
                  </a:cubicBezTo>
                  <a:lnTo>
                    <a:pt x="4487" y="2597"/>
                  </a:lnTo>
                  <a:cubicBezTo>
                    <a:pt x="4390" y="2925"/>
                    <a:pt x="4275" y="2985"/>
                    <a:pt x="4275" y="2985"/>
                  </a:cubicBezTo>
                  <a:cubicBezTo>
                    <a:pt x="4275" y="2985"/>
                    <a:pt x="4469" y="2389"/>
                    <a:pt x="4432" y="1733"/>
                  </a:cubicBezTo>
                  <a:cubicBezTo>
                    <a:pt x="4432" y="1655"/>
                    <a:pt x="4432" y="1558"/>
                    <a:pt x="4414" y="1484"/>
                  </a:cubicBezTo>
                  <a:cubicBezTo>
                    <a:pt x="4372" y="1290"/>
                    <a:pt x="4298" y="1137"/>
                    <a:pt x="4238" y="1022"/>
                  </a:cubicBezTo>
                  <a:cubicBezTo>
                    <a:pt x="4104" y="772"/>
                    <a:pt x="3970" y="633"/>
                    <a:pt x="3970" y="633"/>
                  </a:cubicBezTo>
                  <a:lnTo>
                    <a:pt x="3910" y="906"/>
                  </a:lnTo>
                  <a:cubicBezTo>
                    <a:pt x="3466" y="310"/>
                    <a:pt x="2833" y="37"/>
                    <a:pt x="2833" y="37"/>
                  </a:cubicBezTo>
                  <a:lnTo>
                    <a:pt x="2833" y="37"/>
                  </a:lnTo>
                  <a:lnTo>
                    <a:pt x="2870" y="444"/>
                  </a:lnTo>
                  <a:lnTo>
                    <a:pt x="2524" y="97"/>
                  </a:lnTo>
                  <a:lnTo>
                    <a:pt x="2025" y="0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4" name="Google Shape;1313;p45">
              <a:extLst>
                <a:ext uri="{FF2B5EF4-FFF2-40B4-BE49-F238E27FC236}">
                  <a16:creationId xmlns:a16="http://schemas.microsoft.com/office/drawing/2014/main" xmlns="" id="{C73BADC1-BDA7-6FD3-A803-35449F4D870F}"/>
                </a:ext>
              </a:extLst>
            </p:cNvPr>
            <p:cNvSpPr/>
            <p:nvPr/>
          </p:nvSpPr>
          <p:spPr>
            <a:xfrm>
              <a:off x="5275450" y="2397150"/>
              <a:ext cx="56875" cy="46225"/>
            </a:xfrm>
            <a:custGeom>
              <a:avLst/>
              <a:gdLst/>
              <a:ahLst/>
              <a:cxnLst/>
              <a:rect l="l" t="t" r="r" b="b"/>
              <a:pathLst>
                <a:path w="2275" h="1849" extrusionOk="0">
                  <a:moveTo>
                    <a:pt x="98" y="1"/>
                  </a:moveTo>
                  <a:cubicBezTo>
                    <a:pt x="98" y="250"/>
                    <a:pt x="116" y="444"/>
                    <a:pt x="116" y="444"/>
                  </a:cubicBezTo>
                  <a:cubicBezTo>
                    <a:pt x="116" y="444"/>
                    <a:pt x="61" y="329"/>
                    <a:pt x="1" y="135"/>
                  </a:cubicBezTo>
                  <a:lnTo>
                    <a:pt x="1" y="135"/>
                  </a:lnTo>
                  <a:cubicBezTo>
                    <a:pt x="61" y="1156"/>
                    <a:pt x="523" y="1655"/>
                    <a:pt x="541" y="1655"/>
                  </a:cubicBezTo>
                  <a:lnTo>
                    <a:pt x="541" y="1678"/>
                  </a:lnTo>
                  <a:lnTo>
                    <a:pt x="888" y="1849"/>
                  </a:lnTo>
                  <a:lnTo>
                    <a:pt x="791" y="1424"/>
                  </a:lnTo>
                  <a:lnTo>
                    <a:pt x="1581" y="1119"/>
                  </a:lnTo>
                  <a:lnTo>
                    <a:pt x="1581" y="1119"/>
                  </a:lnTo>
                  <a:lnTo>
                    <a:pt x="1484" y="1234"/>
                  </a:lnTo>
                  <a:lnTo>
                    <a:pt x="2274" y="1770"/>
                  </a:lnTo>
                  <a:lnTo>
                    <a:pt x="1946" y="828"/>
                  </a:lnTo>
                  <a:lnTo>
                    <a:pt x="1350" y="985"/>
                  </a:lnTo>
                  <a:lnTo>
                    <a:pt x="1101" y="560"/>
                  </a:lnTo>
                  <a:lnTo>
                    <a:pt x="657" y="1216"/>
                  </a:lnTo>
                  <a:lnTo>
                    <a:pt x="310" y="925"/>
                  </a:lnTo>
                  <a:lnTo>
                    <a:pt x="463" y="925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5" name="Google Shape;1314;p45">
              <a:extLst>
                <a:ext uri="{FF2B5EF4-FFF2-40B4-BE49-F238E27FC236}">
                  <a16:creationId xmlns:a16="http://schemas.microsoft.com/office/drawing/2014/main" xmlns="" id="{3B9072BD-AF3A-3B1B-C57B-B1DED97AC815}"/>
                </a:ext>
              </a:extLst>
            </p:cNvPr>
            <p:cNvSpPr/>
            <p:nvPr/>
          </p:nvSpPr>
          <p:spPr>
            <a:xfrm>
              <a:off x="5347200" y="2378900"/>
              <a:ext cx="40900" cy="62525"/>
            </a:xfrm>
            <a:custGeom>
              <a:avLst/>
              <a:gdLst/>
              <a:ahLst/>
              <a:cxnLst/>
              <a:rect l="l" t="t" r="r" b="b"/>
              <a:pathLst>
                <a:path w="1636" h="2501" extrusionOk="0">
                  <a:moveTo>
                    <a:pt x="1234" y="1"/>
                  </a:moveTo>
                  <a:lnTo>
                    <a:pt x="1021" y="463"/>
                  </a:lnTo>
                  <a:lnTo>
                    <a:pt x="675" y="500"/>
                  </a:lnTo>
                  <a:lnTo>
                    <a:pt x="1271" y="1114"/>
                  </a:lnTo>
                  <a:lnTo>
                    <a:pt x="1137" y="1599"/>
                  </a:lnTo>
                  <a:lnTo>
                    <a:pt x="966" y="1327"/>
                  </a:lnTo>
                  <a:lnTo>
                    <a:pt x="693" y="2001"/>
                  </a:lnTo>
                  <a:lnTo>
                    <a:pt x="559" y="1886"/>
                  </a:lnTo>
                  <a:lnTo>
                    <a:pt x="231" y="2292"/>
                  </a:lnTo>
                  <a:lnTo>
                    <a:pt x="0" y="2135"/>
                  </a:lnTo>
                  <a:lnTo>
                    <a:pt x="19" y="2408"/>
                  </a:lnTo>
                  <a:lnTo>
                    <a:pt x="504" y="2463"/>
                  </a:lnTo>
                  <a:lnTo>
                    <a:pt x="559" y="2292"/>
                  </a:lnTo>
                  <a:lnTo>
                    <a:pt x="675" y="2500"/>
                  </a:lnTo>
                  <a:lnTo>
                    <a:pt x="1118" y="2232"/>
                  </a:lnTo>
                  <a:lnTo>
                    <a:pt x="1234" y="1923"/>
                  </a:lnTo>
                  <a:lnTo>
                    <a:pt x="1174" y="2500"/>
                  </a:lnTo>
                  <a:cubicBezTo>
                    <a:pt x="1544" y="2001"/>
                    <a:pt x="1636" y="1405"/>
                    <a:pt x="1617" y="1345"/>
                  </a:cubicBezTo>
                  <a:lnTo>
                    <a:pt x="1617" y="1345"/>
                  </a:lnTo>
                  <a:cubicBezTo>
                    <a:pt x="1520" y="1673"/>
                    <a:pt x="1405" y="1733"/>
                    <a:pt x="1405" y="1733"/>
                  </a:cubicBezTo>
                  <a:cubicBezTo>
                    <a:pt x="1405" y="1733"/>
                    <a:pt x="1599" y="1137"/>
                    <a:pt x="1562" y="481"/>
                  </a:cubicBezTo>
                  <a:cubicBezTo>
                    <a:pt x="1562" y="403"/>
                    <a:pt x="1562" y="306"/>
                    <a:pt x="1544" y="232"/>
                  </a:cubicBezTo>
                  <a:lnTo>
                    <a:pt x="1289" y="287"/>
                  </a:lnTo>
                  <a:lnTo>
                    <a:pt x="1234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6" name="Google Shape;1315;p45">
              <a:extLst>
                <a:ext uri="{FF2B5EF4-FFF2-40B4-BE49-F238E27FC236}">
                  <a16:creationId xmlns:a16="http://schemas.microsoft.com/office/drawing/2014/main" xmlns="" id="{CA981F7D-82E0-18B7-E64E-9EA9E0E8B094}"/>
                </a:ext>
              </a:extLst>
            </p:cNvPr>
            <p:cNvSpPr/>
            <p:nvPr/>
          </p:nvSpPr>
          <p:spPr>
            <a:xfrm>
              <a:off x="5318775" y="2411600"/>
              <a:ext cx="47275" cy="32000"/>
            </a:xfrm>
            <a:custGeom>
              <a:avLst/>
              <a:gdLst/>
              <a:ahLst/>
              <a:cxnLst/>
              <a:rect l="l" t="t" r="r" b="b"/>
              <a:pathLst>
                <a:path w="1891" h="1280" extrusionOk="0">
                  <a:moveTo>
                    <a:pt x="292" y="0"/>
                  </a:moveTo>
                  <a:lnTo>
                    <a:pt x="1" y="310"/>
                  </a:lnTo>
                  <a:cubicBezTo>
                    <a:pt x="1" y="310"/>
                    <a:pt x="370" y="1058"/>
                    <a:pt x="389" y="1077"/>
                  </a:cubicBezTo>
                  <a:cubicBezTo>
                    <a:pt x="426" y="1100"/>
                    <a:pt x="541" y="1271"/>
                    <a:pt x="541" y="1271"/>
                  </a:cubicBezTo>
                  <a:cubicBezTo>
                    <a:pt x="541" y="1271"/>
                    <a:pt x="671" y="1279"/>
                    <a:pt x="762" y="1279"/>
                  </a:cubicBezTo>
                  <a:cubicBezTo>
                    <a:pt x="808" y="1279"/>
                    <a:pt x="845" y="1277"/>
                    <a:pt x="851" y="1271"/>
                  </a:cubicBezTo>
                  <a:cubicBezTo>
                    <a:pt x="888" y="1252"/>
                    <a:pt x="1253" y="1155"/>
                    <a:pt x="1271" y="1155"/>
                  </a:cubicBezTo>
                  <a:cubicBezTo>
                    <a:pt x="1313" y="1155"/>
                    <a:pt x="1465" y="943"/>
                    <a:pt x="1465" y="943"/>
                  </a:cubicBezTo>
                  <a:lnTo>
                    <a:pt x="1830" y="693"/>
                  </a:lnTo>
                  <a:lnTo>
                    <a:pt x="1890" y="541"/>
                  </a:lnTo>
                  <a:lnTo>
                    <a:pt x="1733" y="347"/>
                  </a:lnTo>
                  <a:lnTo>
                    <a:pt x="1465" y="541"/>
                  </a:lnTo>
                  <a:lnTo>
                    <a:pt x="1253" y="231"/>
                  </a:lnTo>
                  <a:lnTo>
                    <a:pt x="851" y="347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7" name="Google Shape;1316;p45">
              <a:extLst>
                <a:ext uri="{FF2B5EF4-FFF2-40B4-BE49-F238E27FC236}">
                  <a16:creationId xmlns:a16="http://schemas.microsoft.com/office/drawing/2014/main" xmlns="" id="{27E6106B-E469-EE76-7326-B5D5E215B585}"/>
                </a:ext>
              </a:extLst>
            </p:cNvPr>
            <p:cNvSpPr/>
            <p:nvPr/>
          </p:nvSpPr>
          <p:spPr>
            <a:xfrm>
              <a:off x="5284554" y="2424068"/>
              <a:ext cx="93901" cy="31900"/>
            </a:xfrm>
            <a:custGeom>
              <a:avLst/>
              <a:gdLst/>
              <a:ahLst/>
              <a:cxnLst/>
              <a:rect l="l" t="t" r="r" b="b"/>
              <a:pathLst>
                <a:path w="3734" h="1276" extrusionOk="0">
                  <a:moveTo>
                    <a:pt x="1" y="463"/>
                  </a:moveTo>
                  <a:cubicBezTo>
                    <a:pt x="6" y="465"/>
                    <a:pt x="11" y="468"/>
                    <a:pt x="16" y="470"/>
                  </a:cubicBezTo>
                  <a:lnTo>
                    <a:pt x="16" y="470"/>
                  </a:lnTo>
                  <a:cubicBezTo>
                    <a:pt x="12" y="466"/>
                    <a:pt x="8" y="463"/>
                    <a:pt x="1" y="463"/>
                  </a:cubicBezTo>
                  <a:close/>
                  <a:moveTo>
                    <a:pt x="1211" y="1"/>
                  </a:moveTo>
                  <a:lnTo>
                    <a:pt x="421" y="306"/>
                  </a:lnTo>
                  <a:lnTo>
                    <a:pt x="518" y="731"/>
                  </a:lnTo>
                  <a:lnTo>
                    <a:pt x="171" y="560"/>
                  </a:lnTo>
                  <a:lnTo>
                    <a:pt x="171" y="537"/>
                  </a:lnTo>
                  <a:cubicBezTo>
                    <a:pt x="171" y="537"/>
                    <a:pt x="121" y="520"/>
                    <a:pt x="16" y="470"/>
                  </a:cubicBezTo>
                  <a:lnTo>
                    <a:pt x="16" y="470"/>
                  </a:lnTo>
                  <a:cubicBezTo>
                    <a:pt x="22" y="477"/>
                    <a:pt x="26" y="489"/>
                    <a:pt x="37" y="500"/>
                  </a:cubicBezTo>
                  <a:lnTo>
                    <a:pt x="56" y="518"/>
                  </a:lnTo>
                  <a:lnTo>
                    <a:pt x="56" y="537"/>
                  </a:lnTo>
                  <a:cubicBezTo>
                    <a:pt x="93" y="560"/>
                    <a:pt x="116" y="578"/>
                    <a:pt x="135" y="597"/>
                  </a:cubicBezTo>
                  <a:lnTo>
                    <a:pt x="135" y="615"/>
                  </a:lnTo>
                  <a:lnTo>
                    <a:pt x="153" y="615"/>
                  </a:lnTo>
                  <a:lnTo>
                    <a:pt x="171" y="634"/>
                  </a:lnTo>
                  <a:lnTo>
                    <a:pt x="190" y="652"/>
                  </a:lnTo>
                  <a:lnTo>
                    <a:pt x="190" y="675"/>
                  </a:lnTo>
                  <a:lnTo>
                    <a:pt x="208" y="675"/>
                  </a:lnTo>
                  <a:lnTo>
                    <a:pt x="208" y="694"/>
                  </a:lnTo>
                  <a:lnTo>
                    <a:pt x="232" y="694"/>
                  </a:lnTo>
                  <a:cubicBezTo>
                    <a:pt x="269" y="731"/>
                    <a:pt x="324" y="791"/>
                    <a:pt x="384" y="828"/>
                  </a:cubicBezTo>
                  <a:lnTo>
                    <a:pt x="403" y="828"/>
                  </a:lnTo>
                  <a:lnTo>
                    <a:pt x="421" y="846"/>
                  </a:lnTo>
                  <a:lnTo>
                    <a:pt x="439" y="865"/>
                  </a:lnTo>
                  <a:lnTo>
                    <a:pt x="463" y="865"/>
                  </a:lnTo>
                  <a:lnTo>
                    <a:pt x="463" y="883"/>
                  </a:lnTo>
                  <a:lnTo>
                    <a:pt x="481" y="883"/>
                  </a:lnTo>
                  <a:cubicBezTo>
                    <a:pt x="500" y="883"/>
                    <a:pt x="500" y="906"/>
                    <a:pt x="518" y="906"/>
                  </a:cubicBezTo>
                  <a:lnTo>
                    <a:pt x="537" y="925"/>
                  </a:lnTo>
                  <a:lnTo>
                    <a:pt x="555" y="925"/>
                  </a:lnTo>
                  <a:lnTo>
                    <a:pt x="578" y="943"/>
                  </a:lnTo>
                  <a:lnTo>
                    <a:pt x="597" y="943"/>
                  </a:lnTo>
                  <a:lnTo>
                    <a:pt x="597" y="962"/>
                  </a:lnTo>
                  <a:cubicBezTo>
                    <a:pt x="615" y="962"/>
                    <a:pt x="634" y="962"/>
                    <a:pt x="634" y="980"/>
                  </a:cubicBezTo>
                  <a:cubicBezTo>
                    <a:pt x="1193" y="1253"/>
                    <a:pt x="1807" y="1253"/>
                    <a:pt x="2232" y="1271"/>
                  </a:cubicBezTo>
                  <a:cubicBezTo>
                    <a:pt x="2280" y="1274"/>
                    <a:pt x="2326" y="1276"/>
                    <a:pt x="2371" y="1276"/>
                  </a:cubicBezTo>
                  <a:cubicBezTo>
                    <a:pt x="2875" y="1276"/>
                    <a:pt x="3236" y="1092"/>
                    <a:pt x="3503" y="846"/>
                  </a:cubicBezTo>
                  <a:cubicBezTo>
                    <a:pt x="3558" y="768"/>
                    <a:pt x="3618" y="712"/>
                    <a:pt x="3674" y="652"/>
                  </a:cubicBezTo>
                  <a:lnTo>
                    <a:pt x="3734" y="75"/>
                  </a:lnTo>
                  <a:lnTo>
                    <a:pt x="3618" y="384"/>
                  </a:lnTo>
                  <a:lnTo>
                    <a:pt x="3175" y="652"/>
                  </a:lnTo>
                  <a:lnTo>
                    <a:pt x="3059" y="444"/>
                  </a:lnTo>
                  <a:lnTo>
                    <a:pt x="3004" y="615"/>
                  </a:lnTo>
                  <a:lnTo>
                    <a:pt x="2519" y="560"/>
                  </a:lnTo>
                  <a:lnTo>
                    <a:pt x="2500" y="287"/>
                  </a:lnTo>
                  <a:lnTo>
                    <a:pt x="1904" y="652"/>
                  </a:lnTo>
                  <a:lnTo>
                    <a:pt x="1114" y="116"/>
                  </a:lnTo>
                  <a:lnTo>
                    <a:pt x="1211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8" name="Google Shape;1317;p45">
              <a:extLst>
                <a:ext uri="{FF2B5EF4-FFF2-40B4-BE49-F238E27FC236}">
                  <a16:creationId xmlns:a16="http://schemas.microsoft.com/office/drawing/2014/main" xmlns="" id="{4D344BF9-FCF5-AA60-D151-675531D4A1FC}"/>
                </a:ext>
              </a:extLst>
            </p:cNvPr>
            <p:cNvSpPr/>
            <p:nvPr/>
          </p:nvSpPr>
          <p:spPr>
            <a:xfrm>
              <a:off x="5279375" y="2347600"/>
              <a:ext cx="102025" cy="51075"/>
            </a:xfrm>
            <a:custGeom>
              <a:avLst/>
              <a:gdLst/>
              <a:ahLst/>
              <a:cxnLst/>
              <a:rect l="l" t="t" r="r" b="b"/>
              <a:pathLst>
                <a:path w="4081" h="2043" extrusionOk="0">
                  <a:moveTo>
                    <a:pt x="1868" y="0"/>
                  </a:moveTo>
                  <a:cubicBezTo>
                    <a:pt x="1618" y="37"/>
                    <a:pt x="962" y="310"/>
                    <a:pt x="962" y="310"/>
                  </a:cubicBezTo>
                  <a:lnTo>
                    <a:pt x="1059" y="97"/>
                  </a:lnTo>
                  <a:lnTo>
                    <a:pt x="1059" y="97"/>
                  </a:lnTo>
                  <a:cubicBezTo>
                    <a:pt x="1041" y="97"/>
                    <a:pt x="232" y="596"/>
                    <a:pt x="1" y="943"/>
                  </a:cubicBezTo>
                  <a:lnTo>
                    <a:pt x="676" y="657"/>
                  </a:lnTo>
                  <a:lnTo>
                    <a:pt x="306" y="1156"/>
                  </a:lnTo>
                  <a:lnTo>
                    <a:pt x="306" y="1156"/>
                  </a:lnTo>
                  <a:lnTo>
                    <a:pt x="731" y="888"/>
                  </a:lnTo>
                  <a:lnTo>
                    <a:pt x="1115" y="1521"/>
                  </a:lnTo>
                  <a:lnTo>
                    <a:pt x="1272" y="1253"/>
                  </a:lnTo>
                  <a:lnTo>
                    <a:pt x="1618" y="1442"/>
                  </a:lnTo>
                  <a:lnTo>
                    <a:pt x="1831" y="1156"/>
                  </a:lnTo>
                  <a:lnTo>
                    <a:pt x="2293" y="1211"/>
                  </a:lnTo>
                  <a:lnTo>
                    <a:pt x="2639" y="2043"/>
                  </a:lnTo>
                  <a:lnTo>
                    <a:pt x="2639" y="1636"/>
                  </a:lnTo>
                  <a:lnTo>
                    <a:pt x="3120" y="1849"/>
                  </a:lnTo>
                  <a:lnTo>
                    <a:pt x="2829" y="1581"/>
                  </a:lnTo>
                  <a:lnTo>
                    <a:pt x="2944" y="1058"/>
                  </a:lnTo>
                  <a:lnTo>
                    <a:pt x="3351" y="1211"/>
                  </a:lnTo>
                  <a:lnTo>
                    <a:pt x="3120" y="1003"/>
                  </a:lnTo>
                  <a:lnTo>
                    <a:pt x="3522" y="906"/>
                  </a:lnTo>
                  <a:lnTo>
                    <a:pt x="3716" y="1058"/>
                  </a:lnTo>
                  <a:lnTo>
                    <a:pt x="3716" y="980"/>
                  </a:lnTo>
                  <a:lnTo>
                    <a:pt x="4062" y="1174"/>
                  </a:lnTo>
                  <a:lnTo>
                    <a:pt x="4081" y="1022"/>
                  </a:lnTo>
                  <a:cubicBezTo>
                    <a:pt x="3947" y="772"/>
                    <a:pt x="3813" y="633"/>
                    <a:pt x="3813" y="633"/>
                  </a:cubicBezTo>
                  <a:lnTo>
                    <a:pt x="3753" y="906"/>
                  </a:lnTo>
                  <a:cubicBezTo>
                    <a:pt x="3309" y="310"/>
                    <a:pt x="2676" y="37"/>
                    <a:pt x="2676" y="37"/>
                  </a:cubicBezTo>
                  <a:lnTo>
                    <a:pt x="2676" y="37"/>
                  </a:lnTo>
                  <a:lnTo>
                    <a:pt x="2713" y="444"/>
                  </a:lnTo>
                  <a:lnTo>
                    <a:pt x="2367" y="97"/>
                  </a:lnTo>
                  <a:lnTo>
                    <a:pt x="186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9" name="Google Shape;1318;p45">
              <a:extLst>
                <a:ext uri="{FF2B5EF4-FFF2-40B4-BE49-F238E27FC236}">
                  <a16:creationId xmlns:a16="http://schemas.microsoft.com/office/drawing/2014/main" xmlns="" id="{DF1165F1-F831-C25F-4E23-E0818F25646D}"/>
                </a:ext>
              </a:extLst>
            </p:cNvPr>
            <p:cNvSpPr/>
            <p:nvPr/>
          </p:nvSpPr>
          <p:spPr>
            <a:xfrm>
              <a:off x="5296250" y="2387100"/>
              <a:ext cx="45650" cy="26025"/>
            </a:xfrm>
            <a:custGeom>
              <a:avLst/>
              <a:gdLst/>
              <a:ahLst/>
              <a:cxnLst/>
              <a:rect l="l" t="t" r="r" b="b"/>
              <a:pathLst>
                <a:path w="1826" h="1041" extrusionOk="0">
                  <a:moveTo>
                    <a:pt x="1308" y="1"/>
                  </a:moveTo>
                  <a:lnTo>
                    <a:pt x="1271" y="537"/>
                  </a:lnTo>
                  <a:lnTo>
                    <a:pt x="962" y="19"/>
                  </a:lnTo>
                  <a:lnTo>
                    <a:pt x="384" y="366"/>
                  </a:lnTo>
                  <a:lnTo>
                    <a:pt x="75" y="250"/>
                  </a:lnTo>
                  <a:lnTo>
                    <a:pt x="1" y="749"/>
                  </a:lnTo>
                  <a:lnTo>
                    <a:pt x="440" y="828"/>
                  </a:lnTo>
                  <a:lnTo>
                    <a:pt x="768" y="1040"/>
                  </a:lnTo>
                  <a:lnTo>
                    <a:pt x="1211" y="902"/>
                  </a:lnTo>
                  <a:lnTo>
                    <a:pt x="1733" y="768"/>
                  </a:lnTo>
                  <a:lnTo>
                    <a:pt x="1655" y="634"/>
                  </a:lnTo>
                  <a:lnTo>
                    <a:pt x="1826" y="421"/>
                  </a:lnTo>
                  <a:lnTo>
                    <a:pt x="1461" y="306"/>
                  </a:lnTo>
                  <a:lnTo>
                    <a:pt x="1308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0" name="Google Shape;1319;p45">
              <a:extLst>
                <a:ext uri="{FF2B5EF4-FFF2-40B4-BE49-F238E27FC236}">
                  <a16:creationId xmlns:a16="http://schemas.microsoft.com/office/drawing/2014/main" xmlns="" id="{2D299307-E66B-FDF9-6ACB-B83A8627DDD8}"/>
                </a:ext>
              </a:extLst>
            </p:cNvPr>
            <p:cNvSpPr/>
            <p:nvPr/>
          </p:nvSpPr>
          <p:spPr>
            <a:xfrm>
              <a:off x="5349625" y="2400500"/>
              <a:ext cx="16425" cy="14475"/>
            </a:xfrm>
            <a:custGeom>
              <a:avLst/>
              <a:gdLst/>
              <a:ahLst/>
              <a:cxnLst/>
              <a:rect l="l" t="t" r="r" b="b"/>
              <a:pathLst>
                <a:path w="657" h="579" extrusionOk="0">
                  <a:moveTo>
                    <a:pt x="194" y="1"/>
                  </a:moveTo>
                  <a:lnTo>
                    <a:pt x="97" y="232"/>
                  </a:lnTo>
                  <a:lnTo>
                    <a:pt x="0" y="407"/>
                  </a:lnTo>
                  <a:lnTo>
                    <a:pt x="268" y="407"/>
                  </a:lnTo>
                  <a:lnTo>
                    <a:pt x="291" y="541"/>
                  </a:lnTo>
                  <a:lnTo>
                    <a:pt x="425" y="426"/>
                  </a:lnTo>
                  <a:lnTo>
                    <a:pt x="578" y="578"/>
                  </a:lnTo>
                  <a:lnTo>
                    <a:pt x="559" y="347"/>
                  </a:lnTo>
                  <a:lnTo>
                    <a:pt x="656" y="292"/>
                  </a:lnTo>
                  <a:lnTo>
                    <a:pt x="462" y="292"/>
                  </a:lnTo>
                  <a:lnTo>
                    <a:pt x="347" y="98"/>
                  </a:lnTo>
                  <a:lnTo>
                    <a:pt x="268" y="232"/>
                  </a:lnTo>
                  <a:lnTo>
                    <a:pt x="194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1" name="Google Shape;1320;p45">
              <a:extLst>
                <a:ext uri="{FF2B5EF4-FFF2-40B4-BE49-F238E27FC236}">
                  <a16:creationId xmlns:a16="http://schemas.microsoft.com/office/drawing/2014/main" xmlns="" id="{3764A4DB-792C-7B39-84D8-A221E88A285B}"/>
                </a:ext>
              </a:extLst>
            </p:cNvPr>
            <p:cNvSpPr/>
            <p:nvPr/>
          </p:nvSpPr>
          <p:spPr>
            <a:xfrm>
              <a:off x="5277425" y="2376475"/>
              <a:ext cx="16900" cy="23125"/>
            </a:xfrm>
            <a:custGeom>
              <a:avLst/>
              <a:gdLst/>
              <a:ahLst/>
              <a:cxnLst/>
              <a:rect l="l" t="t" r="r" b="b"/>
              <a:pathLst>
                <a:path w="676" h="925" extrusionOk="0">
                  <a:moveTo>
                    <a:pt x="37" y="1"/>
                  </a:moveTo>
                  <a:cubicBezTo>
                    <a:pt x="0" y="213"/>
                    <a:pt x="0" y="481"/>
                    <a:pt x="0" y="731"/>
                  </a:cubicBezTo>
                  <a:lnTo>
                    <a:pt x="347" y="925"/>
                  </a:lnTo>
                  <a:lnTo>
                    <a:pt x="328" y="560"/>
                  </a:lnTo>
                  <a:lnTo>
                    <a:pt x="578" y="657"/>
                  </a:lnTo>
                  <a:lnTo>
                    <a:pt x="407" y="347"/>
                  </a:lnTo>
                  <a:lnTo>
                    <a:pt x="675" y="56"/>
                  </a:lnTo>
                  <a:lnTo>
                    <a:pt x="213" y="287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2" name="Google Shape;1321;p45">
              <a:extLst>
                <a:ext uri="{FF2B5EF4-FFF2-40B4-BE49-F238E27FC236}">
                  <a16:creationId xmlns:a16="http://schemas.microsoft.com/office/drawing/2014/main" xmlns="" id="{1A021161-0AD5-740D-4CEE-5E7B65BE3BAA}"/>
                </a:ext>
              </a:extLst>
            </p:cNvPr>
            <p:cNvSpPr/>
            <p:nvPr/>
          </p:nvSpPr>
          <p:spPr>
            <a:xfrm>
              <a:off x="5325125" y="2513600"/>
              <a:ext cx="15850" cy="5800"/>
            </a:xfrm>
            <a:custGeom>
              <a:avLst/>
              <a:gdLst/>
              <a:ahLst/>
              <a:cxnLst/>
              <a:rect l="l" t="t" r="r" b="b"/>
              <a:pathLst>
                <a:path w="634" h="232" extrusionOk="0">
                  <a:moveTo>
                    <a:pt x="324" y="0"/>
                  </a:moveTo>
                  <a:lnTo>
                    <a:pt x="250" y="116"/>
                  </a:lnTo>
                  <a:lnTo>
                    <a:pt x="38" y="23"/>
                  </a:lnTo>
                  <a:lnTo>
                    <a:pt x="1" y="213"/>
                  </a:lnTo>
                  <a:lnTo>
                    <a:pt x="615" y="231"/>
                  </a:lnTo>
                  <a:lnTo>
                    <a:pt x="634" y="42"/>
                  </a:lnTo>
                  <a:lnTo>
                    <a:pt x="555" y="139"/>
                  </a:lnTo>
                  <a:lnTo>
                    <a:pt x="463" y="0"/>
                  </a:lnTo>
                  <a:lnTo>
                    <a:pt x="421" y="60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3" name="Google Shape;1322;p45">
              <a:extLst>
                <a:ext uri="{FF2B5EF4-FFF2-40B4-BE49-F238E27FC236}">
                  <a16:creationId xmlns:a16="http://schemas.microsoft.com/office/drawing/2014/main" xmlns="" id="{4F5428E1-3579-F67A-0D60-5C8A00E1A07C}"/>
                </a:ext>
              </a:extLst>
            </p:cNvPr>
            <p:cNvSpPr/>
            <p:nvPr/>
          </p:nvSpPr>
          <p:spPr>
            <a:xfrm>
              <a:off x="5270725" y="2376475"/>
              <a:ext cx="4750" cy="16900"/>
            </a:xfrm>
            <a:custGeom>
              <a:avLst/>
              <a:gdLst/>
              <a:ahLst/>
              <a:cxnLst/>
              <a:rect l="l" t="t" r="r" b="b"/>
              <a:pathLst>
                <a:path w="190" h="676" extrusionOk="0">
                  <a:moveTo>
                    <a:pt x="0" y="1"/>
                  </a:moveTo>
                  <a:lnTo>
                    <a:pt x="134" y="675"/>
                  </a:lnTo>
                  <a:lnTo>
                    <a:pt x="190" y="36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4" name="Google Shape;1323;p45">
              <a:extLst>
                <a:ext uri="{FF2B5EF4-FFF2-40B4-BE49-F238E27FC236}">
                  <a16:creationId xmlns:a16="http://schemas.microsoft.com/office/drawing/2014/main" xmlns="" id="{A28155A2-1989-F22B-7B45-5A51CEEF3FF2}"/>
                </a:ext>
              </a:extLst>
            </p:cNvPr>
            <p:cNvSpPr/>
            <p:nvPr/>
          </p:nvSpPr>
          <p:spPr>
            <a:xfrm>
              <a:off x="5388675" y="2397150"/>
              <a:ext cx="5800" cy="13075"/>
            </a:xfrm>
            <a:custGeom>
              <a:avLst/>
              <a:gdLst/>
              <a:ahLst/>
              <a:cxnLst/>
              <a:rect l="l" t="t" r="r" b="b"/>
              <a:pathLst>
                <a:path w="232" h="523" extrusionOk="0">
                  <a:moveTo>
                    <a:pt x="231" y="1"/>
                  </a:moveTo>
                  <a:lnTo>
                    <a:pt x="0" y="269"/>
                  </a:lnTo>
                  <a:lnTo>
                    <a:pt x="0" y="523"/>
                  </a:lnTo>
                  <a:lnTo>
                    <a:pt x="231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7" name="Google Shape;1310;p45">
            <a:extLst>
              <a:ext uri="{FF2B5EF4-FFF2-40B4-BE49-F238E27FC236}">
                <a16:creationId xmlns:a16="http://schemas.microsoft.com/office/drawing/2014/main" xmlns="" id="{F3C74A61-4E2D-3348-83FA-CF552DA65A6D}"/>
              </a:ext>
            </a:extLst>
          </p:cNvPr>
          <p:cNvGrpSpPr/>
          <p:nvPr/>
        </p:nvGrpSpPr>
        <p:grpSpPr>
          <a:xfrm>
            <a:off x="1783670" y="3801481"/>
            <a:ext cx="325655" cy="518853"/>
            <a:chOff x="5270725" y="2347600"/>
            <a:chExt cx="123750" cy="171800"/>
          </a:xfrm>
        </p:grpSpPr>
        <p:sp>
          <p:nvSpPr>
            <p:cNvPr id="8" name="Google Shape;1311;p45">
              <a:extLst>
                <a:ext uri="{FF2B5EF4-FFF2-40B4-BE49-F238E27FC236}">
                  <a16:creationId xmlns:a16="http://schemas.microsoft.com/office/drawing/2014/main" xmlns="" id="{9355B5F8-A9FC-F5FA-8680-1619A05C0AAE}"/>
                </a:ext>
              </a:extLst>
            </p:cNvPr>
            <p:cNvSpPr/>
            <p:nvPr/>
          </p:nvSpPr>
          <p:spPr>
            <a:xfrm>
              <a:off x="5312550" y="2445325"/>
              <a:ext cx="31775" cy="73150"/>
            </a:xfrm>
            <a:custGeom>
              <a:avLst/>
              <a:gdLst/>
              <a:ahLst/>
              <a:cxnLst/>
              <a:rect l="l" t="t" r="r" b="b"/>
              <a:pathLst>
                <a:path w="1271" h="2926" extrusionOk="0">
                  <a:moveTo>
                    <a:pt x="0" y="0"/>
                  </a:moveTo>
                  <a:lnTo>
                    <a:pt x="116" y="481"/>
                  </a:lnTo>
                  <a:lnTo>
                    <a:pt x="790" y="767"/>
                  </a:lnTo>
                  <a:lnTo>
                    <a:pt x="675" y="2925"/>
                  </a:lnTo>
                  <a:lnTo>
                    <a:pt x="1040" y="2925"/>
                  </a:lnTo>
                  <a:lnTo>
                    <a:pt x="1021" y="2616"/>
                  </a:lnTo>
                  <a:lnTo>
                    <a:pt x="966" y="2579"/>
                  </a:lnTo>
                  <a:lnTo>
                    <a:pt x="869" y="1618"/>
                  </a:lnTo>
                  <a:lnTo>
                    <a:pt x="906" y="1502"/>
                  </a:lnTo>
                  <a:lnTo>
                    <a:pt x="906" y="790"/>
                  </a:lnTo>
                  <a:lnTo>
                    <a:pt x="1234" y="675"/>
                  </a:lnTo>
                  <a:lnTo>
                    <a:pt x="1271" y="347"/>
                  </a:lnTo>
                  <a:lnTo>
                    <a:pt x="1252" y="328"/>
                  </a:lnTo>
                  <a:lnTo>
                    <a:pt x="1197" y="633"/>
                  </a:lnTo>
                  <a:lnTo>
                    <a:pt x="1003" y="675"/>
                  </a:lnTo>
                  <a:lnTo>
                    <a:pt x="869" y="712"/>
                  </a:lnTo>
                  <a:lnTo>
                    <a:pt x="790" y="633"/>
                  </a:lnTo>
                  <a:lnTo>
                    <a:pt x="675" y="250"/>
                  </a:lnTo>
                  <a:lnTo>
                    <a:pt x="638" y="56"/>
                  </a:lnTo>
                  <a:lnTo>
                    <a:pt x="656" y="268"/>
                  </a:lnTo>
                  <a:lnTo>
                    <a:pt x="735" y="652"/>
                  </a:lnTo>
                  <a:lnTo>
                    <a:pt x="157" y="462"/>
                  </a:lnTo>
                  <a:lnTo>
                    <a:pt x="250" y="97"/>
                  </a:lnTo>
                  <a:lnTo>
                    <a:pt x="134" y="4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Google Shape;1312;p45">
              <a:extLst>
                <a:ext uri="{FF2B5EF4-FFF2-40B4-BE49-F238E27FC236}">
                  <a16:creationId xmlns:a16="http://schemas.microsoft.com/office/drawing/2014/main" xmlns="" id="{C9F53C70-1EBD-7F36-77AE-FAF883F2DDB5}"/>
                </a:ext>
              </a:extLst>
            </p:cNvPr>
            <p:cNvSpPr/>
            <p:nvPr/>
          </p:nvSpPr>
          <p:spPr>
            <a:xfrm>
              <a:off x="5275450" y="2347600"/>
              <a:ext cx="112650" cy="109400"/>
            </a:xfrm>
            <a:custGeom>
              <a:avLst/>
              <a:gdLst/>
              <a:ahLst/>
              <a:cxnLst/>
              <a:rect l="l" t="t" r="r" b="b"/>
              <a:pathLst>
                <a:path w="4506" h="4376" extrusionOk="0">
                  <a:moveTo>
                    <a:pt x="2025" y="0"/>
                  </a:moveTo>
                  <a:cubicBezTo>
                    <a:pt x="1775" y="37"/>
                    <a:pt x="1119" y="310"/>
                    <a:pt x="1119" y="310"/>
                  </a:cubicBezTo>
                  <a:lnTo>
                    <a:pt x="1216" y="97"/>
                  </a:lnTo>
                  <a:lnTo>
                    <a:pt x="1216" y="97"/>
                  </a:lnTo>
                  <a:cubicBezTo>
                    <a:pt x="1198" y="97"/>
                    <a:pt x="389" y="596"/>
                    <a:pt x="158" y="943"/>
                  </a:cubicBezTo>
                  <a:cubicBezTo>
                    <a:pt x="140" y="1003"/>
                    <a:pt x="116" y="1058"/>
                    <a:pt x="116" y="1156"/>
                  </a:cubicBezTo>
                  <a:cubicBezTo>
                    <a:pt x="79" y="1368"/>
                    <a:pt x="79" y="1636"/>
                    <a:pt x="79" y="1886"/>
                  </a:cubicBezTo>
                  <a:cubicBezTo>
                    <a:pt x="98" y="1904"/>
                    <a:pt x="98" y="1946"/>
                    <a:pt x="98" y="1983"/>
                  </a:cubicBezTo>
                  <a:cubicBezTo>
                    <a:pt x="98" y="2232"/>
                    <a:pt x="116" y="2426"/>
                    <a:pt x="116" y="2426"/>
                  </a:cubicBezTo>
                  <a:cubicBezTo>
                    <a:pt x="116" y="2426"/>
                    <a:pt x="61" y="2311"/>
                    <a:pt x="1" y="2117"/>
                  </a:cubicBezTo>
                  <a:lnTo>
                    <a:pt x="1" y="2117"/>
                  </a:lnTo>
                  <a:cubicBezTo>
                    <a:pt x="60" y="3119"/>
                    <a:pt x="506" y="3618"/>
                    <a:pt x="540" y="3636"/>
                  </a:cubicBezTo>
                  <a:lnTo>
                    <a:pt x="540" y="3636"/>
                  </a:lnTo>
                  <a:cubicBezTo>
                    <a:pt x="531" y="3633"/>
                    <a:pt x="475" y="3613"/>
                    <a:pt x="371" y="3563"/>
                  </a:cubicBezTo>
                  <a:lnTo>
                    <a:pt x="371" y="3563"/>
                  </a:lnTo>
                  <a:cubicBezTo>
                    <a:pt x="560" y="3794"/>
                    <a:pt x="773" y="3965"/>
                    <a:pt x="1004" y="4080"/>
                  </a:cubicBezTo>
                  <a:cubicBezTo>
                    <a:pt x="1563" y="4353"/>
                    <a:pt x="2177" y="4353"/>
                    <a:pt x="2602" y="4371"/>
                  </a:cubicBezTo>
                  <a:cubicBezTo>
                    <a:pt x="2650" y="4374"/>
                    <a:pt x="2696" y="4376"/>
                    <a:pt x="2741" y="4376"/>
                  </a:cubicBezTo>
                  <a:cubicBezTo>
                    <a:pt x="3245" y="4376"/>
                    <a:pt x="3606" y="4192"/>
                    <a:pt x="3873" y="3946"/>
                  </a:cubicBezTo>
                  <a:lnTo>
                    <a:pt x="3891" y="3928"/>
                  </a:lnTo>
                  <a:lnTo>
                    <a:pt x="3891" y="3909"/>
                  </a:lnTo>
                  <a:lnTo>
                    <a:pt x="3910" y="3909"/>
                  </a:lnTo>
                  <a:lnTo>
                    <a:pt x="3928" y="3891"/>
                  </a:lnTo>
                  <a:lnTo>
                    <a:pt x="3928" y="3868"/>
                  </a:lnTo>
                  <a:cubicBezTo>
                    <a:pt x="3951" y="3868"/>
                    <a:pt x="3951" y="3849"/>
                    <a:pt x="3970" y="3831"/>
                  </a:cubicBezTo>
                  <a:lnTo>
                    <a:pt x="3988" y="3812"/>
                  </a:lnTo>
                  <a:lnTo>
                    <a:pt x="4007" y="3794"/>
                  </a:lnTo>
                  <a:lnTo>
                    <a:pt x="4025" y="3775"/>
                  </a:lnTo>
                  <a:lnTo>
                    <a:pt x="4025" y="3752"/>
                  </a:lnTo>
                  <a:lnTo>
                    <a:pt x="4044" y="3752"/>
                  </a:lnTo>
                  <a:cubicBezTo>
                    <a:pt x="4414" y="3253"/>
                    <a:pt x="4506" y="2657"/>
                    <a:pt x="4487" y="2597"/>
                  </a:cubicBezTo>
                  <a:lnTo>
                    <a:pt x="4487" y="2597"/>
                  </a:lnTo>
                  <a:cubicBezTo>
                    <a:pt x="4390" y="2925"/>
                    <a:pt x="4275" y="2985"/>
                    <a:pt x="4275" y="2985"/>
                  </a:cubicBezTo>
                  <a:cubicBezTo>
                    <a:pt x="4275" y="2985"/>
                    <a:pt x="4469" y="2389"/>
                    <a:pt x="4432" y="1733"/>
                  </a:cubicBezTo>
                  <a:cubicBezTo>
                    <a:pt x="4432" y="1655"/>
                    <a:pt x="4432" y="1558"/>
                    <a:pt x="4414" y="1484"/>
                  </a:cubicBezTo>
                  <a:cubicBezTo>
                    <a:pt x="4372" y="1290"/>
                    <a:pt x="4298" y="1137"/>
                    <a:pt x="4238" y="1022"/>
                  </a:cubicBezTo>
                  <a:cubicBezTo>
                    <a:pt x="4104" y="772"/>
                    <a:pt x="3970" y="633"/>
                    <a:pt x="3970" y="633"/>
                  </a:cubicBezTo>
                  <a:lnTo>
                    <a:pt x="3910" y="906"/>
                  </a:lnTo>
                  <a:cubicBezTo>
                    <a:pt x="3466" y="310"/>
                    <a:pt x="2833" y="37"/>
                    <a:pt x="2833" y="37"/>
                  </a:cubicBezTo>
                  <a:lnTo>
                    <a:pt x="2833" y="37"/>
                  </a:lnTo>
                  <a:lnTo>
                    <a:pt x="2870" y="444"/>
                  </a:lnTo>
                  <a:lnTo>
                    <a:pt x="2524" y="97"/>
                  </a:lnTo>
                  <a:lnTo>
                    <a:pt x="2025" y="0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Google Shape;1313;p45">
              <a:extLst>
                <a:ext uri="{FF2B5EF4-FFF2-40B4-BE49-F238E27FC236}">
                  <a16:creationId xmlns:a16="http://schemas.microsoft.com/office/drawing/2014/main" xmlns="" id="{F52BA5EB-B677-2E52-49B6-DB927750E9CE}"/>
                </a:ext>
              </a:extLst>
            </p:cNvPr>
            <p:cNvSpPr/>
            <p:nvPr/>
          </p:nvSpPr>
          <p:spPr>
            <a:xfrm>
              <a:off x="5275450" y="2397150"/>
              <a:ext cx="56875" cy="46225"/>
            </a:xfrm>
            <a:custGeom>
              <a:avLst/>
              <a:gdLst/>
              <a:ahLst/>
              <a:cxnLst/>
              <a:rect l="l" t="t" r="r" b="b"/>
              <a:pathLst>
                <a:path w="2275" h="1849" extrusionOk="0">
                  <a:moveTo>
                    <a:pt x="98" y="1"/>
                  </a:moveTo>
                  <a:cubicBezTo>
                    <a:pt x="98" y="250"/>
                    <a:pt x="116" y="444"/>
                    <a:pt x="116" y="444"/>
                  </a:cubicBezTo>
                  <a:cubicBezTo>
                    <a:pt x="116" y="444"/>
                    <a:pt x="61" y="329"/>
                    <a:pt x="1" y="135"/>
                  </a:cubicBezTo>
                  <a:lnTo>
                    <a:pt x="1" y="135"/>
                  </a:lnTo>
                  <a:cubicBezTo>
                    <a:pt x="61" y="1156"/>
                    <a:pt x="523" y="1655"/>
                    <a:pt x="541" y="1655"/>
                  </a:cubicBezTo>
                  <a:lnTo>
                    <a:pt x="541" y="1678"/>
                  </a:lnTo>
                  <a:lnTo>
                    <a:pt x="888" y="1849"/>
                  </a:lnTo>
                  <a:lnTo>
                    <a:pt x="791" y="1424"/>
                  </a:lnTo>
                  <a:lnTo>
                    <a:pt x="1581" y="1119"/>
                  </a:lnTo>
                  <a:lnTo>
                    <a:pt x="1581" y="1119"/>
                  </a:lnTo>
                  <a:lnTo>
                    <a:pt x="1484" y="1234"/>
                  </a:lnTo>
                  <a:lnTo>
                    <a:pt x="2274" y="1770"/>
                  </a:lnTo>
                  <a:lnTo>
                    <a:pt x="1946" y="828"/>
                  </a:lnTo>
                  <a:lnTo>
                    <a:pt x="1350" y="985"/>
                  </a:lnTo>
                  <a:lnTo>
                    <a:pt x="1101" y="560"/>
                  </a:lnTo>
                  <a:lnTo>
                    <a:pt x="657" y="1216"/>
                  </a:lnTo>
                  <a:lnTo>
                    <a:pt x="310" y="925"/>
                  </a:lnTo>
                  <a:lnTo>
                    <a:pt x="463" y="925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Google Shape;1314;p45">
              <a:extLst>
                <a:ext uri="{FF2B5EF4-FFF2-40B4-BE49-F238E27FC236}">
                  <a16:creationId xmlns:a16="http://schemas.microsoft.com/office/drawing/2014/main" xmlns="" id="{E4F82917-28EB-7F71-B26B-33B6AE3D79B7}"/>
                </a:ext>
              </a:extLst>
            </p:cNvPr>
            <p:cNvSpPr/>
            <p:nvPr/>
          </p:nvSpPr>
          <p:spPr>
            <a:xfrm>
              <a:off x="5347200" y="2378900"/>
              <a:ext cx="40900" cy="62525"/>
            </a:xfrm>
            <a:custGeom>
              <a:avLst/>
              <a:gdLst/>
              <a:ahLst/>
              <a:cxnLst/>
              <a:rect l="l" t="t" r="r" b="b"/>
              <a:pathLst>
                <a:path w="1636" h="2501" extrusionOk="0">
                  <a:moveTo>
                    <a:pt x="1234" y="1"/>
                  </a:moveTo>
                  <a:lnTo>
                    <a:pt x="1021" y="463"/>
                  </a:lnTo>
                  <a:lnTo>
                    <a:pt x="675" y="500"/>
                  </a:lnTo>
                  <a:lnTo>
                    <a:pt x="1271" y="1114"/>
                  </a:lnTo>
                  <a:lnTo>
                    <a:pt x="1137" y="1599"/>
                  </a:lnTo>
                  <a:lnTo>
                    <a:pt x="966" y="1327"/>
                  </a:lnTo>
                  <a:lnTo>
                    <a:pt x="693" y="2001"/>
                  </a:lnTo>
                  <a:lnTo>
                    <a:pt x="559" y="1886"/>
                  </a:lnTo>
                  <a:lnTo>
                    <a:pt x="231" y="2292"/>
                  </a:lnTo>
                  <a:lnTo>
                    <a:pt x="0" y="2135"/>
                  </a:lnTo>
                  <a:lnTo>
                    <a:pt x="19" y="2408"/>
                  </a:lnTo>
                  <a:lnTo>
                    <a:pt x="504" y="2463"/>
                  </a:lnTo>
                  <a:lnTo>
                    <a:pt x="559" y="2292"/>
                  </a:lnTo>
                  <a:lnTo>
                    <a:pt x="675" y="2500"/>
                  </a:lnTo>
                  <a:lnTo>
                    <a:pt x="1118" y="2232"/>
                  </a:lnTo>
                  <a:lnTo>
                    <a:pt x="1234" y="1923"/>
                  </a:lnTo>
                  <a:lnTo>
                    <a:pt x="1174" y="2500"/>
                  </a:lnTo>
                  <a:cubicBezTo>
                    <a:pt x="1544" y="2001"/>
                    <a:pt x="1636" y="1405"/>
                    <a:pt x="1617" y="1345"/>
                  </a:cubicBezTo>
                  <a:lnTo>
                    <a:pt x="1617" y="1345"/>
                  </a:lnTo>
                  <a:cubicBezTo>
                    <a:pt x="1520" y="1673"/>
                    <a:pt x="1405" y="1733"/>
                    <a:pt x="1405" y="1733"/>
                  </a:cubicBezTo>
                  <a:cubicBezTo>
                    <a:pt x="1405" y="1733"/>
                    <a:pt x="1599" y="1137"/>
                    <a:pt x="1562" y="481"/>
                  </a:cubicBezTo>
                  <a:cubicBezTo>
                    <a:pt x="1562" y="403"/>
                    <a:pt x="1562" y="306"/>
                    <a:pt x="1544" y="232"/>
                  </a:cubicBezTo>
                  <a:lnTo>
                    <a:pt x="1289" y="287"/>
                  </a:lnTo>
                  <a:lnTo>
                    <a:pt x="1234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Google Shape;1315;p45">
              <a:extLst>
                <a:ext uri="{FF2B5EF4-FFF2-40B4-BE49-F238E27FC236}">
                  <a16:creationId xmlns:a16="http://schemas.microsoft.com/office/drawing/2014/main" xmlns="" id="{4E1B895E-44A2-E76F-6CEE-C98B056A1224}"/>
                </a:ext>
              </a:extLst>
            </p:cNvPr>
            <p:cNvSpPr/>
            <p:nvPr/>
          </p:nvSpPr>
          <p:spPr>
            <a:xfrm>
              <a:off x="5318775" y="2411600"/>
              <a:ext cx="47275" cy="32000"/>
            </a:xfrm>
            <a:custGeom>
              <a:avLst/>
              <a:gdLst/>
              <a:ahLst/>
              <a:cxnLst/>
              <a:rect l="l" t="t" r="r" b="b"/>
              <a:pathLst>
                <a:path w="1891" h="1280" extrusionOk="0">
                  <a:moveTo>
                    <a:pt x="292" y="0"/>
                  </a:moveTo>
                  <a:lnTo>
                    <a:pt x="1" y="310"/>
                  </a:lnTo>
                  <a:cubicBezTo>
                    <a:pt x="1" y="310"/>
                    <a:pt x="370" y="1058"/>
                    <a:pt x="389" y="1077"/>
                  </a:cubicBezTo>
                  <a:cubicBezTo>
                    <a:pt x="426" y="1100"/>
                    <a:pt x="541" y="1271"/>
                    <a:pt x="541" y="1271"/>
                  </a:cubicBezTo>
                  <a:cubicBezTo>
                    <a:pt x="541" y="1271"/>
                    <a:pt x="671" y="1279"/>
                    <a:pt x="762" y="1279"/>
                  </a:cubicBezTo>
                  <a:cubicBezTo>
                    <a:pt x="808" y="1279"/>
                    <a:pt x="845" y="1277"/>
                    <a:pt x="851" y="1271"/>
                  </a:cubicBezTo>
                  <a:cubicBezTo>
                    <a:pt x="888" y="1252"/>
                    <a:pt x="1253" y="1155"/>
                    <a:pt x="1271" y="1155"/>
                  </a:cubicBezTo>
                  <a:cubicBezTo>
                    <a:pt x="1313" y="1155"/>
                    <a:pt x="1465" y="943"/>
                    <a:pt x="1465" y="943"/>
                  </a:cubicBezTo>
                  <a:lnTo>
                    <a:pt x="1830" y="693"/>
                  </a:lnTo>
                  <a:lnTo>
                    <a:pt x="1890" y="541"/>
                  </a:lnTo>
                  <a:lnTo>
                    <a:pt x="1733" y="347"/>
                  </a:lnTo>
                  <a:lnTo>
                    <a:pt x="1465" y="541"/>
                  </a:lnTo>
                  <a:lnTo>
                    <a:pt x="1253" y="231"/>
                  </a:lnTo>
                  <a:lnTo>
                    <a:pt x="851" y="347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Google Shape;1316;p45">
              <a:extLst>
                <a:ext uri="{FF2B5EF4-FFF2-40B4-BE49-F238E27FC236}">
                  <a16:creationId xmlns:a16="http://schemas.microsoft.com/office/drawing/2014/main" xmlns="" id="{1F760E2D-7638-DB98-59C0-CA7372EF97F2}"/>
                </a:ext>
              </a:extLst>
            </p:cNvPr>
            <p:cNvSpPr/>
            <p:nvPr/>
          </p:nvSpPr>
          <p:spPr>
            <a:xfrm>
              <a:off x="5284554" y="2424068"/>
              <a:ext cx="93901" cy="31900"/>
            </a:xfrm>
            <a:custGeom>
              <a:avLst/>
              <a:gdLst/>
              <a:ahLst/>
              <a:cxnLst/>
              <a:rect l="l" t="t" r="r" b="b"/>
              <a:pathLst>
                <a:path w="3734" h="1276" extrusionOk="0">
                  <a:moveTo>
                    <a:pt x="1" y="463"/>
                  </a:moveTo>
                  <a:cubicBezTo>
                    <a:pt x="6" y="465"/>
                    <a:pt x="11" y="468"/>
                    <a:pt x="16" y="470"/>
                  </a:cubicBezTo>
                  <a:lnTo>
                    <a:pt x="16" y="470"/>
                  </a:lnTo>
                  <a:cubicBezTo>
                    <a:pt x="12" y="466"/>
                    <a:pt x="8" y="463"/>
                    <a:pt x="1" y="463"/>
                  </a:cubicBezTo>
                  <a:close/>
                  <a:moveTo>
                    <a:pt x="1211" y="1"/>
                  </a:moveTo>
                  <a:lnTo>
                    <a:pt x="421" y="306"/>
                  </a:lnTo>
                  <a:lnTo>
                    <a:pt x="518" y="731"/>
                  </a:lnTo>
                  <a:lnTo>
                    <a:pt x="171" y="560"/>
                  </a:lnTo>
                  <a:lnTo>
                    <a:pt x="171" y="537"/>
                  </a:lnTo>
                  <a:cubicBezTo>
                    <a:pt x="171" y="537"/>
                    <a:pt x="121" y="520"/>
                    <a:pt x="16" y="470"/>
                  </a:cubicBezTo>
                  <a:lnTo>
                    <a:pt x="16" y="470"/>
                  </a:lnTo>
                  <a:cubicBezTo>
                    <a:pt x="22" y="477"/>
                    <a:pt x="26" y="489"/>
                    <a:pt x="37" y="500"/>
                  </a:cubicBezTo>
                  <a:lnTo>
                    <a:pt x="56" y="518"/>
                  </a:lnTo>
                  <a:lnTo>
                    <a:pt x="56" y="537"/>
                  </a:lnTo>
                  <a:cubicBezTo>
                    <a:pt x="93" y="560"/>
                    <a:pt x="116" y="578"/>
                    <a:pt x="135" y="597"/>
                  </a:cubicBezTo>
                  <a:lnTo>
                    <a:pt x="135" y="615"/>
                  </a:lnTo>
                  <a:lnTo>
                    <a:pt x="153" y="615"/>
                  </a:lnTo>
                  <a:lnTo>
                    <a:pt x="171" y="634"/>
                  </a:lnTo>
                  <a:lnTo>
                    <a:pt x="190" y="652"/>
                  </a:lnTo>
                  <a:lnTo>
                    <a:pt x="190" y="675"/>
                  </a:lnTo>
                  <a:lnTo>
                    <a:pt x="208" y="675"/>
                  </a:lnTo>
                  <a:lnTo>
                    <a:pt x="208" y="694"/>
                  </a:lnTo>
                  <a:lnTo>
                    <a:pt x="232" y="694"/>
                  </a:lnTo>
                  <a:cubicBezTo>
                    <a:pt x="269" y="731"/>
                    <a:pt x="324" y="791"/>
                    <a:pt x="384" y="828"/>
                  </a:cubicBezTo>
                  <a:lnTo>
                    <a:pt x="403" y="828"/>
                  </a:lnTo>
                  <a:lnTo>
                    <a:pt x="421" y="846"/>
                  </a:lnTo>
                  <a:lnTo>
                    <a:pt x="439" y="865"/>
                  </a:lnTo>
                  <a:lnTo>
                    <a:pt x="463" y="865"/>
                  </a:lnTo>
                  <a:lnTo>
                    <a:pt x="463" y="883"/>
                  </a:lnTo>
                  <a:lnTo>
                    <a:pt x="481" y="883"/>
                  </a:lnTo>
                  <a:cubicBezTo>
                    <a:pt x="500" y="883"/>
                    <a:pt x="500" y="906"/>
                    <a:pt x="518" y="906"/>
                  </a:cubicBezTo>
                  <a:lnTo>
                    <a:pt x="537" y="925"/>
                  </a:lnTo>
                  <a:lnTo>
                    <a:pt x="555" y="925"/>
                  </a:lnTo>
                  <a:lnTo>
                    <a:pt x="578" y="943"/>
                  </a:lnTo>
                  <a:lnTo>
                    <a:pt x="597" y="943"/>
                  </a:lnTo>
                  <a:lnTo>
                    <a:pt x="597" y="962"/>
                  </a:lnTo>
                  <a:cubicBezTo>
                    <a:pt x="615" y="962"/>
                    <a:pt x="634" y="962"/>
                    <a:pt x="634" y="980"/>
                  </a:cubicBezTo>
                  <a:cubicBezTo>
                    <a:pt x="1193" y="1253"/>
                    <a:pt x="1807" y="1253"/>
                    <a:pt x="2232" y="1271"/>
                  </a:cubicBezTo>
                  <a:cubicBezTo>
                    <a:pt x="2280" y="1274"/>
                    <a:pt x="2326" y="1276"/>
                    <a:pt x="2371" y="1276"/>
                  </a:cubicBezTo>
                  <a:cubicBezTo>
                    <a:pt x="2875" y="1276"/>
                    <a:pt x="3236" y="1092"/>
                    <a:pt x="3503" y="846"/>
                  </a:cubicBezTo>
                  <a:cubicBezTo>
                    <a:pt x="3558" y="768"/>
                    <a:pt x="3618" y="712"/>
                    <a:pt x="3674" y="652"/>
                  </a:cubicBezTo>
                  <a:lnTo>
                    <a:pt x="3734" y="75"/>
                  </a:lnTo>
                  <a:lnTo>
                    <a:pt x="3618" y="384"/>
                  </a:lnTo>
                  <a:lnTo>
                    <a:pt x="3175" y="652"/>
                  </a:lnTo>
                  <a:lnTo>
                    <a:pt x="3059" y="444"/>
                  </a:lnTo>
                  <a:lnTo>
                    <a:pt x="3004" y="615"/>
                  </a:lnTo>
                  <a:lnTo>
                    <a:pt x="2519" y="560"/>
                  </a:lnTo>
                  <a:lnTo>
                    <a:pt x="2500" y="287"/>
                  </a:lnTo>
                  <a:lnTo>
                    <a:pt x="1904" y="652"/>
                  </a:lnTo>
                  <a:lnTo>
                    <a:pt x="1114" y="116"/>
                  </a:lnTo>
                  <a:lnTo>
                    <a:pt x="1211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Google Shape;1317;p45">
              <a:extLst>
                <a:ext uri="{FF2B5EF4-FFF2-40B4-BE49-F238E27FC236}">
                  <a16:creationId xmlns:a16="http://schemas.microsoft.com/office/drawing/2014/main" xmlns="" id="{C1EAD1FC-0EAE-BF16-ACA1-5B228034F745}"/>
                </a:ext>
              </a:extLst>
            </p:cNvPr>
            <p:cNvSpPr/>
            <p:nvPr/>
          </p:nvSpPr>
          <p:spPr>
            <a:xfrm>
              <a:off x="5279375" y="2347600"/>
              <a:ext cx="102025" cy="51075"/>
            </a:xfrm>
            <a:custGeom>
              <a:avLst/>
              <a:gdLst/>
              <a:ahLst/>
              <a:cxnLst/>
              <a:rect l="l" t="t" r="r" b="b"/>
              <a:pathLst>
                <a:path w="4081" h="2043" extrusionOk="0">
                  <a:moveTo>
                    <a:pt x="1868" y="0"/>
                  </a:moveTo>
                  <a:cubicBezTo>
                    <a:pt x="1618" y="37"/>
                    <a:pt x="962" y="310"/>
                    <a:pt x="962" y="310"/>
                  </a:cubicBezTo>
                  <a:lnTo>
                    <a:pt x="1059" y="97"/>
                  </a:lnTo>
                  <a:lnTo>
                    <a:pt x="1059" y="97"/>
                  </a:lnTo>
                  <a:cubicBezTo>
                    <a:pt x="1041" y="97"/>
                    <a:pt x="232" y="596"/>
                    <a:pt x="1" y="943"/>
                  </a:cubicBezTo>
                  <a:lnTo>
                    <a:pt x="676" y="657"/>
                  </a:lnTo>
                  <a:lnTo>
                    <a:pt x="306" y="1156"/>
                  </a:lnTo>
                  <a:lnTo>
                    <a:pt x="306" y="1156"/>
                  </a:lnTo>
                  <a:lnTo>
                    <a:pt x="731" y="888"/>
                  </a:lnTo>
                  <a:lnTo>
                    <a:pt x="1115" y="1521"/>
                  </a:lnTo>
                  <a:lnTo>
                    <a:pt x="1272" y="1253"/>
                  </a:lnTo>
                  <a:lnTo>
                    <a:pt x="1618" y="1442"/>
                  </a:lnTo>
                  <a:lnTo>
                    <a:pt x="1831" y="1156"/>
                  </a:lnTo>
                  <a:lnTo>
                    <a:pt x="2293" y="1211"/>
                  </a:lnTo>
                  <a:lnTo>
                    <a:pt x="2639" y="2043"/>
                  </a:lnTo>
                  <a:lnTo>
                    <a:pt x="2639" y="1636"/>
                  </a:lnTo>
                  <a:lnTo>
                    <a:pt x="3120" y="1849"/>
                  </a:lnTo>
                  <a:lnTo>
                    <a:pt x="2829" y="1581"/>
                  </a:lnTo>
                  <a:lnTo>
                    <a:pt x="2944" y="1058"/>
                  </a:lnTo>
                  <a:lnTo>
                    <a:pt x="3351" y="1211"/>
                  </a:lnTo>
                  <a:lnTo>
                    <a:pt x="3120" y="1003"/>
                  </a:lnTo>
                  <a:lnTo>
                    <a:pt x="3522" y="906"/>
                  </a:lnTo>
                  <a:lnTo>
                    <a:pt x="3716" y="1058"/>
                  </a:lnTo>
                  <a:lnTo>
                    <a:pt x="3716" y="980"/>
                  </a:lnTo>
                  <a:lnTo>
                    <a:pt x="4062" y="1174"/>
                  </a:lnTo>
                  <a:lnTo>
                    <a:pt x="4081" y="1022"/>
                  </a:lnTo>
                  <a:cubicBezTo>
                    <a:pt x="3947" y="772"/>
                    <a:pt x="3813" y="633"/>
                    <a:pt x="3813" y="633"/>
                  </a:cubicBezTo>
                  <a:lnTo>
                    <a:pt x="3753" y="906"/>
                  </a:lnTo>
                  <a:cubicBezTo>
                    <a:pt x="3309" y="310"/>
                    <a:pt x="2676" y="37"/>
                    <a:pt x="2676" y="37"/>
                  </a:cubicBezTo>
                  <a:lnTo>
                    <a:pt x="2676" y="37"/>
                  </a:lnTo>
                  <a:lnTo>
                    <a:pt x="2713" y="444"/>
                  </a:lnTo>
                  <a:lnTo>
                    <a:pt x="2367" y="97"/>
                  </a:lnTo>
                  <a:lnTo>
                    <a:pt x="186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Google Shape;1318;p45">
              <a:extLst>
                <a:ext uri="{FF2B5EF4-FFF2-40B4-BE49-F238E27FC236}">
                  <a16:creationId xmlns:a16="http://schemas.microsoft.com/office/drawing/2014/main" xmlns="" id="{D9894E0F-4064-01CC-F1A5-EA8D39CA23C4}"/>
                </a:ext>
              </a:extLst>
            </p:cNvPr>
            <p:cNvSpPr/>
            <p:nvPr/>
          </p:nvSpPr>
          <p:spPr>
            <a:xfrm>
              <a:off x="5296250" y="2387100"/>
              <a:ext cx="45650" cy="26025"/>
            </a:xfrm>
            <a:custGeom>
              <a:avLst/>
              <a:gdLst/>
              <a:ahLst/>
              <a:cxnLst/>
              <a:rect l="l" t="t" r="r" b="b"/>
              <a:pathLst>
                <a:path w="1826" h="1041" extrusionOk="0">
                  <a:moveTo>
                    <a:pt x="1308" y="1"/>
                  </a:moveTo>
                  <a:lnTo>
                    <a:pt x="1271" y="537"/>
                  </a:lnTo>
                  <a:lnTo>
                    <a:pt x="962" y="19"/>
                  </a:lnTo>
                  <a:lnTo>
                    <a:pt x="384" y="366"/>
                  </a:lnTo>
                  <a:lnTo>
                    <a:pt x="75" y="250"/>
                  </a:lnTo>
                  <a:lnTo>
                    <a:pt x="1" y="749"/>
                  </a:lnTo>
                  <a:lnTo>
                    <a:pt x="440" y="828"/>
                  </a:lnTo>
                  <a:lnTo>
                    <a:pt x="768" y="1040"/>
                  </a:lnTo>
                  <a:lnTo>
                    <a:pt x="1211" y="902"/>
                  </a:lnTo>
                  <a:lnTo>
                    <a:pt x="1733" y="768"/>
                  </a:lnTo>
                  <a:lnTo>
                    <a:pt x="1655" y="634"/>
                  </a:lnTo>
                  <a:lnTo>
                    <a:pt x="1826" y="421"/>
                  </a:lnTo>
                  <a:lnTo>
                    <a:pt x="1461" y="306"/>
                  </a:lnTo>
                  <a:lnTo>
                    <a:pt x="1308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Google Shape;1319;p45">
              <a:extLst>
                <a:ext uri="{FF2B5EF4-FFF2-40B4-BE49-F238E27FC236}">
                  <a16:creationId xmlns:a16="http://schemas.microsoft.com/office/drawing/2014/main" xmlns="" id="{AA45B609-9161-0344-8F5A-62AB6DBC3F96}"/>
                </a:ext>
              </a:extLst>
            </p:cNvPr>
            <p:cNvSpPr/>
            <p:nvPr/>
          </p:nvSpPr>
          <p:spPr>
            <a:xfrm>
              <a:off x="5349625" y="2400500"/>
              <a:ext cx="16425" cy="14475"/>
            </a:xfrm>
            <a:custGeom>
              <a:avLst/>
              <a:gdLst/>
              <a:ahLst/>
              <a:cxnLst/>
              <a:rect l="l" t="t" r="r" b="b"/>
              <a:pathLst>
                <a:path w="657" h="579" extrusionOk="0">
                  <a:moveTo>
                    <a:pt x="194" y="1"/>
                  </a:moveTo>
                  <a:lnTo>
                    <a:pt x="97" y="232"/>
                  </a:lnTo>
                  <a:lnTo>
                    <a:pt x="0" y="407"/>
                  </a:lnTo>
                  <a:lnTo>
                    <a:pt x="268" y="407"/>
                  </a:lnTo>
                  <a:lnTo>
                    <a:pt x="291" y="541"/>
                  </a:lnTo>
                  <a:lnTo>
                    <a:pt x="425" y="426"/>
                  </a:lnTo>
                  <a:lnTo>
                    <a:pt x="578" y="578"/>
                  </a:lnTo>
                  <a:lnTo>
                    <a:pt x="559" y="347"/>
                  </a:lnTo>
                  <a:lnTo>
                    <a:pt x="656" y="292"/>
                  </a:lnTo>
                  <a:lnTo>
                    <a:pt x="462" y="292"/>
                  </a:lnTo>
                  <a:lnTo>
                    <a:pt x="347" y="98"/>
                  </a:lnTo>
                  <a:lnTo>
                    <a:pt x="268" y="232"/>
                  </a:lnTo>
                  <a:lnTo>
                    <a:pt x="194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Google Shape;1320;p45">
              <a:extLst>
                <a:ext uri="{FF2B5EF4-FFF2-40B4-BE49-F238E27FC236}">
                  <a16:creationId xmlns:a16="http://schemas.microsoft.com/office/drawing/2014/main" xmlns="" id="{D83ECE3B-216D-FC4D-0BEF-5E35DC157580}"/>
                </a:ext>
              </a:extLst>
            </p:cNvPr>
            <p:cNvSpPr/>
            <p:nvPr/>
          </p:nvSpPr>
          <p:spPr>
            <a:xfrm>
              <a:off x="5277425" y="2376475"/>
              <a:ext cx="16900" cy="23125"/>
            </a:xfrm>
            <a:custGeom>
              <a:avLst/>
              <a:gdLst/>
              <a:ahLst/>
              <a:cxnLst/>
              <a:rect l="l" t="t" r="r" b="b"/>
              <a:pathLst>
                <a:path w="676" h="925" extrusionOk="0">
                  <a:moveTo>
                    <a:pt x="37" y="1"/>
                  </a:moveTo>
                  <a:cubicBezTo>
                    <a:pt x="0" y="213"/>
                    <a:pt x="0" y="481"/>
                    <a:pt x="0" y="731"/>
                  </a:cubicBezTo>
                  <a:lnTo>
                    <a:pt x="347" y="925"/>
                  </a:lnTo>
                  <a:lnTo>
                    <a:pt x="328" y="560"/>
                  </a:lnTo>
                  <a:lnTo>
                    <a:pt x="578" y="657"/>
                  </a:lnTo>
                  <a:lnTo>
                    <a:pt x="407" y="347"/>
                  </a:lnTo>
                  <a:lnTo>
                    <a:pt x="675" y="56"/>
                  </a:lnTo>
                  <a:lnTo>
                    <a:pt x="213" y="287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Google Shape;1321;p45">
              <a:extLst>
                <a:ext uri="{FF2B5EF4-FFF2-40B4-BE49-F238E27FC236}">
                  <a16:creationId xmlns:a16="http://schemas.microsoft.com/office/drawing/2014/main" xmlns="" id="{2A3C6362-7E0C-F0CF-D142-B60C42C86FF4}"/>
                </a:ext>
              </a:extLst>
            </p:cNvPr>
            <p:cNvSpPr/>
            <p:nvPr/>
          </p:nvSpPr>
          <p:spPr>
            <a:xfrm>
              <a:off x="5325125" y="2513600"/>
              <a:ext cx="15850" cy="5800"/>
            </a:xfrm>
            <a:custGeom>
              <a:avLst/>
              <a:gdLst/>
              <a:ahLst/>
              <a:cxnLst/>
              <a:rect l="l" t="t" r="r" b="b"/>
              <a:pathLst>
                <a:path w="634" h="232" extrusionOk="0">
                  <a:moveTo>
                    <a:pt x="324" y="0"/>
                  </a:moveTo>
                  <a:lnTo>
                    <a:pt x="250" y="116"/>
                  </a:lnTo>
                  <a:lnTo>
                    <a:pt x="38" y="23"/>
                  </a:lnTo>
                  <a:lnTo>
                    <a:pt x="1" y="213"/>
                  </a:lnTo>
                  <a:lnTo>
                    <a:pt x="615" y="231"/>
                  </a:lnTo>
                  <a:lnTo>
                    <a:pt x="634" y="42"/>
                  </a:lnTo>
                  <a:lnTo>
                    <a:pt x="555" y="139"/>
                  </a:lnTo>
                  <a:lnTo>
                    <a:pt x="463" y="0"/>
                  </a:lnTo>
                  <a:lnTo>
                    <a:pt x="421" y="60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Google Shape;1322;p45">
              <a:extLst>
                <a:ext uri="{FF2B5EF4-FFF2-40B4-BE49-F238E27FC236}">
                  <a16:creationId xmlns:a16="http://schemas.microsoft.com/office/drawing/2014/main" xmlns="" id="{9105317F-14ED-4A21-F85E-2601DB4C38F2}"/>
                </a:ext>
              </a:extLst>
            </p:cNvPr>
            <p:cNvSpPr/>
            <p:nvPr/>
          </p:nvSpPr>
          <p:spPr>
            <a:xfrm>
              <a:off x="5270725" y="2376475"/>
              <a:ext cx="4750" cy="16900"/>
            </a:xfrm>
            <a:custGeom>
              <a:avLst/>
              <a:gdLst/>
              <a:ahLst/>
              <a:cxnLst/>
              <a:rect l="l" t="t" r="r" b="b"/>
              <a:pathLst>
                <a:path w="190" h="676" extrusionOk="0">
                  <a:moveTo>
                    <a:pt x="0" y="1"/>
                  </a:moveTo>
                  <a:lnTo>
                    <a:pt x="134" y="675"/>
                  </a:lnTo>
                  <a:lnTo>
                    <a:pt x="190" y="36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Google Shape;1323;p45">
              <a:extLst>
                <a:ext uri="{FF2B5EF4-FFF2-40B4-BE49-F238E27FC236}">
                  <a16:creationId xmlns:a16="http://schemas.microsoft.com/office/drawing/2014/main" xmlns="" id="{6EB3CCAA-521A-58B1-4132-D391CEA28C76}"/>
                </a:ext>
              </a:extLst>
            </p:cNvPr>
            <p:cNvSpPr/>
            <p:nvPr/>
          </p:nvSpPr>
          <p:spPr>
            <a:xfrm>
              <a:off x="5388675" y="2397150"/>
              <a:ext cx="5800" cy="13075"/>
            </a:xfrm>
            <a:custGeom>
              <a:avLst/>
              <a:gdLst/>
              <a:ahLst/>
              <a:cxnLst/>
              <a:rect l="l" t="t" r="r" b="b"/>
              <a:pathLst>
                <a:path w="232" h="523" extrusionOk="0">
                  <a:moveTo>
                    <a:pt x="231" y="1"/>
                  </a:moveTo>
                  <a:lnTo>
                    <a:pt x="0" y="269"/>
                  </a:lnTo>
                  <a:lnTo>
                    <a:pt x="0" y="523"/>
                  </a:lnTo>
                  <a:lnTo>
                    <a:pt x="231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23" name="Google Shape;1310;p45">
            <a:extLst>
              <a:ext uri="{FF2B5EF4-FFF2-40B4-BE49-F238E27FC236}">
                <a16:creationId xmlns:a16="http://schemas.microsoft.com/office/drawing/2014/main" xmlns="" id="{C0AEA6CD-C232-9A40-FECD-1ABA6604DF9E}"/>
              </a:ext>
            </a:extLst>
          </p:cNvPr>
          <p:cNvGrpSpPr/>
          <p:nvPr/>
        </p:nvGrpSpPr>
        <p:grpSpPr>
          <a:xfrm>
            <a:off x="10233067" y="4583183"/>
            <a:ext cx="325655" cy="518853"/>
            <a:chOff x="5270725" y="2347600"/>
            <a:chExt cx="123750" cy="171800"/>
          </a:xfrm>
        </p:grpSpPr>
        <p:sp>
          <p:nvSpPr>
            <p:cNvPr id="24" name="Google Shape;1311;p45">
              <a:extLst>
                <a:ext uri="{FF2B5EF4-FFF2-40B4-BE49-F238E27FC236}">
                  <a16:creationId xmlns:a16="http://schemas.microsoft.com/office/drawing/2014/main" xmlns="" id="{DBC2038E-60C8-83B8-5F79-80F3D1BFF402}"/>
                </a:ext>
              </a:extLst>
            </p:cNvPr>
            <p:cNvSpPr/>
            <p:nvPr/>
          </p:nvSpPr>
          <p:spPr>
            <a:xfrm>
              <a:off x="5312550" y="2445325"/>
              <a:ext cx="31775" cy="73150"/>
            </a:xfrm>
            <a:custGeom>
              <a:avLst/>
              <a:gdLst/>
              <a:ahLst/>
              <a:cxnLst/>
              <a:rect l="l" t="t" r="r" b="b"/>
              <a:pathLst>
                <a:path w="1271" h="2926" extrusionOk="0">
                  <a:moveTo>
                    <a:pt x="0" y="0"/>
                  </a:moveTo>
                  <a:lnTo>
                    <a:pt x="116" y="481"/>
                  </a:lnTo>
                  <a:lnTo>
                    <a:pt x="790" y="767"/>
                  </a:lnTo>
                  <a:lnTo>
                    <a:pt x="675" y="2925"/>
                  </a:lnTo>
                  <a:lnTo>
                    <a:pt x="1040" y="2925"/>
                  </a:lnTo>
                  <a:lnTo>
                    <a:pt x="1021" y="2616"/>
                  </a:lnTo>
                  <a:lnTo>
                    <a:pt x="966" y="2579"/>
                  </a:lnTo>
                  <a:lnTo>
                    <a:pt x="869" y="1618"/>
                  </a:lnTo>
                  <a:lnTo>
                    <a:pt x="906" y="1502"/>
                  </a:lnTo>
                  <a:lnTo>
                    <a:pt x="906" y="790"/>
                  </a:lnTo>
                  <a:lnTo>
                    <a:pt x="1234" y="675"/>
                  </a:lnTo>
                  <a:lnTo>
                    <a:pt x="1271" y="347"/>
                  </a:lnTo>
                  <a:lnTo>
                    <a:pt x="1252" y="328"/>
                  </a:lnTo>
                  <a:lnTo>
                    <a:pt x="1197" y="633"/>
                  </a:lnTo>
                  <a:lnTo>
                    <a:pt x="1003" y="675"/>
                  </a:lnTo>
                  <a:lnTo>
                    <a:pt x="869" y="712"/>
                  </a:lnTo>
                  <a:lnTo>
                    <a:pt x="790" y="633"/>
                  </a:lnTo>
                  <a:lnTo>
                    <a:pt x="675" y="250"/>
                  </a:lnTo>
                  <a:lnTo>
                    <a:pt x="638" y="56"/>
                  </a:lnTo>
                  <a:lnTo>
                    <a:pt x="656" y="268"/>
                  </a:lnTo>
                  <a:lnTo>
                    <a:pt x="735" y="652"/>
                  </a:lnTo>
                  <a:lnTo>
                    <a:pt x="157" y="462"/>
                  </a:lnTo>
                  <a:lnTo>
                    <a:pt x="250" y="97"/>
                  </a:lnTo>
                  <a:lnTo>
                    <a:pt x="134" y="4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Google Shape;1312;p45">
              <a:extLst>
                <a:ext uri="{FF2B5EF4-FFF2-40B4-BE49-F238E27FC236}">
                  <a16:creationId xmlns:a16="http://schemas.microsoft.com/office/drawing/2014/main" xmlns="" id="{BF94AD61-0ABA-0156-ECE9-F7A17A23315E}"/>
                </a:ext>
              </a:extLst>
            </p:cNvPr>
            <p:cNvSpPr/>
            <p:nvPr/>
          </p:nvSpPr>
          <p:spPr>
            <a:xfrm>
              <a:off x="5275450" y="2347600"/>
              <a:ext cx="112650" cy="109400"/>
            </a:xfrm>
            <a:custGeom>
              <a:avLst/>
              <a:gdLst/>
              <a:ahLst/>
              <a:cxnLst/>
              <a:rect l="l" t="t" r="r" b="b"/>
              <a:pathLst>
                <a:path w="4506" h="4376" extrusionOk="0">
                  <a:moveTo>
                    <a:pt x="2025" y="0"/>
                  </a:moveTo>
                  <a:cubicBezTo>
                    <a:pt x="1775" y="37"/>
                    <a:pt x="1119" y="310"/>
                    <a:pt x="1119" y="310"/>
                  </a:cubicBezTo>
                  <a:lnTo>
                    <a:pt x="1216" y="97"/>
                  </a:lnTo>
                  <a:lnTo>
                    <a:pt x="1216" y="97"/>
                  </a:lnTo>
                  <a:cubicBezTo>
                    <a:pt x="1198" y="97"/>
                    <a:pt x="389" y="596"/>
                    <a:pt x="158" y="943"/>
                  </a:cubicBezTo>
                  <a:cubicBezTo>
                    <a:pt x="140" y="1003"/>
                    <a:pt x="116" y="1058"/>
                    <a:pt x="116" y="1156"/>
                  </a:cubicBezTo>
                  <a:cubicBezTo>
                    <a:pt x="79" y="1368"/>
                    <a:pt x="79" y="1636"/>
                    <a:pt x="79" y="1886"/>
                  </a:cubicBezTo>
                  <a:cubicBezTo>
                    <a:pt x="98" y="1904"/>
                    <a:pt x="98" y="1946"/>
                    <a:pt x="98" y="1983"/>
                  </a:cubicBezTo>
                  <a:cubicBezTo>
                    <a:pt x="98" y="2232"/>
                    <a:pt x="116" y="2426"/>
                    <a:pt x="116" y="2426"/>
                  </a:cubicBezTo>
                  <a:cubicBezTo>
                    <a:pt x="116" y="2426"/>
                    <a:pt x="61" y="2311"/>
                    <a:pt x="1" y="2117"/>
                  </a:cubicBezTo>
                  <a:lnTo>
                    <a:pt x="1" y="2117"/>
                  </a:lnTo>
                  <a:cubicBezTo>
                    <a:pt x="60" y="3119"/>
                    <a:pt x="506" y="3618"/>
                    <a:pt x="540" y="3636"/>
                  </a:cubicBezTo>
                  <a:lnTo>
                    <a:pt x="540" y="3636"/>
                  </a:lnTo>
                  <a:cubicBezTo>
                    <a:pt x="531" y="3633"/>
                    <a:pt x="475" y="3613"/>
                    <a:pt x="371" y="3563"/>
                  </a:cubicBezTo>
                  <a:lnTo>
                    <a:pt x="371" y="3563"/>
                  </a:lnTo>
                  <a:cubicBezTo>
                    <a:pt x="560" y="3794"/>
                    <a:pt x="773" y="3965"/>
                    <a:pt x="1004" y="4080"/>
                  </a:cubicBezTo>
                  <a:cubicBezTo>
                    <a:pt x="1563" y="4353"/>
                    <a:pt x="2177" y="4353"/>
                    <a:pt x="2602" y="4371"/>
                  </a:cubicBezTo>
                  <a:cubicBezTo>
                    <a:pt x="2650" y="4374"/>
                    <a:pt x="2696" y="4376"/>
                    <a:pt x="2741" y="4376"/>
                  </a:cubicBezTo>
                  <a:cubicBezTo>
                    <a:pt x="3245" y="4376"/>
                    <a:pt x="3606" y="4192"/>
                    <a:pt x="3873" y="3946"/>
                  </a:cubicBezTo>
                  <a:lnTo>
                    <a:pt x="3891" y="3928"/>
                  </a:lnTo>
                  <a:lnTo>
                    <a:pt x="3891" y="3909"/>
                  </a:lnTo>
                  <a:lnTo>
                    <a:pt x="3910" y="3909"/>
                  </a:lnTo>
                  <a:lnTo>
                    <a:pt x="3928" y="3891"/>
                  </a:lnTo>
                  <a:lnTo>
                    <a:pt x="3928" y="3868"/>
                  </a:lnTo>
                  <a:cubicBezTo>
                    <a:pt x="3951" y="3868"/>
                    <a:pt x="3951" y="3849"/>
                    <a:pt x="3970" y="3831"/>
                  </a:cubicBezTo>
                  <a:lnTo>
                    <a:pt x="3988" y="3812"/>
                  </a:lnTo>
                  <a:lnTo>
                    <a:pt x="4007" y="3794"/>
                  </a:lnTo>
                  <a:lnTo>
                    <a:pt x="4025" y="3775"/>
                  </a:lnTo>
                  <a:lnTo>
                    <a:pt x="4025" y="3752"/>
                  </a:lnTo>
                  <a:lnTo>
                    <a:pt x="4044" y="3752"/>
                  </a:lnTo>
                  <a:cubicBezTo>
                    <a:pt x="4414" y="3253"/>
                    <a:pt x="4506" y="2657"/>
                    <a:pt x="4487" y="2597"/>
                  </a:cubicBezTo>
                  <a:lnTo>
                    <a:pt x="4487" y="2597"/>
                  </a:lnTo>
                  <a:cubicBezTo>
                    <a:pt x="4390" y="2925"/>
                    <a:pt x="4275" y="2985"/>
                    <a:pt x="4275" y="2985"/>
                  </a:cubicBezTo>
                  <a:cubicBezTo>
                    <a:pt x="4275" y="2985"/>
                    <a:pt x="4469" y="2389"/>
                    <a:pt x="4432" y="1733"/>
                  </a:cubicBezTo>
                  <a:cubicBezTo>
                    <a:pt x="4432" y="1655"/>
                    <a:pt x="4432" y="1558"/>
                    <a:pt x="4414" y="1484"/>
                  </a:cubicBezTo>
                  <a:cubicBezTo>
                    <a:pt x="4372" y="1290"/>
                    <a:pt x="4298" y="1137"/>
                    <a:pt x="4238" y="1022"/>
                  </a:cubicBezTo>
                  <a:cubicBezTo>
                    <a:pt x="4104" y="772"/>
                    <a:pt x="3970" y="633"/>
                    <a:pt x="3970" y="633"/>
                  </a:cubicBezTo>
                  <a:lnTo>
                    <a:pt x="3910" y="906"/>
                  </a:lnTo>
                  <a:cubicBezTo>
                    <a:pt x="3466" y="310"/>
                    <a:pt x="2833" y="37"/>
                    <a:pt x="2833" y="37"/>
                  </a:cubicBezTo>
                  <a:lnTo>
                    <a:pt x="2833" y="37"/>
                  </a:lnTo>
                  <a:lnTo>
                    <a:pt x="2870" y="444"/>
                  </a:lnTo>
                  <a:lnTo>
                    <a:pt x="2524" y="97"/>
                  </a:lnTo>
                  <a:lnTo>
                    <a:pt x="2025" y="0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Google Shape;1313;p45">
              <a:extLst>
                <a:ext uri="{FF2B5EF4-FFF2-40B4-BE49-F238E27FC236}">
                  <a16:creationId xmlns:a16="http://schemas.microsoft.com/office/drawing/2014/main" xmlns="" id="{EE556F22-FC04-B071-9375-1DD1DC64C9BF}"/>
                </a:ext>
              </a:extLst>
            </p:cNvPr>
            <p:cNvSpPr/>
            <p:nvPr/>
          </p:nvSpPr>
          <p:spPr>
            <a:xfrm>
              <a:off x="5275450" y="2397150"/>
              <a:ext cx="56875" cy="46225"/>
            </a:xfrm>
            <a:custGeom>
              <a:avLst/>
              <a:gdLst/>
              <a:ahLst/>
              <a:cxnLst/>
              <a:rect l="l" t="t" r="r" b="b"/>
              <a:pathLst>
                <a:path w="2275" h="1849" extrusionOk="0">
                  <a:moveTo>
                    <a:pt x="98" y="1"/>
                  </a:moveTo>
                  <a:cubicBezTo>
                    <a:pt x="98" y="250"/>
                    <a:pt x="116" y="444"/>
                    <a:pt x="116" y="444"/>
                  </a:cubicBezTo>
                  <a:cubicBezTo>
                    <a:pt x="116" y="444"/>
                    <a:pt x="61" y="329"/>
                    <a:pt x="1" y="135"/>
                  </a:cubicBezTo>
                  <a:lnTo>
                    <a:pt x="1" y="135"/>
                  </a:lnTo>
                  <a:cubicBezTo>
                    <a:pt x="61" y="1156"/>
                    <a:pt x="523" y="1655"/>
                    <a:pt x="541" y="1655"/>
                  </a:cubicBezTo>
                  <a:lnTo>
                    <a:pt x="541" y="1678"/>
                  </a:lnTo>
                  <a:lnTo>
                    <a:pt x="888" y="1849"/>
                  </a:lnTo>
                  <a:lnTo>
                    <a:pt x="791" y="1424"/>
                  </a:lnTo>
                  <a:lnTo>
                    <a:pt x="1581" y="1119"/>
                  </a:lnTo>
                  <a:lnTo>
                    <a:pt x="1581" y="1119"/>
                  </a:lnTo>
                  <a:lnTo>
                    <a:pt x="1484" y="1234"/>
                  </a:lnTo>
                  <a:lnTo>
                    <a:pt x="2274" y="1770"/>
                  </a:lnTo>
                  <a:lnTo>
                    <a:pt x="1946" y="828"/>
                  </a:lnTo>
                  <a:lnTo>
                    <a:pt x="1350" y="985"/>
                  </a:lnTo>
                  <a:lnTo>
                    <a:pt x="1101" y="560"/>
                  </a:lnTo>
                  <a:lnTo>
                    <a:pt x="657" y="1216"/>
                  </a:lnTo>
                  <a:lnTo>
                    <a:pt x="310" y="925"/>
                  </a:lnTo>
                  <a:lnTo>
                    <a:pt x="463" y="925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Google Shape;1314;p45">
              <a:extLst>
                <a:ext uri="{FF2B5EF4-FFF2-40B4-BE49-F238E27FC236}">
                  <a16:creationId xmlns:a16="http://schemas.microsoft.com/office/drawing/2014/main" xmlns="" id="{D9229816-B5AE-6410-4030-1C6765C5E8FC}"/>
                </a:ext>
              </a:extLst>
            </p:cNvPr>
            <p:cNvSpPr/>
            <p:nvPr/>
          </p:nvSpPr>
          <p:spPr>
            <a:xfrm>
              <a:off x="5347200" y="2378900"/>
              <a:ext cx="40900" cy="62525"/>
            </a:xfrm>
            <a:custGeom>
              <a:avLst/>
              <a:gdLst/>
              <a:ahLst/>
              <a:cxnLst/>
              <a:rect l="l" t="t" r="r" b="b"/>
              <a:pathLst>
                <a:path w="1636" h="2501" extrusionOk="0">
                  <a:moveTo>
                    <a:pt x="1234" y="1"/>
                  </a:moveTo>
                  <a:lnTo>
                    <a:pt x="1021" y="463"/>
                  </a:lnTo>
                  <a:lnTo>
                    <a:pt x="675" y="500"/>
                  </a:lnTo>
                  <a:lnTo>
                    <a:pt x="1271" y="1114"/>
                  </a:lnTo>
                  <a:lnTo>
                    <a:pt x="1137" y="1599"/>
                  </a:lnTo>
                  <a:lnTo>
                    <a:pt x="966" y="1327"/>
                  </a:lnTo>
                  <a:lnTo>
                    <a:pt x="693" y="2001"/>
                  </a:lnTo>
                  <a:lnTo>
                    <a:pt x="559" y="1886"/>
                  </a:lnTo>
                  <a:lnTo>
                    <a:pt x="231" y="2292"/>
                  </a:lnTo>
                  <a:lnTo>
                    <a:pt x="0" y="2135"/>
                  </a:lnTo>
                  <a:lnTo>
                    <a:pt x="19" y="2408"/>
                  </a:lnTo>
                  <a:lnTo>
                    <a:pt x="504" y="2463"/>
                  </a:lnTo>
                  <a:lnTo>
                    <a:pt x="559" y="2292"/>
                  </a:lnTo>
                  <a:lnTo>
                    <a:pt x="675" y="2500"/>
                  </a:lnTo>
                  <a:lnTo>
                    <a:pt x="1118" y="2232"/>
                  </a:lnTo>
                  <a:lnTo>
                    <a:pt x="1234" y="1923"/>
                  </a:lnTo>
                  <a:lnTo>
                    <a:pt x="1174" y="2500"/>
                  </a:lnTo>
                  <a:cubicBezTo>
                    <a:pt x="1544" y="2001"/>
                    <a:pt x="1636" y="1405"/>
                    <a:pt x="1617" y="1345"/>
                  </a:cubicBezTo>
                  <a:lnTo>
                    <a:pt x="1617" y="1345"/>
                  </a:lnTo>
                  <a:cubicBezTo>
                    <a:pt x="1520" y="1673"/>
                    <a:pt x="1405" y="1733"/>
                    <a:pt x="1405" y="1733"/>
                  </a:cubicBezTo>
                  <a:cubicBezTo>
                    <a:pt x="1405" y="1733"/>
                    <a:pt x="1599" y="1137"/>
                    <a:pt x="1562" y="481"/>
                  </a:cubicBezTo>
                  <a:cubicBezTo>
                    <a:pt x="1562" y="403"/>
                    <a:pt x="1562" y="306"/>
                    <a:pt x="1544" y="232"/>
                  </a:cubicBezTo>
                  <a:lnTo>
                    <a:pt x="1289" y="287"/>
                  </a:lnTo>
                  <a:lnTo>
                    <a:pt x="1234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Google Shape;1315;p45">
              <a:extLst>
                <a:ext uri="{FF2B5EF4-FFF2-40B4-BE49-F238E27FC236}">
                  <a16:creationId xmlns:a16="http://schemas.microsoft.com/office/drawing/2014/main" xmlns="" id="{0E72C4A4-8B54-14B9-79E4-E79DA67FAE64}"/>
                </a:ext>
              </a:extLst>
            </p:cNvPr>
            <p:cNvSpPr/>
            <p:nvPr/>
          </p:nvSpPr>
          <p:spPr>
            <a:xfrm>
              <a:off x="5318775" y="2411600"/>
              <a:ext cx="47275" cy="32000"/>
            </a:xfrm>
            <a:custGeom>
              <a:avLst/>
              <a:gdLst/>
              <a:ahLst/>
              <a:cxnLst/>
              <a:rect l="l" t="t" r="r" b="b"/>
              <a:pathLst>
                <a:path w="1891" h="1280" extrusionOk="0">
                  <a:moveTo>
                    <a:pt x="292" y="0"/>
                  </a:moveTo>
                  <a:lnTo>
                    <a:pt x="1" y="310"/>
                  </a:lnTo>
                  <a:cubicBezTo>
                    <a:pt x="1" y="310"/>
                    <a:pt x="370" y="1058"/>
                    <a:pt x="389" y="1077"/>
                  </a:cubicBezTo>
                  <a:cubicBezTo>
                    <a:pt x="426" y="1100"/>
                    <a:pt x="541" y="1271"/>
                    <a:pt x="541" y="1271"/>
                  </a:cubicBezTo>
                  <a:cubicBezTo>
                    <a:pt x="541" y="1271"/>
                    <a:pt x="671" y="1279"/>
                    <a:pt x="762" y="1279"/>
                  </a:cubicBezTo>
                  <a:cubicBezTo>
                    <a:pt x="808" y="1279"/>
                    <a:pt x="845" y="1277"/>
                    <a:pt x="851" y="1271"/>
                  </a:cubicBezTo>
                  <a:cubicBezTo>
                    <a:pt x="888" y="1252"/>
                    <a:pt x="1253" y="1155"/>
                    <a:pt x="1271" y="1155"/>
                  </a:cubicBezTo>
                  <a:cubicBezTo>
                    <a:pt x="1313" y="1155"/>
                    <a:pt x="1465" y="943"/>
                    <a:pt x="1465" y="943"/>
                  </a:cubicBezTo>
                  <a:lnTo>
                    <a:pt x="1830" y="693"/>
                  </a:lnTo>
                  <a:lnTo>
                    <a:pt x="1890" y="541"/>
                  </a:lnTo>
                  <a:lnTo>
                    <a:pt x="1733" y="347"/>
                  </a:lnTo>
                  <a:lnTo>
                    <a:pt x="1465" y="541"/>
                  </a:lnTo>
                  <a:lnTo>
                    <a:pt x="1253" y="231"/>
                  </a:lnTo>
                  <a:lnTo>
                    <a:pt x="851" y="347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Google Shape;1316;p45">
              <a:extLst>
                <a:ext uri="{FF2B5EF4-FFF2-40B4-BE49-F238E27FC236}">
                  <a16:creationId xmlns:a16="http://schemas.microsoft.com/office/drawing/2014/main" xmlns="" id="{7D243B58-2EBD-3FE0-15F2-9697947AD9E6}"/>
                </a:ext>
              </a:extLst>
            </p:cNvPr>
            <p:cNvSpPr/>
            <p:nvPr/>
          </p:nvSpPr>
          <p:spPr>
            <a:xfrm>
              <a:off x="5284554" y="2424068"/>
              <a:ext cx="93901" cy="31900"/>
            </a:xfrm>
            <a:custGeom>
              <a:avLst/>
              <a:gdLst/>
              <a:ahLst/>
              <a:cxnLst/>
              <a:rect l="l" t="t" r="r" b="b"/>
              <a:pathLst>
                <a:path w="3734" h="1276" extrusionOk="0">
                  <a:moveTo>
                    <a:pt x="1" y="463"/>
                  </a:moveTo>
                  <a:cubicBezTo>
                    <a:pt x="6" y="465"/>
                    <a:pt x="11" y="468"/>
                    <a:pt x="16" y="470"/>
                  </a:cubicBezTo>
                  <a:lnTo>
                    <a:pt x="16" y="470"/>
                  </a:lnTo>
                  <a:cubicBezTo>
                    <a:pt x="12" y="466"/>
                    <a:pt x="8" y="463"/>
                    <a:pt x="1" y="463"/>
                  </a:cubicBezTo>
                  <a:close/>
                  <a:moveTo>
                    <a:pt x="1211" y="1"/>
                  </a:moveTo>
                  <a:lnTo>
                    <a:pt x="421" y="306"/>
                  </a:lnTo>
                  <a:lnTo>
                    <a:pt x="518" y="731"/>
                  </a:lnTo>
                  <a:lnTo>
                    <a:pt x="171" y="560"/>
                  </a:lnTo>
                  <a:lnTo>
                    <a:pt x="171" y="537"/>
                  </a:lnTo>
                  <a:cubicBezTo>
                    <a:pt x="171" y="537"/>
                    <a:pt x="121" y="520"/>
                    <a:pt x="16" y="470"/>
                  </a:cubicBezTo>
                  <a:lnTo>
                    <a:pt x="16" y="470"/>
                  </a:lnTo>
                  <a:cubicBezTo>
                    <a:pt x="22" y="477"/>
                    <a:pt x="26" y="489"/>
                    <a:pt x="37" y="500"/>
                  </a:cubicBezTo>
                  <a:lnTo>
                    <a:pt x="56" y="518"/>
                  </a:lnTo>
                  <a:lnTo>
                    <a:pt x="56" y="537"/>
                  </a:lnTo>
                  <a:cubicBezTo>
                    <a:pt x="93" y="560"/>
                    <a:pt x="116" y="578"/>
                    <a:pt x="135" y="597"/>
                  </a:cubicBezTo>
                  <a:lnTo>
                    <a:pt x="135" y="615"/>
                  </a:lnTo>
                  <a:lnTo>
                    <a:pt x="153" y="615"/>
                  </a:lnTo>
                  <a:lnTo>
                    <a:pt x="171" y="634"/>
                  </a:lnTo>
                  <a:lnTo>
                    <a:pt x="190" y="652"/>
                  </a:lnTo>
                  <a:lnTo>
                    <a:pt x="190" y="675"/>
                  </a:lnTo>
                  <a:lnTo>
                    <a:pt x="208" y="675"/>
                  </a:lnTo>
                  <a:lnTo>
                    <a:pt x="208" y="694"/>
                  </a:lnTo>
                  <a:lnTo>
                    <a:pt x="232" y="694"/>
                  </a:lnTo>
                  <a:cubicBezTo>
                    <a:pt x="269" y="731"/>
                    <a:pt x="324" y="791"/>
                    <a:pt x="384" y="828"/>
                  </a:cubicBezTo>
                  <a:lnTo>
                    <a:pt x="403" y="828"/>
                  </a:lnTo>
                  <a:lnTo>
                    <a:pt x="421" y="846"/>
                  </a:lnTo>
                  <a:lnTo>
                    <a:pt x="439" y="865"/>
                  </a:lnTo>
                  <a:lnTo>
                    <a:pt x="463" y="865"/>
                  </a:lnTo>
                  <a:lnTo>
                    <a:pt x="463" y="883"/>
                  </a:lnTo>
                  <a:lnTo>
                    <a:pt x="481" y="883"/>
                  </a:lnTo>
                  <a:cubicBezTo>
                    <a:pt x="500" y="883"/>
                    <a:pt x="500" y="906"/>
                    <a:pt x="518" y="906"/>
                  </a:cubicBezTo>
                  <a:lnTo>
                    <a:pt x="537" y="925"/>
                  </a:lnTo>
                  <a:lnTo>
                    <a:pt x="555" y="925"/>
                  </a:lnTo>
                  <a:lnTo>
                    <a:pt x="578" y="943"/>
                  </a:lnTo>
                  <a:lnTo>
                    <a:pt x="597" y="943"/>
                  </a:lnTo>
                  <a:lnTo>
                    <a:pt x="597" y="962"/>
                  </a:lnTo>
                  <a:cubicBezTo>
                    <a:pt x="615" y="962"/>
                    <a:pt x="634" y="962"/>
                    <a:pt x="634" y="980"/>
                  </a:cubicBezTo>
                  <a:cubicBezTo>
                    <a:pt x="1193" y="1253"/>
                    <a:pt x="1807" y="1253"/>
                    <a:pt x="2232" y="1271"/>
                  </a:cubicBezTo>
                  <a:cubicBezTo>
                    <a:pt x="2280" y="1274"/>
                    <a:pt x="2326" y="1276"/>
                    <a:pt x="2371" y="1276"/>
                  </a:cubicBezTo>
                  <a:cubicBezTo>
                    <a:pt x="2875" y="1276"/>
                    <a:pt x="3236" y="1092"/>
                    <a:pt x="3503" y="846"/>
                  </a:cubicBezTo>
                  <a:cubicBezTo>
                    <a:pt x="3558" y="768"/>
                    <a:pt x="3618" y="712"/>
                    <a:pt x="3674" y="652"/>
                  </a:cubicBezTo>
                  <a:lnTo>
                    <a:pt x="3734" y="75"/>
                  </a:lnTo>
                  <a:lnTo>
                    <a:pt x="3618" y="384"/>
                  </a:lnTo>
                  <a:lnTo>
                    <a:pt x="3175" y="652"/>
                  </a:lnTo>
                  <a:lnTo>
                    <a:pt x="3059" y="444"/>
                  </a:lnTo>
                  <a:lnTo>
                    <a:pt x="3004" y="615"/>
                  </a:lnTo>
                  <a:lnTo>
                    <a:pt x="2519" y="560"/>
                  </a:lnTo>
                  <a:lnTo>
                    <a:pt x="2500" y="287"/>
                  </a:lnTo>
                  <a:lnTo>
                    <a:pt x="1904" y="652"/>
                  </a:lnTo>
                  <a:lnTo>
                    <a:pt x="1114" y="116"/>
                  </a:lnTo>
                  <a:lnTo>
                    <a:pt x="1211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Google Shape;1317;p45">
              <a:extLst>
                <a:ext uri="{FF2B5EF4-FFF2-40B4-BE49-F238E27FC236}">
                  <a16:creationId xmlns:a16="http://schemas.microsoft.com/office/drawing/2014/main" xmlns="" id="{5AD7ED51-E28F-5B6B-CB7F-CDAD6640F763}"/>
                </a:ext>
              </a:extLst>
            </p:cNvPr>
            <p:cNvSpPr/>
            <p:nvPr/>
          </p:nvSpPr>
          <p:spPr>
            <a:xfrm>
              <a:off x="5279375" y="2347600"/>
              <a:ext cx="102025" cy="51075"/>
            </a:xfrm>
            <a:custGeom>
              <a:avLst/>
              <a:gdLst/>
              <a:ahLst/>
              <a:cxnLst/>
              <a:rect l="l" t="t" r="r" b="b"/>
              <a:pathLst>
                <a:path w="4081" h="2043" extrusionOk="0">
                  <a:moveTo>
                    <a:pt x="1868" y="0"/>
                  </a:moveTo>
                  <a:cubicBezTo>
                    <a:pt x="1618" y="37"/>
                    <a:pt x="962" y="310"/>
                    <a:pt x="962" y="310"/>
                  </a:cubicBezTo>
                  <a:lnTo>
                    <a:pt x="1059" y="97"/>
                  </a:lnTo>
                  <a:lnTo>
                    <a:pt x="1059" y="97"/>
                  </a:lnTo>
                  <a:cubicBezTo>
                    <a:pt x="1041" y="97"/>
                    <a:pt x="232" y="596"/>
                    <a:pt x="1" y="943"/>
                  </a:cubicBezTo>
                  <a:lnTo>
                    <a:pt x="676" y="657"/>
                  </a:lnTo>
                  <a:lnTo>
                    <a:pt x="306" y="1156"/>
                  </a:lnTo>
                  <a:lnTo>
                    <a:pt x="306" y="1156"/>
                  </a:lnTo>
                  <a:lnTo>
                    <a:pt x="731" y="888"/>
                  </a:lnTo>
                  <a:lnTo>
                    <a:pt x="1115" y="1521"/>
                  </a:lnTo>
                  <a:lnTo>
                    <a:pt x="1272" y="1253"/>
                  </a:lnTo>
                  <a:lnTo>
                    <a:pt x="1618" y="1442"/>
                  </a:lnTo>
                  <a:lnTo>
                    <a:pt x="1831" y="1156"/>
                  </a:lnTo>
                  <a:lnTo>
                    <a:pt x="2293" y="1211"/>
                  </a:lnTo>
                  <a:lnTo>
                    <a:pt x="2639" y="2043"/>
                  </a:lnTo>
                  <a:lnTo>
                    <a:pt x="2639" y="1636"/>
                  </a:lnTo>
                  <a:lnTo>
                    <a:pt x="3120" y="1849"/>
                  </a:lnTo>
                  <a:lnTo>
                    <a:pt x="2829" y="1581"/>
                  </a:lnTo>
                  <a:lnTo>
                    <a:pt x="2944" y="1058"/>
                  </a:lnTo>
                  <a:lnTo>
                    <a:pt x="3351" y="1211"/>
                  </a:lnTo>
                  <a:lnTo>
                    <a:pt x="3120" y="1003"/>
                  </a:lnTo>
                  <a:lnTo>
                    <a:pt x="3522" y="906"/>
                  </a:lnTo>
                  <a:lnTo>
                    <a:pt x="3716" y="1058"/>
                  </a:lnTo>
                  <a:lnTo>
                    <a:pt x="3716" y="980"/>
                  </a:lnTo>
                  <a:lnTo>
                    <a:pt x="4062" y="1174"/>
                  </a:lnTo>
                  <a:lnTo>
                    <a:pt x="4081" y="1022"/>
                  </a:lnTo>
                  <a:cubicBezTo>
                    <a:pt x="3947" y="772"/>
                    <a:pt x="3813" y="633"/>
                    <a:pt x="3813" y="633"/>
                  </a:cubicBezTo>
                  <a:lnTo>
                    <a:pt x="3753" y="906"/>
                  </a:lnTo>
                  <a:cubicBezTo>
                    <a:pt x="3309" y="310"/>
                    <a:pt x="2676" y="37"/>
                    <a:pt x="2676" y="37"/>
                  </a:cubicBezTo>
                  <a:lnTo>
                    <a:pt x="2676" y="37"/>
                  </a:lnTo>
                  <a:lnTo>
                    <a:pt x="2713" y="444"/>
                  </a:lnTo>
                  <a:lnTo>
                    <a:pt x="2367" y="97"/>
                  </a:lnTo>
                  <a:lnTo>
                    <a:pt x="186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Google Shape;1318;p45">
              <a:extLst>
                <a:ext uri="{FF2B5EF4-FFF2-40B4-BE49-F238E27FC236}">
                  <a16:creationId xmlns:a16="http://schemas.microsoft.com/office/drawing/2014/main" xmlns="" id="{D49D1027-0214-4B56-16B8-C2740AD181C3}"/>
                </a:ext>
              </a:extLst>
            </p:cNvPr>
            <p:cNvSpPr/>
            <p:nvPr/>
          </p:nvSpPr>
          <p:spPr>
            <a:xfrm>
              <a:off x="5296250" y="2387100"/>
              <a:ext cx="45650" cy="26025"/>
            </a:xfrm>
            <a:custGeom>
              <a:avLst/>
              <a:gdLst/>
              <a:ahLst/>
              <a:cxnLst/>
              <a:rect l="l" t="t" r="r" b="b"/>
              <a:pathLst>
                <a:path w="1826" h="1041" extrusionOk="0">
                  <a:moveTo>
                    <a:pt x="1308" y="1"/>
                  </a:moveTo>
                  <a:lnTo>
                    <a:pt x="1271" y="537"/>
                  </a:lnTo>
                  <a:lnTo>
                    <a:pt x="962" y="19"/>
                  </a:lnTo>
                  <a:lnTo>
                    <a:pt x="384" y="366"/>
                  </a:lnTo>
                  <a:lnTo>
                    <a:pt x="75" y="250"/>
                  </a:lnTo>
                  <a:lnTo>
                    <a:pt x="1" y="749"/>
                  </a:lnTo>
                  <a:lnTo>
                    <a:pt x="440" y="828"/>
                  </a:lnTo>
                  <a:lnTo>
                    <a:pt x="768" y="1040"/>
                  </a:lnTo>
                  <a:lnTo>
                    <a:pt x="1211" y="902"/>
                  </a:lnTo>
                  <a:lnTo>
                    <a:pt x="1733" y="768"/>
                  </a:lnTo>
                  <a:lnTo>
                    <a:pt x="1655" y="634"/>
                  </a:lnTo>
                  <a:lnTo>
                    <a:pt x="1826" y="421"/>
                  </a:lnTo>
                  <a:lnTo>
                    <a:pt x="1461" y="306"/>
                  </a:lnTo>
                  <a:lnTo>
                    <a:pt x="1308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4" name="Google Shape;1319;p45">
              <a:extLst>
                <a:ext uri="{FF2B5EF4-FFF2-40B4-BE49-F238E27FC236}">
                  <a16:creationId xmlns:a16="http://schemas.microsoft.com/office/drawing/2014/main" xmlns="" id="{DEB08C83-3D9B-0F30-17E5-45C8A8421FDB}"/>
                </a:ext>
              </a:extLst>
            </p:cNvPr>
            <p:cNvSpPr/>
            <p:nvPr/>
          </p:nvSpPr>
          <p:spPr>
            <a:xfrm>
              <a:off x="5349625" y="2400500"/>
              <a:ext cx="16425" cy="14475"/>
            </a:xfrm>
            <a:custGeom>
              <a:avLst/>
              <a:gdLst/>
              <a:ahLst/>
              <a:cxnLst/>
              <a:rect l="l" t="t" r="r" b="b"/>
              <a:pathLst>
                <a:path w="657" h="579" extrusionOk="0">
                  <a:moveTo>
                    <a:pt x="194" y="1"/>
                  </a:moveTo>
                  <a:lnTo>
                    <a:pt x="97" y="232"/>
                  </a:lnTo>
                  <a:lnTo>
                    <a:pt x="0" y="407"/>
                  </a:lnTo>
                  <a:lnTo>
                    <a:pt x="268" y="407"/>
                  </a:lnTo>
                  <a:lnTo>
                    <a:pt x="291" y="541"/>
                  </a:lnTo>
                  <a:lnTo>
                    <a:pt x="425" y="426"/>
                  </a:lnTo>
                  <a:lnTo>
                    <a:pt x="578" y="578"/>
                  </a:lnTo>
                  <a:lnTo>
                    <a:pt x="559" y="347"/>
                  </a:lnTo>
                  <a:lnTo>
                    <a:pt x="656" y="292"/>
                  </a:lnTo>
                  <a:lnTo>
                    <a:pt x="462" y="292"/>
                  </a:lnTo>
                  <a:lnTo>
                    <a:pt x="347" y="98"/>
                  </a:lnTo>
                  <a:lnTo>
                    <a:pt x="268" y="232"/>
                  </a:lnTo>
                  <a:lnTo>
                    <a:pt x="194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5" name="Google Shape;1320;p45">
              <a:extLst>
                <a:ext uri="{FF2B5EF4-FFF2-40B4-BE49-F238E27FC236}">
                  <a16:creationId xmlns:a16="http://schemas.microsoft.com/office/drawing/2014/main" xmlns="" id="{E1B817FA-9431-8F2C-6BD0-8F2C61FDD64C}"/>
                </a:ext>
              </a:extLst>
            </p:cNvPr>
            <p:cNvSpPr/>
            <p:nvPr/>
          </p:nvSpPr>
          <p:spPr>
            <a:xfrm>
              <a:off x="5277425" y="2376475"/>
              <a:ext cx="16900" cy="23125"/>
            </a:xfrm>
            <a:custGeom>
              <a:avLst/>
              <a:gdLst/>
              <a:ahLst/>
              <a:cxnLst/>
              <a:rect l="l" t="t" r="r" b="b"/>
              <a:pathLst>
                <a:path w="676" h="925" extrusionOk="0">
                  <a:moveTo>
                    <a:pt x="37" y="1"/>
                  </a:moveTo>
                  <a:cubicBezTo>
                    <a:pt x="0" y="213"/>
                    <a:pt x="0" y="481"/>
                    <a:pt x="0" y="731"/>
                  </a:cubicBezTo>
                  <a:lnTo>
                    <a:pt x="347" y="925"/>
                  </a:lnTo>
                  <a:lnTo>
                    <a:pt x="328" y="560"/>
                  </a:lnTo>
                  <a:lnTo>
                    <a:pt x="578" y="657"/>
                  </a:lnTo>
                  <a:lnTo>
                    <a:pt x="407" y="347"/>
                  </a:lnTo>
                  <a:lnTo>
                    <a:pt x="675" y="56"/>
                  </a:lnTo>
                  <a:lnTo>
                    <a:pt x="213" y="287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6" name="Google Shape;1321;p45">
              <a:extLst>
                <a:ext uri="{FF2B5EF4-FFF2-40B4-BE49-F238E27FC236}">
                  <a16:creationId xmlns:a16="http://schemas.microsoft.com/office/drawing/2014/main" xmlns="" id="{6AA82014-CEC1-7582-05D8-0F30C3A70BB9}"/>
                </a:ext>
              </a:extLst>
            </p:cNvPr>
            <p:cNvSpPr/>
            <p:nvPr/>
          </p:nvSpPr>
          <p:spPr>
            <a:xfrm>
              <a:off x="5325125" y="2513600"/>
              <a:ext cx="15850" cy="5800"/>
            </a:xfrm>
            <a:custGeom>
              <a:avLst/>
              <a:gdLst/>
              <a:ahLst/>
              <a:cxnLst/>
              <a:rect l="l" t="t" r="r" b="b"/>
              <a:pathLst>
                <a:path w="634" h="232" extrusionOk="0">
                  <a:moveTo>
                    <a:pt x="324" y="0"/>
                  </a:moveTo>
                  <a:lnTo>
                    <a:pt x="250" y="116"/>
                  </a:lnTo>
                  <a:lnTo>
                    <a:pt x="38" y="23"/>
                  </a:lnTo>
                  <a:lnTo>
                    <a:pt x="1" y="213"/>
                  </a:lnTo>
                  <a:lnTo>
                    <a:pt x="615" y="231"/>
                  </a:lnTo>
                  <a:lnTo>
                    <a:pt x="634" y="42"/>
                  </a:lnTo>
                  <a:lnTo>
                    <a:pt x="555" y="139"/>
                  </a:lnTo>
                  <a:lnTo>
                    <a:pt x="463" y="0"/>
                  </a:lnTo>
                  <a:lnTo>
                    <a:pt x="421" y="60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7" name="Google Shape;1322;p45">
              <a:extLst>
                <a:ext uri="{FF2B5EF4-FFF2-40B4-BE49-F238E27FC236}">
                  <a16:creationId xmlns:a16="http://schemas.microsoft.com/office/drawing/2014/main" xmlns="" id="{7DBF291D-AF27-AD65-CA86-0C3E36799F1A}"/>
                </a:ext>
              </a:extLst>
            </p:cNvPr>
            <p:cNvSpPr/>
            <p:nvPr/>
          </p:nvSpPr>
          <p:spPr>
            <a:xfrm>
              <a:off x="5270725" y="2376475"/>
              <a:ext cx="4750" cy="16900"/>
            </a:xfrm>
            <a:custGeom>
              <a:avLst/>
              <a:gdLst/>
              <a:ahLst/>
              <a:cxnLst/>
              <a:rect l="l" t="t" r="r" b="b"/>
              <a:pathLst>
                <a:path w="190" h="676" extrusionOk="0">
                  <a:moveTo>
                    <a:pt x="0" y="1"/>
                  </a:moveTo>
                  <a:lnTo>
                    <a:pt x="134" y="675"/>
                  </a:lnTo>
                  <a:lnTo>
                    <a:pt x="190" y="36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8" name="Google Shape;1323;p45">
              <a:extLst>
                <a:ext uri="{FF2B5EF4-FFF2-40B4-BE49-F238E27FC236}">
                  <a16:creationId xmlns:a16="http://schemas.microsoft.com/office/drawing/2014/main" xmlns="" id="{A9C357F3-49FD-0E66-134B-1FB0EF49109F}"/>
                </a:ext>
              </a:extLst>
            </p:cNvPr>
            <p:cNvSpPr/>
            <p:nvPr/>
          </p:nvSpPr>
          <p:spPr>
            <a:xfrm>
              <a:off x="5388675" y="2397150"/>
              <a:ext cx="5800" cy="13075"/>
            </a:xfrm>
            <a:custGeom>
              <a:avLst/>
              <a:gdLst/>
              <a:ahLst/>
              <a:cxnLst/>
              <a:rect l="l" t="t" r="r" b="b"/>
              <a:pathLst>
                <a:path w="232" h="523" extrusionOk="0">
                  <a:moveTo>
                    <a:pt x="231" y="1"/>
                  </a:moveTo>
                  <a:lnTo>
                    <a:pt x="0" y="269"/>
                  </a:lnTo>
                  <a:lnTo>
                    <a:pt x="0" y="523"/>
                  </a:lnTo>
                  <a:lnTo>
                    <a:pt x="231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pic>
        <p:nvPicPr>
          <p:cNvPr id="1387" name="Picture 1386">
            <a:extLst>
              <a:ext uri="{FF2B5EF4-FFF2-40B4-BE49-F238E27FC236}">
                <a16:creationId xmlns:a16="http://schemas.microsoft.com/office/drawing/2014/main" xmlns="" id="{D63A7C7E-403D-2325-A89E-1CB6F9EB2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393" y="694544"/>
            <a:ext cx="1082040" cy="1077252"/>
          </a:xfrm>
          <a:prstGeom prst="rect">
            <a:avLst/>
          </a:prstGeom>
        </p:spPr>
      </p:pic>
      <p:pic>
        <p:nvPicPr>
          <p:cNvPr id="1388" name="Picture 1387">
            <a:extLst>
              <a:ext uri="{FF2B5EF4-FFF2-40B4-BE49-F238E27FC236}">
                <a16:creationId xmlns:a16="http://schemas.microsoft.com/office/drawing/2014/main" xmlns="" id="{92863A00-DE9E-3E16-04C0-D19B88A523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47212" y="2555404"/>
            <a:ext cx="1082040" cy="1077252"/>
          </a:xfrm>
          <a:prstGeom prst="rect">
            <a:avLst/>
          </a:prstGeom>
        </p:spPr>
      </p:pic>
      <p:sp>
        <p:nvSpPr>
          <p:cNvPr id="479" name="Freeform 9">
            <a:extLst>
              <a:ext uri="{FF2B5EF4-FFF2-40B4-BE49-F238E27FC236}">
                <a16:creationId xmlns:a16="http://schemas.microsoft.com/office/drawing/2014/main" xmlns="" id="{0A8F0916-C0FD-02DD-22D5-1BC9197E5F9F}"/>
              </a:ext>
            </a:extLst>
          </p:cNvPr>
          <p:cNvSpPr/>
          <p:nvPr/>
        </p:nvSpPr>
        <p:spPr>
          <a:xfrm>
            <a:off x="0" y="2844572"/>
            <a:ext cx="2953599" cy="3715809"/>
          </a:xfrm>
          <a:custGeom>
            <a:avLst/>
            <a:gdLst/>
            <a:ahLst/>
            <a:cxnLst/>
            <a:rect l="l" t="t" r="r" b="b"/>
            <a:pathLst>
              <a:path w="5894451" h="8229600">
                <a:moveTo>
                  <a:pt x="0" y="0"/>
                </a:moveTo>
                <a:lnTo>
                  <a:pt x="5894451" y="0"/>
                </a:lnTo>
                <a:lnTo>
                  <a:pt x="5894451" y="8229600"/>
                </a:lnTo>
                <a:lnTo>
                  <a:pt x="0" y="822960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2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2B1A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375574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3E62CF3-1B8A-3D19-A73F-B3ADAA8A58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Rectangle: Rounded Corners 9">
            <a:extLst>
              <a:ext uri="{FF2B5EF4-FFF2-40B4-BE49-F238E27FC236}">
                <a16:creationId xmlns:a16="http://schemas.microsoft.com/office/drawing/2014/main" xmlns="" id="{181133E3-79AF-5182-3DE9-2F715507DAEF}"/>
              </a:ext>
            </a:extLst>
          </p:cNvPr>
          <p:cNvSpPr/>
          <p:nvPr/>
        </p:nvSpPr>
        <p:spPr>
          <a:xfrm>
            <a:off x="516000" y="439336"/>
            <a:ext cx="11160000" cy="5940000"/>
          </a:xfrm>
          <a:custGeom>
            <a:avLst/>
            <a:gdLst>
              <a:gd name="connsiteX0" fmla="*/ 0 w 11160000"/>
              <a:gd name="connsiteY0" fmla="*/ 303118 h 5940000"/>
              <a:gd name="connsiteX1" fmla="*/ 303118 w 11160000"/>
              <a:gd name="connsiteY1" fmla="*/ 0 h 5940000"/>
              <a:gd name="connsiteX2" fmla="*/ 962728 w 11160000"/>
              <a:gd name="connsiteY2" fmla="*/ 0 h 5940000"/>
              <a:gd name="connsiteX3" fmla="*/ 1305726 w 11160000"/>
              <a:gd name="connsiteY3" fmla="*/ 0 h 5940000"/>
              <a:gd name="connsiteX4" fmla="*/ 1859798 w 11160000"/>
              <a:gd name="connsiteY4" fmla="*/ 0 h 5940000"/>
              <a:gd name="connsiteX5" fmla="*/ 2730484 w 11160000"/>
              <a:gd name="connsiteY5" fmla="*/ 0 h 5940000"/>
              <a:gd name="connsiteX6" fmla="*/ 3073481 w 11160000"/>
              <a:gd name="connsiteY6" fmla="*/ 0 h 5940000"/>
              <a:gd name="connsiteX7" fmla="*/ 3416478 w 11160000"/>
              <a:gd name="connsiteY7" fmla="*/ 0 h 5940000"/>
              <a:gd name="connsiteX8" fmla="*/ 3865013 w 11160000"/>
              <a:gd name="connsiteY8" fmla="*/ 0 h 5940000"/>
              <a:gd name="connsiteX9" fmla="*/ 4524624 w 11160000"/>
              <a:gd name="connsiteY9" fmla="*/ 0 h 5940000"/>
              <a:gd name="connsiteX10" fmla="*/ 5078696 w 11160000"/>
              <a:gd name="connsiteY10" fmla="*/ 0 h 5940000"/>
              <a:gd name="connsiteX11" fmla="*/ 5738306 w 11160000"/>
              <a:gd name="connsiteY11" fmla="*/ 0 h 5940000"/>
              <a:gd name="connsiteX12" fmla="*/ 6503454 w 11160000"/>
              <a:gd name="connsiteY12" fmla="*/ 0 h 5940000"/>
              <a:gd name="connsiteX13" fmla="*/ 7268602 w 11160000"/>
              <a:gd name="connsiteY13" fmla="*/ 0 h 5940000"/>
              <a:gd name="connsiteX14" fmla="*/ 7822675 w 11160000"/>
              <a:gd name="connsiteY14" fmla="*/ 0 h 5940000"/>
              <a:gd name="connsiteX15" fmla="*/ 8587823 w 11160000"/>
              <a:gd name="connsiteY15" fmla="*/ 0 h 5940000"/>
              <a:gd name="connsiteX16" fmla="*/ 9458508 w 11160000"/>
              <a:gd name="connsiteY16" fmla="*/ 0 h 5940000"/>
              <a:gd name="connsiteX17" fmla="*/ 10856882 w 11160000"/>
              <a:gd name="connsiteY17" fmla="*/ 0 h 5940000"/>
              <a:gd name="connsiteX18" fmla="*/ 11160000 w 11160000"/>
              <a:gd name="connsiteY18" fmla="*/ 303118 h 5940000"/>
              <a:gd name="connsiteX19" fmla="*/ 11160000 w 11160000"/>
              <a:gd name="connsiteY19" fmla="*/ 916501 h 5940000"/>
              <a:gd name="connsiteX20" fmla="*/ 11160000 w 11160000"/>
              <a:gd name="connsiteY20" fmla="*/ 1476546 h 5940000"/>
              <a:gd name="connsiteX21" fmla="*/ 11160000 w 11160000"/>
              <a:gd name="connsiteY21" fmla="*/ 1983254 h 5940000"/>
              <a:gd name="connsiteX22" fmla="*/ 11160000 w 11160000"/>
              <a:gd name="connsiteY22" fmla="*/ 2756649 h 5940000"/>
              <a:gd name="connsiteX23" fmla="*/ 11160000 w 11160000"/>
              <a:gd name="connsiteY23" fmla="*/ 3530045 h 5940000"/>
              <a:gd name="connsiteX24" fmla="*/ 11160000 w 11160000"/>
              <a:gd name="connsiteY24" fmla="*/ 4303441 h 5940000"/>
              <a:gd name="connsiteX25" fmla="*/ 11160000 w 11160000"/>
              <a:gd name="connsiteY25" fmla="*/ 4863486 h 5940000"/>
              <a:gd name="connsiteX26" fmla="*/ 11160000 w 11160000"/>
              <a:gd name="connsiteY26" fmla="*/ 5636882 h 5940000"/>
              <a:gd name="connsiteX27" fmla="*/ 10856882 w 11160000"/>
              <a:gd name="connsiteY27" fmla="*/ 5940000 h 5940000"/>
              <a:gd name="connsiteX28" fmla="*/ 10197272 w 11160000"/>
              <a:gd name="connsiteY28" fmla="*/ 5940000 h 5940000"/>
              <a:gd name="connsiteX29" fmla="*/ 9854274 w 11160000"/>
              <a:gd name="connsiteY29" fmla="*/ 5940000 h 5940000"/>
              <a:gd name="connsiteX30" fmla="*/ 9300202 w 11160000"/>
              <a:gd name="connsiteY30" fmla="*/ 5940000 h 5940000"/>
              <a:gd name="connsiteX31" fmla="*/ 8535054 w 11160000"/>
              <a:gd name="connsiteY31" fmla="*/ 5940000 h 5940000"/>
              <a:gd name="connsiteX32" fmla="*/ 7875444 w 11160000"/>
              <a:gd name="connsiteY32" fmla="*/ 5940000 h 5940000"/>
              <a:gd name="connsiteX33" fmla="*/ 7110296 w 11160000"/>
              <a:gd name="connsiteY33" fmla="*/ 5940000 h 5940000"/>
              <a:gd name="connsiteX34" fmla="*/ 6345148 w 11160000"/>
              <a:gd name="connsiteY34" fmla="*/ 5940000 h 5940000"/>
              <a:gd name="connsiteX35" fmla="*/ 5474462 w 11160000"/>
              <a:gd name="connsiteY35" fmla="*/ 5940000 h 5940000"/>
              <a:gd name="connsiteX36" fmla="*/ 4603777 w 11160000"/>
              <a:gd name="connsiteY36" fmla="*/ 5940000 h 5940000"/>
              <a:gd name="connsiteX37" fmla="*/ 4049704 w 11160000"/>
              <a:gd name="connsiteY37" fmla="*/ 5940000 h 5940000"/>
              <a:gd name="connsiteX38" fmla="*/ 3179019 w 11160000"/>
              <a:gd name="connsiteY38" fmla="*/ 5940000 h 5940000"/>
              <a:gd name="connsiteX39" fmla="*/ 2624946 w 11160000"/>
              <a:gd name="connsiteY39" fmla="*/ 5940000 h 5940000"/>
              <a:gd name="connsiteX40" fmla="*/ 1859798 w 11160000"/>
              <a:gd name="connsiteY40" fmla="*/ 5940000 h 5940000"/>
              <a:gd name="connsiteX41" fmla="*/ 1200188 w 11160000"/>
              <a:gd name="connsiteY41" fmla="*/ 5940000 h 5940000"/>
              <a:gd name="connsiteX42" fmla="*/ 303118 w 11160000"/>
              <a:gd name="connsiteY42" fmla="*/ 5940000 h 5940000"/>
              <a:gd name="connsiteX43" fmla="*/ 0 w 11160000"/>
              <a:gd name="connsiteY43" fmla="*/ 5636882 h 5940000"/>
              <a:gd name="connsiteX44" fmla="*/ 0 w 11160000"/>
              <a:gd name="connsiteY44" fmla="*/ 4863486 h 5940000"/>
              <a:gd name="connsiteX45" fmla="*/ 0 w 11160000"/>
              <a:gd name="connsiteY45" fmla="*/ 4356779 h 5940000"/>
              <a:gd name="connsiteX46" fmla="*/ 0 w 11160000"/>
              <a:gd name="connsiteY46" fmla="*/ 3743396 h 5940000"/>
              <a:gd name="connsiteX47" fmla="*/ 0 w 11160000"/>
              <a:gd name="connsiteY47" fmla="*/ 3130013 h 5940000"/>
              <a:gd name="connsiteX48" fmla="*/ 0 w 11160000"/>
              <a:gd name="connsiteY48" fmla="*/ 2569968 h 5940000"/>
              <a:gd name="connsiteX49" fmla="*/ 0 w 11160000"/>
              <a:gd name="connsiteY49" fmla="*/ 1849910 h 5940000"/>
              <a:gd name="connsiteX50" fmla="*/ 0 w 11160000"/>
              <a:gd name="connsiteY50" fmla="*/ 1129851 h 5940000"/>
              <a:gd name="connsiteX51" fmla="*/ 0 w 11160000"/>
              <a:gd name="connsiteY51" fmla="*/ 303118 h 59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1160000" h="5940000" fill="none" extrusionOk="0">
                <a:moveTo>
                  <a:pt x="0" y="303118"/>
                </a:moveTo>
                <a:cubicBezTo>
                  <a:pt x="-459" y="109024"/>
                  <a:pt x="129738" y="-35853"/>
                  <a:pt x="303118" y="0"/>
                </a:cubicBezTo>
                <a:cubicBezTo>
                  <a:pt x="594592" y="-4444"/>
                  <a:pt x="649950" y="-29171"/>
                  <a:pt x="962728" y="0"/>
                </a:cubicBezTo>
                <a:cubicBezTo>
                  <a:pt x="1275506" y="29171"/>
                  <a:pt x="1187107" y="-2207"/>
                  <a:pt x="1305726" y="0"/>
                </a:cubicBezTo>
                <a:cubicBezTo>
                  <a:pt x="1424345" y="2207"/>
                  <a:pt x="1635286" y="-1105"/>
                  <a:pt x="1859798" y="0"/>
                </a:cubicBezTo>
                <a:cubicBezTo>
                  <a:pt x="2084310" y="1105"/>
                  <a:pt x="2516684" y="35275"/>
                  <a:pt x="2730484" y="0"/>
                </a:cubicBezTo>
                <a:cubicBezTo>
                  <a:pt x="2944284" y="-35275"/>
                  <a:pt x="2925668" y="-9463"/>
                  <a:pt x="3073481" y="0"/>
                </a:cubicBezTo>
                <a:cubicBezTo>
                  <a:pt x="3221294" y="9463"/>
                  <a:pt x="3260137" y="-3620"/>
                  <a:pt x="3416478" y="0"/>
                </a:cubicBezTo>
                <a:cubicBezTo>
                  <a:pt x="3572819" y="3620"/>
                  <a:pt x="3658655" y="-15039"/>
                  <a:pt x="3865013" y="0"/>
                </a:cubicBezTo>
                <a:cubicBezTo>
                  <a:pt x="4071372" y="15039"/>
                  <a:pt x="4314059" y="10973"/>
                  <a:pt x="4524624" y="0"/>
                </a:cubicBezTo>
                <a:cubicBezTo>
                  <a:pt x="4735189" y="-10973"/>
                  <a:pt x="4825901" y="2072"/>
                  <a:pt x="5078696" y="0"/>
                </a:cubicBezTo>
                <a:cubicBezTo>
                  <a:pt x="5331491" y="-2072"/>
                  <a:pt x="5574403" y="5006"/>
                  <a:pt x="5738306" y="0"/>
                </a:cubicBezTo>
                <a:cubicBezTo>
                  <a:pt x="5902209" y="-5006"/>
                  <a:pt x="6272563" y="16404"/>
                  <a:pt x="6503454" y="0"/>
                </a:cubicBezTo>
                <a:cubicBezTo>
                  <a:pt x="6734345" y="-16404"/>
                  <a:pt x="6887240" y="27933"/>
                  <a:pt x="7268602" y="0"/>
                </a:cubicBezTo>
                <a:cubicBezTo>
                  <a:pt x="7649964" y="-27933"/>
                  <a:pt x="7694547" y="15980"/>
                  <a:pt x="7822675" y="0"/>
                </a:cubicBezTo>
                <a:cubicBezTo>
                  <a:pt x="7950803" y="-15980"/>
                  <a:pt x="8413412" y="2507"/>
                  <a:pt x="8587823" y="0"/>
                </a:cubicBezTo>
                <a:cubicBezTo>
                  <a:pt x="8762234" y="-2507"/>
                  <a:pt x="9170658" y="-21565"/>
                  <a:pt x="9458508" y="0"/>
                </a:cubicBezTo>
                <a:cubicBezTo>
                  <a:pt x="9746358" y="21565"/>
                  <a:pt x="10264976" y="33661"/>
                  <a:pt x="10856882" y="0"/>
                </a:cubicBezTo>
                <a:cubicBezTo>
                  <a:pt x="11015249" y="-4939"/>
                  <a:pt x="11157490" y="140142"/>
                  <a:pt x="11160000" y="303118"/>
                </a:cubicBezTo>
                <a:cubicBezTo>
                  <a:pt x="11183339" y="580109"/>
                  <a:pt x="11164493" y="716227"/>
                  <a:pt x="11160000" y="916501"/>
                </a:cubicBezTo>
                <a:cubicBezTo>
                  <a:pt x="11155507" y="1116775"/>
                  <a:pt x="11160184" y="1224573"/>
                  <a:pt x="11160000" y="1476546"/>
                </a:cubicBezTo>
                <a:cubicBezTo>
                  <a:pt x="11159816" y="1728519"/>
                  <a:pt x="11158104" y="1762362"/>
                  <a:pt x="11160000" y="1983254"/>
                </a:cubicBezTo>
                <a:cubicBezTo>
                  <a:pt x="11161896" y="2204146"/>
                  <a:pt x="11165617" y="2506599"/>
                  <a:pt x="11160000" y="2756649"/>
                </a:cubicBezTo>
                <a:cubicBezTo>
                  <a:pt x="11154383" y="3006699"/>
                  <a:pt x="11192214" y="3223193"/>
                  <a:pt x="11160000" y="3530045"/>
                </a:cubicBezTo>
                <a:cubicBezTo>
                  <a:pt x="11127786" y="3836897"/>
                  <a:pt x="11124016" y="4045414"/>
                  <a:pt x="11160000" y="4303441"/>
                </a:cubicBezTo>
                <a:cubicBezTo>
                  <a:pt x="11195984" y="4561468"/>
                  <a:pt x="11139606" y="4701152"/>
                  <a:pt x="11160000" y="4863486"/>
                </a:cubicBezTo>
                <a:cubicBezTo>
                  <a:pt x="11180394" y="5025820"/>
                  <a:pt x="11166231" y="5467040"/>
                  <a:pt x="11160000" y="5636882"/>
                </a:cubicBezTo>
                <a:cubicBezTo>
                  <a:pt x="11177700" y="5790838"/>
                  <a:pt x="11007162" y="5920042"/>
                  <a:pt x="10856882" y="5940000"/>
                </a:cubicBezTo>
                <a:cubicBezTo>
                  <a:pt x="10600635" y="5940495"/>
                  <a:pt x="10416771" y="5957384"/>
                  <a:pt x="10197272" y="5940000"/>
                </a:cubicBezTo>
                <a:cubicBezTo>
                  <a:pt x="9977773" y="5922617"/>
                  <a:pt x="9989195" y="5941285"/>
                  <a:pt x="9854274" y="5940000"/>
                </a:cubicBezTo>
                <a:cubicBezTo>
                  <a:pt x="9719353" y="5938715"/>
                  <a:pt x="9525505" y="5947647"/>
                  <a:pt x="9300202" y="5940000"/>
                </a:cubicBezTo>
                <a:cubicBezTo>
                  <a:pt x="9074899" y="5932353"/>
                  <a:pt x="8718964" y="5911680"/>
                  <a:pt x="8535054" y="5940000"/>
                </a:cubicBezTo>
                <a:cubicBezTo>
                  <a:pt x="8351144" y="5968320"/>
                  <a:pt x="8199815" y="5932571"/>
                  <a:pt x="7875444" y="5940000"/>
                </a:cubicBezTo>
                <a:cubicBezTo>
                  <a:pt x="7551073" y="5947430"/>
                  <a:pt x="7376334" y="5953185"/>
                  <a:pt x="7110296" y="5940000"/>
                </a:cubicBezTo>
                <a:cubicBezTo>
                  <a:pt x="6844258" y="5926815"/>
                  <a:pt x="6612628" y="5963800"/>
                  <a:pt x="6345148" y="5940000"/>
                </a:cubicBezTo>
                <a:cubicBezTo>
                  <a:pt x="6077668" y="5916200"/>
                  <a:pt x="5904826" y="5956229"/>
                  <a:pt x="5474462" y="5940000"/>
                </a:cubicBezTo>
                <a:cubicBezTo>
                  <a:pt x="5044098" y="5923771"/>
                  <a:pt x="4813248" y="5910087"/>
                  <a:pt x="4603777" y="5940000"/>
                </a:cubicBezTo>
                <a:cubicBezTo>
                  <a:pt x="4394307" y="5969913"/>
                  <a:pt x="4311810" y="5917763"/>
                  <a:pt x="4049704" y="5940000"/>
                </a:cubicBezTo>
                <a:cubicBezTo>
                  <a:pt x="3787598" y="5962237"/>
                  <a:pt x="3428068" y="5921596"/>
                  <a:pt x="3179019" y="5940000"/>
                </a:cubicBezTo>
                <a:cubicBezTo>
                  <a:pt x="2929970" y="5958404"/>
                  <a:pt x="2813997" y="5953987"/>
                  <a:pt x="2624946" y="5940000"/>
                </a:cubicBezTo>
                <a:cubicBezTo>
                  <a:pt x="2435895" y="5926013"/>
                  <a:pt x="2231907" y="5943139"/>
                  <a:pt x="1859798" y="5940000"/>
                </a:cubicBezTo>
                <a:cubicBezTo>
                  <a:pt x="1487689" y="5936861"/>
                  <a:pt x="1474488" y="5967208"/>
                  <a:pt x="1200188" y="5940000"/>
                </a:cubicBezTo>
                <a:cubicBezTo>
                  <a:pt x="925888" y="5912793"/>
                  <a:pt x="482917" y="5968406"/>
                  <a:pt x="303118" y="5940000"/>
                </a:cubicBezTo>
                <a:cubicBezTo>
                  <a:pt x="137311" y="5965872"/>
                  <a:pt x="-2854" y="5765274"/>
                  <a:pt x="0" y="5636882"/>
                </a:cubicBezTo>
                <a:cubicBezTo>
                  <a:pt x="8456" y="5346971"/>
                  <a:pt x="-2670" y="5157459"/>
                  <a:pt x="0" y="4863486"/>
                </a:cubicBezTo>
                <a:cubicBezTo>
                  <a:pt x="2670" y="4569513"/>
                  <a:pt x="-10421" y="4524644"/>
                  <a:pt x="0" y="4356779"/>
                </a:cubicBezTo>
                <a:cubicBezTo>
                  <a:pt x="10421" y="4188914"/>
                  <a:pt x="-13022" y="3992361"/>
                  <a:pt x="0" y="3743396"/>
                </a:cubicBezTo>
                <a:cubicBezTo>
                  <a:pt x="13022" y="3494431"/>
                  <a:pt x="-21464" y="3340994"/>
                  <a:pt x="0" y="3130013"/>
                </a:cubicBezTo>
                <a:cubicBezTo>
                  <a:pt x="21464" y="2919032"/>
                  <a:pt x="-12313" y="2777755"/>
                  <a:pt x="0" y="2569968"/>
                </a:cubicBezTo>
                <a:cubicBezTo>
                  <a:pt x="12313" y="2362182"/>
                  <a:pt x="14102" y="2132172"/>
                  <a:pt x="0" y="1849910"/>
                </a:cubicBezTo>
                <a:cubicBezTo>
                  <a:pt x="-14102" y="1567648"/>
                  <a:pt x="3688" y="1423008"/>
                  <a:pt x="0" y="1129851"/>
                </a:cubicBezTo>
                <a:cubicBezTo>
                  <a:pt x="-3688" y="836694"/>
                  <a:pt x="-30859" y="571141"/>
                  <a:pt x="0" y="303118"/>
                </a:cubicBezTo>
                <a:close/>
              </a:path>
              <a:path w="11160000" h="5940000" stroke="0" extrusionOk="0">
                <a:moveTo>
                  <a:pt x="0" y="303118"/>
                </a:moveTo>
                <a:cubicBezTo>
                  <a:pt x="-13170" y="163376"/>
                  <a:pt x="162397" y="6766"/>
                  <a:pt x="303118" y="0"/>
                </a:cubicBezTo>
                <a:cubicBezTo>
                  <a:pt x="480887" y="6829"/>
                  <a:pt x="659206" y="-8483"/>
                  <a:pt x="751653" y="0"/>
                </a:cubicBezTo>
                <a:cubicBezTo>
                  <a:pt x="844100" y="8483"/>
                  <a:pt x="1062568" y="-5446"/>
                  <a:pt x="1305726" y="0"/>
                </a:cubicBezTo>
                <a:cubicBezTo>
                  <a:pt x="1548884" y="5446"/>
                  <a:pt x="1755477" y="4658"/>
                  <a:pt x="2176411" y="0"/>
                </a:cubicBezTo>
                <a:cubicBezTo>
                  <a:pt x="2597346" y="-4658"/>
                  <a:pt x="2642372" y="22298"/>
                  <a:pt x="2941559" y="0"/>
                </a:cubicBezTo>
                <a:cubicBezTo>
                  <a:pt x="3240746" y="-22298"/>
                  <a:pt x="3555472" y="-24925"/>
                  <a:pt x="3812245" y="0"/>
                </a:cubicBezTo>
                <a:cubicBezTo>
                  <a:pt x="4069018" y="24925"/>
                  <a:pt x="4054404" y="3117"/>
                  <a:pt x="4260780" y="0"/>
                </a:cubicBezTo>
                <a:cubicBezTo>
                  <a:pt x="4467157" y="-3117"/>
                  <a:pt x="4691553" y="27116"/>
                  <a:pt x="4814852" y="0"/>
                </a:cubicBezTo>
                <a:cubicBezTo>
                  <a:pt x="4938151" y="-27116"/>
                  <a:pt x="5325669" y="-21516"/>
                  <a:pt x="5580000" y="0"/>
                </a:cubicBezTo>
                <a:cubicBezTo>
                  <a:pt x="5834331" y="21516"/>
                  <a:pt x="5805773" y="13446"/>
                  <a:pt x="5922997" y="0"/>
                </a:cubicBezTo>
                <a:cubicBezTo>
                  <a:pt x="6040221" y="-13446"/>
                  <a:pt x="6189488" y="5418"/>
                  <a:pt x="6371532" y="0"/>
                </a:cubicBezTo>
                <a:cubicBezTo>
                  <a:pt x="6553576" y="-5418"/>
                  <a:pt x="7001248" y="8733"/>
                  <a:pt x="7242218" y="0"/>
                </a:cubicBezTo>
                <a:cubicBezTo>
                  <a:pt x="7483188" y="-8733"/>
                  <a:pt x="7446722" y="-16834"/>
                  <a:pt x="7585215" y="0"/>
                </a:cubicBezTo>
                <a:cubicBezTo>
                  <a:pt x="7723708" y="16834"/>
                  <a:pt x="8025878" y="11261"/>
                  <a:pt x="8244825" y="0"/>
                </a:cubicBezTo>
                <a:cubicBezTo>
                  <a:pt x="8463772" y="-11261"/>
                  <a:pt x="8567271" y="-11362"/>
                  <a:pt x="8693360" y="0"/>
                </a:cubicBezTo>
                <a:cubicBezTo>
                  <a:pt x="8819449" y="11362"/>
                  <a:pt x="9281110" y="-33917"/>
                  <a:pt x="9458508" y="0"/>
                </a:cubicBezTo>
                <a:cubicBezTo>
                  <a:pt x="9635906" y="33917"/>
                  <a:pt x="10211970" y="-59527"/>
                  <a:pt x="10856882" y="0"/>
                </a:cubicBezTo>
                <a:cubicBezTo>
                  <a:pt x="11023641" y="23772"/>
                  <a:pt x="11163789" y="152892"/>
                  <a:pt x="11160000" y="303118"/>
                </a:cubicBezTo>
                <a:cubicBezTo>
                  <a:pt x="11194122" y="564935"/>
                  <a:pt x="11186927" y="822649"/>
                  <a:pt x="11160000" y="1023176"/>
                </a:cubicBezTo>
                <a:cubicBezTo>
                  <a:pt x="11133073" y="1223703"/>
                  <a:pt x="11187496" y="1394257"/>
                  <a:pt x="11160000" y="1636559"/>
                </a:cubicBezTo>
                <a:cubicBezTo>
                  <a:pt x="11132504" y="1878861"/>
                  <a:pt x="11168509" y="2079534"/>
                  <a:pt x="11160000" y="2196604"/>
                </a:cubicBezTo>
                <a:cubicBezTo>
                  <a:pt x="11151491" y="2313674"/>
                  <a:pt x="11146188" y="2633801"/>
                  <a:pt x="11160000" y="2756649"/>
                </a:cubicBezTo>
                <a:cubicBezTo>
                  <a:pt x="11173812" y="2879497"/>
                  <a:pt x="11132476" y="3142314"/>
                  <a:pt x="11160000" y="3316695"/>
                </a:cubicBezTo>
                <a:cubicBezTo>
                  <a:pt x="11187524" y="3491076"/>
                  <a:pt x="11153588" y="3702272"/>
                  <a:pt x="11160000" y="3930078"/>
                </a:cubicBezTo>
                <a:cubicBezTo>
                  <a:pt x="11166412" y="4157884"/>
                  <a:pt x="11185777" y="4341332"/>
                  <a:pt x="11160000" y="4543460"/>
                </a:cubicBezTo>
                <a:cubicBezTo>
                  <a:pt x="11134223" y="4745588"/>
                  <a:pt x="11125917" y="5415548"/>
                  <a:pt x="11160000" y="5636882"/>
                </a:cubicBezTo>
                <a:cubicBezTo>
                  <a:pt x="11132208" y="5810680"/>
                  <a:pt x="11049089" y="5938000"/>
                  <a:pt x="10856882" y="5940000"/>
                </a:cubicBezTo>
                <a:cubicBezTo>
                  <a:pt x="10538011" y="5913832"/>
                  <a:pt x="10248359" y="5953645"/>
                  <a:pt x="9986196" y="5940000"/>
                </a:cubicBezTo>
                <a:cubicBezTo>
                  <a:pt x="9724033" y="5926355"/>
                  <a:pt x="9486571" y="5973792"/>
                  <a:pt x="9221049" y="5940000"/>
                </a:cubicBezTo>
                <a:cubicBezTo>
                  <a:pt x="8955527" y="5906208"/>
                  <a:pt x="8598476" y="5914076"/>
                  <a:pt x="8350363" y="5940000"/>
                </a:cubicBezTo>
                <a:cubicBezTo>
                  <a:pt x="8102250" y="5965924"/>
                  <a:pt x="8088725" y="5952647"/>
                  <a:pt x="8007366" y="5940000"/>
                </a:cubicBezTo>
                <a:cubicBezTo>
                  <a:pt x="7926007" y="5927353"/>
                  <a:pt x="7622383" y="5953624"/>
                  <a:pt x="7242218" y="5940000"/>
                </a:cubicBezTo>
                <a:cubicBezTo>
                  <a:pt x="6862053" y="5926376"/>
                  <a:pt x="6739835" y="5913271"/>
                  <a:pt x="6477070" y="5940000"/>
                </a:cubicBezTo>
                <a:cubicBezTo>
                  <a:pt x="6214305" y="5966729"/>
                  <a:pt x="5870737" y="5904606"/>
                  <a:pt x="5711922" y="5940000"/>
                </a:cubicBezTo>
                <a:cubicBezTo>
                  <a:pt x="5553107" y="5975394"/>
                  <a:pt x="5409038" y="5920206"/>
                  <a:pt x="5157849" y="5940000"/>
                </a:cubicBezTo>
                <a:cubicBezTo>
                  <a:pt x="4906660" y="5959794"/>
                  <a:pt x="4634805" y="5911909"/>
                  <a:pt x="4498239" y="5940000"/>
                </a:cubicBezTo>
                <a:cubicBezTo>
                  <a:pt x="4361673" y="5968092"/>
                  <a:pt x="4238275" y="5936424"/>
                  <a:pt x="4155242" y="5940000"/>
                </a:cubicBezTo>
                <a:cubicBezTo>
                  <a:pt x="4072209" y="5943576"/>
                  <a:pt x="3901532" y="5956575"/>
                  <a:pt x="3812245" y="5940000"/>
                </a:cubicBezTo>
                <a:cubicBezTo>
                  <a:pt x="3722958" y="5923425"/>
                  <a:pt x="3354515" y="5945313"/>
                  <a:pt x="2941559" y="5940000"/>
                </a:cubicBezTo>
                <a:cubicBezTo>
                  <a:pt x="2528603" y="5934687"/>
                  <a:pt x="2613631" y="5934740"/>
                  <a:pt x="2387486" y="5940000"/>
                </a:cubicBezTo>
                <a:cubicBezTo>
                  <a:pt x="2161341" y="5945260"/>
                  <a:pt x="1938028" y="5983494"/>
                  <a:pt x="1516801" y="5940000"/>
                </a:cubicBezTo>
                <a:cubicBezTo>
                  <a:pt x="1095574" y="5896506"/>
                  <a:pt x="774011" y="5977315"/>
                  <a:pt x="303118" y="5940000"/>
                </a:cubicBezTo>
                <a:cubicBezTo>
                  <a:pt x="176541" y="5936160"/>
                  <a:pt x="15057" y="5833295"/>
                  <a:pt x="0" y="5636882"/>
                </a:cubicBezTo>
                <a:cubicBezTo>
                  <a:pt x="41" y="5475725"/>
                  <a:pt x="-7985" y="5287136"/>
                  <a:pt x="0" y="4970162"/>
                </a:cubicBezTo>
                <a:cubicBezTo>
                  <a:pt x="7985" y="4653188"/>
                  <a:pt x="31068" y="4544701"/>
                  <a:pt x="0" y="4250103"/>
                </a:cubicBezTo>
                <a:cubicBezTo>
                  <a:pt x="-31068" y="3955505"/>
                  <a:pt x="30403" y="3803275"/>
                  <a:pt x="0" y="3530045"/>
                </a:cubicBezTo>
                <a:cubicBezTo>
                  <a:pt x="-30403" y="3256815"/>
                  <a:pt x="17082" y="2962701"/>
                  <a:pt x="0" y="2809987"/>
                </a:cubicBezTo>
                <a:cubicBezTo>
                  <a:pt x="-17082" y="2657273"/>
                  <a:pt x="13201" y="2474315"/>
                  <a:pt x="0" y="2143267"/>
                </a:cubicBezTo>
                <a:cubicBezTo>
                  <a:pt x="-13201" y="1812219"/>
                  <a:pt x="-33271" y="1680821"/>
                  <a:pt x="0" y="1423208"/>
                </a:cubicBezTo>
                <a:cubicBezTo>
                  <a:pt x="33271" y="1165595"/>
                  <a:pt x="-41543" y="613062"/>
                  <a:pt x="0" y="303118"/>
                </a:cubicBezTo>
                <a:close/>
              </a:path>
            </a:pathLst>
          </a:custGeom>
          <a:solidFill>
            <a:schemeClr val="bg1"/>
          </a:solidFill>
          <a:ln w="28575" cap="rnd" cmpd="thinThick">
            <a:solidFill>
              <a:srgbClr val="2B4C18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58E7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8F6F8DDD-E72C-207C-E1CC-6B045B6E92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784" y="-2495330"/>
            <a:ext cx="13319094" cy="546932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3A0201C-6114-757D-A6A4-09F97AED4D9B}"/>
              </a:ext>
            </a:extLst>
          </p:cNvPr>
          <p:cNvSpPr txBox="1"/>
          <p:nvPr/>
        </p:nvSpPr>
        <p:spPr>
          <a:xfrm>
            <a:off x="2167887" y="723254"/>
            <a:ext cx="7808887" cy="2165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30000"/>
              </a:lnSpc>
              <a:defRPr/>
            </a:pPr>
            <a:r>
              <a:rPr lang="en-US" sz="5400" b="1" dirty="0" err="1"/>
              <a:t>Trò</a:t>
            </a:r>
            <a:r>
              <a:rPr lang="en-US" sz="5400" b="1" dirty="0"/>
              <a:t> </a:t>
            </a:r>
            <a:r>
              <a:rPr lang="en-US" sz="5400" b="1" dirty="0" err="1"/>
              <a:t>chơi</a:t>
            </a:r>
            <a:r>
              <a:rPr lang="en-US" sz="5400" b="1" dirty="0"/>
              <a:t>: </a:t>
            </a:r>
            <a:r>
              <a:rPr lang="en-US" sz="5400" b="1" i="1" dirty="0" err="1"/>
              <a:t>Thi</a:t>
            </a:r>
            <a:r>
              <a:rPr lang="en-US" sz="5400" b="1" i="1" dirty="0"/>
              <a:t> </a:t>
            </a:r>
            <a:r>
              <a:rPr lang="en-US" sz="5400" b="1" i="1" dirty="0" err="1"/>
              <a:t>đọc</a:t>
            </a:r>
            <a:r>
              <a:rPr lang="en-US" sz="5400" b="1" i="1" dirty="0"/>
              <a:t> ca dao, </a:t>
            </a:r>
            <a:r>
              <a:rPr lang="en-US" sz="5400" b="1" i="1" dirty="0" err="1"/>
              <a:t>tục</a:t>
            </a:r>
            <a:r>
              <a:rPr lang="en-US" sz="5400" b="1" i="1" dirty="0"/>
              <a:t> </a:t>
            </a:r>
            <a:r>
              <a:rPr lang="en-US" sz="5400" b="1" i="1" dirty="0" err="1"/>
              <a:t>ngữ</a:t>
            </a:r>
            <a:r>
              <a:rPr lang="en-US" sz="5400" b="1" i="1" dirty="0"/>
              <a:t>, </a:t>
            </a:r>
            <a:r>
              <a:rPr lang="en-US" sz="5400" b="1" i="1" dirty="0" err="1"/>
              <a:t>thơ</a:t>
            </a:r>
            <a:r>
              <a:rPr lang="en-US" sz="5400" b="1" i="1" dirty="0"/>
              <a:t> </a:t>
            </a:r>
            <a:r>
              <a:rPr lang="en-US" sz="5400" b="1" i="1" dirty="0" err="1"/>
              <a:t>về</a:t>
            </a:r>
            <a:r>
              <a:rPr lang="en-US" sz="5400" b="1" i="1" dirty="0"/>
              <a:t> </a:t>
            </a:r>
            <a:r>
              <a:rPr lang="en-US" sz="5400" b="1" i="1" dirty="0" err="1"/>
              <a:t>hàng</a:t>
            </a:r>
            <a:r>
              <a:rPr lang="en-US" sz="5400" b="1" i="1" dirty="0"/>
              <a:t> </a:t>
            </a:r>
            <a:r>
              <a:rPr lang="en-US" sz="5400" b="1" i="1" dirty="0" err="1"/>
              <a:t>xóm</a:t>
            </a:r>
            <a:r>
              <a:rPr lang="en-US" sz="5400" b="1" i="1" dirty="0"/>
              <a:t>. </a:t>
            </a:r>
            <a:endParaRPr kumimoji="0" lang="en-US" sz="80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UTM Avo" panose="02040603050506020204" pitchFamily="18" charset="0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AF706CC-5086-30CF-767D-5A7681673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907024"/>
            <a:ext cx="12192000" cy="950976"/>
          </a:xfrm>
          <a:prstGeom prst="rect">
            <a:avLst/>
          </a:prstGeom>
        </p:spPr>
      </p:pic>
      <p:pic>
        <p:nvPicPr>
          <p:cNvPr id="8" name="Picture 7" descr="A picture containing clipart, doll&#10;&#10;Description automatically generated">
            <a:extLst>
              <a:ext uri="{FF2B5EF4-FFF2-40B4-BE49-F238E27FC236}">
                <a16:creationId xmlns:a16="http://schemas.microsoft.com/office/drawing/2014/main" xmlns="" id="{7F6FB24B-9336-D0FB-A529-BAA7FA16C4F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937" b="91549" l="9994" r="89942">
                        <a14:foregroundMark x1="48415" y1="8937" x2="59217" y2="10635"/>
                        <a14:foregroundMark x1="46475" y1="91549" x2="49612" y2="8762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5932" y="2054559"/>
            <a:ext cx="6319162" cy="5055088"/>
          </a:xfrm>
          <a:prstGeom prst="rect">
            <a:avLst/>
          </a:prstGeom>
        </p:spPr>
      </p:pic>
      <p:pic>
        <p:nvPicPr>
          <p:cNvPr id="9" name="Picture 8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1A71FE24-5D44-6225-0BC3-89F0105FE13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7481" b="91913" l="9994" r="89942">
                        <a14:foregroundMark x1="51843" y1="91953" x2="50679" y2="87586"/>
                        <a14:foregroundMark x1="56242" y1="90780" x2="54851" y2="85564"/>
                        <a14:foregroundMark x1="46960" y1="7481" x2="45116" y2="954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58581" y="2180947"/>
            <a:ext cx="6087309" cy="4869614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xmlns="" id="{39DEF043-7909-67E1-6FB2-D0CE7ADE27CD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66850" y="3697245"/>
            <a:ext cx="2600001" cy="2437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LINE Creators' Stickers - happy bunny 1 Example with GIF Animation">
            <a:extLst>
              <a:ext uri="{FF2B5EF4-FFF2-40B4-BE49-F238E27FC236}">
                <a16:creationId xmlns:a16="http://schemas.microsoft.com/office/drawing/2014/main" xmlns="" id="{E5376C8D-1455-EE35-8F9E-718F47E678F3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7974" y="3566295"/>
            <a:ext cx="2699631" cy="2530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3765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1" descr="5947678d5d2f8">
            <a:extLst>
              <a:ext uri="{FF2B5EF4-FFF2-40B4-BE49-F238E27FC236}">
                <a16:creationId xmlns:a16="http://schemas.microsoft.com/office/drawing/2014/main" xmlns="" id="{7ADF382C-9599-04D1-7B87-C8F996284B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4605" y="-210489"/>
            <a:ext cx="7286262" cy="7053249"/>
          </a:xfrm>
          <a:prstGeom prst="rect">
            <a:avLst/>
          </a:prstGeom>
        </p:spPr>
      </p:pic>
      <p:pic>
        <p:nvPicPr>
          <p:cNvPr id="9" name="Picture 8" descr="Pin on buongiorno">
            <a:extLst>
              <a:ext uri="{FF2B5EF4-FFF2-40B4-BE49-F238E27FC236}">
                <a16:creationId xmlns:a16="http://schemas.microsoft.com/office/drawing/2014/main" xmlns="" id="{AC8AC839-03C2-0D7C-0DC0-33A2A9A81CF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732" y="15240"/>
            <a:ext cx="1309490" cy="1348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4">
            <a:extLst>
              <a:ext uri="{FF2B5EF4-FFF2-40B4-BE49-F238E27FC236}">
                <a16:creationId xmlns:a16="http://schemas.microsoft.com/office/drawing/2014/main" xmlns="" id="{7F73603C-CB74-F98C-A71B-BBBD0E2DA9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4000518" y="319472"/>
            <a:ext cx="7630886" cy="5472753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0257E7B6-15FD-D5C8-B2CB-36C275A560FA}"/>
              </a:ext>
            </a:extLst>
          </p:cNvPr>
          <p:cNvGrpSpPr/>
          <p:nvPr/>
        </p:nvGrpSpPr>
        <p:grpSpPr>
          <a:xfrm>
            <a:off x="3628526" y="-24180"/>
            <a:ext cx="6035874" cy="1356443"/>
            <a:chOff x="-2615447" y="-2410"/>
            <a:chExt cx="7172326" cy="148284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xmlns="" id="{873E7005-9D06-B97E-96A7-46F19545DF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186" t="37830" r="15924" b="37830"/>
            <a:stretch/>
          </p:blipFill>
          <p:spPr>
            <a:xfrm flipH="1">
              <a:off x="-2615447" y="4437"/>
              <a:ext cx="7172326" cy="147600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34A45979-E683-CE18-0F4E-E80B8C9F8BDD}"/>
                </a:ext>
              </a:extLst>
            </p:cNvPr>
            <p:cNvSpPr txBox="1"/>
            <p:nvPr/>
          </p:nvSpPr>
          <p:spPr>
            <a:xfrm>
              <a:off x="-774285" y="-2410"/>
              <a:ext cx="4975816" cy="1219466"/>
            </a:xfrm>
            <a:prstGeom prst="rect">
              <a:avLst/>
            </a:prstGeom>
            <a:noFill/>
          </p:spPr>
          <p:txBody>
            <a:bodyPr wrap="none" rtlCol="0">
              <a:prstTxWarp prst="textWave1">
                <a:avLst>
                  <a:gd name="adj1" fmla="val 12500"/>
                  <a:gd name="adj2" fmla="val -1300"/>
                </a:avLst>
              </a:prstTxWarp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 err="1">
                  <a:solidFill>
                    <a:srgbClr val="003399"/>
                  </a:solidFill>
                  <a:latin typeface="Calibri" panose="020F0502020204030204"/>
                </a:rPr>
                <a:t>Dặn</a:t>
              </a:r>
              <a:r>
                <a:rPr lang="en-US" sz="1400" b="1" dirty="0">
                  <a:solidFill>
                    <a:srgbClr val="003399"/>
                  </a:solidFill>
                  <a:latin typeface="Calibri" panose="020F0502020204030204"/>
                </a:rPr>
                <a:t> </a:t>
              </a:r>
              <a:r>
                <a:rPr lang="en-US" sz="1400" b="1" dirty="0" err="1">
                  <a:solidFill>
                    <a:srgbClr val="003399"/>
                  </a:solidFill>
                  <a:latin typeface="Calibri" panose="020F0502020204030204"/>
                </a:rPr>
                <a:t>dò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1A1DE23E-CDDB-EB17-2024-818190E3BAB0}"/>
              </a:ext>
            </a:extLst>
          </p:cNvPr>
          <p:cNvSpPr txBox="1"/>
          <p:nvPr/>
        </p:nvSpPr>
        <p:spPr>
          <a:xfrm>
            <a:off x="3440124" y="1065775"/>
            <a:ext cx="7318441" cy="30076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ia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ẻ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ới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gười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ân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,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a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ình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ạn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è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ề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ài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ới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ọc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uẩn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ị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ết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</a:t>
            </a:r>
          </a:p>
          <a:p>
            <a:pPr marR="0" lvl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320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-  Quan </a:t>
            </a:r>
            <a:r>
              <a:rPr kumimoji="0" lang="en-US" sz="320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âm</a:t>
            </a:r>
            <a:r>
              <a:rPr kumimoji="0" lang="en-US" sz="320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320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giúp</a:t>
            </a:r>
            <a:r>
              <a:rPr kumimoji="0" lang="en-US" sz="320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320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đỡ</a:t>
            </a:r>
            <a:r>
              <a:rPr kumimoji="0" lang="en-US" sz="320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hang </a:t>
            </a:r>
            <a:r>
              <a:rPr kumimoji="0" lang="en-US" sz="320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xóm</a:t>
            </a:r>
            <a:r>
              <a:rPr kumimoji="0" lang="en-US" sz="320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320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áng</a:t>
            </a:r>
            <a:r>
              <a:rPr kumimoji="0" lang="en-US" sz="320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320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giềng</a:t>
            </a:r>
            <a:endParaRPr kumimoji="0" lang="en-US" sz="32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200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en-US" sz="3200" baseline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ùng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ang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óm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áng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ềng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ữ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ìn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u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ố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ảo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ệ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ôi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kumimoji="0" lang="en-US" sz="3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557023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EDE5F50-F64D-CCB4-6613-D6E07BA931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86E2895A-ED71-C625-A874-0DD1D9524EE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-2654651" y="4266446"/>
            <a:ext cx="5209152" cy="259155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3250953E-67AB-158C-2475-8D503ED0BEE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554502" y="4266446"/>
            <a:ext cx="5209152" cy="25915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9BAA4F5-E43D-F728-F37E-1212DE5D3B1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763654" y="4266446"/>
            <a:ext cx="5209152" cy="2591553"/>
          </a:xfrm>
          <a:prstGeom prst="rect">
            <a:avLst/>
          </a:prstGeom>
        </p:spPr>
      </p:pic>
      <p:sp>
        <p:nvSpPr>
          <p:cNvPr id="5" name="Rectangle: Rounded Corners 14">
            <a:extLst>
              <a:ext uri="{FF2B5EF4-FFF2-40B4-BE49-F238E27FC236}">
                <a16:creationId xmlns:a16="http://schemas.microsoft.com/office/drawing/2014/main" xmlns="" id="{F15C0FB6-99FD-6F23-BD4B-9359108C9664}"/>
              </a:ext>
            </a:extLst>
          </p:cNvPr>
          <p:cNvSpPr/>
          <p:nvPr/>
        </p:nvSpPr>
        <p:spPr>
          <a:xfrm>
            <a:off x="2779638" y="763505"/>
            <a:ext cx="7020000" cy="4140000"/>
          </a:xfrm>
          <a:custGeom>
            <a:avLst/>
            <a:gdLst>
              <a:gd name="connsiteX0" fmla="*/ 0 w 7020000"/>
              <a:gd name="connsiteY0" fmla="*/ 690014 h 4140000"/>
              <a:gd name="connsiteX1" fmla="*/ 690014 w 7020000"/>
              <a:gd name="connsiteY1" fmla="*/ 0 h 4140000"/>
              <a:gd name="connsiteX2" fmla="*/ 6329986 w 7020000"/>
              <a:gd name="connsiteY2" fmla="*/ 0 h 4140000"/>
              <a:gd name="connsiteX3" fmla="*/ 7020000 w 7020000"/>
              <a:gd name="connsiteY3" fmla="*/ 690014 h 4140000"/>
              <a:gd name="connsiteX4" fmla="*/ 7020000 w 7020000"/>
              <a:gd name="connsiteY4" fmla="*/ 3449986 h 4140000"/>
              <a:gd name="connsiteX5" fmla="*/ 6329986 w 7020000"/>
              <a:gd name="connsiteY5" fmla="*/ 4140000 h 4140000"/>
              <a:gd name="connsiteX6" fmla="*/ 690014 w 7020000"/>
              <a:gd name="connsiteY6" fmla="*/ 4140000 h 4140000"/>
              <a:gd name="connsiteX7" fmla="*/ 0 w 7020000"/>
              <a:gd name="connsiteY7" fmla="*/ 3449986 h 4140000"/>
              <a:gd name="connsiteX8" fmla="*/ 0 w 7020000"/>
              <a:gd name="connsiteY8" fmla="*/ 690014 h 41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20000" h="4140000" fill="none" extrusionOk="0">
                <a:moveTo>
                  <a:pt x="0" y="690014"/>
                </a:moveTo>
                <a:cubicBezTo>
                  <a:pt x="-19417" y="247795"/>
                  <a:pt x="312257" y="-16927"/>
                  <a:pt x="690014" y="0"/>
                </a:cubicBezTo>
                <a:cubicBezTo>
                  <a:pt x="1304761" y="145421"/>
                  <a:pt x="3820855" y="152840"/>
                  <a:pt x="6329986" y="0"/>
                </a:cubicBezTo>
                <a:cubicBezTo>
                  <a:pt x="6739423" y="14215"/>
                  <a:pt x="7020955" y="335843"/>
                  <a:pt x="7020000" y="690014"/>
                </a:cubicBezTo>
                <a:cubicBezTo>
                  <a:pt x="6898036" y="1610117"/>
                  <a:pt x="7053190" y="2174343"/>
                  <a:pt x="7020000" y="3449986"/>
                </a:cubicBezTo>
                <a:cubicBezTo>
                  <a:pt x="7048193" y="3853217"/>
                  <a:pt x="6702535" y="4203832"/>
                  <a:pt x="6329986" y="4140000"/>
                </a:cubicBezTo>
                <a:cubicBezTo>
                  <a:pt x="4412635" y="4235040"/>
                  <a:pt x="3280750" y="4276256"/>
                  <a:pt x="690014" y="4140000"/>
                </a:cubicBezTo>
                <a:cubicBezTo>
                  <a:pt x="322323" y="4097187"/>
                  <a:pt x="43363" y="3852788"/>
                  <a:pt x="0" y="3449986"/>
                </a:cubicBezTo>
                <a:cubicBezTo>
                  <a:pt x="131390" y="2791862"/>
                  <a:pt x="-72417" y="1088243"/>
                  <a:pt x="0" y="690014"/>
                </a:cubicBezTo>
                <a:close/>
              </a:path>
              <a:path w="7020000" h="4140000" stroke="0" extrusionOk="0">
                <a:moveTo>
                  <a:pt x="0" y="690014"/>
                </a:moveTo>
                <a:cubicBezTo>
                  <a:pt x="-65227" y="273545"/>
                  <a:pt x="313285" y="-13832"/>
                  <a:pt x="690014" y="0"/>
                </a:cubicBezTo>
                <a:cubicBezTo>
                  <a:pt x="2794962" y="81395"/>
                  <a:pt x="4099746" y="73950"/>
                  <a:pt x="6329986" y="0"/>
                </a:cubicBezTo>
                <a:cubicBezTo>
                  <a:pt x="6684152" y="20726"/>
                  <a:pt x="6994577" y="258476"/>
                  <a:pt x="7020000" y="690014"/>
                </a:cubicBezTo>
                <a:cubicBezTo>
                  <a:pt x="6996498" y="1526640"/>
                  <a:pt x="6899095" y="2718712"/>
                  <a:pt x="7020000" y="3449986"/>
                </a:cubicBezTo>
                <a:cubicBezTo>
                  <a:pt x="6996556" y="3841671"/>
                  <a:pt x="6708816" y="4161873"/>
                  <a:pt x="6329986" y="4140000"/>
                </a:cubicBezTo>
                <a:cubicBezTo>
                  <a:pt x="5279800" y="4302332"/>
                  <a:pt x="2289161" y="4235064"/>
                  <a:pt x="690014" y="4140000"/>
                </a:cubicBezTo>
                <a:cubicBezTo>
                  <a:pt x="302329" y="4181257"/>
                  <a:pt x="-35075" y="3891311"/>
                  <a:pt x="0" y="3449986"/>
                </a:cubicBezTo>
                <a:cubicBezTo>
                  <a:pt x="-102546" y="2679107"/>
                  <a:pt x="149512" y="1524205"/>
                  <a:pt x="0" y="690014"/>
                </a:cubicBezTo>
                <a:close/>
              </a:path>
            </a:pathLst>
          </a:custGeom>
          <a:solidFill>
            <a:sysClr val="window" lastClr="FFFFFF">
              <a:alpha val="94000"/>
            </a:sysClr>
          </a:solidFill>
          <a:ln w="25400" cap="rnd" cmpd="thinThick" algn="ctr">
            <a:solidFill>
              <a:srgbClr val="427A09"/>
            </a:solidFill>
            <a:prstDash val="sysDash"/>
            <a:round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0DBE46F-54AC-230D-832E-4B74713937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1051" y="1221630"/>
            <a:ext cx="5957174" cy="3834583"/>
          </a:xfrm>
          <a:prstGeom prst="rect">
            <a:avLst/>
          </a:prstGeom>
        </p:spPr>
      </p:pic>
      <p:pic>
        <p:nvPicPr>
          <p:cNvPr id="8" name="Vào http://fb.com/nkpowerskills tải game miễn phí">
            <a:extLst>
              <a:ext uri="{FF2B5EF4-FFF2-40B4-BE49-F238E27FC236}">
                <a16:creationId xmlns:a16="http://schemas.microsoft.com/office/drawing/2014/main" xmlns="" id="{B5590369-7D9B-93FA-9A1C-37E970DE2D49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99970" y="3721793"/>
            <a:ext cx="3591699" cy="3367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49811DB2-C5BD-8263-6ADF-B1552B5F46DD}"/>
              </a:ext>
            </a:extLst>
          </p:cNvPr>
          <p:cNvPicPr/>
          <p:nvPr/>
        </p:nvPicPr>
        <p:blipFill>
          <a:blip r:embed="rId6">
            <a:clrChange>
              <a:clrFrom>
                <a:srgbClr val="F9F3F5">
                  <a:alpha val="100000"/>
                </a:srgbClr>
              </a:clrFrom>
              <a:clrTo>
                <a:srgbClr val="F9F3F5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10415670" y="123350"/>
            <a:ext cx="1691711" cy="1412866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369737107"/>
      </p:ext>
    </p:extLst>
  </p:cSld>
  <p:clrMapOvr>
    <a:masterClrMapping/>
  </p:clrMapOvr>
  <p:transition spd="slow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4" name="Google Shape;1444;p42"/>
          <p:cNvGrpSpPr/>
          <p:nvPr/>
        </p:nvGrpSpPr>
        <p:grpSpPr>
          <a:xfrm>
            <a:off x="10827031" y="3256440"/>
            <a:ext cx="1290501" cy="2459240"/>
            <a:chOff x="5043100" y="5087650"/>
            <a:chExt cx="202875" cy="386600"/>
          </a:xfrm>
        </p:grpSpPr>
        <p:sp>
          <p:nvSpPr>
            <p:cNvPr id="1445" name="Google Shape;1445;p42"/>
            <p:cNvSpPr/>
            <p:nvPr/>
          </p:nvSpPr>
          <p:spPr>
            <a:xfrm>
              <a:off x="5093750" y="5389700"/>
              <a:ext cx="36475" cy="65875"/>
            </a:xfrm>
            <a:custGeom>
              <a:avLst/>
              <a:gdLst/>
              <a:ahLst/>
              <a:cxnLst/>
              <a:rect l="l" t="t" r="r" b="b"/>
              <a:pathLst>
                <a:path w="1459" h="2635" extrusionOk="0">
                  <a:moveTo>
                    <a:pt x="1" y="1"/>
                  </a:moveTo>
                  <a:lnTo>
                    <a:pt x="69" y="487"/>
                  </a:lnTo>
                  <a:lnTo>
                    <a:pt x="218" y="1702"/>
                  </a:lnTo>
                  <a:lnTo>
                    <a:pt x="338" y="2635"/>
                  </a:lnTo>
                  <a:lnTo>
                    <a:pt x="1446" y="2619"/>
                  </a:lnTo>
                  <a:lnTo>
                    <a:pt x="1459" y="1"/>
                  </a:ln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46" name="Google Shape;1446;p42"/>
            <p:cNvSpPr/>
            <p:nvPr/>
          </p:nvSpPr>
          <p:spPr>
            <a:xfrm>
              <a:off x="5099175" y="5418050"/>
              <a:ext cx="30725" cy="18250"/>
            </a:xfrm>
            <a:custGeom>
              <a:avLst/>
              <a:gdLst/>
              <a:ahLst/>
              <a:cxnLst/>
              <a:rect l="l" t="t" r="r" b="b"/>
              <a:pathLst>
                <a:path w="1229" h="730" extrusionOk="0">
                  <a:moveTo>
                    <a:pt x="1054" y="1"/>
                  </a:moveTo>
                  <a:lnTo>
                    <a:pt x="1041" y="542"/>
                  </a:lnTo>
                  <a:lnTo>
                    <a:pt x="1" y="568"/>
                  </a:lnTo>
                  <a:lnTo>
                    <a:pt x="27" y="730"/>
                  </a:lnTo>
                  <a:lnTo>
                    <a:pt x="1229" y="730"/>
                  </a:lnTo>
                  <a:lnTo>
                    <a:pt x="1229" y="14"/>
                  </a:lnTo>
                  <a:cubicBezTo>
                    <a:pt x="1174" y="14"/>
                    <a:pt x="1106" y="14"/>
                    <a:pt x="1054" y="1"/>
                  </a:cubicBezTo>
                  <a:close/>
                </a:path>
              </a:pathLst>
            </a:custGeom>
            <a:solidFill>
              <a:srgbClr val="E3622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47" name="Google Shape;1447;p42"/>
            <p:cNvSpPr/>
            <p:nvPr/>
          </p:nvSpPr>
          <p:spPr>
            <a:xfrm>
              <a:off x="5082975" y="5436275"/>
              <a:ext cx="50975" cy="36300"/>
            </a:xfrm>
            <a:custGeom>
              <a:avLst/>
              <a:gdLst/>
              <a:ahLst/>
              <a:cxnLst/>
              <a:rect l="l" t="t" r="r" b="b"/>
              <a:pathLst>
                <a:path w="2039" h="1452" extrusionOk="0">
                  <a:moveTo>
                    <a:pt x="620" y="1"/>
                  </a:moveTo>
                  <a:lnTo>
                    <a:pt x="701" y="717"/>
                  </a:lnTo>
                  <a:lnTo>
                    <a:pt x="649" y="798"/>
                  </a:lnTo>
                  <a:lnTo>
                    <a:pt x="474" y="918"/>
                  </a:lnTo>
                  <a:lnTo>
                    <a:pt x="14" y="1122"/>
                  </a:lnTo>
                  <a:cubicBezTo>
                    <a:pt x="14" y="1122"/>
                    <a:pt x="1" y="1365"/>
                    <a:pt x="270" y="1433"/>
                  </a:cubicBezTo>
                  <a:cubicBezTo>
                    <a:pt x="323" y="1446"/>
                    <a:pt x="424" y="1452"/>
                    <a:pt x="551" y="1452"/>
                  </a:cubicBezTo>
                  <a:cubicBezTo>
                    <a:pt x="1059" y="1452"/>
                    <a:pt x="1984" y="1365"/>
                    <a:pt x="1984" y="1365"/>
                  </a:cubicBezTo>
                  <a:cubicBezTo>
                    <a:pt x="2039" y="1161"/>
                    <a:pt x="1932" y="879"/>
                    <a:pt x="1932" y="879"/>
                  </a:cubicBezTo>
                  <a:lnTo>
                    <a:pt x="1916" y="772"/>
                  </a:lnTo>
                  <a:lnTo>
                    <a:pt x="1916" y="1"/>
                  </a:lnTo>
                  <a:close/>
                </a:path>
              </a:pathLst>
            </a:custGeom>
            <a:solidFill>
              <a:srgbClr val="E1F3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48" name="Google Shape;1448;p42"/>
            <p:cNvSpPr/>
            <p:nvPr/>
          </p:nvSpPr>
          <p:spPr>
            <a:xfrm>
              <a:off x="5074550" y="5455875"/>
              <a:ext cx="59400" cy="18375"/>
            </a:xfrm>
            <a:custGeom>
              <a:avLst/>
              <a:gdLst/>
              <a:ahLst/>
              <a:cxnLst/>
              <a:rect l="l" t="t" r="r" b="b"/>
              <a:pathLst>
                <a:path w="2376" h="735" extrusionOk="0">
                  <a:moveTo>
                    <a:pt x="973" y="1"/>
                  </a:moveTo>
                  <a:lnTo>
                    <a:pt x="918" y="53"/>
                  </a:lnTo>
                  <a:cubicBezTo>
                    <a:pt x="1080" y="95"/>
                    <a:pt x="1323" y="244"/>
                    <a:pt x="1443" y="325"/>
                  </a:cubicBezTo>
                  <a:cubicBezTo>
                    <a:pt x="1409" y="328"/>
                    <a:pt x="1377" y="329"/>
                    <a:pt x="1346" y="329"/>
                  </a:cubicBezTo>
                  <a:cubicBezTo>
                    <a:pt x="963" y="329"/>
                    <a:pt x="824" y="121"/>
                    <a:pt x="824" y="121"/>
                  </a:cubicBezTo>
                  <a:cubicBezTo>
                    <a:pt x="824" y="121"/>
                    <a:pt x="649" y="189"/>
                    <a:pt x="471" y="270"/>
                  </a:cubicBezTo>
                  <a:cubicBezTo>
                    <a:pt x="364" y="325"/>
                    <a:pt x="257" y="364"/>
                    <a:pt x="189" y="406"/>
                  </a:cubicBezTo>
                  <a:cubicBezTo>
                    <a:pt x="1" y="500"/>
                    <a:pt x="14" y="620"/>
                    <a:pt x="14" y="620"/>
                  </a:cubicBezTo>
                  <a:cubicBezTo>
                    <a:pt x="193" y="706"/>
                    <a:pt x="509" y="735"/>
                    <a:pt x="851" y="735"/>
                  </a:cubicBezTo>
                  <a:cubicBezTo>
                    <a:pt x="1534" y="735"/>
                    <a:pt x="2321" y="620"/>
                    <a:pt x="2321" y="620"/>
                  </a:cubicBezTo>
                  <a:cubicBezTo>
                    <a:pt x="2376" y="539"/>
                    <a:pt x="2376" y="432"/>
                    <a:pt x="2350" y="338"/>
                  </a:cubicBezTo>
                  <a:cubicBezTo>
                    <a:pt x="2321" y="189"/>
                    <a:pt x="2269" y="69"/>
                    <a:pt x="2269" y="69"/>
                  </a:cubicBezTo>
                  <a:cubicBezTo>
                    <a:pt x="2269" y="69"/>
                    <a:pt x="2227" y="163"/>
                    <a:pt x="1634" y="296"/>
                  </a:cubicBezTo>
                  <a:cubicBezTo>
                    <a:pt x="1592" y="296"/>
                    <a:pt x="1553" y="312"/>
                    <a:pt x="1524" y="312"/>
                  </a:cubicBezTo>
                  <a:cubicBezTo>
                    <a:pt x="1443" y="244"/>
                    <a:pt x="1174" y="40"/>
                    <a:pt x="973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49" name="Google Shape;1449;p42"/>
            <p:cNvSpPr/>
            <p:nvPr/>
          </p:nvSpPr>
          <p:spPr>
            <a:xfrm>
              <a:off x="5074875" y="5462600"/>
              <a:ext cx="58750" cy="11525"/>
            </a:xfrm>
            <a:custGeom>
              <a:avLst/>
              <a:gdLst/>
              <a:ahLst/>
              <a:cxnLst/>
              <a:rect l="l" t="t" r="r" b="b"/>
              <a:pathLst>
                <a:path w="2350" h="461" extrusionOk="0">
                  <a:moveTo>
                    <a:pt x="458" y="1"/>
                  </a:moveTo>
                  <a:cubicBezTo>
                    <a:pt x="351" y="56"/>
                    <a:pt x="244" y="95"/>
                    <a:pt x="176" y="137"/>
                  </a:cubicBezTo>
                  <a:cubicBezTo>
                    <a:pt x="14" y="218"/>
                    <a:pt x="1" y="325"/>
                    <a:pt x="1" y="351"/>
                  </a:cubicBezTo>
                  <a:cubicBezTo>
                    <a:pt x="176" y="432"/>
                    <a:pt x="500" y="461"/>
                    <a:pt x="837" y="461"/>
                  </a:cubicBezTo>
                  <a:cubicBezTo>
                    <a:pt x="1527" y="461"/>
                    <a:pt x="2308" y="351"/>
                    <a:pt x="2308" y="351"/>
                  </a:cubicBezTo>
                  <a:cubicBezTo>
                    <a:pt x="2337" y="299"/>
                    <a:pt x="2350" y="244"/>
                    <a:pt x="2350" y="176"/>
                  </a:cubicBezTo>
                  <a:cubicBezTo>
                    <a:pt x="2350" y="137"/>
                    <a:pt x="2350" y="108"/>
                    <a:pt x="2337" y="69"/>
                  </a:cubicBezTo>
                  <a:cubicBezTo>
                    <a:pt x="1984" y="218"/>
                    <a:pt x="1592" y="257"/>
                    <a:pt x="1216" y="257"/>
                  </a:cubicBezTo>
                  <a:lnTo>
                    <a:pt x="1161" y="257"/>
                  </a:lnTo>
                  <a:cubicBezTo>
                    <a:pt x="1080" y="257"/>
                    <a:pt x="999" y="257"/>
                    <a:pt x="918" y="244"/>
                  </a:cubicBezTo>
                  <a:cubicBezTo>
                    <a:pt x="782" y="218"/>
                    <a:pt x="662" y="150"/>
                    <a:pt x="555" y="82"/>
                  </a:cubicBezTo>
                  <a:cubicBezTo>
                    <a:pt x="526" y="56"/>
                    <a:pt x="487" y="27"/>
                    <a:pt x="458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50" name="Google Shape;1450;p42"/>
            <p:cNvSpPr/>
            <p:nvPr/>
          </p:nvSpPr>
          <p:spPr>
            <a:xfrm>
              <a:off x="5146400" y="5389700"/>
              <a:ext cx="36150" cy="65875"/>
            </a:xfrm>
            <a:custGeom>
              <a:avLst/>
              <a:gdLst/>
              <a:ahLst/>
              <a:cxnLst/>
              <a:rect l="l" t="t" r="r" b="b"/>
              <a:pathLst>
                <a:path w="1446" h="2635" extrusionOk="0">
                  <a:moveTo>
                    <a:pt x="1" y="1"/>
                  </a:moveTo>
                  <a:lnTo>
                    <a:pt x="14" y="2619"/>
                  </a:lnTo>
                  <a:lnTo>
                    <a:pt x="1122" y="2635"/>
                  </a:lnTo>
                  <a:lnTo>
                    <a:pt x="1242" y="1702"/>
                  </a:lnTo>
                  <a:lnTo>
                    <a:pt x="1391" y="513"/>
                  </a:lnTo>
                  <a:lnTo>
                    <a:pt x="1446" y="1"/>
                  </a:ln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51" name="Google Shape;1451;p42"/>
            <p:cNvSpPr/>
            <p:nvPr/>
          </p:nvSpPr>
          <p:spPr>
            <a:xfrm>
              <a:off x="5146400" y="5417725"/>
              <a:ext cx="31050" cy="18575"/>
            </a:xfrm>
            <a:custGeom>
              <a:avLst/>
              <a:gdLst/>
              <a:ahLst/>
              <a:cxnLst/>
              <a:rect l="l" t="t" r="r" b="b"/>
              <a:pathLst>
                <a:path w="1242" h="743" extrusionOk="0">
                  <a:moveTo>
                    <a:pt x="338" y="1"/>
                  </a:moveTo>
                  <a:cubicBezTo>
                    <a:pt x="231" y="14"/>
                    <a:pt x="124" y="27"/>
                    <a:pt x="1" y="27"/>
                  </a:cubicBezTo>
                  <a:lnTo>
                    <a:pt x="14" y="743"/>
                  </a:lnTo>
                  <a:lnTo>
                    <a:pt x="1216" y="743"/>
                  </a:lnTo>
                  <a:lnTo>
                    <a:pt x="1242" y="581"/>
                  </a:lnTo>
                  <a:lnTo>
                    <a:pt x="351" y="555"/>
                  </a:lnTo>
                  <a:lnTo>
                    <a:pt x="338" y="1"/>
                  </a:lnTo>
                  <a:close/>
                </a:path>
              </a:pathLst>
            </a:custGeom>
            <a:solidFill>
              <a:srgbClr val="E3622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52" name="Google Shape;1452;p42"/>
            <p:cNvSpPr/>
            <p:nvPr/>
          </p:nvSpPr>
          <p:spPr>
            <a:xfrm>
              <a:off x="5143000" y="5436275"/>
              <a:ext cx="50650" cy="36300"/>
            </a:xfrm>
            <a:custGeom>
              <a:avLst/>
              <a:gdLst/>
              <a:ahLst/>
              <a:cxnLst/>
              <a:rect l="l" t="t" r="r" b="b"/>
              <a:pathLst>
                <a:path w="2026" h="1452" extrusionOk="0">
                  <a:moveTo>
                    <a:pt x="111" y="1"/>
                  </a:moveTo>
                  <a:lnTo>
                    <a:pt x="124" y="772"/>
                  </a:lnTo>
                  <a:lnTo>
                    <a:pt x="98" y="879"/>
                  </a:lnTo>
                  <a:cubicBezTo>
                    <a:pt x="98" y="879"/>
                    <a:pt x="1" y="1161"/>
                    <a:pt x="43" y="1365"/>
                  </a:cubicBezTo>
                  <a:cubicBezTo>
                    <a:pt x="43" y="1365"/>
                    <a:pt x="976" y="1452"/>
                    <a:pt x="1480" y="1452"/>
                  </a:cubicBezTo>
                  <a:cubicBezTo>
                    <a:pt x="1606" y="1452"/>
                    <a:pt x="1705" y="1446"/>
                    <a:pt x="1757" y="1433"/>
                  </a:cubicBezTo>
                  <a:cubicBezTo>
                    <a:pt x="2026" y="1365"/>
                    <a:pt x="2026" y="1122"/>
                    <a:pt x="2026" y="1122"/>
                  </a:cubicBezTo>
                  <a:lnTo>
                    <a:pt x="1556" y="918"/>
                  </a:lnTo>
                  <a:lnTo>
                    <a:pt x="1394" y="798"/>
                  </a:lnTo>
                  <a:lnTo>
                    <a:pt x="1326" y="717"/>
                  </a:lnTo>
                  <a:lnTo>
                    <a:pt x="1407" y="1"/>
                  </a:lnTo>
                  <a:close/>
                </a:path>
              </a:pathLst>
            </a:custGeom>
            <a:solidFill>
              <a:srgbClr val="E1F3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53" name="Google Shape;1453;p42"/>
            <p:cNvSpPr/>
            <p:nvPr/>
          </p:nvSpPr>
          <p:spPr>
            <a:xfrm>
              <a:off x="5143000" y="5455875"/>
              <a:ext cx="59475" cy="18375"/>
            </a:xfrm>
            <a:custGeom>
              <a:avLst/>
              <a:gdLst/>
              <a:ahLst/>
              <a:cxnLst/>
              <a:rect l="l" t="t" r="r" b="b"/>
              <a:pathLst>
                <a:path w="2379" h="735" extrusionOk="0">
                  <a:moveTo>
                    <a:pt x="1407" y="1"/>
                  </a:moveTo>
                  <a:cubicBezTo>
                    <a:pt x="1203" y="40"/>
                    <a:pt x="934" y="244"/>
                    <a:pt x="853" y="312"/>
                  </a:cubicBezTo>
                  <a:cubicBezTo>
                    <a:pt x="811" y="312"/>
                    <a:pt x="785" y="296"/>
                    <a:pt x="746" y="296"/>
                  </a:cubicBezTo>
                  <a:cubicBezTo>
                    <a:pt x="137" y="163"/>
                    <a:pt x="111" y="69"/>
                    <a:pt x="111" y="69"/>
                  </a:cubicBezTo>
                  <a:cubicBezTo>
                    <a:pt x="111" y="69"/>
                    <a:pt x="30" y="215"/>
                    <a:pt x="17" y="377"/>
                  </a:cubicBezTo>
                  <a:cubicBezTo>
                    <a:pt x="1" y="474"/>
                    <a:pt x="17" y="555"/>
                    <a:pt x="43" y="620"/>
                  </a:cubicBezTo>
                  <a:cubicBezTo>
                    <a:pt x="43" y="620"/>
                    <a:pt x="835" y="735"/>
                    <a:pt x="1523" y="735"/>
                  </a:cubicBezTo>
                  <a:cubicBezTo>
                    <a:pt x="1867" y="735"/>
                    <a:pt x="2185" y="706"/>
                    <a:pt x="2366" y="620"/>
                  </a:cubicBezTo>
                  <a:cubicBezTo>
                    <a:pt x="2366" y="620"/>
                    <a:pt x="2379" y="500"/>
                    <a:pt x="2188" y="406"/>
                  </a:cubicBezTo>
                  <a:cubicBezTo>
                    <a:pt x="2094" y="351"/>
                    <a:pt x="1945" y="283"/>
                    <a:pt x="1812" y="231"/>
                  </a:cubicBezTo>
                  <a:cubicBezTo>
                    <a:pt x="1663" y="176"/>
                    <a:pt x="1556" y="121"/>
                    <a:pt x="1556" y="121"/>
                  </a:cubicBezTo>
                  <a:cubicBezTo>
                    <a:pt x="1556" y="121"/>
                    <a:pt x="1417" y="329"/>
                    <a:pt x="1031" y="329"/>
                  </a:cubicBezTo>
                  <a:cubicBezTo>
                    <a:pt x="1000" y="329"/>
                    <a:pt x="968" y="328"/>
                    <a:pt x="934" y="325"/>
                  </a:cubicBezTo>
                  <a:cubicBezTo>
                    <a:pt x="1054" y="244"/>
                    <a:pt x="1284" y="95"/>
                    <a:pt x="1446" y="53"/>
                  </a:cubicBezTo>
                  <a:lnTo>
                    <a:pt x="140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54" name="Google Shape;1454;p42"/>
            <p:cNvSpPr/>
            <p:nvPr/>
          </p:nvSpPr>
          <p:spPr>
            <a:xfrm>
              <a:off x="5143400" y="5461625"/>
              <a:ext cx="58750" cy="12500"/>
            </a:xfrm>
            <a:custGeom>
              <a:avLst/>
              <a:gdLst/>
              <a:ahLst/>
              <a:cxnLst/>
              <a:rect l="l" t="t" r="r" b="b"/>
              <a:pathLst>
                <a:path w="2350" h="500" extrusionOk="0">
                  <a:moveTo>
                    <a:pt x="1796" y="1"/>
                  </a:moveTo>
                  <a:cubicBezTo>
                    <a:pt x="1754" y="40"/>
                    <a:pt x="1702" y="82"/>
                    <a:pt x="1660" y="121"/>
                  </a:cubicBezTo>
                  <a:cubicBezTo>
                    <a:pt x="1540" y="189"/>
                    <a:pt x="1417" y="257"/>
                    <a:pt x="1297" y="283"/>
                  </a:cubicBezTo>
                  <a:cubicBezTo>
                    <a:pt x="1216" y="296"/>
                    <a:pt x="1135" y="296"/>
                    <a:pt x="1054" y="296"/>
                  </a:cubicBezTo>
                  <a:lnTo>
                    <a:pt x="999" y="296"/>
                  </a:lnTo>
                  <a:cubicBezTo>
                    <a:pt x="662" y="296"/>
                    <a:pt x="309" y="270"/>
                    <a:pt x="1" y="147"/>
                  </a:cubicBezTo>
                  <a:lnTo>
                    <a:pt x="1" y="215"/>
                  </a:lnTo>
                  <a:cubicBezTo>
                    <a:pt x="1" y="283"/>
                    <a:pt x="1" y="338"/>
                    <a:pt x="27" y="390"/>
                  </a:cubicBezTo>
                  <a:cubicBezTo>
                    <a:pt x="27" y="390"/>
                    <a:pt x="824" y="500"/>
                    <a:pt x="1498" y="500"/>
                  </a:cubicBezTo>
                  <a:cubicBezTo>
                    <a:pt x="1848" y="500"/>
                    <a:pt x="2159" y="471"/>
                    <a:pt x="2350" y="390"/>
                  </a:cubicBezTo>
                  <a:cubicBezTo>
                    <a:pt x="2350" y="364"/>
                    <a:pt x="2334" y="257"/>
                    <a:pt x="2172" y="176"/>
                  </a:cubicBezTo>
                  <a:cubicBezTo>
                    <a:pt x="2078" y="121"/>
                    <a:pt x="1929" y="53"/>
                    <a:pt x="1796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55" name="Google Shape;1455;p42"/>
            <p:cNvSpPr/>
            <p:nvPr/>
          </p:nvSpPr>
          <p:spPr>
            <a:xfrm>
              <a:off x="5043100" y="5271925"/>
              <a:ext cx="60800" cy="100675"/>
            </a:xfrm>
            <a:custGeom>
              <a:avLst/>
              <a:gdLst/>
              <a:ahLst/>
              <a:cxnLst/>
              <a:rect l="l" t="t" r="r" b="b"/>
              <a:pathLst>
                <a:path w="2432" h="4027" extrusionOk="0">
                  <a:moveTo>
                    <a:pt x="1298" y="1"/>
                  </a:moveTo>
                  <a:cubicBezTo>
                    <a:pt x="1285" y="69"/>
                    <a:pt x="1272" y="121"/>
                    <a:pt x="1243" y="176"/>
                  </a:cubicBezTo>
                  <a:cubicBezTo>
                    <a:pt x="1204" y="325"/>
                    <a:pt x="1162" y="461"/>
                    <a:pt x="1110" y="607"/>
                  </a:cubicBezTo>
                  <a:cubicBezTo>
                    <a:pt x="919" y="1242"/>
                    <a:pt x="731" y="1890"/>
                    <a:pt x="556" y="2525"/>
                  </a:cubicBezTo>
                  <a:lnTo>
                    <a:pt x="530" y="2606"/>
                  </a:lnTo>
                  <a:cubicBezTo>
                    <a:pt x="530" y="2606"/>
                    <a:pt x="57" y="3147"/>
                    <a:pt x="15" y="3280"/>
                  </a:cubicBezTo>
                  <a:cubicBezTo>
                    <a:pt x="1" y="3316"/>
                    <a:pt x="14" y="3329"/>
                    <a:pt x="40" y="3329"/>
                  </a:cubicBezTo>
                  <a:cubicBezTo>
                    <a:pt x="112" y="3329"/>
                    <a:pt x="287" y="3228"/>
                    <a:pt x="287" y="3228"/>
                  </a:cubicBezTo>
                  <a:lnTo>
                    <a:pt x="287" y="3228"/>
                  </a:lnTo>
                  <a:cubicBezTo>
                    <a:pt x="287" y="3228"/>
                    <a:pt x="44" y="3591"/>
                    <a:pt x="57" y="3659"/>
                  </a:cubicBezTo>
                  <a:cubicBezTo>
                    <a:pt x="59" y="3672"/>
                    <a:pt x="68" y="3678"/>
                    <a:pt x="83" y="3678"/>
                  </a:cubicBezTo>
                  <a:cubicBezTo>
                    <a:pt x="155" y="3678"/>
                    <a:pt x="354" y="3529"/>
                    <a:pt x="433" y="3416"/>
                  </a:cubicBezTo>
                  <a:lnTo>
                    <a:pt x="433" y="3416"/>
                  </a:lnTo>
                  <a:cubicBezTo>
                    <a:pt x="420" y="3442"/>
                    <a:pt x="245" y="3863"/>
                    <a:pt x="313" y="3915"/>
                  </a:cubicBezTo>
                  <a:cubicBezTo>
                    <a:pt x="317" y="3918"/>
                    <a:pt x="323" y="3920"/>
                    <a:pt x="329" y="3920"/>
                  </a:cubicBezTo>
                  <a:cubicBezTo>
                    <a:pt x="416" y="3920"/>
                    <a:pt x="650" y="3591"/>
                    <a:pt x="650" y="3591"/>
                  </a:cubicBezTo>
                  <a:lnTo>
                    <a:pt x="650" y="3591"/>
                  </a:lnTo>
                  <a:cubicBezTo>
                    <a:pt x="650" y="3591"/>
                    <a:pt x="543" y="3996"/>
                    <a:pt x="624" y="4025"/>
                  </a:cubicBezTo>
                  <a:cubicBezTo>
                    <a:pt x="627" y="4026"/>
                    <a:pt x="630" y="4027"/>
                    <a:pt x="633" y="4027"/>
                  </a:cubicBezTo>
                  <a:cubicBezTo>
                    <a:pt x="733" y="4027"/>
                    <a:pt x="961" y="3484"/>
                    <a:pt x="961" y="3484"/>
                  </a:cubicBezTo>
                  <a:cubicBezTo>
                    <a:pt x="961" y="3484"/>
                    <a:pt x="1060" y="3664"/>
                    <a:pt x="1139" y="3664"/>
                  </a:cubicBezTo>
                  <a:cubicBezTo>
                    <a:pt x="1147" y="3664"/>
                    <a:pt x="1154" y="3662"/>
                    <a:pt x="1162" y="3659"/>
                  </a:cubicBezTo>
                  <a:cubicBezTo>
                    <a:pt x="1243" y="3620"/>
                    <a:pt x="1178" y="2930"/>
                    <a:pt x="1178" y="2930"/>
                  </a:cubicBezTo>
                  <a:lnTo>
                    <a:pt x="1635" y="2120"/>
                  </a:lnTo>
                  <a:lnTo>
                    <a:pt x="2432" y="675"/>
                  </a:lnTo>
                  <a:cubicBezTo>
                    <a:pt x="2053" y="445"/>
                    <a:pt x="1677" y="231"/>
                    <a:pt x="1298" y="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56" name="Google Shape;1456;p42"/>
            <p:cNvSpPr/>
            <p:nvPr/>
          </p:nvSpPr>
          <p:spPr>
            <a:xfrm>
              <a:off x="5173050" y="5268850"/>
              <a:ext cx="60825" cy="100650"/>
            </a:xfrm>
            <a:custGeom>
              <a:avLst/>
              <a:gdLst/>
              <a:ahLst/>
              <a:cxnLst/>
              <a:rect l="l" t="t" r="r" b="b"/>
              <a:pathLst>
                <a:path w="2433" h="4026" extrusionOk="0">
                  <a:moveTo>
                    <a:pt x="1135" y="1"/>
                  </a:moveTo>
                  <a:cubicBezTo>
                    <a:pt x="759" y="231"/>
                    <a:pt x="380" y="448"/>
                    <a:pt x="1" y="678"/>
                  </a:cubicBezTo>
                  <a:lnTo>
                    <a:pt x="811" y="2107"/>
                  </a:lnTo>
                  <a:lnTo>
                    <a:pt x="1258" y="2917"/>
                  </a:lnTo>
                  <a:cubicBezTo>
                    <a:pt x="1258" y="2917"/>
                    <a:pt x="1190" y="3607"/>
                    <a:pt x="1271" y="3646"/>
                  </a:cubicBezTo>
                  <a:cubicBezTo>
                    <a:pt x="1278" y="3650"/>
                    <a:pt x="1286" y="3651"/>
                    <a:pt x="1294" y="3651"/>
                  </a:cubicBezTo>
                  <a:cubicBezTo>
                    <a:pt x="1373" y="3651"/>
                    <a:pt x="1472" y="3484"/>
                    <a:pt x="1472" y="3484"/>
                  </a:cubicBezTo>
                  <a:cubicBezTo>
                    <a:pt x="1472" y="3484"/>
                    <a:pt x="1719" y="4026"/>
                    <a:pt x="1806" y="4026"/>
                  </a:cubicBezTo>
                  <a:cubicBezTo>
                    <a:pt x="1808" y="4026"/>
                    <a:pt x="1810" y="4025"/>
                    <a:pt x="1812" y="4025"/>
                  </a:cubicBezTo>
                  <a:cubicBezTo>
                    <a:pt x="1893" y="3986"/>
                    <a:pt x="1783" y="3581"/>
                    <a:pt x="1783" y="3581"/>
                  </a:cubicBezTo>
                  <a:lnTo>
                    <a:pt x="1783" y="3581"/>
                  </a:lnTo>
                  <a:cubicBezTo>
                    <a:pt x="1783" y="3581"/>
                    <a:pt x="2032" y="3910"/>
                    <a:pt x="2107" y="3910"/>
                  </a:cubicBezTo>
                  <a:cubicBezTo>
                    <a:pt x="2112" y="3910"/>
                    <a:pt x="2116" y="3908"/>
                    <a:pt x="2120" y="3905"/>
                  </a:cubicBezTo>
                  <a:cubicBezTo>
                    <a:pt x="2186" y="3864"/>
                    <a:pt x="2022" y="3455"/>
                    <a:pt x="2001" y="3421"/>
                  </a:cubicBezTo>
                  <a:lnTo>
                    <a:pt x="2001" y="3421"/>
                  </a:lnTo>
                  <a:cubicBezTo>
                    <a:pt x="2082" y="3534"/>
                    <a:pt x="2299" y="3676"/>
                    <a:pt x="2370" y="3676"/>
                  </a:cubicBezTo>
                  <a:cubicBezTo>
                    <a:pt x="2382" y="3676"/>
                    <a:pt x="2390" y="3671"/>
                    <a:pt x="2392" y="3662"/>
                  </a:cubicBezTo>
                  <a:cubicBezTo>
                    <a:pt x="2405" y="3581"/>
                    <a:pt x="2149" y="3215"/>
                    <a:pt x="2149" y="3215"/>
                  </a:cubicBezTo>
                  <a:lnTo>
                    <a:pt x="2149" y="3215"/>
                  </a:lnTo>
                  <a:cubicBezTo>
                    <a:pt x="2149" y="3215"/>
                    <a:pt x="2323" y="3324"/>
                    <a:pt x="2394" y="3324"/>
                  </a:cubicBezTo>
                  <a:cubicBezTo>
                    <a:pt x="2420" y="3324"/>
                    <a:pt x="2432" y="3310"/>
                    <a:pt x="2418" y="3270"/>
                  </a:cubicBezTo>
                  <a:cubicBezTo>
                    <a:pt x="2379" y="3134"/>
                    <a:pt x="1906" y="2609"/>
                    <a:pt x="1906" y="2609"/>
                  </a:cubicBezTo>
                  <a:lnTo>
                    <a:pt x="1877" y="2512"/>
                  </a:lnTo>
                  <a:cubicBezTo>
                    <a:pt x="1702" y="1880"/>
                    <a:pt x="1514" y="1245"/>
                    <a:pt x="1326" y="610"/>
                  </a:cubicBezTo>
                  <a:cubicBezTo>
                    <a:pt x="1284" y="461"/>
                    <a:pt x="1229" y="312"/>
                    <a:pt x="1190" y="163"/>
                  </a:cubicBezTo>
                  <a:cubicBezTo>
                    <a:pt x="1177" y="111"/>
                    <a:pt x="1148" y="56"/>
                    <a:pt x="1135" y="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57" name="Google Shape;1457;p42"/>
            <p:cNvSpPr/>
            <p:nvPr/>
          </p:nvSpPr>
          <p:spPr>
            <a:xfrm>
              <a:off x="5111325" y="5221625"/>
              <a:ext cx="54700" cy="67500"/>
            </a:xfrm>
            <a:custGeom>
              <a:avLst/>
              <a:gdLst/>
              <a:ahLst/>
              <a:cxnLst/>
              <a:rect l="l" t="t" r="r" b="b"/>
              <a:pathLst>
                <a:path w="2188" h="2700" extrusionOk="0">
                  <a:moveTo>
                    <a:pt x="2133" y="1"/>
                  </a:moveTo>
                  <a:lnTo>
                    <a:pt x="150" y="529"/>
                  </a:lnTo>
                  <a:cubicBezTo>
                    <a:pt x="150" y="529"/>
                    <a:pt x="215" y="1485"/>
                    <a:pt x="1" y="1971"/>
                  </a:cubicBezTo>
                  <a:lnTo>
                    <a:pt x="607" y="2269"/>
                  </a:lnTo>
                  <a:lnTo>
                    <a:pt x="986" y="2700"/>
                  </a:lnTo>
                  <a:lnTo>
                    <a:pt x="1349" y="2269"/>
                  </a:lnTo>
                  <a:lnTo>
                    <a:pt x="1851" y="1971"/>
                  </a:lnTo>
                  <a:cubicBezTo>
                    <a:pt x="1945" y="1838"/>
                    <a:pt x="2065" y="1715"/>
                    <a:pt x="2188" y="1621"/>
                  </a:cubicBezTo>
                  <a:cubicBezTo>
                    <a:pt x="2078" y="999"/>
                    <a:pt x="2133" y="1"/>
                    <a:pt x="2133" y="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58" name="Google Shape;1458;p42"/>
            <p:cNvSpPr/>
            <p:nvPr/>
          </p:nvSpPr>
          <p:spPr>
            <a:xfrm>
              <a:off x="5119750" y="5224300"/>
              <a:ext cx="44900" cy="17750"/>
            </a:xfrm>
            <a:custGeom>
              <a:avLst/>
              <a:gdLst/>
              <a:ahLst/>
              <a:cxnLst/>
              <a:rect l="l" t="t" r="r" b="b"/>
              <a:pathLst>
                <a:path w="1796" h="710" extrusionOk="0">
                  <a:moveTo>
                    <a:pt x="1796" y="1"/>
                  </a:moveTo>
                  <a:cubicBezTo>
                    <a:pt x="1472" y="218"/>
                    <a:pt x="1067" y="354"/>
                    <a:pt x="594" y="393"/>
                  </a:cubicBezTo>
                  <a:cubicBezTo>
                    <a:pt x="493" y="399"/>
                    <a:pt x="395" y="402"/>
                    <a:pt x="299" y="402"/>
                  </a:cubicBezTo>
                  <a:cubicBezTo>
                    <a:pt x="202" y="402"/>
                    <a:pt x="108" y="399"/>
                    <a:pt x="14" y="393"/>
                  </a:cubicBezTo>
                  <a:cubicBezTo>
                    <a:pt x="14" y="487"/>
                    <a:pt x="14" y="597"/>
                    <a:pt x="1" y="704"/>
                  </a:cubicBezTo>
                  <a:cubicBezTo>
                    <a:pt x="48" y="708"/>
                    <a:pt x="96" y="709"/>
                    <a:pt x="144" y="709"/>
                  </a:cubicBezTo>
                  <a:cubicBezTo>
                    <a:pt x="260" y="709"/>
                    <a:pt x="380" y="700"/>
                    <a:pt x="513" y="691"/>
                  </a:cubicBezTo>
                  <a:cubicBezTo>
                    <a:pt x="1028" y="665"/>
                    <a:pt x="1446" y="503"/>
                    <a:pt x="1796" y="244"/>
                  </a:cubicBezTo>
                  <a:lnTo>
                    <a:pt x="1796" y="1"/>
                  </a:lnTo>
                  <a:close/>
                </a:path>
              </a:pathLst>
            </a:custGeom>
            <a:solidFill>
              <a:srgbClr val="E453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59" name="Google Shape;1459;p42"/>
            <p:cNvSpPr/>
            <p:nvPr/>
          </p:nvSpPr>
          <p:spPr>
            <a:xfrm>
              <a:off x="5066825" y="5099850"/>
              <a:ext cx="145200" cy="134575"/>
            </a:xfrm>
            <a:custGeom>
              <a:avLst/>
              <a:gdLst/>
              <a:ahLst/>
              <a:cxnLst/>
              <a:rect l="l" t="t" r="r" b="b"/>
              <a:pathLst>
                <a:path w="5808" h="5383" extrusionOk="0">
                  <a:moveTo>
                    <a:pt x="2671" y="1"/>
                  </a:moveTo>
                  <a:cubicBezTo>
                    <a:pt x="1836" y="1"/>
                    <a:pt x="1043" y="242"/>
                    <a:pt x="754" y="553"/>
                  </a:cubicBezTo>
                  <a:cubicBezTo>
                    <a:pt x="294" y="1039"/>
                    <a:pt x="362" y="1820"/>
                    <a:pt x="404" y="2374"/>
                  </a:cubicBezTo>
                  <a:cubicBezTo>
                    <a:pt x="417" y="2698"/>
                    <a:pt x="375" y="3035"/>
                    <a:pt x="268" y="3346"/>
                  </a:cubicBezTo>
                  <a:cubicBezTo>
                    <a:pt x="0" y="4141"/>
                    <a:pt x="458" y="5382"/>
                    <a:pt x="2381" y="5382"/>
                  </a:cubicBezTo>
                  <a:cubicBezTo>
                    <a:pt x="2486" y="5382"/>
                    <a:pt x="2596" y="5378"/>
                    <a:pt x="2711" y="5371"/>
                  </a:cubicBezTo>
                  <a:cubicBezTo>
                    <a:pt x="3670" y="5303"/>
                    <a:pt x="4331" y="4778"/>
                    <a:pt x="4723" y="4088"/>
                  </a:cubicBezTo>
                  <a:cubicBezTo>
                    <a:pt x="4750" y="4089"/>
                    <a:pt x="4776" y="4090"/>
                    <a:pt x="4801" y="4090"/>
                  </a:cubicBezTo>
                  <a:cubicBezTo>
                    <a:pt x="5778" y="4090"/>
                    <a:pt x="5807" y="2856"/>
                    <a:pt x="5413" y="2727"/>
                  </a:cubicBezTo>
                  <a:cubicBezTo>
                    <a:pt x="5354" y="2709"/>
                    <a:pt x="5302" y="2702"/>
                    <a:pt x="5255" y="2702"/>
                  </a:cubicBezTo>
                  <a:cubicBezTo>
                    <a:pt x="5224" y="2702"/>
                    <a:pt x="5196" y="2706"/>
                    <a:pt x="5170" y="2711"/>
                  </a:cubicBezTo>
                  <a:cubicBezTo>
                    <a:pt x="5264" y="1875"/>
                    <a:pt x="5073" y="1065"/>
                    <a:pt x="4642" y="660"/>
                  </a:cubicBezTo>
                  <a:cubicBezTo>
                    <a:pt x="4152" y="183"/>
                    <a:pt x="3395" y="1"/>
                    <a:pt x="2671" y="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60" name="Google Shape;1460;p42"/>
            <p:cNvSpPr/>
            <p:nvPr/>
          </p:nvSpPr>
          <p:spPr>
            <a:xfrm>
              <a:off x="5071475" y="5128800"/>
              <a:ext cx="60450" cy="72600"/>
            </a:xfrm>
            <a:custGeom>
              <a:avLst/>
              <a:gdLst/>
              <a:ahLst/>
              <a:cxnLst/>
              <a:rect l="l" t="t" r="r" b="b"/>
              <a:pathLst>
                <a:path w="2418" h="2904" extrusionOk="0">
                  <a:moveTo>
                    <a:pt x="934" y="1"/>
                  </a:moveTo>
                  <a:lnTo>
                    <a:pt x="205" y="1190"/>
                  </a:lnTo>
                  <a:cubicBezTo>
                    <a:pt x="218" y="1190"/>
                    <a:pt x="218" y="1203"/>
                    <a:pt x="218" y="1216"/>
                  </a:cubicBezTo>
                  <a:cubicBezTo>
                    <a:pt x="231" y="1540"/>
                    <a:pt x="189" y="1877"/>
                    <a:pt x="82" y="2188"/>
                  </a:cubicBezTo>
                  <a:cubicBezTo>
                    <a:pt x="56" y="2256"/>
                    <a:pt x="43" y="2324"/>
                    <a:pt x="27" y="2405"/>
                  </a:cubicBezTo>
                  <a:cubicBezTo>
                    <a:pt x="1" y="2554"/>
                    <a:pt x="1" y="2716"/>
                    <a:pt x="27" y="2865"/>
                  </a:cubicBezTo>
                  <a:cubicBezTo>
                    <a:pt x="27" y="2877"/>
                    <a:pt x="40" y="2889"/>
                    <a:pt x="43" y="2901"/>
                  </a:cubicBezTo>
                  <a:lnTo>
                    <a:pt x="43" y="2901"/>
                  </a:lnTo>
                  <a:cubicBezTo>
                    <a:pt x="27" y="2727"/>
                    <a:pt x="56" y="2553"/>
                    <a:pt x="108" y="2405"/>
                  </a:cubicBezTo>
                  <a:cubicBezTo>
                    <a:pt x="218" y="2094"/>
                    <a:pt x="257" y="1757"/>
                    <a:pt x="244" y="1433"/>
                  </a:cubicBezTo>
                  <a:cubicBezTo>
                    <a:pt x="244" y="1420"/>
                    <a:pt x="244" y="1407"/>
                    <a:pt x="231" y="1407"/>
                  </a:cubicBezTo>
                  <a:lnTo>
                    <a:pt x="960" y="218"/>
                  </a:lnTo>
                  <a:cubicBezTo>
                    <a:pt x="960" y="218"/>
                    <a:pt x="1216" y="1216"/>
                    <a:pt x="2418" y="1420"/>
                  </a:cubicBezTo>
                  <a:lnTo>
                    <a:pt x="2175" y="1164"/>
                  </a:lnTo>
                  <a:cubicBezTo>
                    <a:pt x="1161" y="879"/>
                    <a:pt x="934" y="1"/>
                    <a:pt x="934" y="1"/>
                  </a:cubicBezTo>
                  <a:close/>
                  <a:moveTo>
                    <a:pt x="43" y="2901"/>
                  </a:moveTo>
                  <a:cubicBezTo>
                    <a:pt x="43" y="2902"/>
                    <a:pt x="43" y="2903"/>
                    <a:pt x="43" y="2904"/>
                  </a:cubicBezTo>
                  <a:cubicBezTo>
                    <a:pt x="43" y="2903"/>
                    <a:pt x="43" y="2902"/>
                    <a:pt x="43" y="290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61" name="Google Shape;1461;p42"/>
            <p:cNvSpPr/>
            <p:nvPr/>
          </p:nvSpPr>
          <p:spPr>
            <a:xfrm>
              <a:off x="5113675" y="5140300"/>
              <a:ext cx="68225" cy="36800"/>
            </a:xfrm>
            <a:custGeom>
              <a:avLst/>
              <a:gdLst/>
              <a:ahLst/>
              <a:cxnLst/>
              <a:rect l="l" t="t" r="r" b="b"/>
              <a:pathLst>
                <a:path w="2729" h="1472" extrusionOk="0">
                  <a:moveTo>
                    <a:pt x="1" y="1"/>
                  </a:moveTo>
                  <a:lnTo>
                    <a:pt x="461" y="487"/>
                  </a:lnTo>
                  <a:cubicBezTo>
                    <a:pt x="931" y="756"/>
                    <a:pt x="1715" y="1122"/>
                    <a:pt x="2486" y="1122"/>
                  </a:cubicBezTo>
                  <a:lnTo>
                    <a:pt x="2444" y="675"/>
                  </a:lnTo>
                  <a:lnTo>
                    <a:pt x="2444" y="675"/>
                  </a:lnTo>
                  <a:lnTo>
                    <a:pt x="2729" y="1472"/>
                  </a:lnTo>
                  <a:lnTo>
                    <a:pt x="2713" y="1297"/>
                  </a:lnTo>
                  <a:lnTo>
                    <a:pt x="2418" y="461"/>
                  </a:lnTo>
                  <a:lnTo>
                    <a:pt x="2457" y="905"/>
                  </a:lnTo>
                  <a:cubicBezTo>
                    <a:pt x="1242" y="89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62" name="Google Shape;1462;p42"/>
            <p:cNvSpPr/>
            <p:nvPr/>
          </p:nvSpPr>
          <p:spPr>
            <a:xfrm>
              <a:off x="5134575" y="5160875"/>
              <a:ext cx="31775" cy="27750"/>
            </a:xfrm>
            <a:custGeom>
              <a:avLst/>
              <a:gdLst/>
              <a:ahLst/>
              <a:cxnLst/>
              <a:rect l="l" t="t" r="r" b="b"/>
              <a:pathLst>
                <a:path w="1271" h="1110" extrusionOk="0">
                  <a:moveTo>
                    <a:pt x="710" y="0"/>
                  </a:moveTo>
                  <a:cubicBezTo>
                    <a:pt x="402" y="0"/>
                    <a:pt x="29" y="292"/>
                    <a:pt x="14" y="594"/>
                  </a:cubicBezTo>
                  <a:cubicBezTo>
                    <a:pt x="1" y="892"/>
                    <a:pt x="380" y="1096"/>
                    <a:pt x="678" y="1109"/>
                  </a:cubicBezTo>
                  <a:cubicBezTo>
                    <a:pt x="686" y="1109"/>
                    <a:pt x="694" y="1109"/>
                    <a:pt x="703" y="1109"/>
                  </a:cubicBezTo>
                  <a:cubicBezTo>
                    <a:pt x="999" y="1109"/>
                    <a:pt x="1245" y="883"/>
                    <a:pt x="1258" y="581"/>
                  </a:cubicBezTo>
                  <a:cubicBezTo>
                    <a:pt x="1271" y="270"/>
                    <a:pt x="1028" y="14"/>
                    <a:pt x="730" y="1"/>
                  </a:cubicBezTo>
                  <a:cubicBezTo>
                    <a:pt x="723" y="1"/>
                    <a:pt x="717" y="0"/>
                    <a:pt x="71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63" name="Google Shape;1463;p42"/>
            <p:cNvSpPr/>
            <p:nvPr/>
          </p:nvSpPr>
          <p:spPr>
            <a:xfrm>
              <a:off x="5134575" y="5160300"/>
              <a:ext cx="32100" cy="24250"/>
            </a:xfrm>
            <a:custGeom>
              <a:avLst/>
              <a:gdLst/>
              <a:ahLst/>
              <a:cxnLst/>
              <a:rect l="l" t="t" r="r" b="b"/>
              <a:pathLst>
                <a:path w="1284" h="970" extrusionOk="0">
                  <a:moveTo>
                    <a:pt x="717" y="0"/>
                  </a:moveTo>
                  <a:cubicBezTo>
                    <a:pt x="642" y="0"/>
                    <a:pt x="568" y="18"/>
                    <a:pt x="500" y="37"/>
                  </a:cubicBezTo>
                  <a:cubicBezTo>
                    <a:pt x="406" y="79"/>
                    <a:pt x="312" y="131"/>
                    <a:pt x="231" y="199"/>
                  </a:cubicBezTo>
                  <a:cubicBezTo>
                    <a:pt x="163" y="267"/>
                    <a:pt x="95" y="348"/>
                    <a:pt x="56" y="442"/>
                  </a:cubicBezTo>
                  <a:cubicBezTo>
                    <a:pt x="30" y="484"/>
                    <a:pt x="14" y="536"/>
                    <a:pt x="14" y="591"/>
                  </a:cubicBezTo>
                  <a:cubicBezTo>
                    <a:pt x="1" y="633"/>
                    <a:pt x="14" y="685"/>
                    <a:pt x="30" y="740"/>
                  </a:cubicBezTo>
                  <a:cubicBezTo>
                    <a:pt x="14" y="633"/>
                    <a:pt x="30" y="536"/>
                    <a:pt x="69" y="455"/>
                  </a:cubicBezTo>
                  <a:cubicBezTo>
                    <a:pt x="124" y="361"/>
                    <a:pt x="192" y="293"/>
                    <a:pt x="257" y="228"/>
                  </a:cubicBezTo>
                  <a:cubicBezTo>
                    <a:pt x="338" y="173"/>
                    <a:pt x="419" y="118"/>
                    <a:pt x="516" y="92"/>
                  </a:cubicBezTo>
                  <a:cubicBezTo>
                    <a:pt x="575" y="65"/>
                    <a:pt x="635" y="50"/>
                    <a:pt x="694" y="50"/>
                  </a:cubicBezTo>
                  <a:cubicBezTo>
                    <a:pt x="729" y="50"/>
                    <a:pt x="763" y="55"/>
                    <a:pt x="798" y="66"/>
                  </a:cubicBezTo>
                  <a:cubicBezTo>
                    <a:pt x="986" y="92"/>
                    <a:pt x="1148" y="241"/>
                    <a:pt x="1216" y="416"/>
                  </a:cubicBezTo>
                  <a:cubicBezTo>
                    <a:pt x="1271" y="591"/>
                    <a:pt x="1229" y="808"/>
                    <a:pt x="1096" y="970"/>
                  </a:cubicBezTo>
                  <a:cubicBezTo>
                    <a:pt x="1177" y="902"/>
                    <a:pt x="1229" y="808"/>
                    <a:pt x="1258" y="714"/>
                  </a:cubicBezTo>
                  <a:cubicBezTo>
                    <a:pt x="1284" y="604"/>
                    <a:pt x="1284" y="497"/>
                    <a:pt x="1245" y="403"/>
                  </a:cubicBezTo>
                  <a:cubicBezTo>
                    <a:pt x="1190" y="199"/>
                    <a:pt x="1015" y="37"/>
                    <a:pt x="811" y="11"/>
                  </a:cubicBezTo>
                  <a:cubicBezTo>
                    <a:pt x="779" y="3"/>
                    <a:pt x="748" y="0"/>
                    <a:pt x="717" y="0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64" name="Google Shape;1464;p42"/>
            <p:cNvSpPr/>
            <p:nvPr/>
          </p:nvSpPr>
          <p:spPr>
            <a:xfrm>
              <a:off x="5137325" y="5163225"/>
              <a:ext cx="19875" cy="19625"/>
            </a:xfrm>
            <a:custGeom>
              <a:avLst/>
              <a:gdLst/>
              <a:ahLst/>
              <a:cxnLst/>
              <a:rect l="l" t="t" r="r" b="b"/>
              <a:pathLst>
                <a:path w="795" h="785" extrusionOk="0">
                  <a:moveTo>
                    <a:pt x="419" y="1"/>
                  </a:moveTo>
                  <a:cubicBezTo>
                    <a:pt x="309" y="1"/>
                    <a:pt x="228" y="30"/>
                    <a:pt x="147" y="95"/>
                  </a:cubicBezTo>
                  <a:cubicBezTo>
                    <a:pt x="82" y="150"/>
                    <a:pt x="40" y="218"/>
                    <a:pt x="14" y="312"/>
                  </a:cubicBezTo>
                  <a:lnTo>
                    <a:pt x="14" y="380"/>
                  </a:lnTo>
                  <a:cubicBezTo>
                    <a:pt x="1" y="461"/>
                    <a:pt x="27" y="555"/>
                    <a:pt x="82" y="623"/>
                  </a:cubicBezTo>
                  <a:cubicBezTo>
                    <a:pt x="147" y="704"/>
                    <a:pt x="228" y="759"/>
                    <a:pt x="338" y="772"/>
                  </a:cubicBezTo>
                  <a:cubicBezTo>
                    <a:pt x="351" y="785"/>
                    <a:pt x="364" y="785"/>
                    <a:pt x="377" y="785"/>
                  </a:cubicBezTo>
                  <a:cubicBezTo>
                    <a:pt x="594" y="785"/>
                    <a:pt x="782" y="623"/>
                    <a:pt x="795" y="406"/>
                  </a:cubicBezTo>
                  <a:cubicBezTo>
                    <a:pt x="795" y="380"/>
                    <a:pt x="795" y="338"/>
                    <a:pt x="782" y="312"/>
                  </a:cubicBezTo>
                  <a:cubicBezTo>
                    <a:pt x="756" y="192"/>
                    <a:pt x="675" y="82"/>
                    <a:pt x="568" y="43"/>
                  </a:cubicBezTo>
                  <a:cubicBezTo>
                    <a:pt x="526" y="14"/>
                    <a:pt x="471" y="1"/>
                    <a:pt x="419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65" name="Google Shape;1465;p42"/>
            <p:cNvSpPr/>
            <p:nvPr/>
          </p:nvSpPr>
          <p:spPr>
            <a:xfrm>
              <a:off x="5137650" y="5165575"/>
              <a:ext cx="9100" cy="7150"/>
            </a:xfrm>
            <a:custGeom>
              <a:avLst/>
              <a:gdLst/>
              <a:ahLst/>
              <a:cxnLst/>
              <a:rect l="l" t="t" r="r" b="b"/>
              <a:pathLst>
                <a:path w="364" h="286" extrusionOk="0">
                  <a:moveTo>
                    <a:pt x="134" y="1"/>
                  </a:moveTo>
                  <a:cubicBezTo>
                    <a:pt x="69" y="56"/>
                    <a:pt x="27" y="124"/>
                    <a:pt x="1" y="218"/>
                  </a:cubicBezTo>
                  <a:lnTo>
                    <a:pt x="364" y="286"/>
                  </a:lnTo>
                  <a:lnTo>
                    <a:pt x="134" y="1"/>
                  </a:lnTo>
                  <a:close/>
                </a:path>
              </a:pathLst>
            </a:custGeom>
            <a:solidFill>
              <a:srgbClr val="961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66" name="Google Shape;1466;p42"/>
            <p:cNvSpPr/>
            <p:nvPr/>
          </p:nvSpPr>
          <p:spPr>
            <a:xfrm>
              <a:off x="5139350" y="5172700"/>
              <a:ext cx="7400" cy="9825"/>
            </a:xfrm>
            <a:custGeom>
              <a:avLst/>
              <a:gdLst/>
              <a:ahLst/>
              <a:cxnLst/>
              <a:rect l="l" t="t" r="r" b="b"/>
              <a:pathLst>
                <a:path w="296" h="393" extrusionOk="0">
                  <a:moveTo>
                    <a:pt x="296" y="1"/>
                  </a:moveTo>
                  <a:lnTo>
                    <a:pt x="1" y="244"/>
                  </a:lnTo>
                  <a:cubicBezTo>
                    <a:pt x="66" y="325"/>
                    <a:pt x="147" y="380"/>
                    <a:pt x="257" y="393"/>
                  </a:cubicBezTo>
                  <a:lnTo>
                    <a:pt x="296" y="1"/>
                  </a:lnTo>
                  <a:close/>
                </a:path>
              </a:pathLst>
            </a:custGeom>
            <a:solidFill>
              <a:srgbClr val="961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67" name="Google Shape;1467;p42"/>
            <p:cNvSpPr/>
            <p:nvPr/>
          </p:nvSpPr>
          <p:spPr>
            <a:xfrm>
              <a:off x="5142025" y="5167600"/>
              <a:ext cx="10800" cy="10875"/>
            </a:xfrm>
            <a:custGeom>
              <a:avLst/>
              <a:gdLst/>
              <a:ahLst/>
              <a:cxnLst/>
              <a:rect l="l" t="t" r="r" b="b"/>
              <a:pathLst>
                <a:path w="432" h="435" extrusionOk="0">
                  <a:moveTo>
                    <a:pt x="218" y="1"/>
                  </a:moveTo>
                  <a:cubicBezTo>
                    <a:pt x="108" y="1"/>
                    <a:pt x="1" y="82"/>
                    <a:pt x="1" y="205"/>
                  </a:cubicBezTo>
                  <a:cubicBezTo>
                    <a:pt x="1" y="325"/>
                    <a:pt x="82" y="422"/>
                    <a:pt x="202" y="435"/>
                  </a:cubicBezTo>
                  <a:cubicBezTo>
                    <a:pt x="325" y="435"/>
                    <a:pt x="419" y="341"/>
                    <a:pt x="419" y="218"/>
                  </a:cubicBezTo>
                  <a:cubicBezTo>
                    <a:pt x="432" y="111"/>
                    <a:pt x="338" y="1"/>
                    <a:pt x="218" y="1"/>
                  </a:cubicBezTo>
                  <a:close/>
                </a:path>
              </a:pathLst>
            </a:custGeom>
            <a:solidFill>
              <a:srgbClr val="2C030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68" name="Google Shape;1468;p42"/>
            <p:cNvSpPr/>
            <p:nvPr/>
          </p:nvSpPr>
          <p:spPr>
            <a:xfrm>
              <a:off x="5150775" y="5173675"/>
              <a:ext cx="3100" cy="3100"/>
            </a:xfrm>
            <a:custGeom>
              <a:avLst/>
              <a:gdLst/>
              <a:ahLst/>
              <a:cxnLst/>
              <a:rect l="l" t="t" r="r" b="b"/>
              <a:pathLst>
                <a:path w="124" h="124" extrusionOk="0">
                  <a:moveTo>
                    <a:pt x="69" y="1"/>
                  </a:moveTo>
                  <a:cubicBezTo>
                    <a:pt x="43" y="1"/>
                    <a:pt x="14" y="30"/>
                    <a:pt x="1" y="56"/>
                  </a:cubicBezTo>
                  <a:cubicBezTo>
                    <a:pt x="1" y="98"/>
                    <a:pt x="30" y="124"/>
                    <a:pt x="69" y="124"/>
                  </a:cubicBezTo>
                  <a:cubicBezTo>
                    <a:pt x="95" y="124"/>
                    <a:pt x="124" y="98"/>
                    <a:pt x="124" y="69"/>
                  </a:cubicBezTo>
                  <a:cubicBezTo>
                    <a:pt x="124" y="30"/>
                    <a:pt x="95" y="1"/>
                    <a:pt x="6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69" name="Google Shape;1469;p42"/>
            <p:cNvSpPr/>
            <p:nvPr/>
          </p:nvSpPr>
          <p:spPr>
            <a:xfrm>
              <a:off x="5081600" y="5158525"/>
              <a:ext cx="31450" cy="27750"/>
            </a:xfrm>
            <a:custGeom>
              <a:avLst/>
              <a:gdLst/>
              <a:ahLst/>
              <a:cxnLst/>
              <a:rect l="l" t="t" r="r" b="b"/>
              <a:pathLst>
                <a:path w="1258" h="1110" extrusionOk="0">
                  <a:moveTo>
                    <a:pt x="569" y="0"/>
                  </a:moveTo>
                  <a:cubicBezTo>
                    <a:pt x="272" y="0"/>
                    <a:pt x="26" y="226"/>
                    <a:pt x="14" y="526"/>
                  </a:cubicBezTo>
                  <a:cubicBezTo>
                    <a:pt x="1" y="837"/>
                    <a:pt x="231" y="1093"/>
                    <a:pt x="542" y="1109"/>
                  </a:cubicBezTo>
                  <a:cubicBezTo>
                    <a:pt x="553" y="1109"/>
                    <a:pt x="563" y="1110"/>
                    <a:pt x="574" y="1110"/>
                  </a:cubicBezTo>
                  <a:cubicBezTo>
                    <a:pt x="878" y="1110"/>
                    <a:pt x="1229" y="937"/>
                    <a:pt x="1242" y="649"/>
                  </a:cubicBezTo>
                  <a:cubicBezTo>
                    <a:pt x="1258" y="338"/>
                    <a:pt x="892" y="14"/>
                    <a:pt x="594" y="1"/>
                  </a:cubicBezTo>
                  <a:cubicBezTo>
                    <a:pt x="585" y="0"/>
                    <a:pt x="577" y="0"/>
                    <a:pt x="56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70" name="Google Shape;1470;p42"/>
            <p:cNvSpPr/>
            <p:nvPr/>
          </p:nvSpPr>
          <p:spPr>
            <a:xfrm>
              <a:off x="5081275" y="5157775"/>
              <a:ext cx="31775" cy="23375"/>
            </a:xfrm>
            <a:custGeom>
              <a:avLst/>
              <a:gdLst/>
              <a:ahLst/>
              <a:cxnLst/>
              <a:rect l="l" t="t" r="r" b="b"/>
              <a:pathLst>
                <a:path w="1271" h="935" extrusionOk="0">
                  <a:moveTo>
                    <a:pt x="589" y="0"/>
                  </a:moveTo>
                  <a:cubicBezTo>
                    <a:pt x="568" y="0"/>
                    <a:pt x="547" y="2"/>
                    <a:pt x="526" y="5"/>
                  </a:cubicBezTo>
                  <a:cubicBezTo>
                    <a:pt x="312" y="18"/>
                    <a:pt x="121" y="167"/>
                    <a:pt x="56" y="355"/>
                  </a:cubicBezTo>
                  <a:cubicBezTo>
                    <a:pt x="14" y="449"/>
                    <a:pt x="1" y="556"/>
                    <a:pt x="14" y="666"/>
                  </a:cubicBezTo>
                  <a:cubicBezTo>
                    <a:pt x="40" y="760"/>
                    <a:pt x="82" y="854"/>
                    <a:pt x="150" y="935"/>
                  </a:cubicBezTo>
                  <a:cubicBezTo>
                    <a:pt x="27" y="773"/>
                    <a:pt x="1" y="543"/>
                    <a:pt x="82" y="368"/>
                  </a:cubicBezTo>
                  <a:cubicBezTo>
                    <a:pt x="163" y="193"/>
                    <a:pt x="338" y="70"/>
                    <a:pt x="526" y="57"/>
                  </a:cubicBezTo>
                  <a:cubicBezTo>
                    <a:pt x="543" y="54"/>
                    <a:pt x="560" y="53"/>
                    <a:pt x="577" y="53"/>
                  </a:cubicBezTo>
                  <a:cubicBezTo>
                    <a:pt x="656" y="53"/>
                    <a:pt x="733" y="77"/>
                    <a:pt x="811" y="112"/>
                  </a:cubicBezTo>
                  <a:cubicBezTo>
                    <a:pt x="892" y="151"/>
                    <a:pt x="973" y="206"/>
                    <a:pt x="1054" y="274"/>
                  </a:cubicBezTo>
                  <a:cubicBezTo>
                    <a:pt x="1122" y="342"/>
                    <a:pt x="1174" y="423"/>
                    <a:pt x="1216" y="504"/>
                  </a:cubicBezTo>
                  <a:cubicBezTo>
                    <a:pt x="1255" y="598"/>
                    <a:pt x="1271" y="705"/>
                    <a:pt x="1229" y="799"/>
                  </a:cubicBezTo>
                  <a:cubicBezTo>
                    <a:pt x="1255" y="747"/>
                    <a:pt x="1271" y="705"/>
                    <a:pt x="1271" y="653"/>
                  </a:cubicBezTo>
                  <a:cubicBezTo>
                    <a:pt x="1271" y="598"/>
                    <a:pt x="1255" y="543"/>
                    <a:pt x="1242" y="504"/>
                  </a:cubicBezTo>
                  <a:cubicBezTo>
                    <a:pt x="1203" y="410"/>
                    <a:pt x="1148" y="313"/>
                    <a:pt x="1080" y="248"/>
                  </a:cubicBezTo>
                  <a:cubicBezTo>
                    <a:pt x="1012" y="167"/>
                    <a:pt x="918" y="112"/>
                    <a:pt x="824" y="57"/>
                  </a:cubicBezTo>
                  <a:cubicBezTo>
                    <a:pt x="758" y="25"/>
                    <a:pt x="676" y="0"/>
                    <a:pt x="589" y="0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71" name="Google Shape;1471;p42"/>
            <p:cNvSpPr/>
            <p:nvPr/>
          </p:nvSpPr>
          <p:spPr>
            <a:xfrm>
              <a:off x="5082650" y="5160875"/>
              <a:ext cx="19550" cy="19650"/>
            </a:xfrm>
            <a:custGeom>
              <a:avLst/>
              <a:gdLst/>
              <a:ahLst/>
              <a:cxnLst/>
              <a:rect l="l" t="t" r="r" b="b"/>
              <a:pathLst>
                <a:path w="782" h="786" extrusionOk="0">
                  <a:moveTo>
                    <a:pt x="406" y="1"/>
                  </a:moveTo>
                  <a:cubicBezTo>
                    <a:pt x="309" y="1"/>
                    <a:pt x="215" y="27"/>
                    <a:pt x="134" y="95"/>
                  </a:cubicBezTo>
                  <a:cubicBezTo>
                    <a:pt x="66" y="150"/>
                    <a:pt x="27" y="218"/>
                    <a:pt x="14" y="312"/>
                  </a:cubicBezTo>
                  <a:cubicBezTo>
                    <a:pt x="1" y="338"/>
                    <a:pt x="1" y="351"/>
                    <a:pt x="1" y="380"/>
                  </a:cubicBezTo>
                  <a:cubicBezTo>
                    <a:pt x="1" y="461"/>
                    <a:pt x="27" y="555"/>
                    <a:pt x="66" y="623"/>
                  </a:cubicBezTo>
                  <a:cubicBezTo>
                    <a:pt x="134" y="704"/>
                    <a:pt x="215" y="756"/>
                    <a:pt x="325" y="772"/>
                  </a:cubicBezTo>
                  <a:cubicBezTo>
                    <a:pt x="338" y="785"/>
                    <a:pt x="364" y="785"/>
                    <a:pt x="377" y="785"/>
                  </a:cubicBezTo>
                  <a:cubicBezTo>
                    <a:pt x="384" y="785"/>
                    <a:pt x="392" y="786"/>
                    <a:pt x="399" y="786"/>
                  </a:cubicBezTo>
                  <a:cubicBezTo>
                    <a:pt x="606" y="786"/>
                    <a:pt x="769" y="615"/>
                    <a:pt x="782" y="406"/>
                  </a:cubicBezTo>
                  <a:cubicBezTo>
                    <a:pt x="782" y="380"/>
                    <a:pt x="782" y="351"/>
                    <a:pt x="769" y="312"/>
                  </a:cubicBezTo>
                  <a:cubicBezTo>
                    <a:pt x="756" y="189"/>
                    <a:pt x="662" y="82"/>
                    <a:pt x="552" y="43"/>
                  </a:cubicBezTo>
                  <a:cubicBezTo>
                    <a:pt x="513" y="14"/>
                    <a:pt x="458" y="1"/>
                    <a:pt x="406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72" name="Google Shape;1472;p42"/>
            <p:cNvSpPr/>
            <p:nvPr/>
          </p:nvSpPr>
          <p:spPr>
            <a:xfrm>
              <a:off x="5082975" y="5163225"/>
              <a:ext cx="9100" cy="7150"/>
            </a:xfrm>
            <a:custGeom>
              <a:avLst/>
              <a:gdLst/>
              <a:ahLst/>
              <a:cxnLst/>
              <a:rect l="l" t="t" r="r" b="b"/>
              <a:pathLst>
                <a:path w="364" h="286" extrusionOk="0">
                  <a:moveTo>
                    <a:pt x="121" y="1"/>
                  </a:moveTo>
                  <a:cubicBezTo>
                    <a:pt x="53" y="56"/>
                    <a:pt x="14" y="124"/>
                    <a:pt x="1" y="218"/>
                  </a:cubicBezTo>
                  <a:lnTo>
                    <a:pt x="364" y="286"/>
                  </a:lnTo>
                  <a:lnTo>
                    <a:pt x="121" y="1"/>
                  </a:lnTo>
                  <a:close/>
                </a:path>
              </a:pathLst>
            </a:custGeom>
            <a:solidFill>
              <a:srgbClr val="961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73" name="Google Shape;1473;p42"/>
            <p:cNvSpPr/>
            <p:nvPr/>
          </p:nvSpPr>
          <p:spPr>
            <a:xfrm>
              <a:off x="5084275" y="5170350"/>
              <a:ext cx="7800" cy="9825"/>
            </a:xfrm>
            <a:custGeom>
              <a:avLst/>
              <a:gdLst/>
              <a:ahLst/>
              <a:cxnLst/>
              <a:rect l="l" t="t" r="r" b="b"/>
              <a:pathLst>
                <a:path w="312" h="393" extrusionOk="0">
                  <a:moveTo>
                    <a:pt x="312" y="1"/>
                  </a:moveTo>
                  <a:lnTo>
                    <a:pt x="1" y="244"/>
                  </a:lnTo>
                  <a:cubicBezTo>
                    <a:pt x="69" y="325"/>
                    <a:pt x="150" y="377"/>
                    <a:pt x="260" y="393"/>
                  </a:cubicBezTo>
                  <a:lnTo>
                    <a:pt x="312" y="1"/>
                  </a:lnTo>
                  <a:close/>
                </a:path>
              </a:pathLst>
            </a:custGeom>
            <a:solidFill>
              <a:srgbClr val="961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74" name="Google Shape;1474;p42"/>
            <p:cNvSpPr/>
            <p:nvPr/>
          </p:nvSpPr>
          <p:spPr>
            <a:xfrm>
              <a:off x="5087025" y="5165250"/>
              <a:ext cx="10800" cy="10875"/>
            </a:xfrm>
            <a:custGeom>
              <a:avLst/>
              <a:gdLst/>
              <a:ahLst/>
              <a:cxnLst/>
              <a:rect l="l" t="t" r="r" b="b"/>
              <a:pathLst>
                <a:path w="432" h="435" extrusionOk="0">
                  <a:moveTo>
                    <a:pt x="231" y="1"/>
                  </a:moveTo>
                  <a:cubicBezTo>
                    <a:pt x="108" y="1"/>
                    <a:pt x="1" y="82"/>
                    <a:pt x="1" y="205"/>
                  </a:cubicBezTo>
                  <a:cubicBezTo>
                    <a:pt x="1" y="325"/>
                    <a:pt x="82" y="419"/>
                    <a:pt x="202" y="435"/>
                  </a:cubicBezTo>
                  <a:cubicBezTo>
                    <a:pt x="325" y="435"/>
                    <a:pt x="419" y="338"/>
                    <a:pt x="432" y="231"/>
                  </a:cubicBezTo>
                  <a:cubicBezTo>
                    <a:pt x="432" y="111"/>
                    <a:pt x="338" y="14"/>
                    <a:pt x="231" y="1"/>
                  </a:cubicBezTo>
                  <a:close/>
                </a:path>
              </a:pathLst>
            </a:custGeom>
            <a:solidFill>
              <a:srgbClr val="2C030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75" name="Google Shape;1475;p42"/>
            <p:cNvSpPr/>
            <p:nvPr/>
          </p:nvSpPr>
          <p:spPr>
            <a:xfrm>
              <a:off x="5095775" y="5171325"/>
              <a:ext cx="3425" cy="3100"/>
            </a:xfrm>
            <a:custGeom>
              <a:avLst/>
              <a:gdLst/>
              <a:ahLst/>
              <a:cxnLst/>
              <a:rect l="l" t="t" r="r" b="b"/>
              <a:pathLst>
                <a:path w="137" h="124" extrusionOk="0">
                  <a:moveTo>
                    <a:pt x="69" y="1"/>
                  </a:moveTo>
                  <a:cubicBezTo>
                    <a:pt x="43" y="1"/>
                    <a:pt x="14" y="30"/>
                    <a:pt x="14" y="56"/>
                  </a:cubicBezTo>
                  <a:cubicBezTo>
                    <a:pt x="1" y="95"/>
                    <a:pt x="27" y="124"/>
                    <a:pt x="69" y="124"/>
                  </a:cubicBezTo>
                  <a:cubicBezTo>
                    <a:pt x="95" y="124"/>
                    <a:pt x="124" y="95"/>
                    <a:pt x="124" y="69"/>
                  </a:cubicBezTo>
                  <a:cubicBezTo>
                    <a:pt x="137" y="30"/>
                    <a:pt x="108" y="1"/>
                    <a:pt x="6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76" name="Google Shape;1476;p42"/>
            <p:cNvSpPr/>
            <p:nvPr/>
          </p:nvSpPr>
          <p:spPr>
            <a:xfrm>
              <a:off x="5153050" y="5139750"/>
              <a:ext cx="13950" cy="11475"/>
            </a:xfrm>
            <a:custGeom>
              <a:avLst/>
              <a:gdLst/>
              <a:ahLst/>
              <a:cxnLst/>
              <a:rect l="l" t="t" r="r" b="b"/>
              <a:pathLst>
                <a:path w="558" h="459" extrusionOk="0">
                  <a:moveTo>
                    <a:pt x="185" y="1"/>
                  </a:moveTo>
                  <a:cubicBezTo>
                    <a:pt x="72" y="1"/>
                    <a:pt x="1" y="99"/>
                    <a:pt x="59" y="224"/>
                  </a:cubicBezTo>
                  <a:cubicBezTo>
                    <a:pt x="85" y="292"/>
                    <a:pt x="140" y="334"/>
                    <a:pt x="195" y="373"/>
                  </a:cubicBezTo>
                  <a:cubicBezTo>
                    <a:pt x="247" y="415"/>
                    <a:pt x="289" y="441"/>
                    <a:pt x="357" y="454"/>
                  </a:cubicBezTo>
                  <a:cubicBezTo>
                    <a:pt x="369" y="457"/>
                    <a:pt x="382" y="458"/>
                    <a:pt x="396" y="458"/>
                  </a:cubicBezTo>
                  <a:cubicBezTo>
                    <a:pt x="439" y="458"/>
                    <a:pt x="487" y="442"/>
                    <a:pt x="519" y="402"/>
                  </a:cubicBezTo>
                  <a:cubicBezTo>
                    <a:pt x="558" y="360"/>
                    <a:pt x="558" y="292"/>
                    <a:pt x="532" y="240"/>
                  </a:cubicBezTo>
                  <a:cubicBezTo>
                    <a:pt x="506" y="172"/>
                    <a:pt x="451" y="130"/>
                    <a:pt x="409" y="91"/>
                  </a:cubicBezTo>
                  <a:cubicBezTo>
                    <a:pt x="357" y="62"/>
                    <a:pt x="315" y="23"/>
                    <a:pt x="247" y="10"/>
                  </a:cubicBezTo>
                  <a:cubicBezTo>
                    <a:pt x="225" y="4"/>
                    <a:pt x="205" y="1"/>
                    <a:pt x="185" y="1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77" name="Google Shape;1477;p42"/>
            <p:cNvSpPr/>
            <p:nvPr/>
          </p:nvSpPr>
          <p:spPr>
            <a:xfrm>
              <a:off x="5082975" y="5136825"/>
              <a:ext cx="14350" cy="11050"/>
            </a:xfrm>
            <a:custGeom>
              <a:avLst/>
              <a:gdLst/>
              <a:ahLst/>
              <a:cxnLst/>
              <a:rect l="l" t="t" r="r" b="b"/>
              <a:pathLst>
                <a:path w="574" h="442" extrusionOk="0">
                  <a:moveTo>
                    <a:pt x="365" y="0"/>
                  </a:moveTo>
                  <a:cubicBezTo>
                    <a:pt x="352" y="0"/>
                    <a:pt x="339" y="1"/>
                    <a:pt x="325" y="4"/>
                  </a:cubicBezTo>
                  <a:cubicBezTo>
                    <a:pt x="270" y="17"/>
                    <a:pt x="215" y="46"/>
                    <a:pt x="163" y="85"/>
                  </a:cubicBezTo>
                  <a:cubicBezTo>
                    <a:pt x="108" y="114"/>
                    <a:pt x="69" y="153"/>
                    <a:pt x="27" y="208"/>
                  </a:cubicBezTo>
                  <a:cubicBezTo>
                    <a:pt x="1" y="260"/>
                    <a:pt x="1" y="328"/>
                    <a:pt x="27" y="383"/>
                  </a:cubicBezTo>
                  <a:cubicBezTo>
                    <a:pt x="62" y="415"/>
                    <a:pt x="113" y="441"/>
                    <a:pt x="161" y="441"/>
                  </a:cubicBezTo>
                  <a:cubicBezTo>
                    <a:pt x="170" y="441"/>
                    <a:pt x="180" y="440"/>
                    <a:pt x="189" y="438"/>
                  </a:cubicBezTo>
                  <a:cubicBezTo>
                    <a:pt x="244" y="438"/>
                    <a:pt x="296" y="409"/>
                    <a:pt x="351" y="383"/>
                  </a:cubicBezTo>
                  <a:cubicBezTo>
                    <a:pt x="419" y="341"/>
                    <a:pt x="474" y="302"/>
                    <a:pt x="500" y="247"/>
                  </a:cubicBezTo>
                  <a:cubicBezTo>
                    <a:pt x="573" y="111"/>
                    <a:pt x="492" y="0"/>
                    <a:pt x="365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78" name="Google Shape;1478;p42"/>
            <p:cNvSpPr/>
            <p:nvPr/>
          </p:nvSpPr>
          <p:spPr>
            <a:xfrm>
              <a:off x="5116025" y="5181125"/>
              <a:ext cx="14850" cy="7800"/>
            </a:xfrm>
            <a:custGeom>
              <a:avLst/>
              <a:gdLst/>
              <a:ahLst/>
              <a:cxnLst/>
              <a:rect l="l" t="t" r="r" b="b"/>
              <a:pathLst>
                <a:path w="594" h="312" extrusionOk="0">
                  <a:moveTo>
                    <a:pt x="299" y="1"/>
                  </a:moveTo>
                  <a:lnTo>
                    <a:pt x="244" y="14"/>
                  </a:lnTo>
                  <a:lnTo>
                    <a:pt x="176" y="14"/>
                  </a:lnTo>
                  <a:cubicBezTo>
                    <a:pt x="124" y="27"/>
                    <a:pt x="82" y="27"/>
                    <a:pt x="43" y="69"/>
                  </a:cubicBezTo>
                  <a:cubicBezTo>
                    <a:pt x="27" y="69"/>
                    <a:pt x="27" y="82"/>
                    <a:pt x="14" y="95"/>
                  </a:cubicBezTo>
                  <a:cubicBezTo>
                    <a:pt x="14" y="108"/>
                    <a:pt x="1" y="124"/>
                    <a:pt x="1" y="137"/>
                  </a:cubicBezTo>
                  <a:cubicBezTo>
                    <a:pt x="1" y="163"/>
                    <a:pt x="14" y="189"/>
                    <a:pt x="27" y="205"/>
                  </a:cubicBezTo>
                  <a:cubicBezTo>
                    <a:pt x="56" y="244"/>
                    <a:pt x="82" y="270"/>
                    <a:pt x="108" y="299"/>
                  </a:cubicBezTo>
                  <a:cubicBezTo>
                    <a:pt x="82" y="270"/>
                    <a:pt x="69" y="231"/>
                    <a:pt x="43" y="189"/>
                  </a:cubicBezTo>
                  <a:cubicBezTo>
                    <a:pt x="27" y="150"/>
                    <a:pt x="43" y="124"/>
                    <a:pt x="69" y="95"/>
                  </a:cubicBezTo>
                  <a:cubicBezTo>
                    <a:pt x="95" y="82"/>
                    <a:pt x="137" y="69"/>
                    <a:pt x="176" y="69"/>
                  </a:cubicBezTo>
                  <a:lnTo>
                    <a:pt x="244" y="56"/>
                  </a:lnTo>
                  <a:lnTo>
                    <a:pt x="299" y="56"/>
                  </a:lnTo>
                  <a:cubicBezTo>
                    <a:pt x="325" y="56"/>
                    <a:pt x="351" y="56"/>
                    <a:pt x="367" y="69"/>
                  </a:cubicBezTo>
                  <a:lnTo>
                    <a:pt x="432" y="69"/>
                  </a:lnTo>
                  <a:cubicBezTo>
                    <a:pt x="474" y="69"/>
                    <a:pt x="513" y="82"/>
                    <a:pt x="542" y="108"/>
                  </a:cubicBezTo>
                  <a:cubicBezTo>
                    <a:pt x="568" y="124"/>
                    <a:pt x="555" y="163"/>
                    <a:pt x="542" y="205"/>
                  </a:cubicBezTo>
                  <a:cubicBezTo>
                    <a:pt x="529" y="244"/>
                    <a:pt x="500" y="270"/>
                    <a:pt x="461" y="312"/>
                  </a:cubicBezTo>
                  <a:cubicBezTo>
                    <a:pt x="500" y="286"/>
                    <a:pt x="542" y="257"/>
                    <a:pt x="568" y="218"/>
                  </a:cubicBezTo>
                  <a:cubicBezTo>
                    <a:pt x="581" y="205"/>
                    <a:pt x="581" y="176"/>
                    <a:pt x="594" y="150"/>
                  </a:cubicBezTo>
                  <a:cubicBezTo>
                    <a:pt x="594" y="137"/>
                    <a:pt x="581" y="124"/>
                    <a:pt x="581" y="108"/>
                  </a:cubicBezTo>
                  <a:cubicBezTo>
                    <a:pt x="581" y="95"/>
                    <a:pt x="581" y="82"/>
                    <a:pt x="568" y="82"/>
                  </a:cubicBezTo>
                  <a:cubicBezTo>
                    <a:pt x="529" y="43"/>
                    <a:pt x="487" y="27"/>
                    <a:pt x="432" y="14"/>
                  </a:cubicBezTo>
                  <a:lnTo>
                    <a:pt x="367" y="14"/>
                  </a:lnTo>
                  <a:cubicBezTo>
                    <a:pt x="351" y="14"/>
                    <a:pt x="325" y="1"/>
                    <a:pt x="299" y="1"/>
                  </a:cubicBezTo>
                  <a:close/>
                </a:path>
              </a:pathLst>
            </a:custGeom>
            <a:solidFill>
              <a:srgbClr val="8E20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79" name="Google Shape;1479;p42"/>
            <p:cNvSpPr/>
            <p:nvPr/>
          </p:nvSpPr>
          <p:spPr>
            <a:xfrm>
              <a:off x="5185925" y="5171100"/>
              <a:ext cx="18900" cy="22525"/>
            </a:xfrm>
            <a:custGeom>
              <a:avLst/>
              <a:gdLst/>
              <a:ahLst/>
              <a:cxnLst/>
              <a:rect l="l" t="t" r="r" b="b"/>
              <a:pathLst>
                <a:path w="756" h="901" extrusionOk="0">
                  <a:moveTo>
                    <a:pt x="506" y="0"/>
                  </a:moveTo>
                  <a:cubicBezTo>
                    <a:pt x="486" y="0"/>
                    <a:pt x="466" y="3"/>
                    <a:pt x="445" y="10"/>
                  </a:cubicBezTo>
                  <a:cubicBezTo>
                    <a:pt x="377" y="23"/>
                    <a:pt x="296" y="52"/>
                    <a:pt x="244" y="104"/>
                  </a:cubicBezTo>
                  <a:cubicBezTo>
                    <a:pt x="134" y="201"/>
                    <a:pt x="53" y="334"/>
                    <a:pt x="27" y="470"/>
                  </a:cubicBezTo>
                  <a:cubicBezTo>
                    <a:pt x="14" y="509"/>
                    <a:pt x="1" y="538"/>
                    <a:pt x="1" y="577"/>
                  </a:cubicBezTo>
                  <a:lnTo>
                    <a:pt x="1" y="687"/>
                  </a:lnTo>
                  <a:lnTo>
                    <a:pt x="1" y="794"/>
                  </a:lnTo>
                  <a:cubicBezTo>
                    <a:pt x="14" y="820"/>
                    <a:pt x="14" y="862"/>
                    <a:pt x="14" y="901"/>
                  </a:cubicBezTo>
                  <a:cubicBezTo>
                    <a:pt x="14" y="752"/>
                    <a:pt x="27" y="619"/>
                    <a:pt x="66" y="483"/>
                  </a:cubicBezTo>
                  <a:cubicBezTo>
                    <a:pt x="66" y="444"/>
                    <a:pt x="82" y="415"/>
                    <a:pt x="95" y="389"/>
                  </a:cubicBezTo>
                  <a:cubicBezTo>
                    <a:pt x="121" y="363"/>
                    <a:pt x="121" y="321"/>
                    <a:pt x="147" y="295"/>
                  </a:cubicBezTo>
                  <a:cubicBezTo>
                    <a:pt x="189" y="240"/>
                    <a:pt x="228" y="185"/>
                    <a:pt x="283" y="146"/>
                  </a:cubicBezTo>
                  <a:cubicBezTo>
                    <a:pt x="338" y="104"/>
                    <a:pt x="390" y="65"/>
                    <a:pt x="458" y="52"/>
                  </a:cubicBezTo>
                  <a:cubicBezTo>
                    <a:pt x="475" y="49"/>
                    <a:pt x="491" y="47"/>
                    <a:pt x="506" y="47"/>
                  </a:cubicBezTo>
                  <a:cubicBezTo>
                    <a:pt x="553" y="47"/>
                    <a:pt x="594" y="62"/>
                    <a:pt x="633" y="91"/>
                  </a:cubicBezTo>
                  <a:cubicBezTo>
                    <a:pt x="662" y="120"/>
                    <a:pt x="675" y="146"/>
                    <a:pt x="688" y="172"/>
                  </a:cubicBezTo>
                  <a:cubicBezTo>
                    <a:pt x="701" y="201"/>
                    <a:pt x="714" y="240"/>
                    <a:pt x="730" y="266"/>
                  </a:cubicBezTo>
                  <a:cubicBezTo>
                    <a:pt x="730" y="334"/>
                    <a:pt x="730" y="402"/>
                    <a:pt x="714" y="470"/>
                  </a:cubicBezTo>
                  <a:cubicBezTo>
                    <a:pt x="743" y="415"/>
                    <a:pt x="756" y="334"/>
                    <a:pt x="743" y="266"/>
                  </a:cubicBezTo>
                  <a:cubicBezTo>
                    <a:pt x="743" y="227"/>
                    <a:pt x="743" y="185"/>
                    <a:pt x="730" y="159"/>
                  </a:cubicBezTo>
                  <a:cubicBezTo>
                    <a:pt x="714" y="120"/>
                    <a:pt x="688" y="91"/>
                    <a:pt x="662" y="65"/>
                  </a:cubicBezTo>
                  <a:cubicBezTo>
                    <a:pt x="649" y="52"/>
                    <a:pt x="633" y="39"/>
                    <a:pt x="620" y="23"/>
                  </a:cubicBezTo>
                  <a:cubicBezTo>
                    <a:pt x="594" y="23"/>
                    <a:pt x="581" y="10"/>
                    <a:pt x="568" y="10"/>
                  </a:cubicBezTo>
                  <a:cubicBezTo>
                    <a:pt x="547" y="3"/>
                    <a:pt x="526" y="0"/>
                    <a:pt x="506" y="0"/>
                  </a:cubicBezTo>
                  <a:close/>
                </a:path>
              </a:pathLst>
            </a:custGeom>
            <a:solidFill>
              <a:srgbClr val="E453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80" name="Google Shape;1480;p42"/>
            <p:cNvSpPr/>
            <p:nvPr/>
          </p:nvSpPr>
          <p:spPr>
            <a:xfrm>
              <a:off x="5188275" y="5179050"/>
              <a:ext cx="8125" cy="15300"/>
            </a:xfrm>
            <a:custGeom>
              <a:avLst/>
              <a:gdLst/>
              <a:ahLst/>
              <a:cxnLst/>
              <a:rect l="l" t="t" r="r" b="b"/>
              <a:pathLst>
                <a:path w="325" h="612" extrusionOk="0">
                  <a:moveTo>
                    <a:pt x="126" y="1"/>
                  </a:moveTo>
                  <a:cubicBezTo>
                    <a:pt x="84" y="1"/>
                    <a:pt x="40" y="8"/>
                    <a:pt x="1" y="16"/>
                  </a:cubicBezTo>
                  <a:cubicBezTo>
                    <a:pt x="69" y="16"/>
                    <a:pt x="150" y="29"/>
                    <a:pt x="202" y="58"/>
                  </a:cubicBezTo>
                  <a:cubicBezTo>
                    <a:pt x="257" y="84"/>
                    <a:pt x="270" y="152"/>
                    <a:pt x="257" y="220"/>
                  </a:cubicBezTo>
                  <a:cubicBezTo>
                    <a:pt x="257" y="272"/>
                    <a:pt x="231" y="340"/>
                    <a:pt x="215" y="408"/>
                  </a:cubicBezTo>
                  <a:cubicBezTo>
                    <a:pt x="189" y="476"/>
                    <a:pt x="163" y="544"/>
                    <a:pt x="134" y="612"/>
                  </a:cubicBezTo>
                  <a:cubicBezTo>
                    <a:pt x="189" y="557"/>
                    <a:pt x="215" y="489"/>
                    <a:pt x="257" y="421"/>
                  </a:cubicBezTo>
                  <a:cubicBezTo>
                    <a:pt x="283" y="369"/>
                    <a:pt x="312" y="288"/>
                    <a:pt x="312" y="220"/>
                  </a:cubicBezTo>
                  <a:cubicBezTo>
                    <a:pt x="325" y="178"/>
                    <a:pt x="312" y="139"/>
                    <a:pt x="296" y="97"/>
                  </a:cubicBezTo>
                  <a:cubicBezTo>
                    <a:pt x="283" y="71"/>
                    <a:pt x="257" y="29"/>
                    <a:pt x="215" y="16"/>
                  </a:cubicBezTo>
                  <a:cubicBezTo>
                    <a:pt x="187" y="5"/>
                    <a:pt x="157" y="1"/>
                    <a:pt x="126" y="1"/>
                  </a:cubicBezTo>
                  <a:close/>
                </a:path>
              </a:pathLst>
            </a:custGeom>
            <a:solidFill>
              <a:srgbClr val="E453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81" name="Google Shape;1481;p42"/>
            <p:cNvSpPr/>
            <p:nvPr/>
          </p:nvSpPr>
          <p:spPr>
            <a:xfrm>
              <a:off x="5101525" y="5192625"/>
              <a:ext cx="43525" cy="18250"/>
            </a:xfrm>
            <a:custGeom>
              <a:avLst/>
              <a:gdLst/>
              <a:ahLst/>
              <a:cxnLst/>
              <a:rect l="l" t="t" r="r" b="b"/>
              <a:pathLst>
                <a:path w="1741" h="730" extrusionOk="0">
                  <a:moveTo>
                    <a:pt x="270" y="1"/>
                  </a:moveTo>
                  <a:cubicBezTo>
                    <a:pt x="202" y="14"/>
                    <a:pt x="163" y="14"/>
                    <a:pt x="137" y="27"/>
                  </a:cubicBezTo>
                  <a:cubicBezTo>
                    <a:pt x="40" y="82"/>
                    <a:pt x="1" y="419"/>
                    <a:pt x="299" y="607"/>
                  </a:cubicBezTo>
                  <a:cubicBezTo>
                    <a:pt x="312" y="607"/>
                    <a:pt x="325" y="620"/>
                    <a:pt x="325" y="620"/>
                  </a:cubicBezTo>
                  <a:cubicBezTo>
                    <a:pt x="445" y="688"/>
                    <a:pt x="594" y="730"/>
                    <a:pt x="811" y="730"/>
                  </a:cubicBezTo>
                  <a:cubicBezTo>
                    <a:pt x="1054" y="730"/>
                    <a:pt x="1229" y="675"/>
                    <a:pt x="1352" y="620"/>
                  </a:cubicBezTo>
                  <a:cubicBezTo>
                    <a:pt x="1365" y="607"/>
                    <a:pt x="1378" y="607"/>
                    <a:pt x="1391" y="594"/>
                  </a:cubicBezTo>
                  <a:cubicBezTo>
                    <a:pt x="1741" y="393"/>
                    <a:pt x="1647" y="27"/>
                    <a:pt x="1498" y="1"/>
                  </a:cubicBezTo>
                  <a:lnTo>
                    <a:pt x="1433" y="1"/>
                  </a:lnTo>
                  <a:cubicBezTo>
                    <a:pt x="1365" y="1"/>
                    <a:pt x="1255" y="1"/>
                    <a:pt x="1174" y="14"/>
                  </a:cubicBezTo>
                  <a:cubicBezTo>
                    <a:pt x="1067" y="27"/>
                    <a:pt x="959" y="33"/>
                    <a:pt x="851" y="33"/>
                  </a:cubicBezTo>
                  <a:cubicBezTo>
                    <a:pt x="743" y="33"/>
                    <a:pt x="634" y="27"/>
                    <a:pt x="526" y="14"/>
                  </a:cubicBezTo>
                  <a:cubicBezTo>
                    <a:pt x="432" y="14"/>
                    <a:pt x="338" y="1"/>
                    <a:pt x="270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82" name="Google Shape;1482;p42"/>
            <p:cNvSpPr/>
            <p:nvPr/>
          </p:nvSpPr>
          <p:spPr>
            <a:xfrm>
              <a:off x="5108250" y="5192625"/>
              <a:ext cx="29425" cy="6225"/>
            </a:xfrm>
            <a:custGeom>
              <a:avLst/>
              <a:gdLst/>
              <a:ahLst/>
              <a:cxnLst/>
              <a:rect l="l" t="t" r="r" b="b"/>
              <a:pathLst>
                <a:path w="1177" h="249" extrusionOk="0">
                  <a:moveTo>
                    <a:pt x="1" y="1"/>
                  </a:moveTo>
                  <a:cubicBezTo>
                    <a:pt x="1" y="95"/>
                    <a:pt x="30" y="231"/>
                    <a:pt x="176" y="244"/>
                  </a:cubicBezTo>
                  <a:cubicBezTo>
                    <a:pt x="236" y="247"/>
                    <a:pt x="315" y="248"/>
                    <a:pt x="402" y="248"/>
                  </a:cubicBezTo>
                  <a:cubicBezTo>
                    <a:pt x="689" y="248"/>
                    <a:pt x="1060" y="231"/>
                    <a:pt x="1122" y="189"/>
                  </a:cubicBezTo>
                  <a:cubicBezTo>
                    <a:pt x="1177" y="163"/>
                    <a:pt x="1177" y="82"/>
                    <a:pt x="1177" y="1"/>
                  </a:cubicBezTo>
                  <a:lnTo>
                    <a:pt x="1164" y="1"/>
                  </a:lnTo>
                  <a:cubicBezTo>
                    <a:pt x="1096" y="1"/>
                    <a:pt x="986" y="1"/>
                    <a:pt x="905" y="14"/>
                  </a:cubicBezTo>
                  <a:cubicBezTo>
                    <a:pt x="798" y="27"/>
                    <a:pt x="690" y="33"/>
                    <a:pt x="582" y="33"/>
                  </a:cubicBezTo>
                  <a:cubicBezTo>
                    <a:pt x="474" y="33"/>
                    <a:pt x="365" y="27"/>
                    <a:pt x="257" y="14"/>
                  </a:cubicBezTo>
                  <a:cubicBezTo>
                    <a:pt x="163" y="14"/>
                    <a:pt x="69" y="1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83" name="Google Shape;1483;p42"/>
            <p:cNvSpPr/>
            <p:nvPr/>
          </p:nvSpPr>
          <p:spPr>
            <a:xfrm>
              <a:off x="5109625" y="5205075"/>
              <a:ext cx="25700" cy="5800"/>
            </a:xfrm>
            <a:custGeom>
              <a:avLst/>
              <a:gdLst/>
              <a:ahLst/>
              <a:cxnLst/>
              <a:rect l="l" t="t" r="r" b="b"/>
              <a:pathLst>
                <a:path w="1028" h="232" extrusionOk="0">
                  <a:moveTo>
                    <a:pt x="490" y="0"/>
                  </a:moveTo>
                  <a:cubicBezTo>
                    <a:pt x="258" y="0"/>
                    <a:pt x="91" y="73"/>
                    <a:pt x="1" y="122"/>
                  </a:cubicBezTo>
                  <a:cubicBezTo>
                    <a:pt x="121" y="190"/>
                    <a:pt x="270" y="232"/>
                    <a:pt x="487" y="232"/>
                  </a:cubicBezTo>
                  <a:cubicBezTo>
                    <a:pt x="730" y="232"/>
                    <a:pt x="905" y="177"/>
                    <a:pt x="1028" y="122"/>
                  </a:cubicBezTo>
                  <a:cubicBezTo>
                    <a:pt x="823" y="32"/>
                    <a:pt x="643" y="0"/>
                    <a:pt x="490" y="0"/>
                  </a:cubicBezTo>
                  <a:close/>
                </a:path>
              </a:pathLst>
            </a:custGeom>
            <a:solidFill>
              <a:srgbClr val="FF967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84" name="Google Shape;1484;p42"/>
            <p:cNvSpPr/>
            <p:nvPr/>
          </p:nvSpPr>
          <p:spPr>
            <a:xfrm>
              <a:off x="5049850" y="5087650"/>
              <a:ext cx="196125" cy="169075"/>
            </a:xfrm>
            <a:custGeom>
              <a:avLst/>
              <a:gdLst/>
              <a:ahLst/>
              <a:cxnLst/>
              <a:rect l="l" t="t" r="r" b="b"/>
              <a:pathLst>
                <a:path w="7845" h="6763" extrusionOk="0">
                  <a:moveTo>
                    <a:pt x="3147" y="1"/>
                  </a:moveTo>
                  <a:cubicBezTo>
                    <a:pt x="2946" y="1"/>
                    <a:pt x="2755" y="14"/>
                    <a:pt x="2554" y="27"/>
                  </a:cubicBezTo>
                  <a:cubicBezTo>
                    <a:pt x="1987" y="95"/>
                    <a:pt x="1365" y="257"/>
                    <a:pt x="1054" y="743"/>
                  </a:cubicBezTo>
                  <a:cubicBezTo>
                    <a:pt x="973" y="866"/>
                    <a:pt x="921" y="999"/>
                    <a:pt x="892" y="1148"/>
                  </a:cubicBezTo>
                  <a:cubicBezTo>
                    <a:pt x="746" y="1715"/>
                    <a:pt x="908" y="2389"/>
                    <a:pt x="678" y="2956"/>
                  </a:cubicBezTo>
                  <a:cubicBezTo>
                    <a:pt x="568" y="3215"/>
                    <a:pt x="393" y="3429"/>
                    <a:pt x="260" y="3659"/>
                  </a:cubicBezTo>
                  <a:cubicBezTo>
                    <a:pt x="111" y="3889"/>
                    <a:pt x="1" y="4171"/>
                    <a:pt x="69" y="4430"/>
                  </a:cubicBezTo>
                  <a:cubicBezTo>
                    <a:pt x="98" y="4576"/>
                    <a:pt x="179" y="4699"/>
                    <a:pt x="218" y="4835"/>
                  </a:cubicBezTo>
                  <a:cubicBezTo>
                    <a:pt x="367" y="5305"/>
                    <a:pt x="56" y="5820"/>
                    <a:pt x="137" y="6319"/>
                  </a:cubicBezTo>
                  <a:cubicBezTo>
                    <a:pt x="218" y="6374"/>
                    <a:pt x="312" y="6426"/>
                    <a:pt x="406" y="6468"/>
                  </a:cubicBezTo>
                  <a:cubicBezTo>
                    <a:pt x="461" y="6494"/>
                    <a:pt x="516" y="6520"/>
                    <a:pt x="555" y="6536"/>
                  </a:cubicBezTo>
                  <a:cubicBezTo>
                    <a:pt x="584" y="6549"/>
                    <a:pt x="597" y="6549"/>
                    <a:pt x="610" y="6562"/>
                  </a:cubicBezTo>
                  <a:cubicBezTo>
                    <a:pt x="597" y="6400"/>
                    <a:pt x="584" y="5846"/>
                    <a:pt x="798" y="5535"/>
                  </a:cubicBezTo>
                  <a:lnTo>
                    <a:pt x="798" y="5535"/>
                  </a:lnTo>
                  <a:cubicBezTo>
                    <a:pt x="798" y="5535"/>
                    <a:pt x="746" y="6196"/>
                    <a:pt x="785" y="6536"/>
                  </a:cubicBezTo>
                  <a:cubicBezTo>
                    <a:pt x="798" y="6575"/>
                    <a:pt x="798" y="6601"/>
                    <a:pt x="811" y="6630"/>
                  </a:cubicBezTo>
                  <a:cubicBezTo>
                    <a:pt x="811" y="6630"/>
                    <a:pt x="827" y="6643"/>
                    <a:pt x="840" y="6643"/>
                  </a:cubicBezTo>
                  <a:cubicBezTo>
                    <a:pt x="934" y="6669"/>
                    <a:pt x="1015" y="6698"/>
                    <a:pt x="1109" y="6711"/>
                  </a:cubicBezTo>
                  <a:cubicBezTo>
                    <a:pt x="1232" y="6724"/>
                    <a:pt x="1339" y="6750"/>
                    <a:pt x="1459" y="6763"/>
                  </a:cubicBezTo>
                  <a:cubicBezTo>
                    <a:pt x="1608" y="6630"/>
                    <a:pt x="2055" y="6468"/>
                    <a:pt x="2269" y="6413"/>
                  </a:cubicBezTo>
                  <a:cubicBezTo>
                    <a:pt x="2311" y="6400"/>
                    <a:pt x="2337" y="6387"/>
                    <a:pt x="2350" y="6387"/>
                  </a:cubicBezTo>
                  <a:cubicBezTo>
                    <a:pt x="2473" y="6358"/>
                    <a:pt x="2567" y="6358"/>
                    <a:pt x="2567" y="6358"/>
                  </a:cubicBezTo>
                  <a:lnTo>
                    <a:pt x="2755" y="6358"/>
                  </a:lnTo>
                  <a:cubicBezTo>
                    <a:pt x="2810" y="6183"/>
                    <a:pt x="2810" y="5995"/>
                    <a:pt x="2810" y="5859"/>
                  </a:cubicBezTo>
                  <a:cubicBezTo>
                    <a:pt x="2648" y="5846"/>
                    <a:pt x="2486" y="5833"/>
                    <a:pt x="2337" y="5807"/>
                  </a:cubicBezTo>
                  <a:cubicBezTo>
                    <a:pt x="1812" y="5684"/>
                    <a:pt x="1446" y="5454"/>
                    <a:pt x="1203" y="5185"/>
                  </a:cubicBezTo>
                  <a:cubicBezTo>
                    <a:pt x="1203" y="5172"/>
                    <a:pt x="1190" y="5172"/>
                    <a:pt x="1190" y="5159"/>
                  </a:cubicBezTo>
                  <a:cubicBezTo>
                    <a:pt x="866" y="4738"/>
                    <a:pt x="811" y="4226"/>
                    <a:pt x="947" y="3834"/>
                  </a:cubicBezTo>
                  <a:cubicBezTo>
                    <a:pt x="973" y="3753"/>
                    <a:pt x="989" y="3685"/>
                    <a:pt x="1015" y="3604"/>
                  </a:cubicBezTo>
                  <a:cubicBezTo>
                    <a:pt x="1070" y="3377"/>
                    <a:pt x="1096" y="3134"/>
                    <a:pt x="1083" y="2891"/>
                  </a:cubicBezTo>
                  <a:lnTo>
                    <a:pt x="1083" y="2862"/>
                  </a:lnTo>
                  <a:cubicBezTo>
                    <a:pt x="1083" y="2849"/>
                    <a:pt x="1083" y="2836"/>
                    <a:pt x="1070" y="2836"/>
                  </a:cubicBezTo>
                  <a:lnTo>
                    <a:pt x="1096" y="2794"/>
                  </a:lnTo>
                  <a:lnTo>
                    <a:pt x="1799" y="1647"/>
                  </a:lnTo>
                  <a:cubicBezTo>
                    <a:pt x="1799" y="1647"/>
                    <a:pt x="1880" y="1971"/>
                    <a:pt x="2175" y="2295"/>
                  </a:cubicBezTo>
                  <a:cubicBezTo>
                    <a:pt x="2392" y="2525"/>
                    <a:pt x="2742" y="2768"/>
                    <a:pt x="3257" y="2849"/>
                  </a:cubicBezTo>
                  <a:lnTo>
                    <a:pt x="3215" y="2810"/>
                  </a:lnTo>
                  <a:lnTo>
                    <a:pt x="2554" y="2107"/>
                  </a:lnTo>
                  <a:lnTo>
                    <a:pt x="2554" y="2107"/>
                  </a:lnTo>
                  <a:cubicBezTo>
                    <a:pt x="2554" y="2107"/>
                    <a:pt x="2904" y="2363"/>
                    <a:pt x="3432" y="2606"/>
                  </a:cubicBezTo>
                  <a:cubicBezTo>
                    <a:pt x="3863" y="2810"/>
                    <a:pt x="4417" y="2998"/>
                    <a:pt x="4971" y="3011"/>
                  </a:cubicBezTo>
                  <a:lnTo>
                    <a:pt x="5010" y="3011"/>
                  </a:lnTo>
                  <a:lnTo>
                    <a:pt x="4971" y="2567"/>
                  </a:lnTo>
                  <a:lnTo>
                    <a:pt x="5023" y="2729"/>
                  </a:lnTo>
                  <a:lnTo>
                    <a:pt x="5266" y="3403"/>
                  </a:lnTo>
                  <a:lnTo>
                    <a:pt x="5295" y="3863"/>
                  </a:lnTo>
                  <a:cubicBezTo>
                    <a:pt x="5295" y="3863"/>
                    <a:pt x="5606" y="3552"/>
                    <a:pt x="5833" y="3280"/>
                  </a:cubicBezTo>
                  <a:cubicBezTo>
                    <a:pt x="5862" y="3254"/>
                    <a:pt x="5888" y="3228"/>
                    <a:pt x="5901" y="3199"/>
                  </a:cubicBezTo>
                  <a:cubicBezTo>
                    <a:pt x="5923" y="3194"/>
                    <a:pt x="5947" y="3190"/>
                    <a:pt x="5972" y="3190"/>
                  </a:cubicBezTo>
                  <a:cubicBezTo>
                    <a:pt x="6010" y="3190"/>
                    <a:pt x="6051" y="3197"/>
                    <a:pt x="6092" y="3215"/>
                  </a:cubicBezTo>
                  <a:cubicBezTo>
                    <a:pt x="6254" y="3267"/>
                    <a:pt x="6348" y="3523"/>
                    <a:pt x="6319" y="3808"/>
                  </a:cubicBezTo>
                  <a:cubicBezTo>
                    <a:pt x="6293" y="4077"/>
                    <a:pt x="6144" y="4388"/>
                    <a:pt x="5833" y="4524"/>
                  </a:cubicBezTo>
                  <a:cubicBezTo>
                    <a:pt x="5739" y="4550"/>
                    <a:pt x="5658" y="4576"/>
                    <a:pt x="5551" y="4576"/>
                  </a:cubicBezTo>
                  <a:lnTo>
                    <a:pt x="5402" y="4576"/>
                  </a:lnTo>
                  <a:cubicBezTo>
                    <a:pt x="5295" y="4780"/>
                    <a:pt x="5159" y="4968"/>
                    <a:pt x="4997" y="5130"/>
                  </a:cubicBezTo>
                  <a:cubicBezTo>
                    <a:pt x="4903" y="5224"/>
                    <a:pt x="4796" y="5321"/>
                    <a:pt x="4686" y="5402"/>
                  </a:cubicBezTo>
                  <a:cubicBezTo>
                    <a:pt x="4660" y="5415"/>
                    <a:pt x="4634" y="5441"/>
                    <a:pt x="4592" y="5467"/>
                  </a:cubicBezTo>
                  <a:cubicBezTo>
                    <a:pt x="4579" y="5671"/>
                    <a:pt x="4579" y="6102"/>
                    <a:pt x="4660" y="6387"/>
                  </a:cubicBezTo>
                  <a:cubicBezTo>
                    <a:pt x="4699" y="6387"/>
                    <a:pt x="4741" y="6400"/>
                    <a:pt x="4780" y="6413"/>
                  </a:cubicBezTo>
                  <a:lnTo>
                    <a:pt x="4809" y="6413"/>
                  </a:lnTo>
                  <a:cubicBezTo>
                    <a:pt x="4890" y="6426"/>
                    <a:pt x="4958" y="6455"/>
                    <a:pt x="5039" y="6481"/>
                  </a:cubicBezTo>
                  <a:cubicBezTo>
                    <a:pt x="5120" y="6507"/>
                    <a:pt x="5214" y="6549"/>
                    <a:pt x="5295" y="6588"/>
                  </a:cubicBezTo>
                  <a:lnTo>
                    <a:pt x="5428" y="6588"/>
                  </a:lnTo>
                  <a:cubicBezTo>
                    <a:pt x="5577" y="6588"/>
                    <a:pt x="5713" y="6575"/>
                    <a:pt x="5849" y="6562"/>
                  </a:cubicBezTo>
                  <a:cubicBezTo>
                    <a:pt x="5875" y="6562"/>
                    <a:pt x="5888" y="6549"/>
                    <a:pt x="5914" y="6549"/>
                  </a:cubicBezTo>
                  <a:cubicBezTo>
                    <a:pt x="6186" y="6507"/>
                    <a:pt x="6455" y="6455"/>
                    <a:pt x="6711" y="6374"/>
                  </a:cubicBezTo>
                  <a:cubicBezTo>
                    <a:pt x="6659" y="6170"/>
                    <a:pt x="6497" y="5684"/>
                    <a:pt x="6497" y="5548"/>
                  </a:cubicBezTo>
                  <a:lnTo>
                    <a:pt x="6497" y="5548"/>
                  </a:lnTo>
                  <a:lnTo>
                    <a:pt x="6902" y="6306"/>
                  </a:lnTo>
                  <a:cubicBezTo>
                    <a:pt x="7035" y="6251"/>
                    <a:pt x="7171" y="6196"/>
                    <a:pt x="7307" y="6131"/>
                  </a:cubicBezTo>
                  <a:cubicBezTo>
                    <a:pt x="7388" y="6089"/>
                    <a:pt x="7482" y="6050"/>
                    <a:pt x="7563" y="5995"/>
                  </a:cubicBezTo>
                  <a:cubicBezTo>
                    <a:pt x="7615" y="5969"/>
                    <a:pt x="7683" y="5927"/>
                    <a:pt x="7738" y="5901"/>
                  </a:cubicBezTo>
                  <a:cubicBezTo>
                    <a:pt x="7777" y="5872"/>
                    <a:pt x="7806" y="5846"/>
                    <a:pt x="7845" y="5820"/>
                  </a:cubicBezTo>
                  <a:cubicBezTo>
                    <a:pt x="7819" y="5441"/>
                    <a:pt x="7320" y="5198"/>
                    <a:pt x="7307" y="4806"/>
                  </a:cubicBezTo>
                  <a:cubicBezTo>
                    <a:pt x="7291" y="4592"/>
                    <a:pt x="7440" y="4388"/>
                    <a:pt x="7469" y="4171"/>
                  </a:cubicBezTo>
                  <a:cubicBezTo>
                    <a:pt x="7495" y="3902"/>
                    <a:pt x="7333" y="3659"/>
                    <a:pt x="7171" y="3458"/>
                  </a:cubicBezTo>
                  <a:cubicBezTo>
                    <a:pt x="6983" y="3215"/>
                    <a:pt x="6766" y="2985"/>
                    <a:pt x="6617" y="2729"/>
                  </a:cubicBezTo>
                  <a:cubicBezTo>
                    <a:pt x="6319" y="2243"/>
                    <a:pt x="6361" y="1378"/>
                    <a:pt x="5862" y="1028"/>
                  </a:cubicBezTo>
                  <a:cubicBezTo>
                    <a:pt x="5794" y="986"/>
                    <a:pt x="5713" y="947"/>
                    <a:pt x="5619" y="918"/>
                  </a:cubicBezTo>
                  <a:cubicBezTo>
                    <a:pt x="5606" y="918"/>
                    <a:pt x="5590" y="905"/>
                    <a:pt x="5564" y="905"/>
                  </a:cubicBezTo>
                  <a:lnTo>
                    <a:pt x="5525" y="866"/>
                  </a:lnTo>
                  <a:cubicBezTo>
                    <a:pt x="5146" y="513"/>
                    <a:pt x="4634" y="257"/>
                    <a:pt x="4148" y="137"/>
                  </a:cubicBezTo>
                  <a:cubicBezTo>
                    <a:pt x="4012" y="95"/>
                    <a:pt x="3876" y="69"/>
                    <a:pt x="3743" y="56"/>
                  </a:cubicBezTo>
                  <a:cubicBezTo>
                    <a:pt x="3539" y="27"/>
                    <a:pt x="3351" y="14"/>
                    <a:pt x="3147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85" name="Google Shape;1485;p42"/>
            <p:cNvSpPr/>
            <p:nvPr/>
          </p:nvSpPr>
          <p:spPr>
            <a:xfrm>
              <a:off x="5069450" y="5217250"/>
              <a:ext cx="38825" cy="36800"/>
            </a:xfrm>
            <a:custGeom>
              <a:avLst/>
              <a:gdLst/>
              <a:ahLst/>
              <a:cxnLst/>
              <a:rect l="l" t="t" r="r" b="b"/>
              <a:pathLst>
                <a:path w="1553" h="1472" extrusionOk="0">
                  <a:moveTo>
                    <a:pt x="419" y="1"/>
                  </a:moveTo>
                  <a:cubicBezTo>
                    <a:pt x="419" y="69"/>
                    <a:pt x="393" y="137"/>
                    <a:pt x="380" y="189"/>
                  </a:cubicBezTo>
                  <a:cubicBezTo>
                    <a:pt x="299" y="474"/>
                    <a:pt x="176" y="743"/>
                    <a:pt x="82" y="1012"/>
                  </a:cubicBezTo>
                  <a:cubicBezTo>
                    <a:pt x="69" y="1054"/>
                    <a:pt x="56" y="1093"/>
                    <a:pt x="56" y="1135"/>
                  </a:cubicBezTo>
                  <a:cubicBezTo>
                    <a:pt x="27" y="1203"/>
                    <a:pt x="14" y="1284"/>
                    <a:pt x="1" y="1352"/>
                  </a:cubicBezTo>
                  <a:cubicBezTo>
                    <a:pt x="14" y="1391"/>
                    <a:pt x="14" y="1417"/>
                    <a:pt x="27" y="1446"/>
                  </a:cubicBezTo>
                  <a:cubicBezTo>
                    <a:pt x="27" y="1446"/>
                    <a:pt x="43" y="1459"/>
                    <a:pt x="56" y="1459"/>
                  </a:cubicBezTo>
                  <a:cubicBezTo>
                    <a:pt x="82" y="1459"/>
                    <a:pt x="95" y="1472"/>
                    <a:pt x="124" y="1472"/>
                  </a:cubicBezTo>
                  <a:cubicBezTo>
                    <a:pt x="393" y="1174"/>
                    <a:pt x="691" y="1093"/>
                    <a:pt x="918" y="1093"/>
                  </a:cubicBezTo>
                  <a:cubicBezTo>
                    <a:pt x="1122" y="1093"/>
                    <a:pt x="1284" y="1148"/>
                    <a:pt x="1378" y="1190"/>
                  </a:cubicBezTo>
                  <a:lnTo>
                    <a:pt x="1378" y="1174"/>
                  </a:lnTo>
                  <a:lnTo>
                    <a:pt x="1391" y="1174"/>
                  </a:lnTo>
                  <a:lnTo>
                    <a:pt x="1391" y="1148"/>
                  </a:lnTo>
                  <a:lnTo>
                    <a:pt x="1472" y="1148"/>
                  </a:lnTo>
                  <a:cubicBezTo>
                    <a:pt x="1459" y="973"/>
                    <a:pt x="1514" y="798"/>
                    <a:pt x="1553" y="623"/>
                  </a:cubicBezTo>
                  <a:cubicBezTo>
                    <a:pt x="1109" y="526"/>
                    <a:pt x="772" y="338"/>
                    <a:pt x="542" y="121"/>
                  </a:cubicBezTo>
                  <a:lnTo>
                    <a:pt x="529" y="108"/>
                  </a:lnTo>
                  <a:cubicBezTo>
                    <a:pt x="487" y="69"/>
                    <a:pt x="461" y="40"/>
                    <a:pt x="419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86" name="Google Shape;1486;p42"/>
            <p:cNvSpPr/>
            <p:nvPr/>
          </p:nvSpPr>
          <p:spPr>
            <a:xfrm>
              <a:off x="5076900" y="5159175"/>
              <a:ext cx="25" cy="75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1"/>
                  </a:move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B08D9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87" name="Google Shape;1487;p42"/>
            <p:cNvSpPr/>
            <p:nvPr/>
          </p:nvSpPr>
          <p:spPr>
            <a:xfrm>
              <a:off x="5076575" y="5157475"/>
              <a:ext cx="675" cy="2450"/>
            </a:xfrm>
            <a:custGeom>
              <a:avLst/>
              <a:gdLst/>
              <a:ahLst/>
              <a:cxnLst/>
              <a:rect l="l" t="t" r="r" b="b"/>
              <a:pathLst>
                <a:path w="27" h="98" extrusionOk="0">
                  <a:moveTo>
                    <a:pt x="27" y="1"/>
                  </a:moveTo>
                  <a:lnTo>
                    <a:pt x="1" y="43"/>
                  </a:lnTo>
                  <a:cubicBezTo>
                    <a:pt x="14" y="43"/>
                    <a:pt x="14" y="56"/>
                    <a:pt x="14" y="69"/>
                  </a:cubicBezTo>
                  <a:lnTo>
                    <a:pt x="14" y="98"/>
                  </a:lnTo>
                  <a:cubicBezTo>
                    <a:pt x="14" y="69"/>
                    <a:pt x="27" y="30"/>
                    <a:pt x="27" y="1"/>
                  </a:cubicBezTo>
                  <a:close/>
                </a:path>
              </a:pathLst>
            </a:custGeom>
            <a:solidFill>
              <a:srgbClr val="A348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88" name="Google Shape;1488;p42"/>
            <p:cNvSpPr/>
            <p:nvPr/>
          </p:nvSpPr>
          <p:spPr>
            <a:xfrm>
              <a:off x="5051225" y="5116325"/>
              <a:ext cx="27725" cy="133025"/>
            </a:xfrm>
            <a:custGeom>
              <a:avLst/>
              <a:gdLst/>
              <a:ahLst/>
              <a:cxnLst/>
              <a:rect l="l" t="t" r="r" b="b"/>
              <a:pathLst>
                <a:path w="1109" h="5321" extrusionOk="0">
                  <a:moveTo>
                    <a:pt x="837" y="1"/>
                  </a:moveTo>
                  <a:lnTo>
                    <a:pt x="837" y="1"/>
                  </a:lnTo>
                  <a:cubicBezTo>
                    <a:pt x="691" y="568"/>
                    <a:pt x="853" y="1242"/>
                    <a:pt x="623" y="1809"/>
                  </a:cubicBezTo>
                  <a:cubicBezTo>
                    <a:pt x="513" y="2068"/>
                    <a:pt x="338" y="2282"/>
                    <a:pt x="205" y="2512"/>
                  </a:cubicBezTo>
                  <a:cubicBezTo>
                    <a:pt x="82" y="2700"/>
                    <a:pt x="1" y="2917"/>
                    <a:pt x="1" y="3134"/>
                  </a:cubicBezTo>
                  <a:cubicBezTo>
                    <a:pt x="1" y="3186"/>
                    <a:pt x="1" y="3228"/>
                    <a:pt x="14" y="3283"/>
                  </a:cubicBezTo>
                  <a:cubicBezTo>
                    <a:pt x="43" y="3429"/>
                    <a:pt x="124" y="3552"/>
                    <a:pt x="163" y="3688"/>
                  </a:cubicBezTo>
                  <a:cubicBezTo>
                    <a:pt x="189" y="3782"/>
                    <a:pt x="205" y="3876"/>
                    <a:pt x="205" y="3970"/>
                  </a:cubicBezTo>
                  <a:cubicBezTo>
                    <a:pt x="205" y="4307"/>
                    <a:pt x="69" y="4660"/>
                    <a:pt x="69" y="4997"/>
                  </a:cubicBezTo>
                  <a:cubicBezTo>
                    <a:pt x="69" y="5065"/>
                    <a:pt x="69" y="5117"/>
                    <a:pt x="82" y="5172"/>
                  </a:cubicBezTo>
                  <a:cubicBezTo>
                    <a:pt x="163" y="5227"/>
                    <a:pt x="257" y="5279"/>
                    <a:pt x="351" y="5321"/>
                  </a:cubicBezTo>
                  <a:cubicBezTo>
                    <a:pt x="367" y="5308"/>
                    <a:pt x="367" y="5279"/>
                    <a:pt x="380" y="5253"/>
                  </a:cubicBezTo>
                  <a:cubicBezTo>
                    <a:pt x="461" y="4835"/>
                    <a:pt x="367" y="4388"/>
                    <a:pt x="312" y="3970"/>
                  </a:cubicBezTo>
                  <a:cubicBezTo>
                    <a:pt x="270" y="3578"/>
                    <a:pt x="257" y="3160"/>
                    <a:pt x="419" y="2797"/>
                  </a:cubicBezTo>
                  <a:cubicBezTo>
                    <a:pt x="581" y="2444"/>
                    <a:pt x="905" y="2162"/>
                    <a:pt x="1015" y="1770"/>
                  </a:cubicBezTo>
                  <a:cubicBezTo>
                    <a:pt x="1015" y="1757"/>
                    <a:pt x="1028" y="1757"/>
                    <a:pt x="1028" y="1744"/>
                  </a:cubicBezTo>
                  <a:lnTo>
                    <a:pt x="1028" y="1715"/>
                  </a:lnTo>
                  <a:cubicBezTo>
                    <a:pt x="1028" y="1702"/>
                    <a:pt x="1028" y="1689"/>
                    <a:pt x="1015" y="1689"/>
                  </a:cubicBezTo>
                  <a:lnTo>
                    <a:pt x="1041" y="1647"/>
                  </a:lnTo>
                  <a:cubicBezTo>
                    <a:pt x="1109" y="1216"/>
                    <a:pt x="918" y="772"/>
                    <a:pt x="853" y="325"/>
                  </a:cubicBezTo>
                  <a:cubicBezTo>
                    <a:pt x="837" y="218"/>
                    <a:pt x="837" y="108"/>
                    <a:pt x="837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89" name="Google Shape;1489;p42"/>
            <p:cNvSpPr/>
            <p:nvPr/>
          </p:nvSpPr>
          <p:spPr>
            <a:xfrm>
              <a:off x="5111650" y="5113975"/>
              <a:ext cx="63125" cy="48950"/>
            </a:xfrm>
            <a:custGeom>
              <a:avLst/>
              <a:gdLst/>
              <a:ahLst/>
              <a:cxnLst/>
              <a:rect l="l" t="t" r="r" b="b"/>
              <a:pathLst>
                <a:path w="2525" h="1958" extrusionOk="0">
                  <a:moveTo>
                    <a:pt x="14" y="1"/>
                  </a:moveTo>
                  <a:cubicBezTo>
                    <a:pt x="1" y="82"/>
                    <a:pt x="1" y="163"/>
                    <a:pt x="14" y="244"/>
                  </a:cubicBezTo>
                  <a:cubicBezTo>
                    <a:pt x="56" y="419"/>
                    <a:pt x="137" y="581"/>
                    <a:pt x="231" y="730"/>
                  </a:cubicBezTo>
                  <a:cubicBezTo>
                    <a:pt x="406" y="1041"/>
                    <a:pt x="607" y="1323"/>
                    <a:pt x="905" y="1514"/>
                  </a:cubicBezTo>
                  <a:cubicBezTo>
                    <a:pt x="918" y="1527"/>
                    <a:pt x="931" y="1540"/>
                    <a:pt x="960" y="1553"/>
                  </a:cubicBezTo>
                  <a:cubicBezTo>
                    <a:pt x="1391" y="1757"/>
                    <a:pt x="1945" y="1945"/>
                    <a:pt x="2499" y="1958"/>
                  </a:cubicBezTo>
                  <a:lnTo>
                    <a:pt x="2525" y="1958"/>
                  </a:lnTo>
                  <a:cubicBezTo>
                    <a:pt x="2499" y="1796"/>
                    <a:pt x="2418" y="1647"/>
                    <a:pt x="2308" y="1527"/>
                  </a:cubicBezTo>
                  <a:lnTo>
                    <a:pt x="2295" y="1527"/>
                  </a:lnTo>
                  <a:cubicBezTo>
                    <a:pt x="2282" y="1498"/>
                    <a:pt x="2256" y="1485"/>
                    <a:pt x="2227" y="1472"/>
                  </a:cubicBezTo>
                  <a:cubicBezTo>
                    <a:pt x="2107" y="1378"/>
                    <a:pt x="1945" y="1323"/>
                    <a:pt x="1796" y="1271"/>
                  </a:cubicBezTo>
                  <a:cubicBezTo>
                    <a:pt x="1553" y="1190"/>
                    <a:pt x="1323" y="1080"/>
                    <a:pt x="1109" y="947"/>
                  </a:cubicBezTo>
                  <a:cubicBezTo>
                    <a:pt x="743" y="717"/>
                    <a:pt x="432" y="380"/>
                    <a:pt x="231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90" name="Google Shape;1490;p42"/>
            <p:cNvSpPr/>
            <p:nvPr/>
          </p:nvSpPr>
          <p:spPr>
            <a:xfrm>
              <a:off x="5100150" y="5114625"/>
              <a:ext cx="31125" cy="44250"/>
            </a:xfrm>
            <a:custGeom>
              <a:avLst/>
              <a:gdLst/>
              <a:ahLst/>
              <a:cxnLst/>
              <a:rect l="l" t="t" r="r" b="b"/>
              <a:pathLst>
                <a:path w="1245" h="1770" extrusionOk="0">
                  <a:moveTo>
                    <a:pt x="150" y="1"/>
                  </a:moveTo>
                  <a:cubicBezTo>
                    <a:pt x="124" y="1"/>
                    <a:pt x="95" y="14"/>
                    <a:pt x="69" y="14"/>
                  </a:cubicBezTo>
                  <a:cubicBezTo>
                    <a:pt x="30" y="244"/>
                    <a:pt x="1" y="474"/>
                    <a:pt x="30" y="717"/>
                  </a:cubicBezTo>
                  <a:cubicBezTo>
                    <a:pt x="56" y="879"/>
                    <a:pt x="95" y="1054"/>
                    <a:pt x="163" y="1216"/>
                  </a:cubicBezTo>
                  <a:cubicBezTo>
                    <a:pt x="380" y="1446"/>
                    <a:pt x="730" y="1689"/>
                    <a:pt x="1245" y="1770"/>
                  </a:cubicBezTo>
                  <a:lnTo>
                    <a:pt x="1203" y="1731"/>
                  </a:lnTo>
                  <a:cubicBezTo>
                    <a:pt x="1015" y="1582"/>
                    <a:pt x="824" y="1433"/>
                    <a:pt x="649" y="1245"/>
                  </a:cubicBezTo>
                  <a:cubicBezTo>
                    <a:pt x="435" y="1002"/>
                    <a:pt x="257" y="717"/>
                    <a:pt x="192" y="406"/>
                  </a:cubicBezTo>
                  <a:cubicBezTo>
                    <a:pt x="150" y="273"/>
                    <a:pt x="137" y="137"/>
                    <a:pt x="150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91" name="Google Shape;1491;p42"/>
            <p:cNvSpPr/>
            <p:nvPr/>
          </p:nvSpPr>
          <p:spPr>
            <a:xfrm>
              <a:off x="5182850" y="5109275"/>
              <a:ext cx="56075" cy="131650"/>
            </a:xfrm>
            <a:custGeom>
              <a:avLst/>
              <a:gdLst/>
              <a:ahLst/>
              <a:cxnLst/>
              <a:rect l="l" t="t" r="r" b="b"/>
              <a:pathLst>
                <a:path w="2243" h="5266" extrusionOk="0">
                  <a:moveTo>
                    <a:pt x="205" y="1"/>
                  </a:moveTo>
                  <a:cubicBezTo>
                    <a:pt x="82" y="338"/>
                    <a:pt x="1" y="688"/>
                    <a:pt x="14" y="1067"/>
                  </a:cubicBezTo>
                  <a:cubicBezTo>
                    <a:pt x="14" y="1148"/>
                    <a:pt x="27" y="1242"/>
                    <a:pt x="43" y="1336"/>
                  </a:cubicBezTo>
                  <a:cubicBezTo>
                    <a:pt x="95" y="1485"/>
                    <a:pt x="137" y="1647"/>
                    <a:pt x="163" y="1809"/>
                  </a:cubicBezTo>
                  <a:cubicBezTo>
                    <a:pt x="257" y="2039"/>
                    <a:pt x="367" y="2240"/>
                    <a:pt x="513" y="2415"/>
                  </a:cubicBezTo>
                  <a:cubicBezTo>
                    <a:pt x="542" y="2389"/>
                    <a:pt x="568" y="2363"/>
                    <a:pt x="581" y="2334"/>
                  </a:cubicBezTo>
                  <a:cubicBezTo>
                    <a:pt x="594" y="2321"/>
                    <a:pt x="610" y="2321"/>
                    <a:pt x="636" y="2321"/>
                  </a:cubicBezTo>
                  <a:cubicBezTo>
                    <a:pt x="675" y="2321"/>
                    <a:pt x="717" y="2334"/>
                    <a:pt x="772" y="2350"/>
                  </a:cubicBezTo>
                  <a:cubicBezTo>
                    <a:pt x="918" y="2402"/>
                    <a:pt x="1015" y="2606"/>
                    <a:pt x="1015" y="2849"/>
                  </a:cubicBezTo>
                  <a:cubicBezTo>
                    <a:pt x="1015" y="2875"/>
                    <a:pt x="1015" y="2901"/>
                    <a:pt x="999" y="2943"/>
                  </a:cubicBezTo>
                  <a:cubicBezTo>
                    <a:pt x="1148" y="3092"/>
                    <a:pt x="1271" y="3241"/>
                    <a:pt x="1323" y="3442"/>
                  </a:cubicBezTo>
                  <a:cubicBezTo>
                    <a:pt x="1420" y="3727"/>
                    <a:pt x="1352" y="4022"/>
                    <a:pt x="1391" y="4307"/>
                  </a:cubicBezTo>
                  <a:cubicBezTo>
                    <a:pt x="1459" y="4683"/>
                    <a:pt x="1689" y="5023"/>
                    <a:pt x="1987" y="5266"/>
                  </a:cubicBezTo>
                  <a:cubicBezTo>
                    <a:pt x="2068" y="5224"/>
                    <a:pt x="2162" y="5185"/>
                    <a:pt x="2243" y="5130"/>
                  </a:cubicBezTo>
                  <a:cubicBezTo>
                    <a:pt x="2133" y="5007"/>
                    <a:pt x="2026" y="4887"/>
                    <a:pt x="1932" y="4751"/>
                  </a:cubicBezTo>
                  <a:cubicBezTo>
                    <a:pt x="1757" y="4495"/>
                    <a:pt x="1663" y="4184"/>
                    <a:pt x="1663" y="3860"/>
                  </a:cubicBezTo>
                  <a:cubicBezTo>
                    <a:pt x="1647" y="3617"/>
                    <a:pt x="1702" y="3374"/>
                    <a:pt x="1676" y="3131"/>
                  </a:cubicBezTo>
                  <a:cubicBezTo>
                    <a:pt x="1647" y="2917"/>
                    <a:pt x="1553" y="2713"/>
                    <a:pt x="1404" y="2538"/>
                  </a:cubicBezTo>
                  <a:cubicBezTo>
                    <a:pt x="1271" y="2389"/>
                    <a:pt x="1096" y="2269"/>
                    <a:pt x="947" y="2133"/>
                  </a:cubicBezTo>
                  <a:cubicBezTo>
                    <a:pt x="623" y="1822"/>
                    <a:pt x="419" y="1391"/>
                    <a:pt x="338" y="944"/>
                  </a:cubicBezTo>
                  <a:cubicBezTo>
                    <a:pt x="286" y="649"/>
                    <a:pt x="270" y="351"/>
                    <a:pt x="299" y="53"/>
                  </a:cubicBezTo>
                  <a:cubicBezTo>
                    <a:pt x="286" y="53"/>
                    <a:pt x="270" y="40"/>
                    <a:pt x="244" y="40"/>
                  </a:cubicBezTo>
                  <a:lnTo>
                    <a:pt x="205" y="1"/>
                  </a:ln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92" name="Google Shape;1492;p42"/>
            <p:cNvSpPr/>
            <p:nvPr/>
          </p:nvSpPr>
          <p:spPr>
            <a:xfrm>
              <a:off x="5180500" y="5200725"/>
              <a:ext cx="17925" cy="45875"/>
            </a:xfrm>
            <a:custGeom>
              <a:avLst/>
              <a:gdLst/>
              <a:ahLst/>
              <a:cxnLst/>
              <a:rect l="l" t="t" r="r" b="b"/>
              <a:pathLst>
                <a:path w="717" h="1835" extrusionOk="0">
                  <a:moveTo>
                    <a:pt x="607" y="1"/>
                  </a:moveTo>
                  <a:cubicBezTo>
                    <a:pt x="513" y="27"/>
                    <a:pt x="432" y="53"/>
                    <a:pt x="325" y="53"/>
                  </a:cubicBezTo>
                  <a:lnTo>
                    <a:pt x="325" y="69"/>
                  </a:lnTo>
                  <a:cubicBezTo>
                    <a:pt x="312" y="445"/>
                    <a:pt x="108" y="798"/>
                    <a:pt x="27" y="1174"/>
                  </a:cubicBezTo>
                  <a:cubicBezTo>
                    <a:pt x="14" y="1229"/>
                    <a:pt x="14" y="1284"/>
                    <a:pt x="14" y="1349"/>
                  </a:cubicBezTo>
                  <a:cubicBezTo>
                    <a:pt x="1" y="1485"/>
                    <a:pt x="14" y="1634"/>
                    <a:pt x="56" y="1754"/>
                  </a:cubicBezTo>
                  <a:lnTo>
                    <a:pt x="189" y="1754"/>
                  </a:lnTo>
                  <a:cubicBezTo>
                    <a:pt x="312" y="1754"/>
                    <a:pt x="445" y="1770"/>
                    <a:pt x="594" y="1835"/>
                  </a:cubicBezTo>
                  <a:cubicBezTo>
                    <a:pt x="513" y="1621"/>
                    <a:pt x="487" y="1391"/>
                    <a:pt x="542" y="1174"/>
                  </a:cubicBezTo>
                  <a:cubicBezTo>
                    <a:pt x="568" y="1012"/>
                    <a:pt x="636" y="863"/>
                    <a:pt x="662" y="717"/>
                  </a:cubicBezTo>
                  <a:cubicBezTo>
                    <a:pt x="717" y="474"/>
                    <a:pt x="688" y="215"/>
                    <a:pt x="607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93" name="Google Shape;1493;p42"/>
            <p:cNvSpPr/>
            <p:nvPr/>
          </p:nvSpPr>
          <p:spPr>
            <a:xfrm>
              <a:off x="5074875" y="5101175"/>
              <a:ext cx="112375" cy="55350"/>
            </a:xfrm>
            <a:custGeom>
              <a:avLst/>
              <a:gdLst/>
              <a:ahLst/>
              <a:cxnLst/>
              <a:rect l="l" t="t" r="r" b="b"/>
              <a:pathLst>
                <a:path w="4495" h="2214" extrusionOk="0">
                  <a:moveTo>
                    <a:pt x="1984" y="1"/>
                  </a:moveTo>
                  <a:cubicBezTo>
                    <a:pt x="1485" y="1"/>
                    <a:pt x="1106" y="95"/>
                    <a:pt x="837" y="228"/>
                  </a:cubicBezTo>
                  <a:cubicBezTo>
                    <a:pt x="1" y="633"/>
                    <a:pt x="40" y="1472"/>
                    <a:pt x="40" y="1472"/>
                  </a:cubicBezTo>
                  <a:cubicBezTo>
                    <a:pt x="215" y="957"/>
                    <a:pt x="662" y="594"/>
                    <a:pt x="1203" y="539"/>
                  </a:cubicBezTo>
                  <a:cubicBezTo>
                    <a:pt x="1255" y="526"/>
                    <a:pt x="1310" y="526"/>
                    <a:pt x="1365" y="513"/>
                  </a:cubicBezTo>
                  <a:cubicBezTo>
                    <a:pt x="1527" y="513"/>
                    <a:pt x="1702" y="513"/>
                    <a:pt x="1890" y="526"/>
                  </a:cubicBezTo>
                  <a:cubicBezTo>
                    <a:pt x="2227" y="552"/>
                    <a:pt x="2538" y="662"/>
                    <a:pt x="2823" y="782"/>
                  </a:cubicBezTo>
                  <a:cubicBezTo>
                    <a:pt x="3241" y="986"/>
                    <a:pt x="3591" y="1242"/>
                    <a:pt x="3847" y="1459"/>
                  </a:cubicBezTo>
                  <a:cubicBezTo>
                    <a:pt x="4064" y="1647"/>
                    <a:pt x="4265" y="1877"/>
                    <a:pt x="4427" y="2120"/>
                  </a:cubicBezTo>
                  <a:lnTo>
                    <a:pt x="4495" y="2214"/>
                  </a:lnTo>
                  <a:cubicBezTo>
                    <a:pt x="4388" y="1459"/>
                    <a:pt x="3970" y="782"/>
                    <a:pt x="3335" y="390"/>
                  </a:cubicBezTo>
                  <a:cubicBezTo>
                    <a:pt x="3241" y="338"/>
                    <a:pt x="3147" y="283"/>
                    <a:pt x="3037" y="228"/>
                  </a:cubicBezTo>
                  <a:cubicBezTo>
                    <a:pt x="2726" y="95"/>
                    <a:pt x="2376" y="1"/>
                    <a:pt x="1984" y="1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94" name="Google Shape;1494;p42"/>
            <p:cNvSpPr/>
            <p:nvPr/>
          </p:nvSpPr>
          <p:spPr>
            <a:xfrm>
              <a:off x="5075850" y="5106850"/>
              <a:ext cx="33150" cy="31125"/>
            </a:xfrm>
            <a:custGeom>
              <a:avLst/>
              <a:gdLst/>
              <a:ahLst/>
              <a:cxnLst/>
              <a:rect l="l" t="t" r="r" b="b"/>
              <a:pathLst>
                <a:path w="1326" h="1245" extrusionOk="0">
                  <a:moveTo>
                    <a:pt x="798" y="1"/>
                  </a:moveTo>
                  <a:cubicBezTo>
                    <a:pt x="43" y="380"/>
                    <a:pt x="1" y="1096"/>
                    <a:pt x="1" y="1216"/>
                  </a:cubicBezTo>
                  <a:lnTo>
                    <a:pt x="1" y="1245"/>
                  </a:lnTo>
                  <a:cubicBezTo>
                    <a:pt x="176" y="730"/>
                    <a:pt x="623" y="367"/>
                    <a:pt x="1164" y="312"/>
                  </a:cubicBezTo>
                  <a:cubicBezTo>
                    <a:pt x="1216" y="299"/>
                    <a:pt x="1271" y="299"/>
                    <a:pt x="1326" y="286"/>
                  </a:cubicBezTo>
                  <a:cubicBezTo>
                    <a:pt x="1190" y="231"/>
                    <a:pt x="1054" y="163"/>
                    <a:pt x="934" y="82"/>
                  </a:cubicBezTo>
                  <a:cubicBezTo>
                    <a:pt x="879" y="56"/>
                    <a:pt x="840" y="43"/>
                    <a:pt x="798" y="1"/>
                  </a:cubicBezTo>
                  <a:close/>
                </a:path>
              </a:pathLst>
            </a:custGeom>
            <a:solidFill>
              <a:srgbClr val="F3525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95" name="Google Shape;1495;p42"/>
            <p:cNvSpPr/>
            <p:nvPr/>
          </p:nvSpPr>
          <p:spPr>
            <a:xfrm>
              <a:off x="5145425" y="5110900"/>
              <a:ext cx="41825" cy="45625"/>
            </a:xfrm>
            <a:custGeom>
              <a:avLst/>
              <a:gdLst/>
              <a:ahLst/>
              <a:cxnLst/>
              <a:rect l="l" t="t" r="r" b="b"/>
              <a:pathLst>
                <a:path w="1673" h="1825" extrusionOk="0">
                  <a:moveTo>
                    <a:pt x="513" y="1"/>
                  </a:moveTo>
                  <a:cubicBezTo>
                    <a:pt x="526" y="82"/>
                    <a:pt x="487" y="163"/>
                    <a:pt x="419" y="231"/>
                  </a:cubicBezTo>
                  <a:cubicBezTo>
                    <a:pt x="325" y="325"/>
                    <a:pt x="189" y="367"/>
                    <a:pt x="40" y="393"/>
                  </a:cubicBezTo>
                  <a:lnTo>
                    <a:pt x="1" y="393"/>
                  </a:lnTo>
                  <a:cubicBezTo>
                    <a:pt x="419" y="597"/>
                    <a:pt x="769" y="853"/>
                    <a:pt x="1025" y="1070"/>
                  </a:cubicBezTo>
                  <a:cubicBezTo>
                    <a:pt x="1242" y="1258"/>
                    <a:pt x="1443" y="1488"/>
                    <a:pt x="1605" y="1731"/>
                  </a:cubicBezTo>
                  <a:lnTo>
                    <a:pt x="1673" y="1825"/>
                  </a:lnTo>
                  <a:cubicBezTo>
                    <a:pt x="1673" y="1799"/>
                    <a:pt x="1673" y="1770"/>
                    <a:pt x="1660" y="1744"/>
                  </a:cubicBezTo>
                  <a:cubicBezTo>
                    <a:pt x="1634" y="1582"/>
                    <a:pt x="1592" y="1420"/>
                    <a:pt x="1540" y="1271"/>
                  </a:cubicBezTo>
                  <a:cubicBezTo>
                    <a:pt x="1349" y="746"/>
                    <a:pt x="986" y="299"/>
                    <a:pt x="513" y="1"/>
                  </a:cubicBezTo>
                  <a:close/>
                </a:path>
              </a:pathLst>
            </a:custGeom>
            <a:solidFill>
              <a:srgbClr val="F3525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96" name="Google Shape;1496;p42"/>
            <p:cNvSpPr/>
            <p:nvPr/>
          </p:nvSpPr>
          <p:spPr>
            <a:xfrm>
              <a:off x="5110275" y="5245925"/>
              <a:ext cx="57450" cy="55750"/>
            </a:xfrm>
            <a:custGeom>
              <a:avLst/>
              <a:gdLst/>
              <a:ahLst/>
              <a:cxnLst/>
              <a:rect l="l" t="t" r="r" b="b"/>
              <a:pathLst>
                <a:path w="2298" h="2230" extrusionOk="0">
                  <a:moveTo>
                    <a:pt x="150" y="1"/>
                  </a:moveTo>
                  <a:lnTo>
                    <a:pt x="1" y="675"/>
                  </a:lnTo>
                  <a:lnTo>
                    <a:pt x="299" y="1906"/>
                  </a:lnTo>
                  <a:lnTo>
                    <a:pt x="879" y="2230"/>
                  </a:lnTo>
                  <a:lnTo>
                    <a:pt x="1825" y="2120"/>
                  </a:lnTo>
                  <a:lnTo>
                    <a:pt x="2094" y="1446"/>
                  </a:lnTo>
                  <a:lnTo>
                    <a:pt x="2298" y="299"/>
                  </a:lnTo>
                  <a:lnTo>
                    <a:pt x="2120" y="1"/>
                  </a:lnTo>
                  <a:cubicBezTo>
                    <a:pt x="2055" y="367"/>
                    <a:pt x="1919" y="623"/>
                    <a:pt x="1783" y="798"/>
                  </a:cubicBezTo>
                  <a:cubicBezTo>
                    <a:pt x="1635" y="987"/>
                    <a:pt x="1403" y="1082"/>
                    <a:pt x="1170" y="1082"/>
                  </a:cubicBezTo>
                  <a:cubicBezTo>
                    <a:pt x="937" y="1082"/>
                    <a:pt x="704" y="987"/>
                    <a:pt x="555" y="798"/>
                  </a:cubicBezTo>
                  <a:cubicBezTo>
                    <a:pt x="273" y="461"/>
                    <a:pt x="150" y="1"/>
                    <a:pt x="150" y="1"/>
                  </a:cubicBezTo>
                  <a:close/>
                </a:path>
              </a:pathLst>
            </a:custGeom>
            <a:solidFill>
              <a:srgbClr val="5AE0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97" name="Google Shape;1497;p42"/>
            <p:cNvSpPr/>
            <p:nvPr/>
          </p:nvSpPr>
          <p:spPr>
            <a:xfrm>
              <a:off x="5054950" y="5244550"/>
              <a:ext cx="59400" cy="49025"/>
            </a:xfrm>
            <a:custGeom>
              <a:avLst/>
              <a:gdLst/>
              <a:ahLst/>
              <a:cxnLst/>
              <a:rect l="l" t="t" r="r" b="b"/>
              <a:pathLst>
                <a:path w="2376" h="1961" extrusionOk="0">
                  <a:moveTo>
                    <a:pt x="1506" y="0"/>
                  </a:moveTo>
                  <a:cubicBezTo>
                    <a:pt x="1259" y="0"/>
                    <a:pt x="957" y="88"/>
                    <a:pt x="675" y="406"/>
                  </a:cubicBezTo>
                  <a:cubicBezTo>
                    <a:pt x="1" y="1177"/>
                    <a:pt x="743" y="1637"/>
                    <a:pt x="743" y="1637"/>
                  </a:cubicBezTo>
                  <a:lnTo>
                    <a:pt x="555" y="1961"/>
                  </a:lnTo>
                  <a:lnTo>
                    <a:pt x="1919" y="1961"/>
                  </a:lnTo>
                  <a:lnTo>
                    <a:pt x="1796" y="1718"/>
                  </a:lnTo>
                  <a:lnTo>
                    <a:pt x="2188" y="1663"/>
                  </a:lnTo>
                  <a:lnTo>
                    <a:pt x="2376" y="1028"/>
                  </a:lnTo>
                  <a:lnTo>
                    <a:pt x="2039" y="137"/>
                  </a:lnTo>
                  <a:cubicBezTo>
                    <a:pt x="2039" y="137"/>
                    <a:pt x="1814" y="0"/>
                    <a:pt x="1506" y="0"/>
                  </a:cubicBezTo>
                  <a:close/>
                </a:path>
              </a:pathLst>
            </a:custGeom>
            <a:solidFill>
              <a:srgbClr val="5AE0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98" name="Google Shape;1498;p42"/>
            <p:cNvSpPr/>
            <p:nvPr/>
          </p:nvSpPr>
          <p:spPr>
            <a:xfrm>
              <a:off x="5069125" y="5286750"/>
              <a:ext cx="3750" cy="6425"/>
            </a:xfrm>
            <a:custGeom>
              <a:avLst/>
              <a:gdLst/>
              <a:ahLst/>
              <a:cxnLst/>
              <a:rect l="l" t="t" r="r" b="b"/>
              <a:pathLst>
                <a:path w="150" h="257" extrusionOk="0">
                  <a:moveTo>
                    <a:pt x="150" y="1"/>
                  </a:moveTo>
                  <a:lnTo>
                    <a:pt x="150" y="1"/>
                  </a:lnTo>
                  <a:lnTo>
                    <a:pt x="1" y="257"/>
                  </a:lnTo>
                  <a:lnTo>
                    <a:pt x="1" y="257"/>
                  </a:lnTo>
                  <a:close/>
                </a:path>
              </a:pathLst>
            </a:custGeom>
            <a:solidFill>
              <a:srgbClr val="9F7A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99" name="Google Shape;1499;p42"/>
            <p:cNvSpPr/>
            <p:nvPr/>
          </p:nvSpPr>
          <p:spPr>
            <a:xfrm>
              <a:off x="5068800" y="5271275"/>
              <a:ext cx="33725" cy="22300"/>
            </a:xfrm>
            <a:custGeom>
              <a:avLst/>
              <a:gdLst/>
              <a:ahLst/>
              <a:cxnLst/>
              <a:rect l="l" t="t" r="r" b="b"/>
              <a:pathLst>
                <a:path w="1349" h="892" extrusionOk="0">
                  <a:moveTo>
                    <a:pt x="1284" y="1"/>
                  </a:moveTo>
                  <a:cubicBezTo>
                    <a:pt x="1080" y="309"/>
                    <a:pt x="743" y="568"/>
                    <a:pt x="163" y="620"/>
                  </a:cubicBezTo>
                  <a:lnTo>
                    <a:pt x="14" y="876"/>
                  </a:lnTo>
                  <a:lnTo>
                    <a:pt x="1" y="892"/>
                  </a:lnTo>
                  <a:lnTo>
                    <a:pt x="1349" y="892"/>
                  </a:lnTo>
                  <a:lnTo>
                    <a:pt x="1336" y="876"/>
                  </a:lnTo>
                  <a:cubicBezTo>
                    <a:pt x="1242" y="769"/>
                    <a:pt x="1203" y="620"/>
                    <a:pt x="1229" y="487"/>
                  </a:cubicBezTo>
                  <a:lnTo>
                    <a:pt x="1284" y="1"/>
                  </a:ln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00" name="Google Shape;1500;p42"/>
            <p:cNvSpPr/>
            <p:nvPr/>
          </p:nvSpPr>
          <p:spPr>
            <a:xfrm>
              <a:off x="5087675" y="5249325"/>
              <a:ext cx="15900" cy="4400"/>
            </a:xfrm>
            <a:custGeom>
              <a:avLst/>
              <a:gdLst/>
              <a:ahLst/>
              <a:cxnLst/>
              <a:rect l="l" t="t" r="r" b="b"/>
              <a:pathLst>
                <a:path w="636" h="176" extrusionOk="0">
                  <a:moveTo>
                    <a:pt x="406" y="1"/>
                  </a:moveTo>
                  <a:cubicBezTo>
                    <a:pt x="150" y="1"/>
                    <a:pt x="1" y="134"/>
                    <a:pt x="1" y="134"/>
                  </a:cubicBezTo>
                  <a:cubicBezTo>
                    <a:pt x="82" y="95"/>
                    <a:pt x="163" y="82"/>
                    <a:pt x="244" y="82"/>
                  </a:cubicBezTo>
                  <a:cubicBezTo>
                    <a:pt x="380" y="82"/>
                    <a:pt x="500" y="134"/>
                    <a:pt x="568" y="176"/>
                  </a:cubicBezTo>
                  <a:lnTo>
                    <a:pt x="623" y="176"/>
                  </a:lnTo>
                  <a:lnTo>
                    <a:pt x="636" y="40"/>
                  </a:lnTo>
                  <a:cubicBezTo>
                    <a:pt x="555" y="14"/>
                    <a:pt x="474" y="1"/>
                    <a:pt x="406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01" name="Google Shape;1501;p42"/>
            <p:cNvSpPr/>
            <p:nvPr/>
          </p:nvSpPr>
          <p:spPr>
            <a:xfrm>
              <a:off x="5088725" y="5253375"/>
              <a:ext cx="14525" cy="4075"/>
            </a:xfrm>
            <a:custGeom>
              <a:avLst/>
              <a:gdLst/>
              <a:ahLst/>
              <a:cxnLst/>
              <a:rect l="l" t="t" r="r" b="b"/>
              <a:pathLst>
                <a:path w="581" h="163" extrusionOk="0">
                  <a:moveTo>
                    <a:pt x="406" y="1"/>
                  </a:moveTo>
                  <a:cubicBezTo>
                    <a:pt x="163" y="1"/>
                    <a:pt x="1" y="134"/>
                    <a:pt x="1" y="134"/>
                  </a:cubicBezTo>
                  <a:cubicBezTo>
                    <a:pt x="95" y="95"/>
                    <a:pt x="176" y="82"/>
                    <a:pt x="257" y="82"/>
                  </a:cubicBezTo>
                  <a:cubicBezTo>
                    <a:pt x="377" y="82"/>
                    <a:pt x="487" y="121"/>
                    <a:pt x="552" y="163"/>
                  </a:cubicBezTo>
                  <a:lnTo>
                    <a:pt x="581" y="27"/>
                  </a:lnTo>
                  <a:cubicBezTo>
                    <a:pt x="568" y="27"/>
                    <a:pt x="552" y="14"/>
                    <a:pt x="526" y="14"/>
                  </a:cubicBezTo>
                  <a:cubicBezTo>
                    <a:pt x="487" y="1"/>
                    <a:pt x="445" y="1"/>
                    <a:pt x="406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02" name="Google Shape;1502;p42"/>
            <p:cNvSpPr/>
            <p:nvPr/>
          </p:nvSpPr>
          <p:spPr>
            <a:xfrm>
              <a:off x="5101850" y="5253700"/>
              <a:ext cx="1400" cy="350"/>
            </a:xfrm>
            <a:custGeom>
              <a:avLst/>
              <a:gdLst/>
              <a:ahLst/>
              <a:cxnLst/>
              <a:rect l="l" t="t" r="r" b="b"/>
              <a:pathLst>
                <a:path w="56" h="14" extrusionOk="0">
                  <a:moveTo>
                    <a:pt x="1" y="1"/>
                  </a:moveTo>
                  <a:cubicBezTo>
                    <a:pt x="27" y="1"/>
                    <a:pt x="43" y="14"/>
                    <a:pt x="56" y="14"/>
                  </a:cubicBezTo>
                  <a:lnTo>
                    <a:pt x="56" y="1"/>
                  </a:lnTo>
                  <a:close/>
                </a:path>
              </a:pathLst>
            </a:custGeom>
            <a:solidFill>
              <a:srgbClr val="29C5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03" name="Google Shape;1503;p42"/>
            <p:cNvSpPr/>
            <p:nvPr/>
          </p:nvSpPr>
          <p:spPr>
            <a:xfrm>
              <a:off x="5162600" y="5244550"/>
              <a:ext cx="61825" cy="49025"/>
            </a:xfrm>
            <a:custGeom>
              <a:avLst/>
              <a:gdLst/>
              <a:ahLst/>
              <a:cxnLst/>
              <a:rect l="l" t="t" r="r" b="b"/>
              <a:pathLst>
                <a:path w="2473" h="1961" extrusionOk="0">
                  <a:moveTo>
                    <a:pt x="904" y="0"/>
                  </a:moveTo>
                  <a:cubicBezTo>
                    <a:pt x="584" y="0"/>
                    <a:pt x="351" y="137"/>
                    <a:pt x="351" y="137"/>
                  </a:cubicBezTo>
                  <a:lnTo>
                    <a:pt x="1" y="1028"/>
                  </a:lnTo>
                  <a:lnTo>
                    <a:pt x="189" y="1663"/>
                  </a:lnTo>
                  <a:lnTo>
                    <a:pt x="594" y="1718"/>
                  </a:lnTo>
                  <a:lnTo>
                    <a:pt x="474" y="1961"/>
                  </a:lnTo>
                  <a:lnTo>
                    <a:pt x="1890" y="1961"/>
                  </a:lnTo>
                  <a:lnTo>
                    <a:pt x="1702" y="1637"/>
                  </a:lnTo>
                  <a:cubicBezTo>
                    <a:pt x="1702" y="1637"/>
                    <a:pt x="2473" y="1177"/>
                    <a:pt x="1770" y="406"/>
                  </a:cubicBezTo>
                  <a:cubicBezTo>
                    <a:pt x="1475" y="88"/>
                    <a:pt x="1162" y="0"/>
                    <a:pt x="904" y="0"/>
                  </a:cubicBezTo>
                  <a:close/>
                </a:path>
              </a:pathLst>
            </a:custGeom>
            <a:solidFill>
              <a:srgbClr val="5AE0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04" name="Google Shape;1504;p42"/>
            <p:cNvSpPr/>
            <p:nvPr/>
          </p:nvSpPr>
          <p:spPr>
            <a:xfrm>
              <a:off x="5208200" y="5291125"/>
              <a:ext cx="1650" cy="2450"/>
            </a:xfrm>
            <a:custGeom>
              <a:avLst/>
              <a:gdLst/>
              <a:ahLst/>
              <a:cxnLst/>
              <a:rect l="l" t="t" r="r" b="b"/>
              <a:pathLst>
                <a:path w="66" h="98" extrusionOk="0">
                  <a:moveTo>
                    <a:pt x="1" y="1"/>
                  </a:moveTo>
                  <a:lnTo>
                    <a:pt x="1" y="1"/>
                  </a:lnTo>
                  <a:lnTo>
                    <a:pt x="66" y="98"/>
                  </a:lnTo>
                  <a:close/>
                </a:path>
              </a:pathLst>
            </a:custGeom>
            <a:solidFill>
              <a:srgbClr val="ACE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05" name="Google Shape;1505;p42"/>
            <p:cNvSpPr/>
            <p:nvPr/>
          </p:nvSpPr>
          <p:spPr>
            <a:xfrm>
              <a:off x="5205775" y="5286750"/>
              <a:ext cx="2450" cy="4400"/>
            </a:xfrm>
            <a:custGeom>
              <a:avLst/>
              <a:gdLst/>
              <a:ahLst/>
              <a:cxnLst/>
              <a:rect l="l" t="t" r="r" b="b"/>
              <a:pathLst>
                <a:path w="98" h="176" extrusionOk="0">
                  <a:moveTo>
                    <a:pt x="1" y="1"/>
                  </a:moveTo>
                  <a:lnTo>
                    <a:pt x="98" y="176"/>
                  </a:lnTo>
                  <a:lnTo>
                    <a:pt x="98" y="176"/>
                  </a:lnTo>
                  <a:close/>
                </a:path>
              </a:pathLst>
            </a:custGeom>
            <a:solidFill>
              <a:srgbClr val="9F7A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06" name="Google Shape;1506;p42"/>
            <p:cNvSpPr/>
            <p:nvPr/>
          </p:nvSpPr>
          <p:spPr>
            <a:xfrm>
              <a:off x="5174750" y="5271925"/>
              <a:ext cx="35100" cy="21650"/>
            </a:xfrm>
            <a:custGeom>
              <a:avLst/>
              <a:gdLst/>
              <a:ahLst/>
              <a:cxnLst/>
              <a:rect l="l" t="t" r="r" b="b"/>
              <a:pathLst>
                <a:path w="1404" h="866" extrusionOk="0">
                  <a:moveTo>
                    <a:pt x="95" y="1"/>
                  </a:moveTo>
                  <a:lnTo>
                    <a:pt x="150" y="432"/>
                  </a:lnTo>
                  <a:lnTo>
                    <a:pt x="150" y="500"/>
                  </a:lnTo>
                  <a:cubicBezTo>
                    <a:pt x="150" y="607"/>
                    <a:pt x="108" y="730"/>
                    <a:pt x="27" y="824"/>
                  </a:cubicBezTo>
                  <a:lnTo>
                    <a:pt x="1" y="866"/>
                  </a:lnTo>
                  <a:lnTo>
                    <a:pt x="1404" y="866"/>
                  </a:lnTo>
                  <a:lnTo>
                    <a:pt x="1339" y="769"/>
                  </a:lnTo>
                  <a:lnTo>
                    <a:pt x="1242" y="594"/>
                  </a:lnTo>
                  <a:cubicBezTo>
                    <a:pt x="662" y="542"/>
                    <a:pt x="312" y="299"/>
                    <a:pt x="95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07" name="Google Shape;1507;p42"/>
            <p:cNvSpPr/>
            <p:nvPr/>
          </p:nvSpPr>
          <p:spPr>
            <a:xfrm>
              <a:off x="5174425" y="5249325"/>
              <a:ext cx="15900" cy="4400"/>
            </a:xfrm>
            <a:custGeom>
              <a:avLst/>
              <a:gdLst/>
              <a:ahLst/>
              <a:cxnLst/>
              <a:rect l="l" t="t" r="r" b="b"/>
              <a:pathLst>
                <a:path w="636" h="176" extrusionOk="0">
                  <a:moveTo>
                    <a:pt x="218" y="1"/>
                  </a:moveTo>
                  <a:cubicBezTo>
                    <a:pt x="150" y="1"/>
                    <a:pt x="82" y="14"/>
                    <a:pt x="1" y="27"/>
                  </a:cubicBezTo>
                  <a:lnTo>
                    <a:pt x="14" y="176"/>
                  </a:lnTo>
                  <a:lnTo>
                    <a:pt x="40" y="176"/>
                  </a:lnTo>
                  <a:cubicBezTo>
                    <a:pt x="121" y="134"/>
                    <a:pt x="244" y="82"/>
                    <a:pt x="380" y="82"/>
                  </a:cubicBezTo>
                  <a:cubicBezTo>
                    <a:pt x="461" y="82"/>
                    <a:pt x="542" y="95"/>
                    <a:pt x="636" y="134"/>
                  </a:cubicBezTo>
                  <a:cubicBezTo>
                    <a:pt x="636" y="134"/>
                    <a:pt x="474" y="1"/>
                    <a:pt x="218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08" name="Google Shape;1508;p42"/>
            <p:cNvSpPr/>
            <p:nvPr/>
          </p:nvSpPr>
          <p:spPr>
            <a:xfrm>
              <a:off x="5174750" y="5253375"/>
              <a:ext cx="14200" cy="3750"/>
            </a:xfrm>
            <a:custGeom>
              <a:avLst/>
              <a:gdLst/>
              <a:ahLst/>
              <a:cxnLst/>
              <a:rect l="l" t="t" r="r" b="b"/>
              <a:pathLst>
                <a:path w="568" h="150" extrusionOk="0">
                  <a:moveTo>
                    <a:pt x="163" y="1"/>
                  </a:moveTo>
                  <a:cubicBezTo>
                    <a:pt x="124" y="1"/>
                    <a:pt x="69" y="1"/>
                    <a:pt x="27" y="14"/>
                  </a:cubicBezTo>
                  <a:lnTo>
                    <a:pt x="1" y="14"/>
                  </a:lnTo>
                  <a:lnTo>
                    <a:pt x="14" y="150"/>
                  </a:lnTo>
                  <a:cubicBezTo>
                    <a:pt x="95" y="121"/>
                    <a:pt x="205" y="82"/>
                    <a:pt x="312" y="82"/>
                  </a:cubicBezTo>
                  <a:cubicBezTo>
                    <a:pt x="393" y="82"/>
                    <a:pt x="487" y="95"/>
                    <a:pt x="568" y="134"/>
                  </a:cubicBezTo>
                  <a:cubicBezTo>
                    <a:pt x="568" y="134"/>
                    <a:pt x="419" y="1"/>
                    <a:pt x="163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09" name="Google Shape;1509;p42"/>
            <p:cNvSpPr/>
            <p:nvPr/>
          </p:nvSpPr>
          <p:spPr>
            <a:xfrm>
              <a:off x="5174750" y="5253700"/>
              <a:ext cx="675" cy="25"/>
            </a:xfrm>
            <a:custGeom>
              <a:avLst/>
              <a:gdLst/>
              <a:ahLst/>
              <a:cxnLst/>
              <a:rect l="l" t="t" r="r" b="b"/>
              <a:pathLst>
                <a:path w="27" h="1" extrusionOk="0">
                  <a:moveTo>
                    <a:pt x="27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29C5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10" name="Google Shape;1510;p42"/>
            <p:cNvSpPr/>
            <p:nvPr/>
          </p:nvSpPr>
          <p:spPr>
            <a:xfrm>
              <a:off x="5051225" y="5368075"/>
              <a:ext cx="172475" cy="50375"/>
            </a:xfrm>
            <a:custGeom>
              <a:avLst/>
              <a:gdLst/>
              <a:ahLst/>
              <a:cxnLst/>
              <a:rect l="l" t="t" r="r" b="b"/>
              <a:pathLst>
                <a:path w="6899" h="2015" extrusionOk="0">
                  <a:moveTo>
                    <a:pt x="1135" y="1"/>
                  </a:moveTo>
                  <a:lnTo>
                    <a:pt x="513" y="325"/>
                  </a:lnTo>
                  <a:lnTo>
                    <a:pt x="1" y="1054"/>
                  </a:lnTo>
                  <a:cubicBezTo>
                    <a:pt x="1" y="1054"/>
                    <a:pt x="1256" y="2014"/>
                    <a:pt x="3338" y="2014"/>
                  </a:cubicBezTo>
                  <a:cubicBezTo>
                    <a:pt x="3382" y="2014"/>
                    <a:pt x="3426" y="2014"/>
                    <a:pt x="3471" y="2013"/>
                  </a:cubicBezTo>
                  <a:cubicBezTo>
                    <a:pt x="3515" y="2014"/>
                    <a:pt x="3559" y="2014"/>
                    <a:pt x="3602" y="2014"/>
                  </a:cubicBezTo>
                  <a:cubicBezTo>
                    <a:pt x="5668" y="2014"/>
                    <a:pt x="6899" y="1054"/>
                    <a:pt x="6899" y="1054"/>
                  </a:cubicBezTo>
                  <a:lnTo>
                    <a:pt x="6426" y="325"/>
                  </a:lnTo>
                  <a:lnTo>
                    <a:pt x="5794" y="1"/>
                  </a:lnTo>
                  <a:lnTo>
                    <a:pt x="3552" y="325"/>
                  </a:lnTo>
                  <a:lnTo>
                    <a:pt x="3471" y="1028"/>
                  </a:lnTo>
                  <a:lnTo>
                    <a:pt x="3390" y="325"/>
                  </a:lnTo>
                  <a:lnTo>
                    <a:pt x="1135" y="1"/>
                  </a:lnTo>
                  <a:close/>
                </a:path>
              </a:pathLst>
            </a:custGeom>
            <a:solidFill>
              <a:srgbClr val="5AE0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11" name="Google Shape;1511;p42"/>
            <p:cNvSpPr/>
            <p:nvPr/>
          </p:nvSpPr>
          <p:spPr>
            <a:xfrm>
              <a:off x="5061025" y="5379900"/>
              <a:ext cx="156925" cy="5775"/>
            </a:xfrm>
            <a:custGeom>
              <a:avLst/>
              <a:gdLst/>
              <a:ahLst/>
              <a:cxnLst/>
              <a:rect l="l" t="t" r="r" b="b"/>
              <a:pathLst>
                <a:path w="6277" h="231" extrusionOk="0">
                  <a:moveTo>
                    <a:pt x="6131" y="1"/>
                  </a:moveTo>
                  <a:lnTo>
                    <a:pt x="6131" y="1"/>
                  </a:lnTo>
                  <a:lnTo>
                    <a:pt x="6277" y="231"/>
                  </a:lnTo>
                  <a:lnTo>
                    <a:pt x="6277" y="231"/>
                  </a:lnTo>
                  <a:lnTo>
                    <a:pt x="6131" y="1"/>
                  </a:lnTo>
                  <a:close/>
                  <a:moveTo>
                    <a:pt x="14" y="1"/>
                  </a:moveTo>
                  <a:lnTo>
                    <a:pt x="1" y="43"/>
                  </a:lnTo>
                  <a:lnTo>
                    <a:pt x="1" y="43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ACE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12" name="Google Shape;1512;p42"/>
            <p:cNvSpPr/>
            <p:nvPr/>
          </p:nvSpPr>
          <p:spPr>
            <a:xfrm>
              <a:off x="5061025" y="5379900"/>
              <a:ext cx="156925" cy="23025"/>
            </a:xfrm>
            <a:custGeom>
              <a:avLst/>
              <a:gdLst/>
              <a:ahLst/>
              <a:cxnLst/>
              <a:rect l="l" t="t" r="r" b="b"/>
              <a:pathLst>
                <a:path w="6277" h="921" extrusionOk="0">
                  <a:moveTo>
                    <a:pt x="14" y="1"/>
                  </a:moveTo>
                  <a:lnTo>
                    <a:pt x="1" y="43"/>
                  </a:lnTo>
                  <a:cubicBezTo>
                    <a:pt x="542" y="367"/>
                    <a:pt x="1527" y="840"/>
                    <a:pt x="2904" y="892"/>
                  </a:cubicBezTo>
                  <a:cubicBezTo>
                    <a:pt x="3092" y="921"/>
                    <a:pt x="3280" y="921"/>
                    <a:pt x="3471" y="921"/>
                  </a:cubicBezTo>
                  <a:cubicBezTo>
                    <a:pt x="4929" y="921"/>
                    <a:pt x="5953" y="435"/>
                    <a:pt x="6277" y="231"/>
                  </a:cubicBezTo>
                  <a:lnTo>
                    <a:pt x="6131" y="1"/>
                  </a:lnTo>
                  <a:cubicBezTo>
                    <a:pt x="5739" y="231"/>
                    <a:pt x="4754" y="691"/>
                    <a:pt x="3267" y="691"/>
                  </a:cubicBezTo>
                  <a:lnTo>
                    <a:pt x="2891" y="691"/>
                  </a:lnTo>
                  <a:cubicBezTo>
                    <a:pt x="1391" y="691"/>
                    <a:pt x="406" y="231"/>
                    <a:pt x="14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13" name="Google Shape;1513;p42"/>
            <p:cNvSpPr/>
            <p:nvPr/>
          </p:nvSpPr>
          <p:spPr>
            <a:xfrm>
              <a:off x="5056650" y="5316800"/>
              <a:ext cx="162675" cy="80450"/>
            </a:xfrm>
            <a:custGeom>
              <a:avLst/>
              <a:gdLst/>
              <a:ahLst/>
              <a:cxnLst/>
              <a:rect l="l" t="t" r="r" b="b"/>
              <a:pathLst>
                <a:path w="6507" h="3218" extrusionOk="0">
                  <a:moveTo>
                    <a:pt x="2444" y="1"/>
                  </a:moveTo>
                  <a:lnTo>
                    <a:pt x="1783" y="244"/>
                  </a:lnTo>
                  <a:cubicBezTo>
                    <a:pt x="1783" y="244"/>
                    <a:pt x="824" y="717"/>
                    <a:pt x="1" y="2405"/>
                  </a:cubicBezTo>
                  <a:cubicBezTo>
                    <a:pt x="1" y="2405"/>
                    <a:pt x="1082" y="3217"/>
                    <a:pt x="3072" y="3217"/>
                  </a:cubicBezTo>
                  <a:cubicBezTo>
                    <a:pt x="3132" y="3217"/>
                    <a:pt x="3192" y="3216"/>
                    <a:pt x="3254" y="3215"/>
                  </a:cubicBezTo>
                  <a:cubicBezTo>
                    <a:pt x="3315" y="3216"/>
                    <a:pt x="3376" y="3217"/>
                    <a:pt x="3436" y="3217"/>
                  </a:cubicBezTo>
                  <a:cubicBezTo>
                    <a:pt x="5426" y="3217"/>
                    <a:pt x="6507" y="2405"/>
                    <a:pt x="6507" y="2405"/>
                  </a:cubicBezTo>
                  <a:cubicBezTo>
                    <a:pt x="5629" y="623"/>
                    <a:pt x="4725" y="244"/>
                    <a:pt x="4725" y="244"/>
                  </a:cubicBezTo>
                  <a:lnTo>
                    <a:pt x="4051" y="1"/>
                  </a:ln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14" name="Google Shape;1514;p42"/>
            <p:cNvSpPr/>
            <p:nvPr/>
          </p:nvSpPr>
          <p:spPr>
            <a:xfrm>
              <a:off x="5056650" y="5322225"/>
              <a:ext cx="162675" cy="74950"/>
            </a:xfrm>
            <a:custGeom>
              <a:avLst/>
              <a:gdLst/>
              <a:ahLst/>
              <a:cxnLst/>
              <a:rect l="l" t="t" r="r" b="b"/>
              <a:pathLst>
                <a:path w="6507" h="2998" extrusionOk="0">
                  <a:moveTo>
                    <a:pt x="4657" y="1"/>
                  </a:moveTo>
                  <a:lnTo>
                    <a:pt x="4657" y="1"/>
                  </a:lnTo>
                  <a:cubicBezTo>
                    <a:pt x="5360" y="973"/>
                    <a:pt x="4699" y="2402"/>
                    <a:pt x="3254" y="2512"/>
                  </a:cubicBezTo>
                  <a:cubicBezTo>
                    <a:pt x="3079" y="2525"/>
                    <a:pt x="2888" y="2525"/>
                    <a:pt x="2700" y="2525"/>
                  </a:cubicBezTo>
                  <a:lnTo>
                    <a:pt x="2321" y="2525"/>
                  </a:lnTo>
                  <a:cubicBezTo>
                    <a:pt x="1336" y="2525"/>
                    <a:pt x="568" y="2321"/>
                    <a:pt x="27" y="2120"/>
                  </a:cubicBezTo>
                  <a:cubicBezTo>
                    <a:pt x="27" y="2146"/>
                    <a:pt x="14" y="2175"/>
                    <a:pt x="1" y="2188"/>
                  </a:cubicBezTo>
                  <a:cubicBezTo>
                    <a:pt x="1" y="2188"/>
                    <a:pt x="1080" y="2998"/>
                    <a:pt x="3066" y="2998"/>
                  </a:cubicBezTo>
                  <a:lnTo>
                    <a:pt x="3442" y="2998"/>
                  </a:lnTo>
                  <a:cubicBezTo>
                    <a:pt x="5428" y="2998"/>
                    <a:pt x="6507" y="2188"/>
                    <a:pt x="6507" y="2188"/>
                  </a:cubicBezTo>
                  <a:cubicBezTo>
                    <a:pt x="6358" y="1903"/>
                    <a:pt x="6225" y="1647"/>
                    <a:pt x="6076" y="1430"/>
                  </a:cubicBezTo>
                  <a:cubicBezTo>
                    <a:pt x="6021" y="1323"/>
                    <a:pt x="5953" y="1229"/>
                    <a:pt x="5885" y="1148"/>
                  </a:cubicBezTo>
                  <a:cubicBezTo>
                    <a:pt x="5253" y="244"/>
                    <a:pt x="4725" y="27"/>
                    <a:pt x="4725" y="27"/>
                  </a:cubicBezTo>
                  <a:lnTo>
                    <a:pt x="4657" y="1"/>
                  </a:lnTo>
                  <a:close/>
                </a:path>
              </a:pathLst>
            </a:custGeom>
            <a:solidFill>
              <a:srgbClr val="F34F5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15" name="Google Shape;1515;p42"/>
            <p:cNvSpPr/>
            <p:nvPr/>
          </p:nvSpPr>
          <p:spPr>
            <a:xfrm>
              <a:off x="5154500" y="5324250"/>
              <a:ext cx="17275" cy="26675"/>
            </a:xfrm>
            <a:custGeom>
              <a:avLst/>
              <a:gdLst/>
              <a:ahLst/>
              <a:cxnLst/>
              <a:rect l="l" t="t" r="r" b="b"/>
              <a:pathLst>
                <a:path w="691" h="1067" extrusionOk="0">
                  <a:moveTo>
                    <a:pt x="244" y="1"/>
                  </a:moveTo>
                  <a:lnTo>
                    <a:pt x="108" y="14"/>
                  </a:lnTo>
                  <a:cubicBezTo>
                    <a:pt x="69" y="14"/>
                    <a:pt x="43" y="27"/>
                    <a:pt x="1" y="27"/>
                  </a:cubicBezTo>
                  <a:cubicBezTo>
                    <a:pt x="286" y="82"/>
                    <a:pt x="594" y="1067"/>
                    <a:pt x="594" y="1067"/>
                  </a:cubicBezTo>
                  <a:cubicBezTo>
                    <a:pt x="691" y="351"/>
                    <a:pt x="244" y="1"/>
                    <a:pt x="244" y="1"/>
                  </a:cubicBezTo>
                  <a:close/>
                </a:path>
              </a:pathLst>
            </a:custGeom>
            <a:solidFill>
              <a:srgbClr val="F34F5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16" name="Google Shape;1516;p42"/>
            <p:cNvSpPr/>
            <p:nvPr/>
          </p:nvSpPr>
          <p:spPr>
            <a:xfrm>
              <a:off x="5111000" y="5324250"/>
              <a:ext cx="15825" cy="26675"/>
            </a:xfrm>
            <a:custGeom>
              <a:avLst/>
              <a:gdLst/>
              <a:ahLst/>
              <a:cxnLst/>
              <a:rect l="l" t="t" r="r" b="b"/>
              <a:pathLst>
                <a:path w="633" h="1067" extrusionOk="0">
                  <a:moveTo>
                    <a:pt x="419" y="1"/>
                  </a:moveTo>
                  <a:cubicBezTo>
                    <a:pt x="351" y="69"/>
                    <a:pt x="1" y="419"/>
                    <a:pt x="82" y="1067"/>
                  </a:cubicBezTo>
                  <a:cubicBezTo>
                    <a:pt x="82" y="1067"/>
                    <a:pt x="364" y="163"/>
                    <a:pt x="633" y="40"/>
                  </a:cubicBezTo>
                  <a:cubicBezTo>
                    <a:pt x="568" y="27"/>
                    <a:pt x="487" y="14"/>
                    <a:pt x="419" y="1"/>
                  </a:cubicBezTo>
                  <a:close/>
                </a:path>
              </a:pathLst>
            </a:custGeom>
            <a:solidFill>
              <a:srgbClr val="F34F5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17" name="Google Shape;1517;p42"/>
            <p:cNvSpPr/>
            <p:nvPr/>
          </p:nvSpPr>
          <p:spPr>
            <a:xfrm>
              <a:off x="5099175" y="5245925"/>
              <a:ext cx="79650" cy="80175"/>
            </a:xfrm>
            <a:custGeom>
              <a:avLst/>
              <a:gdLst/>
              <a:ahLst/>
              <a:cxnLst/>
              <a:rect l="l" t="t" r="r" b="b"/>
              <a:pathLst>
                <a:path w="3186" h="3207" extrusionOk="0">
                  <a:moveTo>
                    <a:pt x="202" y="1"/>
                  </a:moveTo>
                  <a:lnTo>
                    <a:pt x="14" y="1472"/>
                  </a:lnTo>
                  <a:cubicBezTo>
                    <a:pt x="1" y="1608"/>
                    <a:pt x="40" y="1757"/>
                    <a:pt x="134" y="1864"/>
                  </a:cubicBezTo>
                  <a:lnTo>
                    <a:pt x="393" y="2175"/>
                  </a:lnTo>
                  <a:lnTo>
                    <a:pt x="393" y="3024"/>
                  </a:lnTo>
                  <a:cubicBezTo>
                    <a:pt x="393" y="3024"/>
                    <a:pt x="960" y="3186"/>
                    <a:pt x="1459" y="3202"/>
                  </a:cubicBezTo>
                  <a:cubicBezTo>
                    <a:pt x="1518" y="3205"/>
                    <a:pt x="1576" y="3207"/>
                    <a:pt x="1633" y="3207"/>
                  </a:cubicBezTo>
                  <a:cubicBezTo>
                    <a:pt x="2274" y="3207"/>
                    <a:pt x="2807" y="3024"/>
                    <a:pt x="2807" y="3024"/>
                  </a:cubicBezTo>
                  <a:lnTo>
                    <a:pt x="2807" y="2175"/>
                  </a:lnTo>
                  <a:lnTo>
                    <a:pt x="3050" y="1864"/>
                  </a:lnTo>
                  <a:cubicBezTo>
                    <a:pt x="3147" y="1757"/>
                    <a:pt x="3186" y="1608"/>
                    <a:pt x="3173" y="1472"/>
                  </a:cubicBezTo>
                  <a:lnTo>
                    <a:pt x="2985" y="1"/>
                  </a:lnTo>
                  <a:lnTo>
                    <a:pt x="2564" y="1"/>
                  </a:lnTo>
                  <a:lnTo>
                    <a:pt x="2444" y="866"/>
                  </a:lnTo>
                  <a:cubicBezTo>
                    <a:pt x="2402" y="1161"/>
                    <a:pt x="2201" y="1420"/>
                    <a:pt x="1916" y="1553"/>
                  </a:cubicBezTo>
                  <a:cubicBezTo>
                    <a:pt x="1770" y="1621"/>
                    <a:pt x="1673" y="1634"/>
                    <a:pt x="1621" y="1634"/>
                  </a:cubicBezTo>
                  <a:lnTo>
                    <a:pt x="1621" y="1608"/>
                  </a:lnTo>
                  <a:cubicBezTo>
                    <a:pt x="1621" y="1608"/>
                    <a:pt x="1621" y="1621"/>
                    <a:pt x="1592" y="1621"/>
                  </a:cubicBezTo>
                  <a:cubicBezTo>
                    <a:pt x="1579" y="1621"/>
                    <a:pt x="1566" y="1608"/>
                    <a:pt x="1566" y="1608"/>
                  </a:cubicBezTo>
                  <a:lnTo>
                    <a:pt x="1566" y="1634"/>
                  </a:lnTo>
                  <a:cubicBezTo>
                    <a:pt x="1511" y="1634"/>
                    <a:pt x="1430" y="1621"/>
                    <a:pt x="1284" y="1553"/>
                  </a:cubicBezTo>
                  <a:cubicBezTo>
                    <a:pt x="986" y="1420"/>
                    <a:pt x="798" y="1161"/>
                    <a:pt x="756" y="866"/>
                  </a:cubicBezTo>
                  <a:lnTo>
                    <a:pt x="636" y="1"/>
                  </a:ln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18" name="Google Shape;1518;p42"/>
            <p:cNvSpPr/>
            <p:nvPr/>
          </p:nvSpPr>
          <p:spPr>
            <a:xfrm>
              <a:off x="5160575" y="5245925"/>
              <a:ext cx="17925" cy="78025"/>
            </a:xfrm>
            <a:custGeom>
              <a:avLst/>
              <a:gdLst/>
              <a:ahLst/>
              <a:cxnLst/>
              <a:rect l="l" t="t" r="r" b="b"/>
              <a:pathLst>
                <a:path w="717" h="3121" extrusionOk="0">
                  <a:moveTo>
                    <a:pt x="351" y="1"/>
                  </a:moveTo>
                  <a:lnTo>
                    <a:pt x="448" y="1459"/>
                  </a:lnTo>
                  <a:cubicBezTo>
                    <a:pt x="461" y="1608"/>
                    <a:pt x="406" y="1744"/>
                    <a:pt x="312" y="1851"/>
                  </a:cubicBezTo>
                  <a:lnTo>
                    <a:pt x="43" y="2149"/>
                  </a:lnTo>
                  <a:lnTo>
                    <a:pt x="1" y="3121"/>
                  </a:lnTo>
                  <a:cubicBezTo>
                    <a:pt x="218" y="3066"/>
                    <a:pt x="351" y="3024"/>
                    <a:pt x="351" y="3024"/>
                  </a:cubicBezTo>
                  <a:lnTo>
                    <a:pt x="351" y="2175"/>
                  </a:lnTo>
                  <a:lnTo>
                    <a:pt x="594" y="1864"/>
                  </a:lnTo>
                  <a:cubicBezTo>
                    <a:pt x="675" y="1770"/>
                    <a:pt x="717" y="1647"/>
                    <a:pt x="717" y="1540"/>
                  </a:cubicBezTo>
                  <a:lnTo>
                    <a:pt x="717" y="1472"/>
                  </a:lnTo>
                  <a:lnTo>
                    <a:pt x="568" y="312"/>
                  </a:lnTo>
                  <a:lnTo>
                    <a:pt x="555" y="163"/>
                  </a:lnTo>
                  <a:lnTo>
                    <a:pt x="542" y="27"/>
                  </a:lnTo>
                  <a:lnTo>
                    <a:pt x="529" y="1"/>
                  </a:lnTo>
                  <a:close/>
                </a:path>
              </a:pathLst>
            </a:custGeom>
            <a:solidFill>
              <a:srgbClr val="3471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19" name="Google Shape;1519;p42"/>
            <p:cNvSpPr/>
            <p:nvPr/>
          </p:nvSpPr>
          <p:spPr>
            <a:xfrm>
              <a:off x="5103875" y="5246575"/>
              <a:ext cx="350" cy="425"/>
            </a:xfrm>
            <a:custGeom>
              <a:avLst/>
              <a:gdLst/>
              <a:ahLst/>
              <a:cxnLst/>
              <a:rect l="l" t="t" r="r" b="b"/>
              <a:pathLst>
                <a:path w="14" h="17" extrusionOk="0">
                  <a:moveTo>
                    <a:pt x="1" y="1"/>
                  </a:moveTo>
                  <a:lnTo>
                    <a:pt x="1" y="17"/>
                  </a:lnTo>
                  <a:lnTo>
                    <a:pt x="14" y="17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3A0D0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20" name="Google Shape;1520;p42"/>
            <p:cNvSpPr/>
            <p:nvPr/>
          </p:nvSpPr>
          <p:spPr>
            <a:xfrm>
              <a:off x="5099825" y="52874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CA753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21" name="Google Shape;1521;p42"/>
            <p:cNvSpPr/>
            <p:nvPr/>
          </p:nvSpPr>
          <p:spPr>
            <a:xfrm>
              <a:off x="5102175" y="5292175"/>
              <a:ext cx="6825" cy="28050"/>
            </a:xfrm>
            <a:custGeom>
              <a:avLst/>
              <a:gdLst/>
              <a:ahLst/>
              <a:cxnLst/>
              <a:rect l="l" t="t" r="r" b="b"/>
              <a:pathLst>
                <a:path w="273" h="1122" extrusionOk="0">
                  <a:moveTo>
                    <a:pt x="1" y="1"/>
                  </a:moveTo>
                  <a:lnTo>
                    <a:pt x="30" y="56"/>
                  </a:lnTo>
                  <a:lnTo>
                    <a:pt x="14" y="56"/>
                  </a:lnTo>
                  <a:lnTo>
                    <a:pt x="257" y="351"/>
                  </a:lnTo>
                  <a:lnTo>
                    <a:pt x="257" y="1122"/>
                  </a:lnTo>
                  <a:lnTo>
                    <a:pt x="273" y="1122"/>
                  </a:lnTo>
                  <a:lnTo>
                    <a:pt x="273" y="325"/>
                  </a:lnTo>
                  <a:lnTo>
                    <a:pt x="14" y="14"/>
                  </a:lnTo>
                  <a:cubicBezTo>
                    <a:pt x="14" y="14"/>
                    <a:pt x="14" y="1"/>
                    <a:pt x="1" y="1"/>
                  </a:cubicBezTo>
                  <a:close/>
                </a:path>
              </a:pathLst>
            </a:custGeom>
            <a:solidFill>
              <a:srgbClr val="DAE5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22" name="Google Shape;1522;p42"/>
            <p:cNvSpPr/>
            <p:nvPr/>
          </p:nvSpPr>
          <p:spPr>
            <a:xfrm>
              <a:off x="5100875" y="5246975"/>
              <a:ext cx="3350" cy="24325"/>
            </a:xfrm>
            <a:custGeom>
              <a:avLst/>
              <a:gdLst/>
              <a:ahLst/>
              <a:cxnLst/>
              <a:rect l="l" t="t" r="r" b="b"/>
              <a:pathLst>
                <a:path w="134" h="973" extrusionOk="0">
                  <a:moveTo>
                    <a:pt x="121" y="1"/>
                  </a:moveTo>
                  <a:lnTo>
                    <a:pt x="108" y="134"/>
                  </a:lnTo>
                  <a:lnTo>
                    <a:pt x="121" y="134"/>
                  </a:lnTo>
                  <a:lnTo>
                    <a:pt x="134" y="1"/>
                  </a:lnTo>
                  <a:close/>
                  <a:moveTo>
                    <a:pt x="66" y="419"/>
                  </a:moveTo>
                  <a:lnTo>
                    <a:pt x="1" y="967"/>
                  </a:lnTo>
                  <a:lnTo>
                    <a:pt x="1" y="967"/>
                  </a:lnTo>
                  <a:cubicBezTo>
                    <a:pt x="4" y="957"/>
                    <a:pt x="14" y="957"/>
                    <a:pt x="14" y="957"/>
                  </a:cubicBezTo>
                  <a:lnTo>
                    <a:pt x="82" y="419"/>
                  </a:lnTo>
                  <a:close/>
                  <a:moveTo>
                    <a:pt x="1" y="967"/>
                  </a:moveTo>
                  <a:cubicBezTo>
                    <a:pt x="1" y="969"/>
                    <a:pt x="1" y="971"/>
                    <a:pt x="1" y="973"/>
                  </a:cubicBezTo>
                  <a:lnTo>
                    <a:pt x="1" y="967"/>
                  </a:lnTo>
                  <a:close/>
                </a:path>
              </a:pathLst>
            </a:custGeom>
            <a:solidFill>
              <a:srgbClr val="4DC9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23" name="Google Shape;1523;p42"/>
            <p:cNvSpPr/>
            <p:nvPr/>
          </p:nvSpPr>
          <p:spPr>
            <a:xfrm>
              <a:off x="5098850" y="5270875"/>
              <a:ext cx="4075" cy="22700"/>
            </a:xfrm>
            <a:custGeom>
              <a:avLst/>
              <a:gdLst/>
              <a:ahLst/>
              <a:cxnLst/>
              <a:rect l="l" t="t" r="r" b="b"/>
              <a:pathLst>
                <a:path w="163" h="908" extrusionOk="0">
                  <a:moveTo>
                    <a:pt x="95" y="1"/>
                  </a:moveTo>
                  <a:cubicBezTo>
                    <a:pt x="95" y="1"/>
                    <a:pt x="82" y="1"/>
                    <a:pt x="82" y="17"/>
                  </a:cubicBezTo>
                  <a:lnTo>
                    <a:pt x="42" y="365"/>
                  </a:lnTo>
                  <a:lnTo>
                    <a:pt x="95" y="1"/>
                  </a:lnTo>
                  <a:close/>
                  <a:moveTo>
                    <a:pt x="42" y="365"/>
                  </a:moveTo>
                  <a:lnTo>
                    <a:pt x="27" y="474"/>
                  </a:lnTo>
                  <a:cubicBezTo>
                    <a:pt x="27" y="484"/>
                    <a:pt x="27" y="493"/>
                    <a:pt x="27" y="503"/>
                  </a:cubicBezTo>
                  <a:lnTo>
                    <a:pt x="27" y="503"/>
                  </a:lnTo>
                  <a:lnTo>
                    <a:pt x="42" y="365"/>
                  </a:lnTo>
                  <a:close/>
                  <a:moveTo>
                    <a:pt x="27" y="503"/>
                  </a:moveTo>
                  <a:lnTo>
                    <a:pt x="27" y="503"/>
                  </a:lnTo>
                  <a:cubicBezTo>
                    <a:pt x="1" y="636"/>
                    <a:pt x="40" y="785"/>
                    <a:pt x="134" y="892"/>
                  </a:cubicBezTo>
                  <a:lnTo>
                    <a:pt x="147" y="908"/>
                  </a:lnTo>
                  <a:lnTo>
                    <a:pt x="163" y="908"/>
                  </a:lnTo>
                  <a:lnTo>
                    <a:pt x="134" y="853"/>
                  </a:lnTo>
                  <a:cubicBezTo>
                    <a:pt x="95" y="798"/>
                    <a:pt x="66" y="730"/>
                    <a:pt x="40" y="665"/>
                  </a:cubicBezTo>
                  <a:cubicBezTo>
                    <a:pt x="29" y="607"/>
                    <a:pt x="27" y="558"/>
                    <a:pt x="27" y="503"/>
                  </a:cubicBezTo>
                  <a:close/>
                </a:path>
              </a:pathLst>
            </a:custGeom>
            <a:solidFill>
              <a:srgbClr val="34BD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24" name="Google Shape;1524;p42"/>
            <p:cNvSpPr/>
            <p:nvPr/>
          </p:nvSpPr>
          <p:spPr>
            <a:xfrm>
              <a:off x="5103225" y="5250300"/>
              <a:ext cx="675" cy="3425"/>
            </a:xfrm>
            <a:custGeom>
              <a:avLst/>
              <a:gdLst/>
              <a:ahLst/>
              <a:cxnLst/>
              <a:rect l="l" t="t" r="r" b="b"/>
              <a:pathLst>
                <a:path w="27" h="137" extrusionOk="0">
                  <a:moveTo>
                    <a:pt x="14" y="1"/>
                  </a:moveTo>
                  <a:lnTo>
                    <a:pt x="1" y="137"/>
                  </a:lnTo>
                  <a:lnTo>
                    <a:pt x="27" y="1"/>
                  </a:lnTo>
                  <a:close/>
                </a:path>
              </a:pathLst>
            </a:custGeom>
            <a:solidFill>
              <a:srgbClr val="34BD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25" name="Google Shape;1525;p42"/>
            <p:cNvSpPr/>
            <p:nvPr/>
          </p:nvSpPr>
          <p:spPr>
            <a:xfrm>
              <a:off x="5102500" y="5254025"/>
              <a:ext cx="750" cy="3425"/>
            </a:xfrm>
            <a:custGeom>
              <a:avLst/>
              <a:gdLst/>
              <a:ahLst/>
              <a:cxnLst/>
              <a:rect l="l" t="t" r="r" b="b"/>
              <a:pathLst>
                <a:path w="30" h="137" extrusionOk="0">
                  <a:moveTo>
                    <a:pt x="30" y="1"/>
                  </a:moveTo>
                  <a:lnTo>
                    <a:pt x="1" y="137"/>
                  </a:lnTo>
                  <a:lnTo>
                    <a:pt x="17" y="137"/>
                  </a:lnTo>
                  <a:lnTo>
                    <a:pt x="30" y="14"/>
                  </a:lnTo>
                  <a:lnTo>
                    <a:pt x="30" y="1"/>
                  </a:lnTo>
                  <a:close/>
                </a:path>
              </a:pathLst>
            </a:custGeom>
            <a:solidFill>
              <a:srgbClr val="34BD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26" name="Google Shape;1526;p42"/>
            <p:cNvSpPr/>
            <p:nvPr/>
          </p:nvSpPr>
          <p:spPr>
            <a:xfrm>
              <a:off x="5103225" y="5253700"/>
              <a:ext cx="25" cy="675"/>
            </a:xfrm>
            <a:custGeom>
              <a:avLst/>
              <a:gdLst/>
              <a:ahLst/>
              <a:cxnLst/>
              <a:rect l="l" t="t" r="r" b="b"/>
              <a:pathLst>
                <a:path w="1" h="27" extrusionOk="0">
                  <a:moveTo>
                    <a:pt x="1" y="1"/>
                  </a:moveTo>
                  <a:lnTo>
                    <a:pt x="1" y="14"/>
                  </a:lnTo>
                  <a:lnTo>
                    <a:pt x="1" y="2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23B1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27" name="Google Shape;1527;p42"/>
            <p:cNvSpPr/>
            <p:nvPr/>
          </p:nvSpPr>
          <p:spPr>
            <a:xfrm>
              <a:off x="5108575" y="5320200"/>
              <a:ext cx="8850" cy="4400"/>
            </a:xfrm>
            <a:custGeom>
              <a:avLst/>
              <a:gdLst/>
              <a:ahLst/>
              <a:cxnLst/>
              <a:rect l="l" t="t" r="r" b="b"/>
              <a:pathLst>
                <a:path w="354" h="176" extrusionOk="0">
                  <a:moveTo>
                    <a:pt x="1" y="1"/>
                  </a:moveTo>
                  <a:lnTo>
                    <a:pt x="1" y="82"/>
                  </a:lnTo>
                  <a:cubicBezTo>
                    <a:pt x="1" y="82"/>
                    <a:pt x="137" y="121"/>
                    <a:pt x="354" y="176"/>
                  </a:cubicBezTo>
                  <a:lnTo>
                    <a:pt x="354" y="134"/>
                  </a:lnTo>
                  <a:cubicBezTo>
                    <a:pt x="150" y="95"/>
                    <a:pt x="17" y="53"/>
                    <a:pt x="17" y="53"/>
                  </a:cubicBezTo>
                  <a:lnTo>
                    <a:pt x="17" y="1"/>
                  </a:lnTo>
                  <a:close/>
                </a:path>
              </a:pathLst>
            </a:custGeom>
            <a:solidFill>
              <a:srgbClr val="D3665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28" name="Google Shape;1528;p42"/>
            <p:cNvSpPr/>
            <p:nvPr/>
          </p:nvSpPr>
          <p:spPr>
            <a:xfrm>
              <a:off x="5099500" y="5246575"/>
              <a:ext cx="17925" cy="76975"/>
            </a:xfrm>
            <a:custGeom>
              <a:avLst/>
              <a:gdLst/>
              <a:ahLst/>
              <a:cxnLst/>
              <a:rect l="l" t="t" r="r" b="b"/>
              <a:pathLst>
                <a:path w="717" h="3079" extrusionOk="0">
                  <a:moveTo>
                    <a:pt x="189" y="1"/>
                  </a:moveTo>
                  <a:lnTo>
                    <a:pt x="189" y="17"/>
                  </a:lnTo>
                  <a:lnTo>
                    <a:pt x="176" y="150"/>
                  </a:lnTo>
                  <a:lnTo>
                    <a:pt x="150" y="286"/>
                  </a:lnTo>
                  <a:lnTo>
                    <a:pt x="150" y="312"/>
                  </a:lnTo>
                  <a:lnTo>
                    <a:pt x="137" y="435"/>
                  </a:lnTo>
                  <a:lnTo>
                    <a:pt x="69" y="973"/>
                  </a:lnTo>
                  <a:lnTo>
                    <a:pt x="1" y="1446"/>
                  </a:lnTo>
                  <a:cubicBezTo>
                    <a:pt x="1" y="1514"/>
                    <a:pt x="1" y="1569"/>
                    <a:pt x="14" y="1637"/>
                  </a:cubicBezTo>
                  <a:cubicBezTo>
                    <a:pt x="40" y="1702"/>
                    <a:pt x="69" y="1770"/>
                    <a:pt x="108" y="1825"/>
                  </a:cubicBezTo>
                  <a:cubicBezTo>
                    <a:pt x="121" y="1825"/>
                    <a:pt x="121" y="1838"/>
                    <a:pt x="121" y="1838"/>
                  </a:cubicBezTo>
                  <a:lnTo>
                    <a:pt x="380" y="2149"/>
                  </a:lnTo>
                  <a:lnTo>
                    <a:pt x="380" y="2946"/>
                  </a:lnTo>
                  <a:lnTo>
                    <a:pt x="380" y="2998"/>
                  </a:lnTo>
                  <a:cubicBezTo>
                    <a:pt x="380" y="2998"/>
                    <a:pt x="513" y="3040"/>
                    <a:pt x="717" y="3079"/>
                  </a:cubicBezTo>
                  <a:lnTo>
                    <a:pt x="662" y="2149"/>
                  </a:lnTo>
                  <a:lnTo>
                    <a:pt x="406" y="1851"/>
                  </a:lnTo>
                  <a:cubicBezTo>
                    <a:pt x="299" y="1744"/>
                    <a:pt x="257" y="1608"/>
                    <a:pt x="257" y="1459"/>
                  </a:cubicBezTo>
                  <a:lnTo>
                    <a:pt x="364" y="1"/>
                  </a:lnTo>
                  <a:close/>
                </a:path>
              </a:pathLst>
            </a:custGeom>
            <a:solidFill>
              <a:srgbClr val="3471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29" name="Google Shape;1529;p42"/>
            <p:cNvSpPr/>
            <p:nvPr/>
          </p:nvSpPr>
          <p:spPr>
            <a:xfrm>
              <a:off x="5123475" y="5297925"/>
              <a:ext cx="34450" cy="9825"/>
            </a:xfrm>
            <a:custGeom>
              <a:avLst/>
              <a:gdLst/>
              <a:ahLst/>
              <a:cxnLst/>
              <a:rect l="l" t="t" r="r" b="b"/>
              <a:pathLst>
                <a:path w="1378" h="393" extrusionOk="0">
                  <a:moveTo>
                    <a:pt x="53" y="1"/>
                  </a:moveTo>
                  <a:lnTo>
                    <a:pt x="1" y="53"/>
                  </a:lnTo>
                  <a:cubicBezTo>
                    <a:pt x="14" y="53"/>
                    <a:pt x="406" y="393"/>
                    <a:pt x="1378" y="393"/>
                  </a:cubicBezTo>
                  <a:lnTo>
                    <a:pt x="1378" y="325"/>
                  </a:lnTo>
                  <a:cubicBezTo>
                    <a:pt x="892" y="325"/>
                    <a:pt x="568" y="244"/>
                    <a:pt x="351" y="163"/>
                  </a:cubicBezTo>
                  <a:cubicBezTo>
                    <a:pt x="244" y="121"/>
                    <a:pt x="163" y="82"/>
                    <a:pt x="121" y="53"/>
                  </a:cubicBezTo>
                  <a:cubicBezTo>
                    <a:pt x="95" y="40"/>
                    <a:pt x="82" y="27"/>
                    <a:pt x="69" y="14"/>
                  </a:cubicBezTo>
                  <a:lnTo>
                    <a:pt x="53" y="14"/>
                  </a:lnTo>
                  <a:lnTo>
                    <a:pt x="53" y="1"/>
                  </a:lnTo>
                  <a:close/>
                </a:path>
              </a:pathLst>
            </a:custGeom>
            <a:solidFill>
              <a:srgbClr val="3A35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30" name="Google Shape;1530;p42"/>
            <p:cNvSpPr/>
            <p:nvPr/>
          </p:nvSpPr>
          <p:spPr>
            <a:xfrm>
              <a:off x="5124125" y="5297925"/>
              <a:ext cx="34450" cy="9825"/>
            </a:xfrm>
            <a:custGeom>
              <a:avLst/>
              <a:gdLst/>
              <a:ahLst/>
              <a:cxnLst/>
              <a:rect l="l" t="t" r="r" b="b"/>
              <a:pathLst>
                <a:path w="1378" h="393" extrusionOk="0">
                  <a:moveTo>
                    <a:pt x="1339" y="1"/>
                  </a:moveTo>
                  <a:cubicBezTo>
                    <a:pt x="1310" y="27"/>
                    <a:pt x="934" y="325"/>
                    <a:pt x="1" y="325"/>
                  </a:cubicBezTo>
                  <a:lnTo>
                    <a:pt x="1" y="393"/>
                  </a:lnTo>
                  <a:cubicBezTo>
                    <a:pt x="986" y="393"/>
                    <a:pt x="1365" y="53"/>
                    <a:pt x="1378" y="53"/>
                  </a:cubicBezTo>
                  <a:lnTo>
                    <a:pt x="1339" y="1"/>
                  </a:lnTo>
                  <a:close/>
                </a:path>
              </a:pathLst>
            </a:custGeom>
            <a:solidFill>
              <a:srgbClr val="3A35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31" name="Google Shape;1531;p42"/>
            <p:cNvSpPr/>
            <p:nvPr/>
          </p:nvSpPr>
          <p:spPr>
            <a:xfrm>
              <a:off x="5123475" y="5306025"/>
              <a:ext cx="34450" cy="9825"/>
            </a:xfrm>
            <a:custGeom>
              <a:avLst/>
              <a:gdLst/>
              <a:ahLst/>
              <a:cxnLst/>
              <a:rect l="l" t="t" r="r" b="b"/>
              <a:pathLst>
                <a:path w="1378" h="393" extrusionOk="0">
                  <a:moveTo>
                    <a:pt x="53" y="1"/>
                  </a:moveTo>
                  <a:lnTo>
                    <a:pt x="1" y="53"/>
                  </a:lnTo>
                  <a:cubicBezTo>
                    <a:pt x="14" y="53"/>
                    <a:pt x="406" y="393"/>
                    <a:pt x="1378" y="393"/>
                  </a:cubicBezTo>
                  <a:lnTo>
                    <a:pt x="1378" y="325"/>
                  </a:lnTo>
                  <a:cubicBezTo>
                    <a:pt x="892" y="325"/>
                    <a:pt x="568" y="244"/>
                    <a:pt x="351" y="163"/>
                  </a:cubicBezTo>
                  <a:cubicBezTo>
                    <a:pt x="244" y="121"/>
                    <a:pt x="163" y="82"/>
                    <a:pt x="121" y="53"/>
                  </a:cubicBezTo>
                  <a:cubicBezTo>
                    <a:pt x="95" y="40"/>
                    <a:pt x="82" y="27"/>
                    <a:pt x="69" y="14"/>
                  </a:cubicBezTo>
                  <a:cubicBezTo>
                    <a:pt x="53" y="14"/>
                    <a:pt x="53" y="14"/>
                    <a:pt x="53" y="1"/>
                  </a:cubicBezTo>
                  <a:close/>
                </a:path>
              </a:pathLst>
            </a:custGeom>
            <a:solidFill>
              <a:srgbClr val="3A35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32" name="Google Shape;1532;p42"/>
            <p:cNvSpPr/>
            <p:nvPr/>
          </p:nvSpPr>
          <p:spPr>
            <a:xfrm>
              <a:off x="5124125" y="5306025"/>
              <a:ext cx="34450" cy="9825"/>
            </a:xfrm>
            <a:custGeom>
              <a:avLst/>
              <a:gdLst/>
              <a:ahLst/>
              <a:cxnLst/>
              <a:rect l="l" t="t" r="r" b="b"/>
              <a:pathLst>
                <a:path w="1378" h="393" extrusionOk="0">
                  <a:moveTo>
                    <a:pt x="1339" y="1"/>
                  </a:moveTo>
                  <a:cubicBezTo>
                    <a:pt x="1310" y="14"/>
                    <a:pt x="934" y="325"/>
                    <a:pt x="1" y="325"/>
                  </a:cubicBezTo>
                  <a:lnTo>
                    <a:pt x="1" y="393"/>
                  </a:lnTo>
                  <a:cubicBezTo>
                    <a:pt x="986" y="393"/>
                    <a:pt x="1365" y="53"/>
                    <a:pt x="1378" y="53"/>
                  </a:cubicBezTo>
                  <a:lnTo>
                    <a:pt x="1339" y="1"/>
                  </a:lnTo>
                  <a:close/>
                </a:path>
              </a:pathLst>
            </a:custGeom>
            <a:solidFill>
              <a:srgbClr val="3A35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2" name="Hình ảnh 8" descr="Ảnh có chứa khuôn làm bánh quy&#10;&#10;Mô tả được tạo tự động">
            <a:extLst>
              <a:ext uri="{FF2B5EF4-FFF2-40B4-BE49-F238E27FC236}">
                <a16:creationId xmlns:a16="http://schemas.microsoft.com/office/drawing/2014/main" xmlns="" id="{4BD9B63B-C9B3-293D-91F7-4B09ED7476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1638" y="0"/>
            <a:ext cx="9350698" cy="6238560"/>
          </a:xfrm>
          <a:prstGeom prst="rect">
            <a:avLst/>
          </a:prstGeom>
        </p:spPr>
      </p:pic>
      <p:pic>
        <p:nvPicPr>
          <p:cNvPr id="3" name="Picture 2" descr="Cute rabbit holding carrot with thumb up cartoon vector icon illustration animal nature isolated Free Vector">
            <a:extLst>
              <a:ext uri="{FF2B5EF4-FFF2-40B4-BE49-F238E27FC236}">
                <a16:creationId xmlns:a16="http://schemas.microsoft.com/office/drawing/2014/main" xmlns="" id="{687C46F4-B05F-A95B-1EC0-2188E2281F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7348" b="89936" l="9904" r="89936">
                        <a14:foregroundMark x1="42971" y1="7348" x2="42971" y2="7348"/>
                        <a14:foregroundMark x1="24441" y1="52716" x2="24441" y2="52716"/>
                        <a14:foregroundMark x1="77955" y1="44089" x2="77955" y2="440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9175" y="2461171"/>
            <a:ext cx="4909387" cy="490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64" name="Google Shape;1364;p42"/>
          <p:cNvGrpSpPr/>
          <p:nvPr/>
        </p:nvGrpSpPr>
        <p:grpSpPr>
          <a:xfrm>
            <a:off x="9184716" y="3862990"/>
            <a:ext cx="1771399" cy="2516968"/>
            <a:chOff x="4761425" y="5078500"/>
            <a:chExt cx="278475" cy="395675"/>
          </a:xfrm>
        </p:grpSpPr>
        <p:sp>
          <p:nvSpPr>
            <p:cNvPr id="1365" name="Google Shape;1365;p42"/>
            <p:cNvSpPr/>
            <p:nvPr/>
          </p:nvSpPr>
          <p:spPr>
            <a:xfrm>
              <a:off x="4859500" y="5397800"/>
              <a:ext cx="35175" cy="56725"/>
            </a:xfrm>
            <a:custGeom>
              <a:avLst/>
              <a:gdLst/>
              <a:ahLst/>
              <a:cxnLst/>
              <a:rect l="l" t="t" r="r" b="b"/>
              <a:pathLst>
                <a:path w="1407" h="2269" extrusionOk="0">
                  <a:moveTo>
                    <a:pt x="1" y="1"/>
                  </a:moveTo>
                  <a:lnTo>
                    <a:pt x="30" y="257"/>
                  </a:lnTo>
                  <a:lnTo>
                    <a:pt x="98" y="756"/>
                  </a:lnTo>
                  <a:lnTo>
                    <a:pt x="150" y="1216"/>
                  </a:lnTo>
                  <a:lnTo>
                    <a:pt x="299" y="2269"/>
                  </a:lnTo>
                  <a:lnTo>
                    <a:pt x="1407" y="2269"/>
                  </a:lnTo>
                  <a:lnTo>
                    <a:pt x="1407" y="1216"/>
                  </a:lnTo>
                  <a:lnTo>
                    <a:pt x="1407" y="1"/>
                  </a:ln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66" name="Google Shape;1366;p42"/>
            <p:cNvSpPr/>
            <p:nvPr/>
          </p:nvSpPr>
          <p:spPr>
            <a:xfrm>
              <a:off x="4859900" y="5399500"/>
              <a:ext cx="34775" cy="20600"/>
            </a:xfrm>
            <a:custGeom>
              <a:avLst/>
              <a:gdLst/>
              <a:ahLst/>
              <a:cxnLst/>
              <a:rect l="l" t="t" r="r" b="b"/>
              <a:pathLst>
                <a:path w="1391" h="824" extrusionOk="0">
                  <a:moveTo>
                    <a:pt x="1391" y="1"/>
                  </a:moveTo>
                  <a:lnTo>
                    <a:pt x="1362" y="163"/>
                  </a:lnTo>
                  <a:cubicBezTo>
                    <a:pt x="1216" y="176"/>
                    <a:pt x="1067" y="176"/>
                    <a:pt x="944" y="176"/>
                  </a:cubicBezTo>
                  <a:cubicBezTo>
                    <a:pt x="513" y="176"/>
                    <a:pt x="189" y="108"/>
                    <a:pt x="1" y="40"/>
                  </a:cubicBezTo>
                  <a:lnTo>
                    <a:pt x="1" y="40"/>
                  </a:lnTo>
                  <a:lnTo>
                    <a:pt x="14" y="189"/>
                  </a:lnTo>
                  <a:lnTo>
                    <a:pt x="1255" y="189"/>
                  </a:lnTo>
                  <a:lnTo>
                    <a:pt x="1255" y="688"/>
                  </a:lnTo>
                  <a:lnTo>
                    <a:pt x="82" y="688"/>
                  </a:lnTo>
                  <a:lnTo>
                    <a:pt x="95" y="824"/>
                  </a:lnTo>
                  <a:lnTo>
                    <a:pt x="1391" y="824"/>
                  </a:lnTo>
                  <a:lnTo>
                    <a:pt x="1391" y="1"/>
                  </a:lnTo>
                  <a:close/>
                </a:path>
              </a:pathLst>
            </a:custGeom>
            <a:solidFill>
              <a:srgbClr val="FFA35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67" name="Google Shape;1367;p42"/>
            <p:cNvSpPr/>
            <p:nvPr/>
          </p:nvSpPr>
          <p:spPr>
            <a:xfrm>
              <a:off x="4861525" y="5420075"/>
              <a:ext cx="34450" cy="41900"/>
            </a:xfrm>
            <a:custGeom>
              <a:avLst/>
              <a:gdLst/>
              <a:ahLst/>
              <a:cxnLst/>
              <a:rect l="l" t="t" r="r" b="b"/>
              <a:pathLst>
                <a:path w="1378" h="1676" extrusionOk="0">
                  <a:moveTo>
                    <a:pt x="1" y="1"/>
                  </a:moveTo>
                  <a:lnTo>
                    <a:pt x="137" y="1041"/>
                  </a:lnTo>
                  <a:lnTo>
                    <a:pt x="205" y="1501"/>
                  </a:lnTo>
                  <a:lnTo>
                    <a:pt x="1339" y="1676"/>
                  </a:lnTo>
                  <a:lnTo>
                    <a:pt x="1378" y="1"/>
                  </a:lnTo>
                  <a:close/>
                </a:path>
              </a:pathLst>
            </a:custGeom>
            <a:solidFill>
              <a:srgbClr val="E1F3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68" name="Google Shape;1368;p42"/>
            <p:cNvSpPr/>
            <p:nvPr/>
          </p:nvSpPr>
          <p:spPr>
            <a:xfrm>
              <a:off x="4834875" y="5449550"/>
              <a:ext cx="62475" cy="24625"/>
            </a:xfrm>
            <a:custGeom>
              <a:avLst/>
              <a:gdLst/>
              <a:ahLst/>
              <a:cxnLst/>
              <a:rect l="l" t="t" r="r" b="b"/>
              <a:pathLst>
                <a:path w="2499" h="985" extrusionOk="0">
                  <a:moveTo>
                    <a:pt x="1517" y="0"/>
                  </a:moveTo>
                  <a:cubicBezTo>
                    <a:pt x="1425" y="0"/>
                    <a:pt x="1311" y="27"/>
                    <a:pt x="1177" y="105"/>
                  </a:cubicBezTo>
                  <a:cubicBezTo>
                    <a:pt x="811" y="293"/>
                    <a:pt x="312" y="510"/>
                    <a:pt x="56" y="698"/>
                  </a:cubicBezTo>
                  <a:cubicBezTo>
                    <a:pt x="14" y="727"/>
                    <a:pt x="1" y="779"/>
                    <a:pt x="14" y="821"/>
                  </a:cubicBezTo>
                  <a:cubicBezTo>
                    <a:pt x="30" y="860"/>
                    <a:pt x="56" y="902"/>
                    <a:pt x="111" y="902"/>
                  </a:cubicBezTo>
                  <a:cubicBezTo>
                    <a:pt x="406" y="963"/>
                    <a:pt x="720" y="984"/>
                    <a:pt x="1018" y="984"/>
                  </a:cubicBezTo>
                  <a:cubicBezTo>
                    <a:pt x="1767" y="984"/>
                    <a:pt x="2418" y="847"/>
                    <a:pt x="2418" y="847"/>
                  </a:cubicBezTo>
                  <a:cubicBezTo>
                    <a:pt x="2499" y="497"/>
                    <a:pt x="2418" y="186"/>
                    <a:pt x="2418" y="186"/>
                  </a:cubicBezTo>
                  <a:cubicBezTo>
                    <a:pt x="2363" y="186"/>
                    <a:pt x="2324" y="212"/>
                    <a:pt x="2269" y="241"/>
                  </a:cubicBezTo>
                  <a:cubicBezTo>
                    <a:pt x="2217" y="280"/>
                    <a:pt x="2149" y="348"/>
                    <a:pt x="2055" y="361"/>
                  </a:cubicBezTo>
                  <a:cubicBezTo>
                    <a:pt x="2051" y="361"/>
                    <a:pt x="2047" y="361"/>
                    <a:pt x="2043" y="361"/>
                  </a:cubicBezTo>
                  <a:cubicBezTo>
                    <a:pt x="1889" y="361"/>
                    <a:pt x="1812" y="118"/>
                    <a:pt x="1812" y="118"/>
                  </a:cubicBezTo>
                  <a:cubicBezTo>
                    <a:pt x="1812" y="118"/>
                    <a:pt x="1712" y="0"/>
                    <a:pt x="1517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69" name="Google Shape;1369;p42"/>
            <p:cNvSpPr/>
            <p:nvPr/>
          </p:nvSpPr>
          <p:spPr>
            <a:xfrm>
              <a:off x="4835200" y="5454175"/>
              <a:ext cx="61175" cy="19950"/>
            </a:xfrm>
            <a:custGeom>
              <a:avLst/>
              <a:gdLst/>
              <a:ahLst/>
              <a:cxnLst/>
              <a:rect l="l" t="t" r="r" b="b"/>
              <a:pathLst>
                <a:path w="2447" h="798" extrusionOk="0">
                  <a:moveTo>
                    <a:pt x="2379" y="1"/>
                  </a:moveTo>
                  <a:cubicBezTo>
                    <a:pt x="2337" y="1"/>
                    <a:pt x="2298" y="27"/>
                    <a:pt x="2256" y="56"/>
                  </a:cubicBezTo>
                  <a:cubicBezTo>
                    <a:pt x="2256" y="163"/>
                    <a:pt x="2243" y="257"/>
                    <a:pt x="2136" y="351"/>
                  </a:cubicBezTo>
                  <a:cubicBezTo>
                    <a:pt x="2042" y="432"/>
                    <a:pt x="1919" y="461"/>
                    <a:pt x="1799" y="487"/>
                  </a:cubicBezTo>
                  <a:cubicBezTo>
                    <a:pt x="1663" y="513"/>
                    <a:pt x="1514" y="542"/>
                    <a:pt x="1365" y="555"/>
                  </a:cubicBezTo>
                  <a:cubicBezTo>
                    <a:pt x="1054" y="594"/>
                    <a:pt x="746" y="594"/>
                    <a:pt x="435" y="594"/>
                  </a:cubicBezTo>
                  <a:cubicBezTo>
                    <a:pt x="354" y="607"/>
                    <a:pt x="260" y="607"/>
                    <a:pt x="179" y="607"/>
                  </a:cubicBezTo>
                  <a:cubicBezTo>
                    <a:pt x="124" y="607"/>
                    <a:pt x="56" y="607"/>
                    <a:pt x="1" y="636"/>
                  </a:cubicBezTo>
                  <a:cubicBezTo>
                    <a:pt x="17" y="675"/>
                    <a:pt x="43" y="717"/>
                    <a:pt x="98" y="717"/>
                  </a:cubicBezTo>
                  <a:cubicBezTo>
                    <a:pt x="393" y="785"/>
                    <a:pt x="704" y="798"/>
                    <a:pt x="1002" y="798"/>
                  </a:cubicBezTo>
                  <a:cubicBezTo>
                    <a:pt x="1757" y="798"/>
                    <a:pt x="2405" y="662"/>
                    <a:pt x="2405" y="662"/>
                  </a:cubicBezTo>
                  <a:cubicBezTo>
                    <a:pt x="2431" y="542"/>
                    <a:pt x="2447" y="419"/>
                    <a:pt x="2447" y="325"/>
                  </a:cubicBezTo>
                  <a:cubicBezTo>
                    <a:pt x="2447" y="137"/>
                    <a:pt x="2405" y="1"/>
                    <a:pt x="2405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0" name="Google Shape;1370;p42"/>
            <p:cNvSpPr/>
            <p:nvPr/>
          </p:nvSpPr>
          <p:spPr>
            <a:xfrm>
              <a:off x="4911175" y="5397800"/>
              <a:ext cx="35425" cy="56725"/>
            </a:xfrm>
            <a:custGeom>
              <a:avLst/>
              <a:gdLst/>
              <a:ahLst/>
              <a:cxnLst/>
              <a:rect l="l" t="t" r="r" b="b"/>
              <a:pathLst>
                <a:path w="1417" h="2269" extrusionOk="0">
                  <a:moveTo>
                    <a:pt x="1" y="1"/>
                  </a:moveTo>
                  <a:lnTo>
                    <a:pt x="1" y="1216"/>
                  </a:lnTo>
                  <a:lnTo>
                    <a:pt x="1" y="2269"/>
                  </a:lnTo>
                  <a:lnTo>
                    <a:pt x="1109" y="2269"/>
                  </a:lnTo>
                  <a:lnTo>
                    <a:pt x="1255" y="1216"/>
                  </a:lnTo>
                  <a:lnTo>
                    <a:pt x="1310" y="756"/>
                  </a:lnTo>
                  <a:lnTo>
                    <a:pt x="1378" y="257"/>
                  </a:lnTo>
                  <a:lnTo>
                    <a:pt x="1417" y="1"/>
                  </a:ln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1" name="Google Shape;1371;p42"/>
            <p:cNvSpPr/>
            <p:nvPr/>
          </p:nvSpPr>
          <p:spPr>
            <a:xfrm>
              <a:off x="4911175" y="5399825"/>
              <a:ext cx="35100" cy="20275"/>
            </a:xfrm>
            <a:custGeom>
              <a:avLst/>
              <a:gdLst/>
              <a:ahLst/>
              <a:cxnLst/>
              <a:rect l="l" t="t" r="r" b="b"/>
              <a:pathLst>
                <a:path w="1404" h="811" extrusionOk="0">
                  <a:moveTo>
                    <a:pt x="1404" y="1"/>
                  </a:moveTo>
                  <a:cubicBezTo>
                    <a:pt x="1216" y="69"/>
                    <a:pt x="866" y="163"/>
                    <a:pt x="351" y="163"/>
                  </a:cubicBezTo>
                  <a:cubicBezTo>
                    <a:pt x="244" y="163"/>
                    <a:pt x="137" y="163"/>
                    <a:pt x="1" y="150"/>
                  </a:cubicBezTo>
                  <a:lnTo>
                    <a:pt x="1" y="811"/>
                  </a:lnTo>
                  <a:lnTo>
                    <a:pt x="1297" y="811"/>
                  </a:lnTo>
                  <a:lnTo>
                    <a:pt x="1310" y="675"/>
                  </a:lnTo>
                  <a:lnTo>
                    <a:pt x="150" y="675"/>
                  </a:lnTo>
                  <a:lnTo>
                    <a:pt x="150" y="176"/>
                  </a:lnTo>
                  <a:lnTo>
                    <a:pt x="1378" y="176"/>
                  </a:lnTo>
                  <a:lnTo>
                    <a:pt x="1404" y="1"/>
                  </a:lnTo>
                  <a:close/>
                </a:path>
              </a:pathLst>
            </a:custGeom>
            <a:solidFill>
              <a:srgbClr val="FFA35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2" name="Google Shape;1372;p42"/>
            <p:cNvSpPr/>
            <p:nvPr/>
          </p:nvSpPr>
          <p:spPr>
            <a:xfrm>
              <a:off x="4909475" y="5420075"/>
              <a:ext cx="34450" cy="41900"/>
            </a:xfrm>
            <a:custGeom>
              <a:avLst/>
              <a:gdLst/>
              <a:ahLst/>
              <a:cxnLst/>
              <a:rect l="l" t="t" r="r" b="b"/>
              <a:pathLst>
                <a:path w="1378" h="1676" extrusionOk="0">
                  <a:moveTo>
                    <a:pt x="1" y="1"/>
                  </a:moveTo>
                  <a:lnTo>
                    <a:pt x="43" y="1676"/>
                  </a:lnTo>
                  <a:lnTo>
                    <a:pt x="1177" y="1501"/>
                  </a:lnTo>
                  <a:lnTo>
                    <a:pt x="1242" y="973"/>
                  </a:lnTo>
                  <a:lnTo>
                    <a:pt x="1378" y="1"/>
                  </a:lnTo>
                  <a:close/>
                </a:path>
              </a:pathLst>
            </a:custGeom>
            <a:solidFill>
              <a:srgbClr val="E1F3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3" name="Google Shape;1373;p42"/>
            <p:cNvSpPr/>
            <p:nvPr/>
          </p:nvSpPr>
          <p:spPr>
            <a:xfrm>
              <a:off x="4907775" y="5449550"/>
              <a:ext cx="62475" cy="24625"/>
            </a:xfrm>
            <a:custGeom>
              <a:avLst/>
              <a:gdLst/>
              <a:ahLst/>
              <a:cxnLst/>
              <a:rect l="l" t="t" r="r" b="b"/>
              <a:pathLst>
                <a:path w="2499" h="985" extrusionOk="0">
                  <a:moveTo>
                    <a:pt x="991" y="0"/>
                  </a:moveTo>
                  <a:cubicBezTo>
                    <a:pt x="796" y="0"/>
                    <a:pt x="704" y="118"/>
                    <a:pt x="704" y="118"/>
                  </a:cubicBezTo>
                  <a:cubicBezTo>
                    <a:pt x="704" y="118"/>
                    <a:pt x="614" y="361"/>
                    <a:pt x="460" y="361"/>
                  </a:cubicBezTo>
                  <a:cubicBezTo>
                    <a:pt x="456" y="361"/>
                    <a:pt x="452" y="361"/>
                    <a:pt x="448" y="361"/>
                  </a:cubicBezTo>
                  <a:cubicBezTo>
                    <a:pt x="354" y="348"/>
                    <a:pt x="286" y="280"/>
                    <a:pt x="231" y="241"/>
                  </a:cubicBezTo>
                  <a:cubicBezTo>
                    <a:pt x="176" y="212"/>
                    <a:pt x="137" y="186"/>
                    <a:pt x="82" y="186"/>
                  </a:cubicBezTo>
                  <a:cubicBezTo>
                    <a:pt x="82" y="186"/>
                    <a:pt x="1" y="497"/>
                    <a:pt x="95" y="847"/>
                  </a:cubicBezTo>
                  <a:cubicBezTo>
                    <a:pt x="95" y="847"/>
                    <a:pt x="738" y="984"/>
                    <a:pt x="1485" y="984"/>
                  </a:cubicBezTo>
                  <a:cubicBezTo>
                    <a:pt x="1782" y="984"/>
                    <a:pt x="2096" y="963"/>
                    <a:pt x="2392" y="902"/>
                  </a:cubicBezTo>
                  <a:cubicBezTo>
                    <a:pt x="2444" y="902"/>
                    <a:pt x="2473" y="860"/>
                    <a:pt x="2486" y="821"/>
                  </a:cubicBezTo>
                  <a:cubicBezTo>
                    <a:pt x="2499" y="779"/>
                    <a:pt x="2486" y="727"/>
                    <a:pt x="2444" y="698"/>
                  </a:cubicBezTo>
                  <a:cubicBezTo>
                    <a:pt x="2188" y="510"/>
                    <a:pt x="1689" y="293"/>
                    <a:pt x="1339" y="105"/>
                  </a:cubicBezTo>
                  <a:cubicBezTo>
                    <a:pt x="1199" y="27"/>
                    <a:pt x="1083" y="0"/>
                    <a:pt x="991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4" name="Google Shape;1374;p42"/>
            <p:cNvSpPr/>
            <p:nvPr/>
          </p:nvSpPr>
          <p:spPr>
            <a:xfrm>
              <a:off x="4909150" y="5454175"/>
              <a:ext cx="60775" cy="19950"/>
            </a:xfrm>
            <a:custGeom>
              <a:avLst/>
              <a:gdLst/>
              <a:ahLst/>
              <a:cxnLst/>
              <a:rect l="l" t="t" r="r" b="b"/>
              <a:pathLst>
                <a:path w="2431" h="798" extrusionOk="0">
                  <a:moveTo>
                    <a:pt x="27" y="1"/>
                  </a:moveTo>
                  <a:cubicBezTo>
                    <a:pt x="27" y="1"/>
                    <a:pt x="1" y="137"/>
                    <a:pt x="1" y="325"/>
                  </a:cubicBezTo>
                  <a:cubicBezTo>
                    <a:pt x="1" y="419"/>
                    <a:pt x="1" y="542"/>
                    <a:pt x="40" y="662"/>
                  </a:cubicBezTo>
                  <a:cubicBezTo>
                    <a:pt x="40" y="662"/>
                    <a:pt x="688" y="798"/>
                    <a:pt x="1433" y="798"/>
                  </a:cubicBezTo>
                  <a:cubicBezTo>
                    <a:pt x="1728" y="798"/>
                    <a:pt x="2039" y="785"/>
                    <a:pt x="2337" y="717"/>
                  </a:cubicBezTo>
                  <a:cubicBezTo>
                    <a:pt x="2389" y="717"/>
                    <a:pt x="2418" y="675"/>
                    <a:pt x="2431" y="636"/>
                  </a:cubicBezTo>
                  <a:cubicBezTo>
                    <a:pt x="2376" y="607"/>
                    <a:pt x="2324" y="607"/>
                    <a:pt x="2256" y="607"/>
                  </a:cubicBezTo>
                  <a:cubicBezTo>
                    <a:pt x="2175" y="607"/>
                    <a:pt x="2094" y="607"/>
                    <a:pt x="2000" y="594"/>
                  </a:cubicBezTo>
                  <a:cubicBezTo>
                    <a:pt x="1689" y="594"/>
                    <a:pt x="1378" y="594"/>
                    <a:pt x="1067" y="555"/>
                  </a:cubicBezTo>
                  <a:cubicBezTo>
                    <a:pt x="918" y="542"/>
                    <a:pt x="785" y="513"/>
                    <a:pt x="636" y="487"/>
                  </a:cubicBezTo>
                  <a:cubicBezTo>
                    <a:pt x="513" y="461"/>
                    <a:pt x="393" y="432"/>
                    <a:pt x="299" y="351"/>
                  </a:cubicBezTo>
                  <a:cubicBezTo>
                    <a:pt x="202" y="257"/>
                    <a:pt x="176" y="163"/>
                    <a:pt x="176" y="56"/>
                  </a:cubicBezTo>
                  <a:cubicBezTo>
                    <a:pt x="137" y="27"/>
                    <a:pt x="95" y="1"/>
                    <a:pt x="56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5" name="Google Shape;1375;p42"/>
            <p:cNvSpPr/>
            <p:nvPr/>
          </p:nvSpPr>
          <p:spPr>
            <a:xfrm>
              <a:off x="4964475" y="5202750"/>
              <a:ext cx="75425" cy="56725"/>
            </a:xfrm>
            <a:custGeom>
              <a:avLst/>
              <a:gdLst/>
              <a:ahLst/>
              <a:cxnLst/>
              <a:rect l="l" t="t" r="r" b="b"/>
              <a:pathLst>
                <a:path w="3017" h="2269" extrusionOk="0">
                  <a:moveTo>
                    <a:pt x="2266" y="1"/>
                  </a:moveTo>
                  <a:cubicBezTo>
                    <a:pt x="2193" y="1"/>
                    <a:pt x="1906" y="458"/>
                    <a:pt x="1906" y="458"/>
                  </a:cubicBezTo>
                  <a:lnTo>
                    <a:pt x="542" y="1054"/>
                  </a:lnTo>
                  <a:lnTo>
                    <a:pt x="1" y="1268"/>
                  </a:lnTo>
                  <a:cubicBezTo>
                    <a:pt x="82" y="1446"/>
                    <a:pt x="124" y="1621"/>
                    <a:pt x="176" y="1809"/>
                  </a:cubicBezTo>
                  <a:cubicBezTo>
                    <a:pt x="244" y="1958"/>
                    <a:pt x="325" y="2120"/>
                    <a:pt x="393" y="2269"/>
                  </a:cubicBezTo>
                  <a:cubicBezTo>
                    <a:pt x="435" y="2256"/>
                    <a:pt x="461" y="2227"/>
                    <a:pt x="487" y="2214"/>
                  </a:cubicBezTo>
                  <a:cubicBezTo>
                    <a:pt x="1028" y="1835"/>
                    <a:pt x="1540" y="1459"/>
                    <a:pt x="2068" y="1067"/>
                  </a:cubicBezTo>
                  <a:lnTo>
                    <a:pt x="2107" y="1025"/>
                  </a:lnTo>
                  <a:lnTo>
                    <a:pt x="2162" y="986"/>
                  </a:lnTo>
                  <a:cubicBezTo>
                    <a:pt x="2162" y="986"/>
                    <a:pt x="2729" y="879"/>
                    <a:pt x="2836" y="811"/>
                  </a:cubicBezTo>
                  <a:cubicBezTo>
                    <a:pt x="2930" y="743"/>
                    <a:pt x="2622" y="717"/>
                    <a:pt x="2622" y="717"/>
                  </a:cubicBezTo>
                  <a:cubicBezTo>
                    <a:pt x="2622" y="717"/>
                    <a:pt x="2972" y="594"/>
                    <a:pt x="2998" y="539"/>
                  </a:cubicBezTo>
                  <a:cubicBezTo>
                    <a:pt x="3017" y="513"/>
                    <a:pt x="2908" y="494"/>
                    <a:pt x="2793" y="494"/>
                  </a:cubicBezTo>
                  <a:cubicBezTo>
                    <a:pt x="2731" y="494"/>
                    <a:pt x="2668" y="499"/>
                    <a:pt x="2622" y="513"/>
                  </a:cubicBezTo>
                  <a:cubicBezTo>
                    <a:pt x="2622" y="513"/>
                    <a:pt x="2972" y="325"/>
                    <a:pt x="2959" y="257"/>
                  </a:cubicBezTo>
                  <a:cubicBezTo>
                    <a:pt x="2956" y="240"/>
                    <a:pt x="2931" y="234"/>
                    <a:pt x="2896" y="234"/>
                  </a:cubicBezTo>
                  <a:cubicBezTo>
                    <a:pt x="2785" y="234"/>
                    <a:pt x="2567" y="296"/>
                    <a:pt x="2567" y="296"/>
                  </a:cubicBezTo>
                  <a:cubicBezTo>
                    <a:pt x="2567" y="296"/>
                    <a:pt x="2836" y="95"/>
                    <a:pt x="2810" y="27"/>
                  </a:cubicBezTo>
                  <a:cubicBezTo>
                    <a:pt x="2805" y="18"/>
                    <a:pt x="2793" y="15"/>
                    <a:pt x="2778" y="15"/>
                  </a:cubicBezTo>
                  <a:cubicBezTo>
                    <a:pt x="2665" y="15"/>
                    <a:pt x="2324" y="202"/>
                    <a:pt x="2324" y="202"/>
                  </a:cubicBezTo>
                  <a:cubicBezTo>
                    <a:pt x="2324" y="202"/>
                    <a:pt x="2350" y="14"/>
                    <a:pt x="2269" y="1"/>
                  </a:cubicBezTo>
                  <a:cubicBezTo>
                    <a:pt x="2268" y="1"/>
                    <a:pt x="2267" y="1"/>
                    <a:pt x="2266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6" name="Google Shape;1376;p42"/>
            <p:cNvSpPr/>
            <p:nvPr/>
          </p:nvSpPr>
          <p:spPr>
            <a:xfrm>
              <a:off x="4970550" y="5229075"/>
              <a:ext cx="45625" cy="26675"/>
            </a:xfrm>
            <a:custGeom>
              <a:avLst/>
              <a:gdLst/>
              <a:ahLst/>
              <a:cxnLst/>
              <a:rect l="l" t="t" r="r" b="b"/>
              <a:pathLst>
                <a:path w="1825" h="1067" extrusionOk="0">
                  <a:moveTo>
                    <a:pt x="299" y="1"/>
                  </a:moveTo>
                  <a:lnTo>
                    <a:pt x="1" y="121"/>
                  </a:lnTo>
                  <a:lnTo>
                    <a:pt x="367" y="1041"/>
                  </a:lnTo>
                  <a:lnTo>
                    <a:pt x="367" y="1067"/>
                  </a:lnTo>
                  <a:cubicBezTo>
                    <a:pt x="866" y="730"/>
                    <a:pt x="1339" y="364"/>
                    <a:pt x="1825" y="14"/>
                  </a:cubicBezTo>
                  <a:lnTo>
                    <a:pt x="1825" y="14"/>
                  </a:lnTo>
                  <a:cubicBezTo>
                    <a:pt x="1634" y="82"/>
                    <a:pt x="1216" y="215"/>
                    <a:pt x="853" y="215"/>
                  </a:cubicBezTo>
                  <a:cubicBezTo>
                    <a:pt x="623" y="215"/>
                    <a:pt x="406" y="163"/>
                    <a:pt x="299" y="1"/>
                  </a:cubicBezTo>
                  <a:close/>
                </a:path>
              </a:pathLst>
            </a:custGeom>
            <a:solidFill>
              <a:srgbClr val="FFA35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7" name="Google Shape;1377;p42"/>
            <p:cNvSpPr/>
            <p:nvPr/>
          </p:nvSpPr>
          <p:spPr>
            <a:xfrm>
              <a:off x="4761425" y="5217225"/>
              <a:ext cx="78250" cy="48650"/>
            </a:xfrm>
            <a:custGeom>
              <a:avLst/>
              <a:gdLst/>
              <a:ahLst/>
              <a:cxnLst/>
              <a:rect l="l" t="t" r="r" b="b"/>
              <a:pathLst>
                <a:path w="3130" h="1946" extrusionOk="0">
                  <a:moveTo>
                    <a:pt x="664" y="1"/>
                  </a:moveTo>
                  <a:cubicBezTo>
                    <a:pt x="662" y="1"/>
                    <a:pt x="660" y="1"/>
                    <a:pt x="658" y="2"/>
                  </a:cubicBezTo>
                  <a:cubicBezTo>
                    <a:pt x="590" y="28"/>
                    <a:pt x="645" y="219"/>
                    <a:pt x="645" y="219"/>
                  </a:cubicBezTo>
                  <a:cubicBezTo>
                    <a:pt x="645" y="219"/>
                    <a:pt x="322" y="101"/>
                    <a:pt x="196" y="101"/>
                  </a:cubicBezTo>
                  <a:cubicBezTo>
                    <a:pt x="167" y="101"/>
                    <a:pt x="148" y="107"/>
                    <a:pt x="146" y="122"/>
                  </a:cubicBezTo>
                  <a:cubicBezTo>
                    <a:pt x="117" y="190"/>
                    <a:pt x="415" y="352"/>
                    <a:pt x="415" y="352"/>
                  </a:cubicBezTo>
                  <a:cubicBezTo>
                    <a:pt x="415" y="352"/>
                    <a:pt x="271" y="332"/>
                    <a:pt x="158" y="332"/>
                  </a:cubicBezTo>
                  <a:cubicBezTo>
                    <a:pt x="87" y="332"/>
                    <a:pt x="28" y="340"/>
                    <a:pt x="23" y="365"/>
                  </a:cubicBezTo>
                  <a:cubicBezTo>
                    <a:pt x="23" y="433"/>
                    <a:pt x="389" y="569"/>
                    <a:pt x="389" y="569"/>
                  </a:cubicBezTo>
                  <a:cubicBezTo>
                    <a:pt x="374" y="567"/>
                    <a:pt x="359" y="567"/>
                    <a:pt x="342" y="567"/>
                  </a:cubicBezTo>
                  <a:cubicBezTo>
                    <a:pt x="202" y="567"/>
                    <a:pt x="1" y="613"/>
                    <a:pt x="36" y="663"/>
                  </a:cubicBezTo>
                  <a:cubicBezTo>
                    <a:pt x="65" y="718"/>
                    <a:pt x="428" y="770"/>
                    <a:pt x="428" y="770"/>
                  </a:cubicBezTo>
                  <a:cubicBezTo>
                    <a:pt x="428" y="770"/>
                    <a:pt x="133" y="851"/>
                    <a:pt x="240" y="906"/>
                  </a:cubicBezTo>
                  <a:cubicBezTo>
                    <a:pt x="347" y="948"/>
                    <a:pt x="927" y="961"/>
                    <a:pt x="927" y="961"/>
                  </a:cubicBezTo>
                  <a:lnTo>
                    <a:pt x="927" y="974"/>
                  </a:lnTo>
                  <a:cubicBezTo>
                    <a:pt x="943" y="974"/>
                    <a:pt x="982" y="1000"/>
                    <a:pt x="995" y="1000"/>
                  </a:cubicBezTo>
                  <a:cubicBezTo>
                    <a:pt x="1575" y="1311"/>
                    <a:pt x="2171" y="1622"/>
                    <a:pt x="2764" y="1904"/>
                  </a:cubicBezTo>
                  <a:cubicBezTo>
                    <a:pt x="2806" y="1920"/>
                    <a:pt x="2832" y="1933"/>
                    <a:pt x="2858" y="1946"/>
                  </a:cubicBezTo>
                  <a:cubicBezTo>
                    <a:pt x="2887" y="1823"/>
                    <a:pt x="2926" y="1703"/>
                    <a:pt x="2968" y="1580"/>
                  </a:cubicBezTo>
                  <a:cubicBezTo>
                    <a:pt x="3020" y="1353"/>
                    <a:pt x="3062" y="1136"/>
                    <a:pt x="3130" y="919"/>
                  </a:cubicBezTo>
                  <a:lnTo>
                    <a:pt x="2777" y="825"/>
                  </a:lnTo>
                  <a:lnTo>
                    <a:pt x="1089" y="407"/>
                  </a:lnTo>
                  <a:cubicBezTo>
                    <a:pt x="1089" y="407"/>
                    <a:pt x="747" y="1"/>
                    <a:pt x="664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8" name="Google Shape;1378;p42"/>
            <p:cNvSpPr/>
            <p:nvPr/>
          </p:nvSpPr>
          <p:spPr>
            <a:xfrm>
              <a:off x="4784575" y="5237825"/>
              <a:ext cx="49675" cy="22950"/>
            </a:xfrm>
            <a:custGeom>
              <a:avLst/>
              <a:gdLst/>
              <a:ahLst/>
              <a:cxnLst/>
              <a:rect l="l" t="t" r="r" b="b"/>
              <a:pathLst>
                <a:path w="1987" h="918" extrusionOk="0">
                  <a:moveTo>
                    <a:pt x="1851" y="1"/>
                  </a:moveTo>
                  <a:cubicBezTo>
                    <a:pt x="1757" y="176"/>
                    <a:pt x="1514" y="568"/>
                    <a:pt x="1245" y="568"/>
                  </a:cubicBezTo>
                  <a:lnTo>
                    <a:pt x="1216" y="568"/>
                  </a:lnTo>
                  <a:cubicBezTo>
                    <a:pt x="973" y="542"/>
                    <a:pt x="474" y="338"/>
                    <a:pt x="192" y="231"/>
                  </a:cubicBezTo>
                  <a:cubicBezTo>
                    <a:pt x="111" y="189"/>
                    <a:pt x="56" y="163"/>
                    <a:pt x="17" y="150"/>
                  </a:cubicBezTo>
                  <a:lnTo>
                    <a:pt x="1" y="150"/>
                  </a:lnTo>
                  <a:cubicBezTo>
                    <a:pt x="17" y="150"/>
                    <a:pt x="56" y="176"/>
                    <a:pt x="69" y="176"/>
                  </a:cubicBezTo>
                  <a:cubicBezTo>
                    <a:pt x="542" y="432"/>
                    <a:pt x="1028" y="675"/>
                    <a:pt x="1514" y="918"/>
                  </a:cubicBezTo>
                  <a:lnTo>
                    <a:pt x="1987" y="43"/>
                  </a:lnTo>
                  <a:lnTo>
                    <a:pt x="1851" y="1"/>
                  </a:lnTo>
                  <a:close/>
                </a:path>
              </a:pathLst>
            </a:custGeom>
            <a:solidFill>
              <a:srgbClr val="FFA35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9" name="Google Shape;1379;p42"/>
            <p:cNvSpPr/>
            <p:nvPr/>
          </p:nvSpPr>
          <p:spPr>
            <a:xfrm>
              <a:off x="4821750" y="5230775"/>
              <a:ext cx="158950" cy="102725"/>
            </a:xfrm>
            <a:custGeom>
              <a:avLst/>
              <a:gdLst/>
              <a:ahLst/>
              <a:cxnLst/>
              <a:rect l="l" t="t" r="r" b="b"/>
              <a:pathLst>
                <a:path w="6358" h="4109" extrusionOk="0">
                  <a:moveTo>
                    <a:pt x="5927" y="1"/>
                  </a:moveTo>
                  <a:lnTo>
                    <a:pt x="4563" y="607"/>
                  </a:lnTo>
                  <a:lnTo>
                    <a:pt x="4239" y="500"/>
                  </a:lnTo>
                  <a:cubicBezTo>
                    <a:pt x="4239" y="500"/>
                    <a:pt x="3821" y="1038"/>
                    <a:pt x="3293" y="1080"/>
                  </a:cubicBezTo>
                  <a:cubicBezTo>
                    <a:pt x="3276" y="1081"/>
                    <a:pt x="3259" y="1082"/>
                    <a:pt x="3242" y="1082"/>
                  </a:cubicBezTo>
                  <a:cubicBezTo>
                    <a:pt x="2738" y="1082"/>
                    <a:pt x="2308" y="539"/>
                    <a:pt x="2308" y="539"/>
                  </a:cubicBezTo>
                  <a:lnTo>
                    <a:pt x="2052" y="620"/>
                  </a:lnTo>
                  <a:lnTo>
                    <a:pt x="620" y="296"/>
                  </a:lnTo>
                  <a:lnTo>
                    <a:pt x="526" y="270"/>
                  </a:lnTo>
                  <a:lnTo>
                    <a:pt x="1" y="1255"/>
                  </a:lnTo>
                  <a:lnTo>
                    <a:pt x="1242" y="1848"/>
                  </a:lnTo>
                  <a:lnTo>
                    <a:pt x="1809" y="3779"/>
                  </a:lnTo>
                  <a:cubicBezTo>
                    <a:pt x="2434" y="4026"/>
                    <a:pt x="2950" y="4108"/>
                    <a:pt x="3360" y="4108"/>
                  </a:cubicBezTo>
                  <a:cubicBezTo>
                    <a:pt x="4180" y="4108"/>
                    <a:pt x="4576" y="3779"/>
                    <a:pt x="4576" y="3779"/>
                  </a:cubicBezTo>
                  <a:lnTo>
                    <a:pt x="5237" y="1890"/>
                  </a:lnTo>
                  <a:lnTo>
                    <a:pt x="6358" y="1093"/>
                  </a:lnTo>
                  <a:lnTo>
                    <a:pt x="6319" y="973"/>
                  </a:lnTo>
                  <a:lnTo>
                    <a:pt x="592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80" name="Google Shape;1380;p42"/>
            <p:cNvSpPr/>
            <p:nvPr/>
          </p:nvSpPr>
          <p:spPr>
            <a:xfrm>
              <a:off x="4873675" y="52459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B08D9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81" name="Google Shape;1381;p42"/>
            <p:cNvSpPr/>
            <p:nvPr/>
          </p:nvSpPr>
          <p:spPr>
            <a:xfrm>
              <a:off x="4873675" y="5245925"/>
              <a:ext cx="58425" cy="26025"/>
            </a:xfrm>
            <a:custGeom>
              <a:avLst/>
              <a:gdLst/>
              <a:ahLst/>
              <a:cxnLst/>
              <a:rect l="l" t="t" r="r" b="b"/>
              <a:pathLst>
                <a:path w="2337" h="1041" extrusionOk="0">
                  <a:moveTo>
                    <a:pt x="2337" y="1"/>
                  </a:moveTo>
                  <a:lnTo>
                    <a:pt x="1799" y="824"/>
                  </a:lnTo>
                  <a:lnTo>
                    <a:pt x="1459" y="461"/>
                  </a:lnTo>
                  <a:lnTo>
                    <a:pt x="1203" y="649"/>
                  </a:lnTo>
                  <a:lnTo>
                    <a:pt x="934" y="461"/>
                  </a:lnTo>
                  <a:lnTo>
                    <a:pt x="636" y="785"/>
                  </a:lnTo>
                  <a:cubicBezTo>
                    <a:pt x="435" y="610"/>
                    <a:pt x="17" y="27"/>
                    <a:pt x="1" y="1"/>
                  </a:cubicBezTo>
                  <a:lnTo>
                    <a:pt x="1" y="1"/>
                  </a:lnTo>
                  <a:lnTo>
                    <a:pt x="529" y="1028"/>
                  </a:lnTo>
                  <a:lnTo>
                    <a:pt x="921" y="594"/>
                  </a:lnTo>
                  <a:lnTo>
                    <a:pt x="1203" y="785"/>
                  </a:lnTo>
                  <a:lnTo>
                    <a:pt x="1433" y="649"/>
                  </a:lnTo>
                  <a:lnTo>
                    <a:pt x="1987" y="1041"/>
                  </a:lnTo>
                  <a:lnTo>
                    <a:pt x="2337" y="1"/>
                  </a:ln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82" name="Google Shape;1382;p42"/>
            <p:cNvSpPr/>
            <p:nvPr/>
          </p:nvSpPr>
          <p:spPr>
            <a:xfrm>
              <a:off x="4879750" y="5228750"/>
              <a:ext cx="47000" cy="32025"/>
            </a:xfrm>
            <a:custGeom>
              <a:avLst/>
              <a:gdLst/>
              <a:ahLst/>
              <a:cxnLst/>
              <a:rect l="l" t="t" r="r" b="b"/>
              <a:pathLst>
                <a:path w="1880" h="1281" extrusionOk="0">
                  <a:moveTo>
                    <a:pt x="56" y="1"/>
                  </a:moveTo>
                  <a:cubicBezTo>
                    <a:pt x="56" y="1"/>
                    <a:pt x="98" y="377"/>
                    <a:pt x="1" y="688"/>
                  </a:cubicBezTo>
                  <a:cubicBezTo>
                    <a:pt x="98" y="743"/>
                    <a:pt x="137" y="850"/>
                    <a:pt x="124" y="957"/>
                  </a:cubicBezTo>
                  <a:lnTo>
                    <a:pt x="367" y="1054"/>
                  </a:lnTo>
                  <a:cubicBezTo>
                    <a:pt x="393" y="957"/>
                    <a:pt x="474" y="892"/>
                    <a:pt x="597" y="892"/>
                  </a:cubicBezTo>
                  <a:cubicBezTo>
                    <a:pt x="798" y="892"/>
                    <a:pt x="892" y="1080"/>
                    <a:pt x="853" y="1242"/>
                  </a:cubicBezTo>
                  <a:lnTo>
                    <a:pt x="973" y="1281"/>
                  </a:lnTo>
                  <a:lnTo>
                    <a:pt x="1041" y="1255"/>
                  </a:lnTo>
                  <a:cubicBezTo>
                    <a:pt x="1015" y="1119"/>
                    <a:pt x="1109" y="957"/>
                    <a:pt x="1297" y="957"/>
                  </a:cubicBezTo>
                  <a:cubicBezTo>
                    <a:pt x="1394" y="957"/>
                    <a:pt x="1475" y="999"/>
                    <a:pt x="1514" y="1067"/>
                  </a:cubicBezTo>
                  <a:lnTo>
                    <a:pt x="1731" y="973"/>
                  </a:lnTo>
                  <a:cubicBezTo>
                    <a:pt x="1689" y="850"/>
                    <a:pt x="1744" y="675"/>
                    <a:pt x="1880" y="633"/>
                  </a:cubicBezTo>
                  <a:cubicBezTo>
                    <a:pt x="1812" y="338"/>
                    <a:pt x="1851" y="1"/>
                    <a:pt x="1851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83" name="Google Shape;1383;p42"/>
            <p:cNvSpPr/>
            <p:nvPr/>
          </p:nvSpPr>
          <p:spPr>
            <a:xfrm>
              <a:off x="4881125" y="5231100"/>
              <a:ext cx="44900" cy="11200"/>
            </a:xfrm>
            <a:custGeom>
              <a:avLst/>
              <a:gdLst/>
              <a:ahLst/>
              <a:cxnLst/>
              <a:rect l="l" t="t" r="r" b="b"/>
              <a:pathLst>
                <a:path w="1796" h="448" extrusionOk="0">
                  <a:moveTo>
                    <a:pt x="1" y="1"/>
                  </a:moveTo>
                  <a:lnTo>
                    <a:pt x="1" y="1"/>
                  </a:lnTo>
                  <a:cubicBezTo>
                    <a:pt x="14" y="69"/>
                    <a:pt x="14" y="189"/>
                    <a:pt x="1" y="312"/>
                  </a:cubicBezTo>
                  <a:cubicBezTo>
                    <a:pt x="257" y="393"/>
                    <a:pt x="542" y="432"/>
                    <a:pt x="866" y="445"/>
                  </a:cubicBezTo>
                  <a:cubicBezTo>
                    <a:pt x="909" y="446"/>
                    <a:pt x="952" y="447"/>
                    <a:pt x="995" y="447"/>
                  </a:cubicBezTo>
                  <a:cubicBezTo>
                    <a:pt x="1292" y="447"/>
                    <a:pt x="1560" y="407"/>
                    <a:pt x="1796" y="325"/>
                  </a:cubicBezTo>
                  <a:cubicBezTo>
                    <a:pt x="1783" y="202"/>
                    <a:pt x="1783" y="95"/>
                    <a:pt x="1783" y="14"/>
                  </a:cubicBezTo>
                  <a:cubicBezTo>
                    <a:pt x="1514" y="95"/>
                    <a:pt x="1216" y="134"/>
                    <a:pt x="866" y="134"/>
                  </a:cubicBezTo>
                  <a:cubicBezTo>
                    <a:pt x="542" y="121"/>
                    <a:pt x="257" y="82"/>
                    <a:pt x="1" y="1"/>
                  </a:cubicBezTo>
                  <a:close/>
                </a:path>
              </a:pathLst>
            </a:custGeom>
            <a:solidFill>
              <a:srgbClr val="FF8F6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84" name="Google Shape;1384;p42"/>
            <p:cNvSpPr/>
            <p:nvPr/>
          </p:nvSpPr>
          <p:spPr>
            <a:xfrm>
              <a:off x="4876100" y="5236850"/>
              <a:ext cx="27650" cy="27325"/>
            </a:xfrm>
            <a:custGeom>
              <a:avLst/>
              <a:gdLst/>
              <a:ahLst/>
              <a:cxnLst/>
              <a:rect l="l" t="t" r="r" b="b"/>
              <a:pathLst>
                <a:path w="1106" h="1093" extrusionOk="0">
                  <a:moveTo>
                    <a:pt x="202" y="1"/>
                  </a:moveTo>
                  <a:lnTo>
                    <a:pt x="1" y="338"/>
                  </a:lnTo>
                  <a:cubicBezTo>
                    <a:pt x="1" y="338"/>
                    <a:pt x="202" y="986"/>
                    <a:pt x="526" y="1093"/>
                  </a:cubicBezTo>
                  <a:lnTo>
                    <a:pt x="837" y="824"/>
                  </a:lnTo>
                  <a:lnTo>
                    <a:pt x="931" y="905"/>
                  </a:lnTo>
                  <a:lnTo>
                    <a:pt x="1106" y="1012"/>
                  </a:lnTo>
                  <a:cubicBezTo>
                    <a:pt x="1106" y="999"/>
                    <a:pt x="1093" y="918"/>
                    <a:pt x="1093" y="824"/>
                  </a:cubicBezTo>
                  <a:cubicBezTo>
                    <a:pt x="1080" y="675"/>
                    <a:pt x="1054" y="500"/>
                    <a:pt x="1012" y="471"/>
                  </a:cubicBezTo>
                  <a:cubicBezTo>
                    <a:pt x="931" y="419"/>
                    <a:pt x="202" y="189"/>
                    <a:pt x="202" y="189"/>
                  </a:cubicBezTo>
                  <a:lnTo>
                    <a:pt x="202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85" name="Google Shape;1385;p42"/>
            <p:cNvSpPr/>
            <p:nvPr/>
          </p:nvSpPr>
          <p:spPr>
            <a:xfrm>
              <a:off x="4897000" y="5251025"/>
              <a:ext cx="6750" cy="11125"/>
            </a:xfrm>
            <a:custGeom>
              <a:avLst/>
              <a:gdLst/>
              <a:ahLst/>
              <a:cxnLst/>
              <a:rect l="l" t="t" r="r" b="b"/>
              <a:pathLst>
                <a:path w="270" h="445" extrusionOk="0">
                  <a:moveTo>
                    <a:pt x="108" y="1"/>
                  </a:moveTo>
                  <a:lnTo>
                    <a:pt x="1" y="257"/>
                  </a:lnTo>
                  <a:lnTo>
                    <a:pt x="270" y="445"/>
                  </a:lnTo>
                  <a:lnTo>
                    <a:pt x="108" y="1"/>
                  </a:lnTo>
                  <a:close/>
                </a:path>
              </a:pathLst>
            </a:custGeom>
            <a:solidFill>
              <a:srgbClr val="38040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86" name="Google Shape;1386;p42"/>
            <p:cNvSpPr/>
            <p:nvPr/>
          </p:nvSpPr>
          <p:spPr>
            <a:xfrm>
              <a:off x="4903725" y="5237175"/>
              <a:ext cx="27075" cy="27000"/>
            </a:xfrm>
            <a:custGeom>
              <a:avLst/>
              <a:gdLst/>
              <a:ahLst/>
              <a:cxnLst/>
              <a:rect l="l" t="t" r="r" b="b"/>
              <a:pathLst>
                <a:path w="1083" h="1080" extrusionOk="0">
                  <a:moveTo>
                    <a:pt x="879" y="1"/>
                  </a:moveTo>
                  <a:lnTo>
                    <a:pt x="879" y="176"/>
                  </a:lnTo>
                  <a:cubicBezTo>
                    <a:pt x="879" y="176"/>
                    <a:pt x="150" y="406"/>
                    <a:pt x="69" y="458"/>
                  </a:cubicBezTo>
                  <a:cubicBezTo>
                    <a:pt x="30" y="487"/>
                    <a:pt x="14" y="662"/>
                    <a:pt x="1" y="811"/>
                  </a:cubicBezTo>
                  <a:lnTo>
                    <a:pt x="1" y="999"/>
                  </a:lnTo>
                  <a:lnTo>
                    <a:pt x="192" y="850"/>
                  </a:lnTo>
                  <a:lnTo>
                    <a:pt x="257" y="811"/>
                  </a:lnTo>
                  <a:lnTo>
                    <a:pt x="555" y="1080"/>
                  </a:lnTo>
                  <a:cubicBezTo>
                    <a:pt x="879" y="973"/>
                    <a:pt x="1083" y="325"/>
                    <a:pt x="1083" y="325"/>
                  </a:cubicBezTo>
                  <a:lnTo>
                    <a:pt x="87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87" name="Google Shape;1387;p42"/>
            <p:cNvSpPr/>
            <p:nvPr/>
          </p:nvSpPr>
          <p:spPr>
            <a:xfrm>
              <a:off x="4903725" y="5251025"/>
              <a:ext cx="6425" cy="11125"/>
            </a:xfrm>
            <a:custGeom>
              <a:avLst/>
              <a:gdLst/>
              <a:ahLst/>
              <a:cxnLst/>
              <a:rect l="l" t="t" r="r" b="b"/>
              <a:pathLst>
                <a:path w="257" h="445" extrusionOk="0">
                  <a:moveTo>
                    <a:pt x="137" y="1"/>
                  </a:moveTo>
                  <a:lnTo>
                    <a:pt x="1" y="445"/>
                  </a:lnTo>
                  <a:lnTo>
                    <a:pt x="1" y="445"/>
                  </a:lnTo>
                  <a:lnTo>
                    <a:pt x="257" y="257"/>
                  </a:lnTo>
                  <a:lnTo>
                    <a:pt x="137" y="1"/>
                  </a:lnTo>
                  <a:close/>
                </a:path>
              </a:pathLst>
            </a:custGeom>
            <a:solidFill>
              <a:srgbClr val="38040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88" name="Google Shape;1388;p42"/>
            <p:cNvSpPr/>
            <p:nvPr/>
          </p:nvSpPr>
          <p:spPr>
            <a:xfrm>
              <a:off x="4812550" y="5100775"/>
              <a:ext cx="181950" cy="133700"/>
            </a:xfrm>
            <a:custGeom>
              <a:avLst/>
              <a:gdLst/>
              <a:ahLst/>
              <a:cxnLst/>
              <a:rect l="l" t="t" r="r" b="b"/>
              <a:pathLst>
                <a:path w="7278" h="5348" extrusionOk="0">
                  <a:moveTo>
                    <a:pt x="3645" y="1"/>
                  </a:moveTo>
                  <a:cubicBezTo>
                    <a:pt x="3566" y="1"/>
                    <a:pt x="1336" y="13"/>
                    <a:pt x="1085" y="1420"/>
                  </a:cubicBezTo>
                  <a:cubicBezTo>
                    <a:pt x="1030" y="1718"/>
                    <a:pt x="988" y="2042"/>
                    <a:pt x="1004" y="2392"/>
                  </a:cubicBezTo>
                  <a:cubicBezTo>
                    <a:pt x="909" y="2318"/>
                    <a:pt x="796" y="2262"/>
                    <a:pt x="663" y="2262"/>
                  </a:cubicBezTo>
                  <a:cubicBezTo>
                    <a:pt x="605" y="2262"/>
                    <a:pt x="542" y="2273"/>
                    <a:pt x="476" y="2298"/>
                  </a:cubicBezTo>
                  <a:cubicBezTo>
                    <a:pt x="0" y="2482"/>
                    <a:pt x="108" y="3933"/>
                    <a:pt x="1234" y="3933"/>
                  </a:cubicBezTo>
                  <a:cubicBezTo>
                    <a:pt x="1259" y="3933"/>
                    <a:pt x="1285" y="3932"/>
                    <a:pt x="1312" y="3931"/>
                  </a:cubicBezTo>
                  <a:cubicBezTo>
                    <a:pt x="1678" y="4699"/>
                    <a:pt x="2365" y="5308"/>
                    <a:pt x="3609" y="5347"/>
                  </a:cubicBezTo>
                  <a:cubicBezTo>
                    <a:pt x="3636" y="5347"/>
                    <a:pt x="3663" y="5348"/>
                    <a:pt x="3690" y="5348"/>
                  </a:cubicBezTo>
                  <a:cubicBezTo>
                    <a:pt x="4869" y="5348"/>
                    <a:pt x="5574" y="4723"/>
                    <a:pt x="5945" y="3918"/>
                  </a:cubicBezTo>
                  <a:cubicBezTo>
                    <a:pt x="5981" y="3921"/>
                    <a:pt x="6016" y="3922"/>
                    <a:pt x="6051" y="3922"/>
                  </a:cubicBezTo>
                  <a:cubicBezTo>
                    <a:pt x="7167" y="3922"/>
                    <a:pt x="7278" y="2480"/>
                    <a:pt x="6794" y="2298"/>
                  </a:cubicBezTo>
                  <a:cubicBezTo>
                    <a:pt x="6727" y="2273"/>
                    <a:pt x="6665" y="2262"/>
                    <a:pt x="6606" y="2262"/>
                  </a:cubicBezTo>
                  <a:cubicBezTo>
                    <a:pt x="6473" y="2262"/>
                    <a:pt x="6361" y="2318"/>
                    <a:pt x="6269" y="2392"/>
                  </a:cubicBezTo>
                  <a:cubicBezTo>
                    <a:pt x="6282" y="2013"/>
                    <a:pt x="6240" y="1663"/>
                    <a:pt x="6159" y="1365"/>
                  </a:cubicBezTo>
                  <a:cubicBezTo>
                    <a:pt x="5783" y="17"/>
                    <a:pt x="3648" y="1"/>
                    <a:pt x="3648" y="1"/>
                  </a:cubicBezTo>
                  <a:cubicBezTo>
                    <a:pt x="3648" y="1"/>
                    <a:pt x="3647" y="1"/>
                    <a:pt x="3645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89" name="Google Shape;1389;p42"/>
            <p:cNvSpPr/>
            <p:nvPr/>
          </p:nvSpPr>
          <p:spPr>
            <a:xfrm>
              <a:off x="4829525" y="5127100"/>
              <a:ext cx="118450" cy="54700"/>
            </a:xfrm>
            <a:custGeom>
              <a:avLst/>
              <a:gdLst/>
              <a:ahLst/>
              <a:cxnLst/>
              <a:rect l="l" t="t" r="r" b="b"/>
              <a:pathLst>
                <a:path w="4738" h="2188" extrusionOk="0">
                  <a:moveTo>
                    <a:pt x="4738" y="1"/>
                  </a:moveTo>
                  <a:cubicBezTo>
                    <a:pt x="4440" y="150"/>
                    <a:pt x="4132" y="244"/>
                    <a:pt x="3821" y="299"/>
                  </a:cubicBezTo>
                  <a:cubicBezTo>
                    <a:pt x="3413" y="381"/>
                    <a:pt x="2904" y="434"/>
                    <a:pt x="2400" y="434"/>
                  </a:cubicBezTo>
                  <a:cubicBezTo>
                    <a:pt x="1985" y="434"/>
                    <a:pt x="1575" y="398"/>
                    <a:pt x="1229" y="312"/>
                  </a:cubicBezTo>
                  <a:cubicBezTo>
                    <a:pt x="1216" y="678"/>
                    <a:pt x="1135" y="1177"/>
                    <a:pt x="743" y="1540"/>
                  </a:cubicBezTo>
                  <a:lnTo>
                    <a:pt x="743" y="1569"/>
                  </a:lnTo>
                  <a:lnTo>
                    <a:pt x="649" y="2000"/>
                  </a:lnTo>
                  <a:cubicBezTo>
                    <a:pt x="649" y="2000"/>
                    <a:pt x="432" y="1608"/>
                    <a:pt x="283" y="1313"/>
                  </a:cubicBezTo>
                  <a:cubicBezTo>
                    <a:pt x="270" y="1297"/>
                    <a:pt x="257" y="1297"/>
                    <a:pt x="257" y="1284"/>
                  </a:cubicBezTo>
                  <a:cubicBezTo>
                    <a:pt x="244" y="1284"/>
                    <a:pt x="244" y="1284"/>
                    <a:pt x="228" y="1271"/>
                  </a:cubicBezTo>
                  <a:lnTo>
                    <a:pt x="215" y="1271"/>
                  </a:lnTo>
                  <a:cubicBezTo>
                    <a:pt x="202" y="1258"/>
                    <a:pt x="202" y="1258"/>
                    <a:pt x="189" y="1258"/>
                  </a:cubicBezTo>
                  <a:cubicBezTo>
                    <a:pt x="176" y="1245"/>
                    <a:pt x="163" y="1245"/>
                    <a:pt x="163" y="1245"/>
                  </a:cubicBezTo>
                  <a:lnTo>
                    <a:pt x="147" y="1245"/>
                  </a:lnTo>
                  <a:cubicBezTo>
                    <a:pt x="147" y="1232"/>
                    <a:pt x="134" y="1232"/>
                    <a:pt x="134" y="1232"/>
                  </a:cubicBezTo>
                  <a:cubicBezTo>
                    <a:pt x="82" y="1216"/>
                    <a:pt x="40" y="1203"/>
                    <a:pt x="1" y="1203"/>
                  </a:cubicBezTo>
                  <a:cubicBezTo>
                    <a:pt x="14" y="1271"/>
                    <a:pt x="27" y="1339"/>
                    <a:pt x="53" y="1407"/>
                  </a:cubicBezTo>
                  <a:cubicBezTo>
                    <a:pt x="121" y="1407"/>
                    <a:pt x="189" y="1433"/>
                    <a:pt x="257" y="1475"/>
                  </a:cubicBezTo>
                  <a:cubicBezTo>
                    <a:pt x="257" y="1488"/>
                    <a:pt x="270" y="1488"/>
                    <a:pt x="283" y="1501"/>
                  </a:cubicBezTo>
                  <a:cubicBezTo>
                    <a:pt x="432" y="1799"/>
                    <a:pt x="649" y="2188"/>
                    <a:pt x="649" y="2188"/>
                  </a:cubicBezTo>
                  <a:lnTo>
                    <a:pt x="743" y="1757"/>
                  </a:lnTo>
                  <a:lnTo>
                    <a:pt x="743" y="1731"/>
                  </a:lnTo>
                  <a:cubicBezTo>
                    <a:pt x="1135" y="1365"/>
                    <a:pt x="1216" y="866"/>
                    <a:pt x="1229" y="503"/>
                  </a:cubicBezTo>
                  <a:cubicBezTo>
                    <a:pt x="1573" y="587"/>
                    <a:pt x="1980" y="623"/>
                    <a:pt x="2392" y="623"/>
                  </a:cubicBezTo>
                  <a:cubicBezTo>
                    <a:pt x="2899" y="623"/>
                    <a:pt x="3411" y="569"/>
                    <a:pt x="3821" y="487"/>
                  </a:cubicBezTo>
                  <a:cubicBezTo>
                    <a:pt x="4132" y="435"/>
                    <a:pt x="4440" y="341"/>
                    <a:pt x="4725" y="205"/>
                  </a:cubicBezTo>
                  <a:cubicBezTo>
                    <a:pt x="4725" y="124"/>
                    <a:pt x="4725" y="56"/>
                    <a:pt x="4738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90" name="Google Shape;1390;p42"/>
            <p:cNvSpPr/>
            <p:nvPr/>
          </p:nvSpPr>
          <p:spPr>
            <a:xfrm>
              <a:off x="4947300" y="5136250"/>
              <a:ext cx="29675" cy="45550"/>
            </a:xfrm>
            <a:custGeom>
              <a:avLst/>
              <a:gdLst/>
              <a:ahLst/>
              <a:cxnLst/>
              <a:rect l="l" t="t" r="r" b="b"/>
              <a:pathLst>
                <a:path w="1187" h="1822" extrusionOk="0">
                  <a:moveTo>
                    <a:pt x="14" y="1"/>
                  </a:moveTo>
                  <a:cubicBezTo>
                    <a:pt x="1" y="380"/>
                    <a:pt x="53" y="947"/>
                    <a:pt x="500" y="1365"/>
                  </a:cubicBezTo>
                  <a:lnTo>
                    <a:pt x="594" y="1822"/>
                  </a:lnTo>
                  <a:cubicBezTo>
                    <a:pt x="594" y="1822"/>
                    <a:pt x="782" y="1485"/>
                    <a:pt x="918" y="1203"/>
                  </a:cubicBezTo>
                  <a:cubicBezTo>
                    <a:pt x="931" y="1174"/>
                    <a:pt x="944" y="1135"/>
                    <a:pt x="960" y="1109"/>
                  </a:cubicBezTo>
                  <a:cubicBezTo>
                    <a:pt x="1012" y="1080"/>
                    <a:pt x="1067" y="1054"/>
                    <a:pt x="1122" y="1041"/>
                  </a:cubicBezTo>
                  <a:cubicBezTo>
                    <a:pt x="1148" y="986"/>
                    <a:pt x="1161" y="947"/>
                    <a:pt x="1174" y="892"/>
                  </a:cubicBezTo>
                  <a:cubicBezTo>
                    <a:pt x="1174" y="879"/>
                    <a:pt x="1187" y="866"/>
                    <a:pt x="1187" y="837"/>
                  </a:cubicBezTo>
                  <a:lnTo>
                    <a:pt x="1187" y="837"/>
                  </a:lnTo>
                  <a:cubicBezTo>
                    <a:pt x="1161" y="850"/>
                    <a:pt x="1148" y="850"/>
                    <a:pt x="1122" y="850"/>
                  </a:cubicBezTo>
                  <a:cubicBezTo>
                    <a:pt x="1106" y="850"/>
                    <a:pt x="1106" y="850"/>
                    <a:pt x="1093" y="866"/>
                  </a:cubicBezTo>
                  <a:lnTo>
                    <a:pt x="1080" y="866"/>
                  </a:lnTo>
                  <a:cubicBezTo>
                    <a:pt x="1067" y="866"/>
                    <a:pt x="1054" y="879"/>
                    <a:pt x="1041" y="879"/>
                  </a:cubicBezTo>
                  <a:cubicBezTo>
                    <a:pt x="1025" y="879"/>
                    <a:pt x="1025" y="879"/>
                    <a:pt x="1012" y="892"/>
                  </a:cubicBezTo>
                  <a:lnTo>
                    <a:pt x="999" y="892"/>
                  </a:lnTo>
                  <a:cubicBezTo>
                    <a:pt x="986" y="905"/>
                    <a:pt x="986" y="905"/>
                    <a:pt x="973" y="905"/>
                  </a:cubicBezTo>
                  <a:cubicBezTo>
                    <a:pt x="973" y="918"/>
                    <a:pt x="973" y="918"/>
                    <a:pt x="960" y="918"/>
                  </a:cubicBezTo>
                  <a:cubicBezTo>
                    <a:pt x="944" y="947"/>
                    <a:pt x="931" y="986"/>
                    <a:pt x="918" y="1012"/>
                  </a:cubicBezTo>
                  <a:cubicBezTo>
                    <a:pt x="782" y="1297"/>
                    <a:pt x="594" y="1634"/>
                    <a:pt x="594" y="1634"/>
                  </a:cubicBezTo>
                  <a:lnTo>
                    <a:pt x="500" y="1174"/>
                  </a:lnTo>
                  <a:cubicBezTo>
                    <a:pt x="121" y="824"/>
                    <a:pt x="27" y="364"/>
                    <a:pt x="14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91" name="Google Shape;1391;p42"/>
            <p:cNvSpPr/>
            <p:nvPr/>
          </p:nvSpPr>
          <p:spPr>
            <a:xfrm>
              <a:off x="4914575" y="5156825"/>
              <a:ext cx="31050" cy="27725"/>
            </a:xfrm>
            <a:custGeom>
              <a:avLst/>
              <a:gdLst/>
              <a:ahLst/>
              <a:cxnLst/>
              <a:rect l="l" t="t" r="r" b="b"/>
              <a:pathLst>
                <a:path w="1242" h="1109" extrusionOk="0">
                  <a:moveTo>
                    <a:pt x="688" y="1"/>
                  </a:moveTo>
                  <a:cubicBezTo>
                    <a:pt x="377" y="1"/>
                    <a:pt x="1" y="325"/>
                    <a:pt x="1" y="623"/>
                  </a:cubicBezTo>
                  <a:cubicBezTo>
                    <a:pt x="1" y="934"/>
                    <a:pt x="377" y="1109"/>
                    <a:pt x="688" y="1109"/>
                  </a:cubicBezTo>
                  <a:cubicBezTo>
                    <a:pt x="986" y="1109"/>
                    <a:pt x="1242" y="866"/>
                    <a:pt x="1242" y="555"/>
                  </a:cubicBezTo>
                  <a:cubicBezTo>
                    <a:pt x="1242" y="257"/>
                    <a:pt x="986" y="1"/>
                    <a:pt x="68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92" name="Google Shape;1392;p42"/>
            <p:cNvSpPr/>
            <p:nvPr/>
          </p:nvSpPr>
          <p:spPr>
            <a:xfrm>
              <a:off x="4914175" y="5156375"/>
              <a:ext cx="32100" cy="23800"/>
            </a:xfrm>
            <a:custGeom>
              <a:avLst/>
              <a:gdLst/>
              <a:ahLst/>
              <a:cxnLst/>
              <a:rect l="l" t="t" r="r" b="b"/>
              <a:pathLst>
                <a:path w="1284" h="952" extrusionOk="0">
                  <a:moveTo>
                    <a:pt x="704" y="1"/>
                  </a:moveTo>
                  <a:cubicBezTo>
                    <a:pt x="624" y="1"/>
                    <a:pt x="544" y="16"/>
                    <a:pt x="474" y="45"/>
                  </a:cubicBezTo>
                  <a:cubicBezTo>
                    <a:pt x="380" y="87"/>
                    <a:pt x="286" y="142"/>
                    <a:pt x="218" y="223"/>
                  </a:cubicBezTo>
                  <a:cubicBezTo>
                    <a:pt x="137" y="288"/>
                    <a:pt x="82" y="369"/>
                    <a:pt x="43" y="466"/>
                  </a:cubicBezTo>
                  <a:cubicBezTo>
                    <a:pt x="30" y="518"/>
                    <a:pt x="17" y="560"/>
                    <a:pt x="17" y="612"/>
                  </a:cubicBezTo>
                  <a:cubicBezTo>
                    <a:pt x="1" y="667"/>
                    <a:pt x="17" y="722"/>
                    <a:pt x="43" y="761"/>
                  </a:cubicBezTo>
                  <a:cubicBezTo>
                    <a:pt x="17" y="667"/>
                    <a:pt x="30" y="560"/>
                    <a:pt x="69" y="479"/>
                  </a:cubicBezTo>
                  <a:cubicBezTo>
                    <a:pt x="111" y="385"/>
                    <a:pt x="179" y="317"/>
                    <a:pt x="244" y="249"/>
                  </a:cubicBezTo>
                  <a:cubicBezTo>
                    <a:pt x="325" y="181"/>
                    <a:pt x="406" y="126"/>
                    <a:pt x="487" y="100"/>
                  </a:cubicBezTo>
                  <a:cubicBezTo>
                    <a:pt x="559" y="71"/>
                    <a:pt x="629" y="55"/>
                    <a:pt x="698" y="55"/>
                  </a:cubicBezTo>
                  <a:cubicBezTo>
                    <a:pt x="723" y="55"/>
                    <a:pt x="747" y="57"/>
                    <a:pt x="772" y="61"/>
                  </a:cubicBezTo>
                  <a:cubicBezTo>
                    <a:pt x="960" y="74"/>
                    <a:pt x="1135" y="207"/>
                    <a:pt x="1203" y="398"/>
                  </a:cubicBezTo>
                  <a:cubicBezTo>
                    <a:pt x="1271" y="573"/>
                    <a:pt x="1245" y="790"/>
                    <a:pt x="1122" y="952"/>
                  </a:cubicBezTo>
                  <a:cubicBezTo>
                    <a:pt x="1190" y="871"/>
                    <a:pt x="1232" y="774"/>
                    <a:pt x="1258" y="680"/>
                  </a:cubicBezTo>
                  <a:cubicBezTo>
                    <a:pt x="1284" y="586"/>
                    <a:pt x="1271" y="479"/>
                    <a:pt x="1245" y="385"/>
                  </a:cubicBezTo>
                  <a:cubicBezTo>
                    <a:pt x="1177" y="181"/>
                    <a:pt x="989" y="32"/>
                    <a:pt x="785" y="6"/>
                  </a:cubicBezTo>
                  <a:cubicBezTo>
                    <a:pt x="758" y="3"/>
                    <a:pt x="731" y="1"/>
                    <a:pt x="704" y="1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93" name="Google Shape;1393;p42"/>
            <p:cNvSpPr/>
            <p:nvPr/>
          </p:nvSpPr>
          <p:spPr>
            <a:xfrm>
              <a:off x="4920650" y="5159500"/>
              <a:ext cx="19550" cy="19300"/>
            </a:xfrm>
            <a:custGeom>
              <a:avLst/>
              <a:gdLst/>
              <a:ahLst/>
              <a:cxnLst/>
              <a:rect l="l" t="t" r="r" b="b"/>
              <a:pathLst>
                <a:path w="782" h="772" extrusionOk="0">
                  <a:moveTo>
                    <a:pt x="390" y="1"/>
                  </a:moveTo>
                  <a:cubicBezTo>
                    <a:pt x="283" y="1"/>
                    <a:pt x="202" y="30"/>
                    <a:pt x="121" y="98"/>
                  </a:cubicBezTo>
                  <a:cubicBezTo>
                    <a:pt x="66" y="150"/>
                    <a:pt x="14" y="231"/>
                    <a:pt x="1" y="325"/>
                  </a:cubicBezTo>
                  <a:lnTo>
                    <a:pt x="1" y="380"/>
                  </a:lnTo>
                  <a:cubicBezTo>
                    <a:pt x="1" y="474"/>
                    <a:pt x="27" y="555"/>
                    <a:pt x="82" y="623"/>
                  </a:cubicBezTo>
                  <a:cubicBezTo>
                    <a:pt x="147" y="704"/>
                    <a:pt x="244" y="759"/>
                    <a:pt x="351" y="772"/>
                  </a:cubicBezTo>
                  <a:lnTo>
                    <a:pt x="390" y="772"/>
                  </a:lnTo>
                  <a:cubicBezTo>
                    <a:pt x="607" y="772"/>
                    <a:pt x="782" y="597"/>
                    <a:pt x="782" y="380"/>
                  </a:cubicBezTo>
                  <a:cubicBezTo>
                    <a:pt x="782" y="354"/>
                    <a:pt x="782" y="325"/>
                    <a:pt x="769" y="299"/>
                  </a:cubicBezTo>
                  <a:cubicBezTo>
                    <a:pt x="743" y="179"/>
                    <a:pt x="649" y="69"/>
                    <a:pt x="539" y="30"/>
                  </a:cubicBezTo>
                  <a:cubicBezTo>
                    <a:pt x="487" y="1"/>
                    <a:pt x="445" y="1"/>
                    <a:pt x="390" y="1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94" name="Google Shape;1394;p42"/>
            <p:cNvSpPr/>
            <p:nvPr/>
          </p:nvSpPr>
          <p:spPr>
            <a:xfrm>
              <a:off x="4920650" y="5161925"/>
              <a:ext cx="9425" cy="6750"/>
            </a:xfrm>
            <a:custGeom>
              <a:avLst/>
              <a:gdLst/>
              <a:ahLst/>
              <a:cxnLst/>
              <a:rect l="l" t="t" r="r" b="b"/>
              <a:pathLst>
                <a:path w="377" h="270" extrusionOk="0">
                  <a:moveTo>
                    <a:pt x="121" y="1"/>
                  </a:moveTo>
                  <a:cubicBezTo>
                    <a:pt x="66" y="53"/>
                    <a:pt x="14" y="134"/>
                    <a:pt x="1" y="228"/>
                  </a:cubicBezTo>
                  <a:lnTo>
                    <a:pt x="377" y="270"/>
                  </a:lnTo>
                  <a:lnTo>
                    <a:pt x="121" y="1"/>
                  </a:lnTo>
                  <a:close/>
                </a:path>
              </a:pathLst>
            </a:custGeom>
            <a:solidFill>
              <a:srgbClr val="AA53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95" name="Google Shape;1395;p42"/>
            <p:cNvSpPr/>
            <p:nvPr/>
          </p:nvSpPr>
          <p:spPr>
            <a:xfrm>
              <a:off x="4922675" y="5168650"/>
              <a:ext cx="7400" cy="10150"/>
            </a:xfrm>
            <a:custGeom>
              <a:avLst/>
              <a:gdLst/>
              <a:ahLst/>
              <a:cxnLst/>
              <a:rect l="l" t="t" r="r" b="b"/>
              <a:pathLst>
                <a:path w="296" h="406" extrusionOk="0">
                  <a:moveTo>
                    <a:pt x="296" y="1"/>
                  </a:moveTo>
                  <a:lnTo>
                    <a:pt x="1" y="257"/>
                  </a:lnTo>
                  <a:cubicBezTo>
                    <a:pt x="66" y="338"/>
                    <a:pt x="163" y="393"/>
                    <a:pt x="270" y="406"/>
                  </a:cubicBezTo>
                  <a:lnTo>
                    <a:pt x="296" y="1"/>
                  </a:lnTo>
                  <a:close/>
                </a:path>
              </a:pathLst>
            </a:custGeom>
            <a:solidFill>
              <a:srgbClr val="AA53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96" name="Google Shape;1396;p42"/>
            <p:cNvSpPr/>
            <p:nvPr/>
          </p:nvSpPr>
          <p:spPr>
            <a:xfrm>
              <a:off x="4925025" y="5163950"/>
              <a:ext cx="10800" cy="10475"/>
            </a:xfrm>
            <a:custGeom>
              <a:avLst/>
              <a:gdLst/>
              <a:ahLst/>
              <a:cxnLst/>
              <a:rect l="l" t="t" r="r" b="b"/>
              <a:pathLst>
                <a:path w="432" h="419" extrusionOk="0">
                  <a:moveTo>
                    <a:pt x="215" y="1"/>
                  </a:moveTo>
                  <a:cubicBezTo>
                    <a:pt x="95" y="1"/>
                    <a:pt x="1" y="95"/>
                    <a:pt x="1" y="202"/>
                  </a:cubicBezTo>
                  <a:cubicBezTo>
                    <a:pt x="1" y="325"/>
                    <a:pt x="95" y="419"/>
                    <a:pt x="215" y="419"/>
                  </a:cubicBezTo>
                  <a:cubicBezTo>
                    <a:pt x="338" y="419"/>
                    <a:pt x="432" y="325"/>
                    <a:pt x="432" y="202"/>
                  </a:cubicBezTo>
                  <a:cubicBezTo>
                    <a:pt x="432" y="95"/>
                    <a:pt x="338" y="1"/>
                    <a:pt x="215" y="1"/>
                  </a:cubicBezTo>
                  <a:close/>
                </a:path>
              </a:pathLst>
            </a:custGeom>
            <a:solidFill>
              <a:srgbClr val="3A180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97" name="Google Shape;1397;p42"/>
            <p:cNvSpPr/>
            <p:nvPr/>
          </p:nvSpPr>
          <p:spPr>
            <a:xfrm>
              <a:off x="4934100" y="5169625"/>
              <a:ext cx="3100" cy="3100"/>
            </a:xfrm>
            <a:custGeom>
              <a:avLst/>
              <a:gdLst/>
              <a:ahLst/>
              <a:cxnLst/>
              <a:rect l="l" t="t" r="r" b="b"/>
              <a:pathLst>
                <a:path w="124" h="124" extrusionOk="0">
                  <a:moveTo>
                    <a:pt x="56" y="1"/>
                  </a:moveTo>
                  <a:cubicBezTo>
                    <a:pt x="30" y="1"/>
                    <a:pt x="1" y="30"/>
                    <a:pt x="1" y="56"/>
                  </a:cubicBezTo>
                  <a:cubicBezTo>
                    <a:pt x="1" y="98"/>
                    <a:pt x="30" y="124"/>
                    <a:pt x="56" y="124"/>
                  </a:cubicBezTo>
                  <a:cubicBezTo>
                    <a:pt x="95" y="124"/>
                    <a:pt x="124" y="98"/>
                    <a:pt x="124" y="56"/>
                  </a:cubicBezTo>
                  <a:cubicBezTo>
                    <a:pt x="124" y="30"/>
                    <a:pt x="95" y="1"/>
                    <a:pt x="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98" name="Google Shape;1398;p42"/>
            <p:cNvSpPr/>
            <p:nvPr/>
          </p:nvSpPr>
          <p:spPr>
            <a:xfrm>
              <a:off x="4861200" y="5156825"/>
              <a:ext cx="31125" cy="27725"/>
            </a:xfrm>
            <a:custGeom>
              <a:avLst/>
              <a:gdLst/>
              <a:ahLst/>
              <a:cxnLst/>
              <a:rect l="l" t="t" r="r" b="b"/>
              <a:pathLst>
                <a:path w="1245" h="1109" extrusionOk="0">
                  <a:moveTo>
                    <a:pt x="555" y="1"/>
                  </a:moveTo>
                  <a:cubicBezTo>
                    <a:pt x="257" y="1"/>
                    <a:pt x="1" y="257"/>
                    <a:pt x="1" y="555"/>
                  </a:cubicBezTo>
                  <a:cubicBezTo>
                    <a:pt x="1" y="866"/>
                    <a:pt x="257" y="1109"/>
                    <a:pt x="555" y="1109"/>
                  </a:cubicBezTo>
                  <a:cubicBezTo>
                    <a:pt x="866" y="1109"/>
                    <a:pt x="1245" y="934"/>
                    <a:pt x="1245" y="623"/>
                  </a:cubicBezTo>
                  <a:cubicBezTo>
                    <a:pt x="1245" y="325"/>
                    <a:pt x="866" y="1"/>
                    <a:pt x="55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99" name="Google Shape;1399;p42"/>
            <p:cNvSpPr/>
            <p:nvPr/>
          </p:nvSpPr>
          <p:spPr>
            <a:xfrm>
              <a:off x="4860875" y="5156375"/>
              <a:ext cx="31775" cy="23800"/>
            </a:xfrm>
            <a:custGeom>
              <a:avLst/>
              <a:gdLst/>
              <a:ahLst/>
              <a:cxnLst/>
              <a:rect l="l" t="t" r="r" b="b"/>
              <a:pathLst>
                <a:path w="1271" h="952" extrusionOk="0">
                  <a:moveTo>
                    <a:pt x="573" y="1"/>
                  </a:moveTo>
                  <a:cubicBezTo>
                    <a:pt x="548" y="1"/>
                    <a:pt x="523" y="3"/>
                    <a:pt x="500" y="6"/>
                  </a:cubicBezTo>
                  <a:cubicBezTo>
                    <a:pt x="286" y="32"/>
                    <a:pt x="108" y="181"/>
                    <a:pt x="43" y="385"/>
                  </a:cubicBezTo>
                  <a:cubicBezTo>
                    <a:pt x="1" y="479"/>
                    <a:pt x="1" y="586"/>
                    <a:pt x="14" y="680"/>
                  </a:cubicBezTo>
                  <a:cubicBezTo>
                    <a:pt x="43" y="774"/>
                    <a:pt x="95" y="871"/>
                    <a:pt x="163" y="952"/>
                  </a:cubicBezTo>
                  <a:cubicBezTo>
                    <a:pt x="27" y="790"/>
                    <a:pt x="1" y="573"/>
                    <a:pt x="69" y="398"/>
                  </a:cubicBezTo>
                  <a:cubicBezTo>
                    <a:pt x="150" y="207"/>
                    <a:pt x="312" y="74"/>
                    <a:pt x="500" y="61"/>
                  </a:cubicBezTo>
                  <a:cubicBezTo>
                    <a:pt x="524" y="57"/>
                    <a:pt x="549" y="55"/>
                    <a:pt x="574" y="55"/>
                  </a:cubicBezTo>
                  <a:cubicBezTo>
                    <a:pt x="644" y="55"/>
                    <a:pt x="715" y="71"/>
                    <a:pt x="785" y="100"/>
                  </a:cubicBezTo>
                  <a:cubicBezTo>
                    <a:pt x="879" y="126"/>
                    <a:pt x="960" y="181"/>
                    <a:pt x="1028" y="249"/>
                  </a:cubicBezTo>
                  <a:cubicBezTo>
                    <a:pt x="1109" y="317"/>
                    <a:pt x="1161" y="385"/>
                    <a:pt x="1203" y="479"/>
                  </a:cubicBezTo>
                  <a:cubicBezTo>
                    <a:pt x="1242" y="560"/>
                    <a:pt x="1271" y="667"/>
                    <a:pt x="1242" y="761"/>
                  </a:cubicBezTo>
                  <a:cubicBezTo>
                    <a:pt x="1258" y="722"/>
                    <a:pt x="1271" y="667"/>
                    <a:pt x="1271" y="612"/>
                  </a:cubicBezTo>
                  <a:cubicBezTo>
                    <a:pt x="1271" y="560"/>
                    <a:pt x="1258" y="518"/>
                    <a:pt x="1229" y="466"/>
                  </a:cubicBezTo>
                  <a:cubicBezTo>
                    <a:pt x="1190" y="369"/>
                    <a:pt x="1135" y="288"/>
                    <a:pt x="1054" y="223"/>
                  </a:cubicBezTo>
                  <a:cubicBezTo>
                    <a:pt x="986" y="142"/>
                    <a:pt x="905" y="87"/>
                    <a:pt x="798" y="45"/>
                  </a:cubicBezTo>
                  <a:cubicBezTo>
                    <a:pt x="727" y="16"/>
                    <a:pt x="648" y="1"/>
                    <a:pt x="573" y="1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0" name="Google Shape;1400;p42"/>
            <p:cNvSpPr/>
            <p:nvPr/>
          </p:nvSpPr>
          <p:spPr>
            <a:xfrm>
              <a:off x="4868000" y="5160225"/>
              <a:ext cx="19550" cy="19225"/>
            </a:xfrm>
            <a:custGeom>
              <a:avLst/>
              <a:gdLst/>
              <a:ahLst/>
              <a:cxnLst/>
              <a:rect l="l" t="t" r="r" b="b"/>
              <a:pathLst>
                <a:path w="782" h="769" extrusionOk="0">
                  <a:moveTo>
                    <a:pt x="390" y="1"/>
                  </a:moveTo>
                  <a:cubicBezTo>
                    <a:pt x="283" y="1"/>
                    <a:pt x="202" y="27"/>
                    <a:pt x="121" y="95"/>
                  </a:cubicBezTo>
                  <a:cubicBezTo>
                    <a:pt x="66" y="150"/>
                    <a:pt x="14" y="231"/>
                    <a:pt x="1" y="325"/>
                  </a:cubicBezTo>
                  <a:lnTo>
                    <a:pt x="1" y="377"/>
                  </a:lnTo>
                  <a:cubicBezTo>
                    <a:pt x="1" y="474"/>
                    <a:pt x="27" y="555"/>
                    <a:pt x="82" y="620"/>
                  </a:cubicBezTo>
                  <a:cubicBezTo>
                    <a:pt x="147" y="701"/>
                    <a:pt x="244" y="756"/>
                    <a:pt x="351" y="769"/>
                  </a:cubicBezTo>
                  <a:lnTo>
                    <a:pt x="390" y="769"/>
                  </a:lnTo>
                  <a:cubicBezTo>
                    <a:pt x="607" y="769"/>
                    <a:pt x="782" y="594"/>
                    <a:pt x="782" y="377"/>
                  </a:cubicBezTo>
                  <a:cubicBezTo>
                    <a:pt x="782" y="351"/>
                    <a:pt x="782" y="325"/>
                    <a:pt x="769" y="296"/>
                  </a:cubicBezTo>
                  <a:cubicBezTo>
                    <a:pt x="743" y="176"/>
                    <a:pt x="649" y="69"/>
                    <a:pt x="539" y="27"/>
                  </a:cubicBezTo>
                  <a:cubicBezTo>
                    <a:pt x="487" y="1"/>
                    <a:pt x="445" y="1"/>
                    <a:pt x="390" y="1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1" name="Google Shape;1401;p42"/>
            <p:cNvSpPr/>
            <p:nvPr/>
          </p:nvSpPr>
          <p:spPr>
            <a:xfrm>
              <a:off x="4868000" y="5162575"/>
              <a:ext cx="9425" cy="6750"/>
            </a:xfrm>
            <a:custGeom>
              <a:avLst/>
              <a:gdLst/>
              <a:ahLst/>
              <a:cxnLst/>
              <a:rect l="l" t="t" r="r" b="b"/>
              <a:pathLst>
                <a:path w="377" h="270" extrusionOk="0">
                  <a:moveTo>
                    <a:pt x="121" y="1"/>
                  </a:moveTo>
                  <a:cubicBezTo>
                    <a:pt x="66" y="56"/>
                    <a:pt x="14" y="137"/>
                    <a:pt x="1" y="231"/>
                  </a:cubicBezTo>
                  <a:lnTo>
                    <a:pt x="377" y="270"/>
                  </a:lnTo>
                  <a:lnTo>
                    <a:pt x="121" y="1"/>
                  </a:lnTo>
                  <a:close/>
                </a:path>
              </a:pathLst>
            </a:custGeom>
            <a:solidFill>
              <a:srgbClr val="AA53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2" name="Google Shape;1402;p42"/>
            <p:cNvSpPr/>
            <p:nvPr/>
          </p:nvSpPr>
          <p:spPr>
            <a:xfrm>
              <a:off x="4870025" y="5169300"/>
              <a:ext cx="7400" cy="10150"/>
            </a:xfrm>
            <a:custGeom>
              <a:avLst/>
              <a:gdLst/>
              <a:ahLst/>
              <a:cxnLst/>
              <a:rect l="l" t="t" r="r" b="b"/>
              <a:pathLst>
                <a:path w="296" h="406" extrusionOk="0">
                  <a:moveTo>
                    <a:pt x="296" y="1"/>
                  </a:moveTo>
                  <a:lnTo>
                    <a:pt x="1" y="257"/>
                  </a:lnTo>
                  <a:cubicBezTo>
                    <a:pt x="66" y="338"/>
                    <a:pt x="163" y="393"/>
                    <a:pt x="270" y="406"/>
                  </a:cubicBezTo>
                  <a:lnTo>
                    <a:pt x="296" y="1"/>
                  </a:lnTo>
                  <a:close/>
                </a:path>
              </a:pathLst>
            </a:custGeom>
            <a:solidFill>
              <a:srgbClr val="AA53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3" name="Google Shape;1403;p42"/>
            <p:cNvSpPr/>
            <p:nvPr/>
          </p:nvSpPr>
          <p:spPr>
            <a:xfrm>
              <a:off x="4872375" y="5164600"/>
              <a:ext cx="10800" cy="10475"/>
            </a:xfrm>
            <a:custGeom>
              <a:avLst/>
              <a:gdLst/>
              <a:ahLst/>
              <a:cxnLst/>
              <a:rect l="l" t="t" r="r" b="b"/>
              <a:pathLst>
                <a:path w="432" h="419" extrusionOk="0">
                  <a:moveTo>
                    <a:pt x="215" y="1"/>
                  </a:moveTo>
                  <a:cubicBezTo>
                    <a:pt x="95" y="1"/>
                    <a:pt x="1" y="95"/>
                    <a:pt x="1" y="202"/>
                  </a:cubicBezTo>
                  <a:cubicBezTo>
                    <a:pt x="1" y="325"/>
                    <a:pt x="95" y="419"/>
                    <a:pt x="215" y="419"/>
                  </a:cubicBezTo>
                  <a:cubicBezTo>
                    <a:pt x="338" y="419"/>
                    <a:pt x="432" y="325"/>
                    <a:pt x="432" y="202"/>
                  </a:cubicBezTo>
                  <a:cubicBezTo>
                    <a:pt x="432" y="95"/>
                    <a:pt x="338" y="1"/>
                    <a:pt x="215" y="1"/>
                  </a:cubicBezTo>
                  <a:close/>
                </a:path>
              </a:pathLst>
            </a:custGeom>
            <a:solidFill>
              <a:srgbClr val="3A180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4" name="Google Shape;1404;p42"/>
            <p:cNvSpPr/>
            <p:nvPr/>
          </p:nvSpPr>
          <p:spPr>
            <a:xfrm>
              <a:off x="4881450" y="5170350"/>
              <a:ext cx="3100" cy="3025"/>
            </a:xfrm>
            <a:custGeom>
              <a:avLst/>
              <a:gdLst/>
              <a:ahLst/>
              <a:cxnLst/>
              <a:rect l="l" t="t" r="r" b="b"/>
              <a:pathLst>
                <a:path w="124" h="121" extrusionOk="0">
                  <a:moveTo>
                    <a:pt x="56" y="1"/>
                  </a:moveTo>
                  <a:cubicBezTo>
                    <a:pt x="30" y="1"/>
                    <a:pt x="1" y="27"/>
                    <a:pt x="1" y="53"/>
                  </a:cubicBezTo>
                  <a:cubicBezTo>
                    <a:pt x="1" y="95"/>
                    <a:pt x="30" y="121"/>
                    <a:pt x="56" y="121"/>
                  </a:cubicBezTo>
                  <a:cubicBezTo>
                    <a:pt x="95" y="121"/>
                    <a:pt x="124" y="95"/>
                    <a:pt x="124" y="53"/>
                  </a:cubicBezTo>
                  <a:cubicBezTo>
                    <a:pt x="124" y="27"/>
                    <a:pt x="95" y="1"/>
                    <a:pt x="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5" name="Google Shape;1405;p42"/>
            <p:cNvSpPr/>
            <p:nvPr/>
          </p:nvSpPr>
          <p:spPr>
            <a:xfrm>
              <a:off x="4931275" y="5140550"/>
              <a:ext cx="14350" cy="11375"/>
            </a:xfrm>
            <a:custGeom>
              <a:avLst/>
              <a:gdLst/>
              <a:ahLst/>
              <a:cxnLst/>
              <a:rect l="l" t="t" r="r" b="b"/>
              <a:pathLst>
                <a:path w="574" h="455" extrusionOk="0">
                  <a:moveTo>
                    <a:pt x="209" y="0"/>
                  </a:moveTo>
                  <a:cubicBezTo>
                    <a:pt x="82" y="0"/>
                    <a:pt x="0" y="110"/>
                    <a:pt x="62" y="234"/>
                  </a:cubicBezTo>
                  <a:cubicBezTo>
                    <a:pt x="101" y="302"/>
                    <a:pt x="156" y="341"/>
                    <a:pt x="208" y="383"/>
                  </a:cubicBezTo>
                  <a:cubicBezTo>
                    <a:pt x="263" y="409"/>
                    <a:pt x="318" y="435"/>
                    <a:pt x="370" y="451"/>
                  </a:cubicBezTo>
                  <a:cubicBezTo>
                    <a:pt x="379" y="453"/>
                    <a:pt x="388" y="454"/>
                    <a:pt x="398" y="454"/>
                  </a:cubicBezTo>
                  <a:cubicBezTo>
                    <a:pt x="446" y="454"/>
                    <a:pt x="499" y="428"/>
                    <a:pt x="532" y="396"/>
                  </a:cubicBezTo>
                  <a:cubicBezTo>
                    <a:pt x="574" y="341"/>
                    <a:pt x="561" y="273"/>
                    <a:pt x="532" y="221"/>
                  </a:cubicBezTo>
                  <a:cubicBezTo>
                    <a:pt x="506" y="166"/>
                    <a:pt x="467" y="127"/>
                    <a:pt x="412" y="85"/>
                  </a:cubicBezTo>
                  <a:cubicBezTo>
                    <a:pt x="370" y="59"/>
                    <a:pt x="318" y="17"/>
                    <a:pt x="250" y="4"/>
                  </a:cubicBezTo>
                  <a:cubicBezTo>
                    <a:pt x="236" y="1"/>
                    <a:pt x="222" y="0"/>
                    <a:pt x="209" y="0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6" name="Google Shape;1406;p42"/>
            <p:cNvSpPr/>
            <p:nvPr/>
          </p:nvSpPr>
          <p:spPr>
            <a:xfrm>
              <a:off x="4861525" y="5140550"/>
              <a:ext cx="14050" cy="11375"/>
            </a:xfrm>
            <a:custGeom>
              <a:avLst/>
              <a:gdLst/>
              <a:ahLst/>
              <a:cxnLst/>
              <a:rect l="l" t="t" r="r" b="b"/>
              <a:pathLst>
                <a:path w="562" h="455" extrusionOk="0">
                  <a:moveTo>
                    <a:pt x="352" y="0"/>
                  </a:moveTo>
                  <a:cubicBezTo>
                    <a:pt x="339" y="0"/>
                    <a:pt x="325" y="1"/>
                    <a:pt x="312" y="4"/>
                  </a:cubicBezTo>
                  <a:cubicBezTo>
                    <a:pt x="260" y="17"/>
                    <a:pt x="205" y="59"/>
                    <a:pt x="150" y="85"/>
                  </a:cubicBezTo>
                  <a:cubicBezTo>
                    <a:pt x="98" y="127"/>
                    <a:pt x="56" y="166"/>
                    <a:pt x="30" y="221"/>
                  </a:cubicBezTo>
                  <a:cubicBezTo>
                    <a:pt x="1" y="273"/>
                    <a:pt x="1" y="341"/>
                    <a:pt x="30" y="396"/>
                  </a:cubicBezTo>
                  <a:cubicBezTo>
                    <a:pt x="62" y="428"/>
                    <a:pt x="115" y="454"/>
                    <a:pt x="164" y="454"/>
                  </a:cubicBezTo>
                  <a:cubicBezTo>
                    <a:pt x="173" y="454"/>
                    <a:pt x="183" y="453"/>
                    <a:pt x="192" y="451"/>
                  </a:cubicBezTo>
                  <a:cubicBezTo>
                    <a:pt x="260" y="435"/>
                    <a:pt x="299" y="409"/>
                    <a:pt x="354" y="383"/>
                  </a:cubicBezTo>
                  <a:cubicBezTo>
                    <a:pt x="406" y="341"/>
                    <a:pt x="474" y="302"/>
                    <a:pt x="503" y="234"/>
                  </a:cubicBezTo>
                  <a:cubicBezTo>
                    <a:pt x="562" y="110"/>
                    <a:pt x="479" y="0"/>
                    <a:pt x="352" y="0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7" name="Google Shape;1407;p42"/>
            <p:cNvSpPr/>
            <p:nvPr/>
          </p:nvSpPr>
          <p:spPr>
            <a:xfrm>
              <a:off x="4895950" y="5178450"/>
              <a:ext cx="14925" cy="7800"/>
            </a:xfrm>
            <a:custGeom>
              <a:avLst/>
              <a:gdLst/>
              <a:ahLst/>
              <a:cxnLst/>
              <a:rect l="l" t="t" r="r" b="b"/>
              <a:pathLst>
                <a:path w="597" h="312" extrusionOk="0">
                  <a:moveTo>
                    <a:pt x="299" y="1"/>
                  </a:moveTo>
                  <a:lnTo>
                    <a:pt x="231" y="14"/>
                  </a:lnTo>
                  <a:lnTo>
                    <a:pt x="163" y="14"/>
                  </a:lnTo>
                  <a:cubicBezTo>
                    <a:pt x="124" y="27"/>
                    <a:pt x="82" y="40"/>
                    <a:pt x="43" y="82"/>
                  </a:cubicBezTo>
                  <a:cubicBezTo>
                    <a:pt x="30" y="82"/>
                    <a:pt x="30" y="95"/>
                    <a:pt x="17" y="108"/>
                  </a:cubicBezTo>
                  <a:cubicBezTo>
                    <a:pt x="17" y="121"/>
                    <a:pt x="1" y="134"/>
                    <a:pt x="17" y="150"/>
                  </a:cubicBezTo>
                  <a:cubicBezTo>
                    <a:pt x="1" y="176"/>
                    <a:pt x="17" y="189"/>
                    <a:pt x="30" y="215"/>
                  </a:cubicBezTo>
                  <a:cubicBezTo>
                    <a:pt x="56" y="257"/>
                    <a:pt x="98" y="283"/>
                    <a:pt x="124" y="312"/>
                  </a:cubicBezTo>
                  <a:cubicBezTo>
                    <a:pt x="98" y="270"/>
                    <a:pt x="69" y="244"/>
                    <a:pt x="56" y="202"/>
                  </a:cubicBezTo>
                  <a:cubicBezTo>
                    <a:pt x="43" y="163"/>
                    <a:pt x="43" y="121"/>
                    <a:pt x="69" y="108"/>
                  </a:cubicBezTo>
                  <a:cubicBezTo>
                    <a:pt x="98" y="82"/>
                    <a:pt x="137" y="82"/>
                    <a:pt x="179" y="69"/>
                  </a:cubicBezTo>
                  <a:lnTo>
                    <a:pt x="244" y="69"/>
                  </a:lnTo>
                  <a:lnTo>
                    <a:pt x="299" y="53"/>
                  </a:lnTo>
                  <a:lnTo>
                    <a:pt x="367" y="53"/>
                  </a:lnTo>
                  <a:cubicBezTo>
                    <a:pt x="393" y="53"/>
                    <a:pt x="406" y="53"/>
                    <a:pt x="435" y="69"/>
                  </a:cubicBezTo>
                  <a:cubicBezTo>
                    <a:pt x="474" y="69"/>
                    <a:pt x="516" y="82"/>
                    <a:pt x="542" y="95"/>
                  </a:cubicBezTo>
                  <a:cubicBezTo>
                    <a:pt x="568" y="121"/>
                    <a:pt x="568" y="163"/>
                    <a:pt x="542" y="189"/>
                  </a:cubicBezTo>
                  <a:cubicBezTo>
                    <a:pt x="529" y="231"/>
                    <a:pt x="503" y="270"/>
                    <a:pt x="474" y="296"/>
                  </a:cubicBezTo>
                  <a:cubicBezTo>
                    <a:pt x="516" y="270"/>
                    <a:pt x="542" y="244"/>
                    <a:pt x="568" y="202"/>
                  </a:cubicBezTo>
                  <a:cubicBezTo>
                    <a:pt x="584" y="189"/>
                    <a:pt x="597" y="163"/>
                    <a:pt x="597" y="134"/>
                  </a:cubicBezTo>
                  <a:cubicBezTo>
                    <a:pt x="597" y="121"/>
                    <a:pt x="597" y="108"/>
                    <a:pt x="584" y="95"/>
                  </a:cubicBezTo>
                  <a:cubicBezTo>
                    <a:pt x="584" y="95"/>
                    <a:pt x="584" y="69"/>
                    <a:pt x="568" y="69"/>
                  </a:cubicBezTo>
                  <a:cubicBezTo>
                    <a:pt x="529" y="27"/>
                    <a:pt x="474" y="14"/>
                    <a:pt x="435" y="14"/>
                  </a:cubicBezTo>
                  <a:cubicBezTo>
                    <a:pt x="406" y="14"/>
                    <a:pt x="393" y="1"/>
                    <a:pt x="367" y="1"/>
                  </a:cubicBezTo>
                  <a:close/>
                </a:path>
              </a:pathLst>
            </a:custGeom>
            <a:solidFill>
              <a:srgbClr val="8E20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8" name="Google Shape;1408;p42"/>
            <p:cNvSpPr/>
            <p:nvPr/>
          </p:nvSpPr>
          <p:spPr>
            <a:xfrm>
              <a:off x="4822400" y="5165025"/>
              <a:ext cx="18575" cy="22850"/>
            </a:xfrm>
            <a:custGeom>
              <a:avLst/>
              <a:gdLst/>
              <a:ahLst/>
              <a:cxnLst/>
              <a:rect l="l" t="t" r="r" b="b"/>
              <a:pathLst>
                <a:path w="743" h="914" extrusionOk="0">
                  <a:moveTo>
                    <a:pt x="265" y="0"/>
                  </a:moveTo>
                  <a:cubicBezTo>
                    <a:pt x="245" y="0"/>
                    <a:pt x="224" y="3"/>
                    <a:pt x="205" y="10"/>
                  </a:cubicBezTo>
                  <a:cubicBezTo>
                    <a:pt x="189" y="10"/>
                    <a:pt x="176" y="23"/>
                    <a:pt x="150" y="23"/>
                  </a:cubicBezTo>
                  <a:cubicBezTo>
                    <a:pt x="137" y="39"/>
                    <a:pt x="124" y="52"/>
                    <a:pt x="108" y="65"/>
                  </a:cubicBezTo>
                  <a:cubicBezTo>
                    <a:pt x="82" y="91"/>
                    <a:pt x="56" y="120"/>
                    <a:pt x="43" y="146"/>
                  </a:cubicBezTo>
                  <a:cubicBezTo>
                    <a:pt x="27" y="185"/>
                    <a:pt x="14" y="227"/>
                    <a:pt x="14" y="253"/>
                  </a:cubicBezTo>
                  <a:cubicBezTo>
                    <a:pt x="1" y="334"/>
                    <a:pt x="14" y="402"/>
                    <a:pt x="43" y="470"/>
                  </a:cubicBezTo>
                  <a:cubicBezTo>
                    <a:pt x="27" y="402"/>
                    <a:pt x="27" y="334"/>
                    <a:pt x="43" y="266"/>
                  </a:cubicBezTo>
                  <a:cubicBezTo>
                    <a:pt x="43" y="227"/>
                    <a:pt x="56" y="201"/>
                    <a:pt x="69" y="172"/>
                  </a:cubicBezTo>
                  <a:cubicBezTo>
                    <a:pt x="82" y="133"/>
                    <a:pt x="108" y="104"/>
                    <a:pt x="137" y="91"/>
                  </a:cubicBezTo>
                  <a:cubicBezTo>
                    <a:pt x="170" y="66"/>
                    <a:pt x="205" y="51"/>
                    <a:pt x="244" y="51"/>
                  </a:cubicBezTo>
                  <a:cubicBezTo>
                    <a:pt x="265" y="51"/>
                    <a:pt x="288" y="56"/>
                    <a:pt x="312" y="65"/>
                  </a:cubicBezTo>
                  <a:cubicBezTo>
                    <a:pt x="380" y="78"/>
                    <a:pt x="432" y="104"/>
                    <a:pt x="487" y="159"/>
                  </a:cubicBezTo>
                  <a:cubicBezTo>
                    <a:pt x="529" y="201"/>
                    <a:pt x="581" y="253"/>
                    <a:pt x="610" y="321"/>
                  </a:cubicBezTo>
                  <a:cubicBezTo>
                    <a:pt x="636" y="347"/>
                    <a:pt x="636" y="376"/>
                    <a:pt x="649" y="402"/>
                  </a:cubicBezTo>
                  <a:cubicBezTo>
                    <a:pt x="662" y="444"/>
                    <a:pt x="675" y="470"/>
                    <a:pt x="691" y="509"/>
                  </a:cubicBezTo>
                  <a:cubicBezTo>
                    <a:pt x="728" y="625"/>
                    <a:pt x="730" y="766"/>
                    <a:pt x="719" y="893"/>
                  </a:cubicBezTo>
                  <a:lnTo>
                    <a:pt x="719" y="893"/>
                  </a:lnTo>
                  <a:cubicBezTo>
                    <a:pt x="722" y="870"/>
                    <a:pt x="730" y="842"/>
                    <a:pt x="730" y="820"/>
                  </a:cubicBezTo>
                  <a:cubicBezTo>
                    <a:pt x="743" y="781"/>
                    <a:pt x="743" y="739"/>
                    <a:pt x="743" y="713"/>
                  </a:cubicBezTo>
                  <a:lnTo>
                    <a:pt x="743" y="606"/>
                  </a:lnTo>
                  <a:cubicBezTo>
                    <a:pt x="743" y="564"/>
                    <a:pt x="730" y="538"/>
                    <a:pt x="730" y="496"/>
                  </a:cubicBezTo>
                  <a:cubicBezTo>
                    <a:pt x="704" y="347"/>
                    <a:pt x="636" y="214"/>
                    <a:pt x="513" y="120"/>
                  </a:cubicBezTo>
                  <a:cubicBezTo>
                    <a:pt x="461" y="65"/>
                    <a:pt x="393" y="23"/>
                    <a:pt x="325" y="10"/>
                  </a:cubicBezTo>
                  <a:cubicBezTo>
                    <a:pt x="305" y="3"/>
                    <a:pt x="285" y="0"/>
                    <a:pt x="265" y="0"/>
                  </a:cubicBezTo>
                  <a:close/>
                  <a:moveTo>
                    <a:pt x="719" y="893"/>
                  </a:moveTo>
                  <a:lnTo>
                    <a:pt x="719" y="893"/>
                  </a:lnTo>
                  <a:cubicBezTo>
                    <a:pt x="717" y="900"/>
                    <a:pt x="717" y="907"/>
                    <a:pt x="717" y="914"/>
                  </a:cubicBezTo>
                  <a:cubicBezTo>
                    <a:pt x="717" y="907"/>
                    <a:pt x="718" y="900"/>
                    <a:pt x="719" y="893"/>
                  </a:cubicBezTo>
                  <a:close/>
                </a:path>
              </a:pathLst>
            </a:custGeom>
            <a:solidFill>
              <a:srgbClr val="FF8F6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9" name="Google Shape;1409;p42"/>
            <p:cNvSpPr/>
            <p:nvPr/>
          </p:nvSpPr>
          <p:spPr>
            <a:xfrm>
              <a:off x="4830825" y="5173325"/>
              <a:ext cx="8125" cy="15275"/>
            </a:xfrm>
            <a:custGeom>
              <a:avLst/>
              <a:gdLst/>
              <a:ahLst/>
              <a:cxnLst/>
              <a:rect l="l" t="t" r="r" b="b"/>
              <a:pathLst>
                <a:path w="325" h="611" extrusionOk="0">
                  <a:moveTo>
                    <a:pt x="189" y="1"/>
                  </a:moveTo>
                  <a:cubicBezTo>
                    <a:pt x="162" y="1"/>
                    <a:pt x="135" y="5"/>
                    <a:pt x="111" y="15"/>
                  </a:cubicBezTo>
                  <a:cubicBezTo>
                    <a:pt x="69" y="31"/>
                    <a:pt x="43" y="57"/>
                    <a:pt x="14" y="96"/>
                  </a:cubicBezTo>
                  <a:cubicBezTo>
                    <a:pt x="1" y="138"/>
                    <a:pt x="1" y="177"/>
                    <a:pt x="1" y="206"/>
                  </a:cubicBezTo>
                  <a:cubicBezTo>
                    <a:pt x="1" y="287"/>
                    <a:pt x="30" y="355"/>
                    <a:pt x="56" y="420"/>
                  </a:cubicBezTo>
                  <a:cubicBezTo>
                    <a:pt x="82" y="488"/>
                    <a:pt x="124" y="556"/>
                    <a:pt x="163" y="611"/>
                  </a:cubicBezTo>
                  <a:cubicBezTo>
                    <a:pt x="137" y="543"/>
                    <a:pt x="111" y="475"/>
                    <a:pt x="95" y="407"/>
                  </a:cubicBezTo>
                  <a:cubicBezTo>
                    <a:pt x="69" y="339"/>
                    <a:pt x="56" y="274"/>
                    <a:pt x="56" y="206"/>
                  </a:cubicBezTo>
                  <a:cubicBezTo>
                    <a:pt x="56" y="151"/>
                    <a:pt x="69" y="83"/>
                    <a:pt x="124" y="57"/>
                  </a:cubicBezTo>
                  <a:cubicBezTo>
                    <a:pt x="176" y="31"/>
                    <a:pt x="257" y="31"/>
                    <a:pt x="325" y="31"/>
                  </a:cubicBezTo>
                  <a:cubicBezTo>
                    <a:pt x="282" y="13"/>
                    <a:pt x="234" y="1"/>
                    <a:pt x="189" y="1"/>
                  </a:cubicBezTo>
                  <a:close/>
                </a:path>
              </a:pathLst>
            </a:custGeom>
            <a:solidFill>
              <a:srgbClr val="FF8F6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10" name="Google Shape;1410;p42"/>
            <p:cNvSpPr/>
            <p:nvPr/>
          </p:nvSpPr>
          <p:spPr>
            <a:xfrm>
              <a:off x="4965850" y="5165025"/>
              <a:ext cx="18575" cy="22850"/>
            </a:xfrm>
            <a:custGeom>
              <a:avLst/>
              <a:gdLst/>
              <a:ahLst/>
              <a:cxnLst/>
              <a:rect l="l" t="t" r="r" b="b"/>
              <a:pathLst>
                <a:path w="743" h="914" extrusionOk="0">
                  <a:moveTo>
                    <a:pt x="480" y="0"/>
                  </a:moveTo>
                  <a:cubicBezTo>
                    <a:pt x="460" y="0"/>
                    <a:pt x="440" y="3"/>
                    <a:pt x="419" y="10"/>
                  </a:cubicBezTo>
                  <a:cubicBezTo>
                    <a:pt x="351" y="23"/>
                    <a:pt x="283" y="65"/>
                    <a:pt x="231" y="120"/>
                  </a:cubicBezTo>
                  <a:cubicBezTo>
                    <a:pt x="121" y="214"/>
                    <a:pt x="56" y="347"/>
                    <a:pt x="14" y="496"/>
                  </a:cubicBezTo>
                  <a:cubicBezTo>
                    <a:pt x="14" y="538"/>
                    <a:pt x="14" y="564"/>
                    <a:pt x="1" y="606"/>
                  </a:cubicBezTo>
                  <a:lnTo>
                    <a:pt x="1" y="713"/>
                  </a:lnTo>
                  <a:cubicBezTo>
                    <a:pt x="1" y="739"/>
                    <a:pt x="14" y="781"/>
                    <a:pt x="14" y="820"/>
                  </a:cubicBezTo>
                  <a:cubicBezTo>
                    <a:pt x="14" y="849"/>
                    <a:pt x="27" y="888"/>
                    <a:pt x="40" y="914"/>
                  </a:cubicBezTo>
                  <a:cubicBezTo>
                    <a:pt x="27" y="781"/>
                    <a:pt x="27" y="632"/>
                    <a:pt x="56" y="509"/>
                  </a:cubicBezTo>
                  <a:cubicBezTo>
                    <a:pt x="69" y="470"/>
                    <a:pt x="82" y="444"/>
                    <a:pt x="95" y="402"/>
                  </a:cubicBezTo>
                  <a:cubicBezTo>
                    <a:pt x="108" y="376"/>
                    <a:pt x="121" y="347"/>
                    <a:pt x="137" y="321"/>
                  </a:cubicBezTo>
                  <a:cubicBezTo>
                    <a:pt x="176" y="253"/>
                    <a:pt x="218" y="201"/>
                    <a:pt x="270" y="159"/>
                  </a:cubicBezTo>
                  <a:cubicBezTo>
                    <a:pt x="312" y="104"/>
                    <a:pt x="380" y="78"/>
                    <a:pt x="432" y="65"/>
                  </a:cubicBezTo>
                  <a:cubicBezTo>
                    <a:pt x="456" y="56"/>
                    <a:pt x="480" y="51"/>
                    <a:pt x="503" y="51"/>
                  </a:cubicBezTo>
                  <a:cubicBezTo>
                    <a:pt x="546" y="51"/>
                    <a:pt x="587" y="66"/>
                    <a:pt x="623" y="91"/>
                  </a:cubicBezTo>
                  <a:cubicBezTo>
                    <a:pt x="649" y="104"/>
                    <a:pt x="662" y="133"/>
                    <a:pt x="675" y="172"/>
                  </a:cubicBezTo>
                  <a:cubicBezTo>
                    <a:pt x="688" y="201"/>
                    <a:pt x="704" y="227"/>
                    <a:pt x="717" y="266"/>
                  </a:cubicBezTo>
                  <a:cubicBezTo>
                    <a:pt x="730" y="334"/>
                    <a:pt x="717" y="402"/>
                    <a:pt x="717" y="470"/>
                  </a:cubicBezTo>
                  <a:cubicBezTo>
                    <a:pt x="730" y="402"/>
                    <a:pt x="743" y="334"/>
                    <a:pt x="743" y="253"/>
                  </a:cubicBezTo>
                  <a:cubicBezTo>
                    <a:pt x="730" y="227"/>
                    <a:pt x="730" y="185"/>
                    <a:pt x="717" y="146"/>
                  </a:cubicBezTo>
                  <a:cubicBezTo>
                    <a:pt x="688" y="120"/>
                    <a:pt x="675" y="91"/>
                    <a:pt x="649" y="65"/>
                  </a:cubicBezTo>
                  <a:cubicBezTo>
                    <a:pt x="623" y="52"/>
                    <a:pt x="607" y="39"/>
                    <a:pt x="594" y="23"/>
                  </a:cubicBezTo>
                  <a:cubicBezTo>
                    <a:pt x="581" y="23"/>
                    <a:pt x="555" y="10"/>
                    <a:pt x="542" y="10"/>
                  </a:cubicBezTo>
                  <a:cubicBezTo>
                    <a:pt x="521" y="3"/>
                    <a:pt x="500" y="0"/>
                    <a:pt x="480" y="0"/>
                  </a:cubicBezTo>
                  <a:close/>
                </a:path>
              </a:pathLst>
            </a:custGeom>
            <a:solidFill>
              <a:srgbClr val="FF8F6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11" name="Google Shape;1411;p42"/>
            <p:cNvSpPr/>
            <p:nvPr/>
          </p:nvSpPr>
          <p:spPr>
            <a:xfrm>
              <a:off x="4968200" y="5173325"/>
              <a:ext cx="7800" cy="15275"/>
            </a:xfrm>
            <a:custGeom>
              <a:avLst/>
              <a:gdLst/>
              <a:ahLst/>
              <a:cxnLst/>
              <a:rect l="l" t="t" r="r" b="b"/>
              <a:pathLst>
                <a:path w="312" h="611" extrusionOk="0">
                  <a:moveTo>
                    <a:pt x="125" y="1"/>
                  </a:moveTo>
                  <a:cubicBezTo>
                    <a:pt x="80" y="1"/>
                    <a:pt x="35" y="13"/>
                    <a:pt x="1" y="31"/>
                  </a:cubicBezTo>
                  <a:cubicBezTo>
                    <a:pt x="69" y="31"/>
                    <a:pt x="137" y="31"/>
                    <a:pt x="189" y="57"/>
                  </a:cubicBezTo>
                  <a:cubicBezTo>
                    <a:pt x="244" y="83"/>
                    <a:pt x="270" y="151"/>
                    <a:pt x="257" y="206"/>
                  </a:cubicBezTo>
                  <a:cubicBezTo>
                    <a:pt x="257" y="274"/>
                    <a:pt x="244" y="339"/>
                    <a:pt x="218" y="407"/>
                  </a:cubicBezTo>
                  <a:cubicBezTo>
                    <a:pt x="205" y="475"/>
                    <a:pt x="176" y="543"/>
                    <a:pt x="163" y="611"/>
                  </a:cubicBezTo>
                  <a:cubicBezTo>
                    <a:pt x="205" y="556"/>
                    <a:pt x="231" y="488"/>
                    <a:pt x="257" y="420"/>
                  </a:cubicBezTo>
                  <a:cubicBezTo>
                    <a:pt x="286" y="355"/>
                    <a:pt x="312" y="287"/>
                    <a:pt x="312" y="206"/>
                  </a:cubicBezTo>
                  <a:cubicBezTo>
                    <a:pt x="312" y="177"/>
                    <a:pt x="312" y="138"/>
                    <a:pt x="299" y="96"/>
                  </a:cubicBezTo>
                  <a:cubicBezTo>
                    <a:pt x="286" y="57"/>
                    <a:pt x="244" y="31"/>
                    <a:pt x="205" y="15"/>
                  </a:cubicBezTo>
                  <a:cubicBezTo>
                    <a:pt x="179" y="5"/>
                    <a:pt x="152" y="1"/>
                    <a:pt x="125" y="1"/>
                  </a:cubicBezTo>
                  <a:close/>
                </a:path>
              </a:pathLst>
            </a:custGeom>
            <a:solidFill>
              <a:srgbClr val="FF8F6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12" name="Google Shape;1412;p42"/>
            <p:cNvSpPr/>
            <p:nvPr/>
          </p:nvSpPr>
          <p:spPr>
            <a:xfrm>
              <a:off x="4888250" y="5193275"/>
              <a:ext cx="30400" cy="5450"/>
            </a:xfrm>
            <a:custGeom>
              <a:avLst/>
              <a:gdLst/>
              <a:ahLst/>
              <a:cxnLst/>
              <a:rect l="l" t="t" r="r" b="b"/>
              <a:pathLst>
                <a:path w="1216" h="218" extrusionOk="0">
                  <a:moveTo>
                    <a:pt x="1216" y="1"/>
                  </a:moveTo>
                  <a:lnTo>
                    <a:pt x="1216" y="1"/>
                  </a:lnTo>
                  <a:cubicBezTo>
                    <a:pt x="1119" y="56"/>
                    <a:pt x="1025" y="95"/>
                    <a:pt x="918" y="124"/>
                  </a:cubicBezTo>
                  <a:cubicBezTo>
                    <a:pt x="876" y="137"/>
                    <a:pt x="824" y="137"/>
                    <a:pt x="769" y="150"/>
                  </a:cubicBezTo>
                  <a:cubicBezTo>
                    <a:pt x="714" y="150"/>
                    <a:pt x="662" y="163"/>
                    <a:pt x="607" y="163"/>
                  </a:cubicBezTo>
                  <a:cubicBezTo>
                    <a:pt x="513" y="163"/>
                    <a:pt x="406" y="137"/>
                    <a:pt x="296" y="108"/>
                  </a:cubicBezTo>
                  <a:cubicBezTo>
                    <a:pt x="202" y="82"/>
                    <a:pt x="95" y="56"/>
                    <a:pt x="1" y="1"/>
                  </a:cubicBezTo>
                  <a:lnTo>
                    <a:pt x="1" y="1"/>
                  </a:lnTo>
                  <a:cubicBezTo>
                    <a:pt x="82" y="69"/>
                    <a:pt x="189" y="124"/>
                    <a:pt x="283" y="150"/>
                  </a:cubicBezTo>
                  <a:cubicBezTo>
                    <a:pt x="390" y="189"/>
                    <a:pt x="500" y="205"/>
                    <a:pt x="607" y="218"/>
                  </a:cubicBezTo>
                  <a:cubicBezTo>
                    <a:pt x="662" y="218"/>
                    <a:pt x="714" y="205"/>
                    <a:pt x="769" y="205"/>
                  </a:cubicBezTo>
                  <a:cubicBezTo>
                    <a:pt x="824" y="189"/>
                    <a:pt x="892" y="189"/>
                    <a:pt x="931" y="163"/>
                  </a:cubicBezTo>
                  <a:cubicBezTo>
                    <a:pt x="1038" y="137"/>
                    <a:pt x="1135" y="69"/>
                    <a:pt x="1216" y="1"/>
                  </a:cubicBezTo>
                  <a:close/>
                </a:path>
              </a:pathLst>
            </a:custGeom>
            <a:solidFill>
              <a:srgbClr val="8E20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13" name="Google Shape;1413;p42"/>
            <p:cNvSpPr/>
            <p:nvPr/>
          </p:nvSpPr>
          <p:spPr>
            <a:xfrm>
              <a:off x="4897975" y="5201700"/>
              <a:ext cx="10150" cy="1725"/>
            </a:xfrm>
            <a:custGeom>
              <a:avLst/>
              <a:gdLst/>
              <a:ahLst/>
              <a:cxnLst/>
              <a:rect l="l" t="t" r="r" b="b"/>
              <a:pathLst>
                <a:path w="406" h="69" extrusionOk="0">
                  <a:moveTo>
                    <a:pt x="406" y="1"/>
                  </a:moveTo>
                  <a:lnTo>
                    <a:pt x="406" y="1"/>
                  </a:lnTo>
                  <a:cubicBezTo>
                    <a:pt x="367" y="14"/>
                    <a:pt x="341" y="14"/>
                    <a:pt x="299" y="14"/>
                  </a:cubicBezTo>
                  <a:lnTo>
                    <a:pt x="98" y="14"/>
                  </a:lnTo>
                  <a:cubicBezTo>
                    <a:pt x="69" y="14"/>
                    <a:pt x="30" y="14"/>
                    <a:pt x="1" y="1"/>
                  </a:cubicBezTo>
                  <a:lnTo>
                    <a:pt x="1" y="1"/>
                  </a:lnTo>
                  <a:cubicBezTo>
                    <a:pt x="30" y="30"/>
                    <a:pt x="56" y="43"/>
                    <a:pt x="98" y="56"/>
                  </a:cubicBezTo>
                  <a:cubicBezTo>
                    <a:pt x="124" y="69"/>
                    <a:pt x="163" y="69"/>
                    <a:pt x="205" y="69"/>
                  </a:cubicBezTo>
                  <a:cubicBezTo>
                    <a:pt x="273" y="69"/>
                    <a:pt x="354" y="56"/>
                    <a:pt x="406" y="1"/>
                  </a:cubicBezTo>
                  <a:close/>
                </a:path>
              </a:pathLst>
            </a:custGeom>
            <a:solidFill>
              <a:srgbClr val="8E20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14" name="Google Shape;1414;p42"/>
            <p:cNvSpPr/>
            <p:nvPr/>
          </p:nvSpPr>
          <p:spPr>
            <a:xfrm>
              <a:off x="4825475" y="5078725"/>
              <a:ext cx="153925" cy="98375"/>
            </a:xfrm>
            <a:custGeom>
              <a:avLst/>
              <a:gdLst/>
              <a:ahLst/>
              <a:cxnLst/>
              <a:rect l="l" t="t" r="r" b="b"/>
              <a:pathLst>
                <a:path w="6157" h="3935" extrusionOk="0">
                  <a:moveTo>
                    <a:pt x="3058" y="0"/>
                  </a:moveTo>
                  <a:cubicBezTo>
                    <a:pt x="2984" y="0"/>
                    <a:pt x="2910" y="3"/>
                    <a:pt x="2836" y="8"/>
                  </a:cubicBezTo>
                  <a:cubicBezTo>
                    <a:pt x="2415" y="47"/>
                    <a:pt x="2010" y="170"/>
                    <a:pt x="1673" y="413"/>
                  </a:cubicBezTo>
                  <a:cubicBezTo>
                    <a:pt x="1566" y="478"/>
                    <a:pt x="1472" y="575"/>
                    <a:pt x="1391" y="682"/>
                  </a:cubicBezTo>
                  <a:cubicBezTo>
                    <a:pt x="1391" y="682"/>
                    <a:pt x="1378" y="682"/>
                    <a:pt x="1378" y="695"/>
                  </a:cubicBezTo>
                  <a:cubicBezTo>
                    <a:pt x="1281" y="721"/>
                    <a:pt x="1200" y="750"/>
                    <a:pt x="1148" y="776"/>
                  </a:cubicBezTo>
                  <a:cubicBezTo>
                    <a:pt x="688" y="1006"/>
                    <a:pt x="202" y="1612"/>
                    <a:pt x="66" y="2033"/>
                  </a:cubicBezTo>
                  <a:cubicBezTo>
                    <a:pt x="53" y="2085"/>
                    <a:pt x="40" y="2127"/>
                    <a:pt x="40" y="2166"/>
                  </a:cubicBezTo>
                  <a:cubicBezTo>
                    <a:pt x="1" y="2409"/>
                    <a:pt x="121" y="2843"/>
                    <a:pt x="215" y="3151"/>
                  </a:cubicBezTo>
                  <a:cubicBezTo>
                    <a:pt x="283" y="3151"/>
                    <a:pt x="351" y="3180"/>
                    <a:pt x="419" y="3219"/>
                  </a:cubicBezTo>
                  <a:cubicBezTo>
                    <a:pt x="419" y="3232"/>
                    <a:pt x="432" y="3232"/>
                    <a:pt x="445" y="3248"/>
                  </a:cubicBezTo>
                  <a:cubicBezTo>
                    <a:pt x="594" y="3543"/>
                    <a:pt x="811" y="3935"/>
                    <a:pt x="811" y="3935"/>
                  </a:cubicBezTo>
                  <a:lnTo>
                    <a:pt x="905" y="3504"/>
                  </a:lnTo>
                  <a:lnTo>
                    <a:pt x="905" y="3475"/>
                  </a:lnTo>
                  <a:cubicBezTo>
                    <a:pt x="1297" y="3112"/>
                    <a:pt x="1378" y="2613"/>
                    <a:pt x="1391" y="2247"/>
                  </a:cubicBezTo>
                  <a:cubicBezTo>
                    <a:pt x="1737" y="2333"/>
                    <a:pt x="2147" y="2369"/>
                    <a:pt x="2562" y="2369"/>
                  </a:cubicBezTo>
                  <a:cubicBezTo>
                    <a:pt x="3066" y="2369"/>
                    <a:pt x="3575" y="2316"/>
                    <a:pt x="3983" y="2234"/>
                  </a:cubicBezTo>
                  <a:cubicBezTo>
                    <a:pt x="4294" y="2179"/>
                    <a:pt x="4602" y="2085"/>
                    <a:pt x="4900" y="1936"/>
                  </a:cubicBezTo>
                  <a:lnTo>
                    <a:pt x="4900" y="1936"/>
                  </a:lnTo>
                  <a:cubicBezTo>
                    <a:pt x="4861" y="2276"/>
                    <a:pt x="4861" y="2989"/>
                    <a:pt x="5373" y="3475"/>
                  </a:cubicBezTo>
                  <a:lnTo>
                    <a:pt x="5467" y="3935"/>
                  </a:lnTo>
                  <a:cubicBezTo>
                    <a:pt x="5467" y="3935"/>
                    <a:pt x="5655" y="3598"/>
                    <a:pt x="5791" y="3313"/>
                  </a:cubicBezTo>
                  <a:cubicBezTo>
                    <a:pt x="5804" y="3287"/>
                    <a:pt x="5817" y="3248"/>
                    <a:pt x="5833" y="3219"/>
                  </a:cubicBezTo>
                  <a:cubicBezTo>
                    <a:pt x="5885" y="3193"/>
                    <a:pt x="5940" y="3167"/>
                    <a:pt x="5995" y="3151"/>
                  </a:cubicBezTo>
                  <a:cubicBezTo>
                    <a:pt x="6021" y="3099"/>
                    <a:pt x="6034" y="3057"/>
                    <a:pt x="6047" y="3005"/>
                  </a:cubicBezTo>
                  <a:cubicBezTo>
                    <a:pt x="6076" y="2924"/>
                    <a:pt x="6089" y="2843"/>
                    <a:pt x="6102" y="2762"/>
                  </a:cubicBezTo>
                  <a:cubicBezTo>
                    <a:pt x="6157" y="2396"/>
                    <a:pt x="6089" y="1965"/>
                    <a:pt x="5804" y="1492"/>
                  </a:cubicBezTo>
                  <a:cubicBezTo>
                    <a:pt x="5791" y="1479"/>
                    <a:pt x="5791" y="1479"/>
                    <a:pt x="5791" y="1466"/>
                  </a:cubicBezTo>
                  <a:cubicBezTo>
                    <a:pt x="5765" y="1424"/>
                    <a:pt x="5736" y="1385"/>
                    <a:pt x="5697" y="1343"/>
                  </a:cubicBezTo>
                  <a:cubicBezTo>
                    <a:pt x="5697" y="1330"/>
                    <a:pt x="5684" y="1317"/>
                    <a:pt x="5671" y="1304"/>
                  </a:cubicBezTo>
                  <a:cubicBezTo>
                    <a:pt x="5710" y="1236"/>
                    <a:pt x="5752" y="1168"/>
                    <a:pt x="5791" y="1100"/>
                  </a:cubicBezTo>
                  <a:cubicBezTo>
                    <a:pt x="5817" y="1045"/>
                    <a:pt x="5833" y="993"/>
                    <a:pt x="5859" y="951"/>
                  </a:cubicBezTo>
                  <a:lnTo>
                    <a:pt x="5859" y="951"/>
                  </a:lnTo>
                  <a:cubicBezTo>
                    <a:pt x="5723" y="1019"/>
                    <a:pt x="5590" y="1061"/>
                    <a:pt x="5454" y="1100"/>
                  </a:cubicBezTo>
                  <a:cubicBezTo>
                    <a:pt x="5441" y="1087"/>
                    <a:pt x="5441" y="1087"/>
                    <a:pt x="5428" y="1074"/>
                  </a:cubicBezTo>
                  <a:cubicBezTo>
                    <a:pt x="5412" y="1074"/>
                    <a:pt x="5412" y="1061"/>
                    <a:pt x="5399" y="1045"/>
                  </a:cubicBezTo>
                  <a:cubicBezTo>
                    <a:pt x="5454" y="993"/>
                    <a:pt x="5493" y="925"/>
                    <a:pt x="5548" y="857"/>
                  </a:cubicBezTo>
                  <a:cubicBezTo>
                    <a:pt x="5561" y="844"/>
                    <a:pt x="5561" y="818"/>
                    <a:pt x="5574" y="802"/>
                  </a:cubicBezTo>
                  <a:cubicBezTo>
                    <a:pt x="5642" y="721"/>
                    <a:pt x="5697" y="614"/>
                    <a:pt x="5736" y="520"/>
                  </a:cubicBezTo>
                  <a:cubicBezTo>
                    <a:pt x="5752" y="478"/>
                    <a:pt x="5765" y="452"/>
                    <a:pt x="5791" y="413"/>
                  </a:cubicBezTo>
                  <a:lnTo>
                    <a:pt x="5791" y="413"/>
                  </a:lnTo>
                  <a:cubicBezTo>
                    <a:pt x="5710" y="439"/>
                    <a:pt x="5629" y="452"/>
                    <a:pt x="5548" y="452"/>
                  </a:cubicBezTo>
                  <a:cubicBezTo>
                    <a:pt x="5509" y="455"/>
                    <a:pt x="5470" y="457"/>
                    <a:pt x="5431" y="457"/>
                  </a:cubicBezTo>
                  <a:cubicBezTo>
                    <a:pt x="4971" y="457"/>
                    <a:pt x="4512" y="241"/>
                    <a:pt x="4064" y="128"/>
                  </a:cubicBezTo>
                  <a:cubicBezTo>
                    <a:pt x="3732" y="51"/>
                    <a:pt x="3393" y="0"/>
                    <a:pt x="3058" y="0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15" name="Google Shape;1415;p42"/>
            <p:cNvSpPr/>
            <p:nvPr/>
          </p:nvSpPr>
          <p:spPr>
            <a:xfrm>
              <a:off x="4857150" y="5103850"/>
              <a:ext cx="350" cy="350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8290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16" name="Google Shape;1416;p42"/>
            <p:cNvSpPr/>
            <p:nvPr/>
          </p:nvSpPr>
          <p:spPr>
            <a:xfrm>
              <a:off x="4826125" y="5104175"/>
              <a:ext cx="144125" cy="72925"/>
            </a:xfrm>
            <a:custGeom>
              <a:avLst/>
              <a:gdLst/>
              <a:ahLst/>
              <a:cxnLst/>
              <a:rect l="l" t="t" r="r" b="b"/>
              <a:pathLst>
                <a:path w="5765" h="2917" extrusionOk="0">
                  <a:moveTo>
                    <a:pt x="40" y="1015"/>
                  </a:moveTo>
                  <a:cubicBezTo>
                    <a:pt x="27" y="1067"/>
                    <a:pt x="14" y="1109"/>
                    <a:pt x="14" y="1148"/>
                  </a:cubicBezTo>
                  <a:cubicBezTo>
                    <a:pt x="14" y="1177"/>
                    <a:pt x="1" y="1216"/>
                    <a:pt x="1" y="1242"/>
                  </a:cubicBezTo>
                  <a:cubicBezTo>
                    <a:pt x="1" y="1501"/>
                    <a:pt x="108" y="1864"/>
                    <a:pt x="189" y="2133"/>
                  </a:cubicBezTo>
                  <a:cubicBezTo>
                    <a:pt x="257" y="2133"/>
                    <a:pt x="325" y="2162"/>
                    <a:pt x="393" y="2201"/>
                  </a:cubicBezTo>
                  <a:cubicBezTo>
                    <a:pt x="380" y="2039"/>
                    <a:pt x="364" y="1877"/>
                    <a:pt x="364" y="1715"/>
                  </a:cubicBezTo>
                  <a:cubicBezTo>
                    <a:pt x="283" y="1647"/>
                    <a:pt x="231" y="1566"/>
                    <a:pt x="189" y="1472"/>
                  </a:cubicBezTo>
                  <a:cubicBezTo>
                    <a:pt x="108" y="1323"/>
                    <a:pt x="69" y="1177"/>
                    <a:pt x="40" y="1015"/>
                  </a:cubicBezTo>
                  <a:close/>
                  <a:moveTo>
                    <a:pt x="1255" y="1"/>
                  </a:moveTo>
                  <a:cubicBezTo>
                    <a:pt x="1255" y="1"/>
                    <a:pt x="1242" y="14"/>
                    <a:pt x="1242" y="27"/>
                  </a:cubicBezTo>
                  <a:cubicBezTo>
                    <a:pt x="1203" y="461"/>
                    <a:pt x="1122" y="905"/>
                    <a:pt x="986" y="1323"/>
                  </a:cubicBezTo>
                  <a:cubicBezTo>
                    <a:pt x="960" y="1433"/>
                    <a:pt x="918" y="1540"/>
                    <a:pt x="850" y="1634"/>
                  </a:cubicBezTo>
                  <a:cubicBezTo>
                    <a:pt x="811" y="1676"/>
                    <a:pt x="769" y="1715"/>
                    <a:pt x="717" y="1757"/>
                  </a:cubicBezTo>
                  <a:cubicBezTo>
                    <a:pt x="743" y="2000"/>
                    <a:pt x="785" y="2256"/>
                    <a:pt x="879" y="2486"/>
                  </a:cubicBezTo>
                  <a:lnTo>
                    <a:pt x="879" y="2457"/>
                  </a:lnTo>
                  <a:cubicBezTo>
                    <a:pt x="1271" y="2094"/>
                    <a:pt x="1352" y="1595"/>
                    <a:pt x="1365" y="1229"/>
                  </a:cubicBezTo>
                  <a:cubicBezTo>
                    <a:pt x="1715" y="1310"/>
                    <a:pt x="2120" y="1352"/>
                    <a:pt x="2538" y="1352"/>
                  </a:cubicBezTo>
                  <a:cubicBezTo>
                    <a:pt x="3053" y="1352"/>
                    <a:pt x="3552" y="1297"/>
                    <a:pt x="3957" y="1216"/>
                  </a:cubicBezTo>
                  <a:cubicBezTo>
                    <a:pt x="4268" y="1161"/>
                    <a:pt x="4576" y="1067"/>
                    <a:pt x="4874" y="918"/>
                  </a:cubicBezTo>
                  <a:lnTo>
                    <a:pt x="4874" y="918"/>
                  </a:lnTo>
                  <a:cubicBezTo>
                    <a:pt x="4861" y="999"/>
                    <a:pt x="4861" y="1080"/>
                    <a:pt x="4861" y="1190"/>
                  </a:cubicBezTo>
                  <a:cubicBezTo>
                    <a:pt x="4861" y="1553"/>
                    <a:pt x="4942" y="2081"/>
                    <a:pt x="5347" y="2457"/>
                  </a:cubicBezTo>
                  <a:lnTo>
                    <a:pt x="5441" y="2917"/>
                  </a:lnTo>
                  <a:cubicBezTo>
                    <a:pt x="5441" y="2917"/>
                    <a:pt x="5629" y="2580"/>
                    <a:pt x="5765" y="2295"/>
                  </a:cubicBezTo>
                  <a:cubicBezTo>
                    <a:pt x="5752" y="2149"/>
                    <a:pt x="5726" y="2000"/>
                    <a:pt x="5697" y="1851"/>
                  </a:cubicBezTo>
                  <a:cubicBezTo>
                    <a:pt x="5577" y="1757"/>
                    <a:pt x="5496" y="1608"/>
                    <a:pt x="5483" y="1446"/>
                  </a:cubicBezTo>
                  <a:cubicBezTo>
                    <a:pt x="5483" y="1391"/>
                    <a:pt x="5483" y="1323"/>
                    <a:pt x="5496" y="1271"/>
                  </a:cubicBezTo>
                  <a:cubicBezTo>
                    <a:pt x="5415" y="1080"/>
                    <a:pt x="5321" y="905"/>
                    <a:pt x="5211" y="743"/>
                  </a:cubicBezTo>
                  <a:lnTo>
                    <a:pt x="5211" y="743"/>
                  </a:lnTo>
                  <a:cubicBezTo>
                    <a:pt x="5334" y="837"/>
                    <a:pt x="5441" y="947"/>
                    <a:pt x="5548" y="1054"/>
                  </a:cubicBezTo>
                  <a:cubicBezTo>
                    <a:pt x="5603" y="837"/>
                    <a:pt x="5684" y="636"/>
                    <a:pt x="5765" y="448"/>
                  </a:cubicBezTo>
                  <a:cubicBezTo>
                    <a:pt x="5739" y="406"/>
                    <a:pt x="5710" y="367"/>
                    <a:pt x="5671" y="325"/>
                  </a:cubicBezTo>
                  <a:cubicBezTo>
                    <a:pt x="5629" y="393"/>
                    <a:pt x="5577" y="448"/>
                    <a:pt x="5509" y="500"/>
                  </a:cubicBezTo>
                  <a:cubicBezTo>
                    <a:pt x="5321" y="649"/>
                    <a:pt x="5091" y="704"/>
                    <a:pt x="4861" y="756"/>
                  </a:cubicBezTo>
                  <a:cubicBezTo>
                    <a:pt x="4495" y="837"/>
                    <a:pt x="4119" y="905"/>
                    <a:pt x="3740" y="905"/>
                  </a:cubicBezTo>
                  <a:cubicBezTo>
                    <a:pt x="3646" y="905"/>
                    <a:pt x="3539" y="892"/>
                    <a:pt x="3442" y="892"/>
                  </a:cubicBezTo>
                  <a:cubicBezTo>
                    <a:pt x="3228" y="866"/>
                    <a:pt x="3024" y="824"/>
                    <a:pt x="2823" y="756"/>
                  </a:cubicBezTo>
                  <a:cubicBezTo>
                    <a:pt x="2295" y="704"/>
                    <a:pt x="1838" y="461"/>
                    <a:pt x="1417" y="124"/>
                  </a:cubicBezTo>
                  <a:cubicBezTo>
                    <a:pt x="1378" y="108"/>
                    <a:pt x="1352" y="95"/>
                    <a:pt x="1323" y="69"/>
                  </a:cubicBezTo>
                  <a:lnTo>
                    <a:pt x="1352" y="69"/>
                  </a:lnTo>
                  <a:cubicBezTo>
                    <a:pt x="1323" y="56"/>
                    <a:pt x="1284" y="27"/>
                    <a:pt x="1255" y="1"/>
                  </a:cubicBezTo>
                  <a:close/>
                </a:path>
              </a:pathLst>
            </a:custGeom>
            <a:solidFill>
              <a:srgbClr val="68290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17" name="Google Shape;1417;p42"/>
            <p:cNvSpPr/>
            <p:nvPr/>
          </p:nvSpPr>
          <p:spPr>
            <a:xfrm>
              <a:off x="4858525" y="5091700"/>
              <a:ext cx="110350" cy="17200"/>
            </a:xfrm>
            <a:custGeom>
              <a:avLst/>
              <a:gdLst/>
              <a:ahLst/>
              <a:cxnLst/>
              <a:rect l="l" t="t" r="r" b="b"/>
              <a:pathLst>
                <a:path w="4414" h="688" extrusionOk="0">
                  <a:moveTo>
                    <a:pt x="4414" y="1"/>
                  </a:moveTo>
                  <a:lnTo>
                    <a:pt x="4414" y="1"/>
                  </a:lnTo>
                  <a:cubicBezTo>
                    <a:pt x="4333" y="56"/>
                    <a:pt x="4252" y="95"/>
                    <a:pt x="4158" y="137"/>
                  </a:cubicBezTo>
                  <a:cubicBezTo>
                    <a:pt x="3714" y="325"/>
                    <a:pt x="3241" y="380"/>
                    <a:pt x="2755" y="380"/>
                  </a:cubicBezTo>
                  <a:lnTo>
                    <a:pt x="2363" y="380"/>
                  </a:lnTo>
                  <a:cubicBezTo>
                    <a:pt x="1757" y="338"/>
                    <a:pt x="1148" y="231"/>
                    <a:pt x="542" y="218"/>
                  </a:cubicBezTo>
                  <a:lnTo>
                    <a:pt x="445" y="218"/>
                  </a:lnTo>
                  <a:cubicBezTo>
                    <a:pt x="380" y="218"/>
                    <a:pt x="299" y="218"/>
                    <a:pt x="218" y="244"/>
                  </a:cubicBezTo>
                  <a:cubicBezTo>
                    <a:pt x="121" y="270"/>
                    <a:pt x="27" y="351"/>
                    <a:pt x="1" y="461"/>
                  </a:cubicBezTo>
                  <a:cubicBezTo>
                    <a:pt x="27" y="406"/>
                    <a:pt x="108" y="364"/>
                    <a:pt x="163" y="364"/>
                  </a:cubicBezTo>
                  <a:cubicBezTo>
                    <a:pt x="163" y="364"/>
                    <a:pt x="176" y="364"/>
                    <a:pt x="176" y="380"/>
                  </a:cubicBezTo>
                  <a:cubicBezTo>
                    <a:pt x="730" y="406"/>
                    <a:pt x="1255" y="607"/>
                    <a:pt x="1809" y="662"/>
                  </a:cubicBezTo>
                  <a:cubicBezTo>
                    <a:pt x="1984" y="675"/>
                    <a:pt x="2175" y="688"/>
                    <a:pt x="2350" y="688"/>
                  </a:cubicBezTo>
                  <a:cubicBezTo>
                    <a:pt x="2875" y="688"/>
                    <a:pt x="3416" y="607"/>
                    <a:pt x="3915" y="445"/>
                  </a:cubicBezTo>
                  <a:cubicBezTo>
                    <a:pt x="4009" y="419"/>
                    <a:pt x="4119" y="380"/>
                    <a:pt x="4226" y="338"/>
                  </a:cubicBezTo>
                  <a:cubicBezTo>
                    <a:pt x="4239" y="325"/>
                    <a:pt x="4239" y="299"/>
                    <a:pt x="4252" y="283"/>
                  </a:cubicBezTo>
                  <a:cubicBezTo>
                    <a:pt x="4320" y="202"/>
                    <a:pt x="4375" y="95"/>
                    <a:pt x="4414" y="1"/>
                  </a:cubicBezTo>
                  <a:close/>
                </a:path>
              </a:pathLst>
            </a:custGeom>
            <a:solidFill>
              <a:srgbClr val="A859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18" name="Google Shape;1418;p42"/>
            <p:cNvSpPr/>
            <p:nvPr/>
          </p:nvSpPr>
          <p:spPr>
            <a:xfrm>
              <a:off x="4859900" y="5102475"/>
              <a:ext cx="112050" cy="21000"/>
            </a:xfrm>
            <a:custGeom>
              <a:avLst/>
              <a:gdLst/>
              <a:ahLst/>
              <a:cxnLst/>
              <a:rect l="l" t="t" r="r" b="b"/>
              <a:pathLst>
                <a:path w="4482" h="840" extrusionOk="0">
                  <a:moveTo>
                    <a:pt x="4482" y="1"/>
                  </a:moveTo>
                  <a:lnTo>
                    <a:pt x="4482" y="1"/>
                  </a:lnTo>
                  <a:cubicBezTo>
                    <a:pt x="4346" y="69"/>
                    <a:pt x="4213" y="111"/>
                    <a:pt x="4077" y="150"/>
                  </a:cubicBezTo>
                  <a:cubicBezTo>
                    <a:pt x="4064" y="137"/>
                    <a:pt x="4064" y="137"/>
                    <a:pt x="4051" y="124"/>
                  </a:cubicBezTo>
                  <a:cubicBezTo>
                    <a:pt x="3565" y="419"/>
                    <a:pt x="2998" y="581"/>
                    <a:pt x="2431" y="581"/>
                  </a:cubicBezTo>
                  <a:cubicBezTo>
                    <a:pt x="2295" y="581"/>
                    <a:pt x="2146" y="568"/>
                    <a:pt x="2010" y="542"/>
                  </a:cubicBezTo>
                  <a:cubicBezTo>
                    <a:pt x="1349" y="448"/>
                    <a:pt x="714" y="137"/>
                    <a:pt x="53" y="137"/>
                  </a:cubicBezTo>
                  <a:lnTo>
                    <a:pt x="1" y="137"/>
                  </a:lnTo>
                  <a:cubicBezTo>
                    <a:pt x="14" y="163"/>
                    <a:pt x="40" y="176"/>
                    <a:pt x="66" y="192"/>
                  </a:cubicBezTo>
                  <a:cubicBezTo>
                    <a:pt x="513" y="448"/>
                    <a:pt x="973" y="691"/>
                    <a:pt x="1472" y="824"/>
                  </a:cubicBezTo>
                  <a:cubicBezTo>
                    <a:pt x="1524" y="840"/>
                    <a:pt x="1579" y="840"/>
                    <a:pt x="1647" y="840"/>
                  </a:cubicBezTo>
                  <a:lnTo>
                    <a:pt x="1715" y="840"/>
                  </a:lnTo>
                  <a:cubicBezTo>
                    <a:pt x="1971" y="840"/>
                    <a:pt x="2214" y="798"/>
                    <a:pt x="2457" y="759"/>
                  </a:cubicBezTo>
                  <a:cubicBezTo>
                    <a:pt x="3131" y="636"/>
                    <a:pt x="3847" y="516"/>
                    <a:pt x="4414" y="150"/>
                  </a:cubicBezTo>
                  <a:cubicBezTo>
                    <a:pt x="4440" y="95"/>
                    <a:pt x="4456" y="43"/>
                    <a:pt x="4482" y="1"/>
                  </a:cubicBezTo>
                  <a:close/>
                </a:path>
              </a:pathLst>
            </a:custGeom>
            <a:solidFill>
              <a:srgbClr val="A859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19" name="Google Shape;1419;p42"/>
            <p:cNvSpPr/>
            <p:nvPr/>
          </p:nvSpPr>
          <p:spPr>
            <a:xfrm>
              <a:off x="4859175" y="5105875"/>
              <a:ext cx="2375" cy="1400"/>
            </a:xfrm>
            <a:custGeom>
              <a:avLst/>
              <a:gdLst/>
              <a:ahLst/>
              <a:cxnLst/>
              <a:rect l="l" t="t" r="r" b="b"/>
              <a:pathLst>
                <a:path w="95" h="56" extrusionOk="0">
                  <a:moveTo>
                    <a:pt x="1" y="1"/>
                  </a:moveTo>
                  <a:cubicBezTo>
                    <a:pt x="30" y="27"/>
                    <a:pt x="56" y="40"/>
                    <a:pt x="95" y="56"/>
                  </a:cubicBezTo>
                  <a:cubicBezTo>
                    <a:pt x="69" y="40"/>
                    <a:pt x="43" y="27"/>
                    <a:pt x="30" y="1"/>
                  </a:cubicBezTo>
                  <a:close/>
                </a:path>
              </a:pathLst>
            </a:custGeom>
            <a:solidFill>
              <a:srgbClr val="9145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20" name="Google Shape;1420;p42"/>
            <p:cNvSpPr/>
            <p:nvPr/>
          </p:nvSpPr>
          <p:spPr>
            <a:xfrm>
              <a:off x="4896675" y="5106200"/>
              <a:ext cx="73575" cy="20600"/>
            </a:xfrm>
            <a:custGeom>
              <a:avLst/>
              <a:gdLst/>
              <a:ahLst/>
              <a:cxnLst/>
              <a:rect l="l" t="t" r="r" b="b"/>
              <a:pathLst>
                <a:path w="2943" h="824" extrusionOk="0">
                  <a:moveTo>
                    <a:pt x="2943" y="1"/>
                  </a:moveTo>
                  <a:cubicBezTo>
                    <a:pt x="2376" y="367"/>
                    <a:pt x="1660" y="487"/>
                    <a:pt x="986" y="610"/>
                  </a:cubicBezTo>
                  <a:cubicBezTo>
                    <a:pt x="743" y="649"/>
                    <a:pt x="500" y="691"/>
                    <a:pt x="244" y="691"/>
                  </a:cubicBezTo>
                  <a:lnTo>
                    <a:pt x="176" y="691"/>
                  </a:lnTo>
                  <a:cubicBezTo>
                    <a:pt x="108" y="691"/>
                    <a:pt x="53" y="691"/>
                    <a:pt x="1" y="675"/>
                  </a:cubicBezTo>
                  <a:lnTo>
                    <a:pt x="1" y="675"/>
                  </a:lnTo>
                  <a:cubicBezTo>
                    <a:pt x="202" y="743"/>
                    <a:pt x="406" y="785"/>
                    <a:pt x="620" y="811"/>
                  </a:cubicBezTo>
                  <a:cubicBezTo>
                    <a:pt x="717" y="811"/>
                    <a:pt x="824" y="824"/>
                    <a:pt x="918" y="824"/>
                  </a:cubicBezTo>
                  <a:cubicBezTo>
                    <a:pt x="1297" y="824"/>
                    <a:pt x="1673" y="756"/>
                    <a:pt x="2039" y="675"/>
                  </a:cubicBezTo>
                  <a:cubicBezTo>
                    <a:pt x="2269" y="623"/>
                    <a:pt x="2499" y="568"/>
                    <a:pt x="2687" y="419"/>
                  </a:cubicBezTo>
                  <a:cubicBezTo>
                    <a:pt x="2755" y="367"/>
                    <a:pt x="2807" y="312"/>
                    <a:pt x="2849" y="244"/>
                  </a:cubicBezTo>
                  <a:cubicBezTo>
                    <a:pt x="2849" y="231"/>
                    <a:pt x="2836" y="218"/>
                    <a:pt x="2823" y="205"/>
                  </a:cubicBezTo>
                  <a:cubicBezTo>
                    <a:pt x="2862" y="137"/>
                    <a:pt x="2904" y="69"/>
                    <a:pt x="2943" y="1"/>
                  </a:cubicBezTo>
                  <a:close/>
                </a:path>
              </a:pathLst>
            </a:custGeom>
            <a:solidFill>
              <a:srgbClr val="9145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21" name="Google Shape;1421;p42"/>
            <p:cNvSpPr/>
            <p:nvPr/>
          </p:nvSpPr>
          <p:spPr>
            <a:xfrm>
              <a:off x="4834875" y="5103850"/>
              <a:ext cx="23025" cy="45225"/>
            </a:xfrm>
            <a:custGeom>
              <a:avLst/>
              <a:gdLst/>
              <a:ahLst/>
              <a:cxnLst/>
              <a:rect l="l" t="t" r="r" b="b"/>
              <a:pathLst>
                <a:path w="921" h="1809" extrusionOk="0">
                  <a:moveTo>
                    <a:pt x="921" y="1"/>
                  </a:moveTo>
                  <a:cubicBezTo>
                    <a:pt x="921" y="1"/>
                    <a:pt x="905" y="1"/>
                    <a:pt x="905" y="14"/>
                  </a:cubicBezTo>
                  <a:lnTo>
                    <a:pt x="921" y="1"/>
                  </a:lnTo>
                  <a:close/>
                  <a:moveTo>
                    <a:pt x="892" y="14"/>
                  </a:moveTo>
                  <a:cubicBezTo>
                    <a:pt x="636" y="218"/>
                    <a:pt x="380" y="393"/>
                    <a:pt x="218" y="675"/>
                  </a:cubicBezTo>
                  <a:cubicBezTo>
                    <a:pt x="43" y="986"/>
                    <a:pt x="1" y="1352"/>
                    <a:pt x="14" y="1728"/>
                  </a:cubicBezTo>
                  <a:cubicBezTo>
                    <a:pt x="69" y="1770"/>
                    <a:pt x="137" y="1809"/>
                    <a:pt x="218" y="1809"/>
                  </a:cubicBezTo>
                  <a:cubicBezTo>
                    <a:pt x="273" y="1809"/>
                    <a:pt x="325" y="1796"/>
                    <a:pt x="367" y="1770"/>
                  </a:cubicBezTo>
                  <a:lnTo>
                    <a:pt x="367" y="1689"/>
                  </a:lnTo>
                  <a:cubicBezTo>
                    <a:pt x="354" y="1540"/>
                    <a:pt x="354" y="1391"/>
                    <a:pt x="367" y="1255"/>
                  </a:cubicBezTo>
                  <a:cubicBezTo>
                    <a:pt x="406" y="798"/>
                    <a:pt x="597" y="364"/>
                    <a:pt x="892" y="40"/>
                  </a:cubicBezTo>
                  <a:lnTo>
                    <a:pt x="892" y="14"/>
                  </a:lnTo>
                  <a:close/>
                </a:path>
              </a:pathLst>
            </a:custGeom>
            <a:solidFill>
              <a:srgbClr val="A859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22" name="Google Shape;1422;p42"/>
            <p:cNvSpPr/>
            <p:nvPr/>
          </p:nvSpPr>
          <p:spPr>
            <a:xfrm>
              <a:off x="4835200" y="5104175"/>
              <a:ext cx="22300" cy="72925"/>
            </a:xfrm>
            <a:custGeom>
              <a:avLst/>
              <a:gdLst/>
              <a:ahLst/>
              <a:cxnLst/>
              <a:rect l="l" t="t" r="r" b="b"/>
              <a:pathLst>
                <a:path w="892" h="2917" extrusionOk="0">
                  <a:moveTo>
                    <a:pt x="879" y="1"/>
                  </a:moveTo>
                  <a:lnTo>
                    <a:pt x="879" y="27"/>
                  </a:lnTo>
                  <a:cubicBezTo>
                    <a:pt x="879" y="14"/>
                    <a:pt x="892" y="1"/>
                    <a:pt x="892" y="1"/>
                  </a:cubicBezTo>
                  <a:close/>
                  <a:moveTo>
                    <a:pt x="1" y="1715"/>
                  </a:moveTo>
                  <a:cubicBezTo>
                    <a:pt x="1" y="1877"/>
                    <a:pt x="17" y="2039"/>
                    <a:pt x="30" y="2201"/>
                  </a:cubicBezTo>
                  <a:cubicBezTo>
                    <a:pt x="30" y="2214"/>
                    <a:pt x="43" y="2214"/>
                    <a:pt x="56" y="2230"/>
                  </a:cubicBezTo>
                  <a:cubicBezTo>
                    <a:pt x="205" y="2525"/>
                    <a:pt x="422" y="2917"/>
                    <a:pt x="422" y="2917"/>
                  </a:cubicBezTo>
                  <a:lnTo>
                    <a:pt x="516" y="2486"/>
                  </a:lnTo>
                  <a:cubicBezTo>
                    <a:pt x="422" y="2256"/>
                    <a:pt x="380" y="2000"/>
                    <a:pt x="354" y="1757"/>
                  </a:cubicBezTo>
                  <a:cubicBezTo>
                    <a:pt x="312" y="1783"/>
                    <a:pt x="260" y="1796"/>
                    <a:pt x="205" y="1796"/>
                  </a:cubicBezTo>
                  <a:cubicBezTo>
                    <a:pt x="124" y="1796"/>
                    <a:pt x="56" y="1757"/>
                    <a:pt x="1" y="1715"/>
                  </a:cubicBezTo>
                  <a:close/>
                </a:path>
              </a:pathLst>
            </a:custGeom>
            <a:solidFill>
              <a:srgbClr val="9145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23" name="Google Shape;1423;p42"/>
            <p:cNvSpPr/>
            <p:nvPr/>
          </p:nvSpPr>
          <p:spPr>
            <a:xfrm>
              <a:off x="4963500" y="5130500"/>
              <a:ext cx="14525" cy="23350"/>
            </a:xfrm>
            <a:custGeom>
              <a:avLst/>
              <a:gdLst/>
              <a:ahLst/>
              <a:cxnLst/>
              <a:rect l="l" t="t" r="r" b="b"/>
              <a:pathLst>
                <a:path w="581" h="934" extrusionOk="0">
                  <a:moveTo>
                    <a:pt x="53" y="1"/>
                  </a:moveTo>
                  <a:cubicBezTo>
                    <a:pt x="40" y="43"/>
                    <a:pt x="27" y="82"/>
                    <a:pt x="27" y="124"/>
                  </a:cubicBezTo>
                  <a:cubicBezTo>
                    <a:pt x="14" y="150"/>
                    <a:pt x="14" y="176"/>
                    <a:pt x="1" y="218"/>
                  </a:cubicBezTo>
                  <a:cubicBezTo>
                    <a:pt x="82" y="406"/>
                    <a:pt x="150" y="594"/>
                    <a:pt x="202" y="798"/>
                  </a:cubicBezTo>
                  <a:cubicBezTo>
                    <a:pt x="231" y="824"/>
                    <a:pt x="270" y="853"/>
                    <a:pt x="312" y="866"/>
                  </a:cubicBezTo>
                  <a:cubicBezTo>
                    <a:pt x="377" y="905"/>
                    <a:pt x="445" y="934"/>
                    <a:pt x="526" y="934"/>
                  </a:cubicBezTo>
                  <a:cubicBezTo>
                    <a:pt x="555" y="853"/>
                    <a:pt x="568" y="772"/>
                    <a:pt x="581" y="691"/>
                  </a:cubicBezTo>
                  <a:cubicBezTo>
                    <a:pt x="432" y="448"/>
                    <a:pt x="257" y="205"/>
                    <a:pt x="53" y="1"/>
                  </a:cubicBezTo>
                  <a:close/>
                </a:path>
              </a:pathLst>
            </a:custGeom>
            <a:solidFill>
              <a:srgbClr val="A859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24" name="Google Shape;1424;p42"/>
            <p:cNvSpPr/>
            <p:nvPr/>
          </p:nvSpPr>
          <p:spPr>
            <a:xfrm>
              <a:off x="4956375" y="5122725"/>
              <a:ext cx="20275" cy="38825"/>
            </a:xfrm>
            <a:custGeom>
              <a:avLst/>
              <a:gdLst/>
              <a:ahLst/>
              <a:cxnLst/>
              <a:rect l="l" t="t" r="r" b="b"/>
              <a:pathLst>
                <a:path w="811" h="1553" extrusionOk="0">
                  <a:moveTo>
                    <a:pt x="1" y="1"/>
                  </a:moveTo>
                  <a:lnTo>
                    <a:pt x="1" y="1"/>
                  </a:lnTo>
                  <a:cubicBezTo>
                    <a:pt x="111" y="163"/>
                    <a:pt x="205" y="338"/>
                    <a:pt x="286" y="529"/>
                  </a:cubicBezTo>
                  <a:cubicBezTo>
                    <a:pt x="299" y="487"/>
                    <a:pt x="299" y="461"/>
                    <a:pt x="312" y="435"/>
                  </a:cubicBezTo>
                  <a:cubicBezTo>
                    <a:pt x="312" y="393"/>
                    <a:pt x="325" y="354"/>
                    <a:pt x="338" y="312"/>
                  </a:cubicBezTo>
                  <a:cubicBezTo>
                    <a:pt x="231" y="205"/>
                    <a:pt x="124" y="95"/>
                    <a:pt x="1" y="1"/>
                  </a:cubicBezTo>
                  <a:close/>
                  <a:moveTo>
                    <a:pt x="487" y="1109"/>
                  </a:moveTo>
                  <a:lnTo>
                    <a:pt x="487" y="1109"/>
                  </a:lnTo>
                  <a:cubicBezTo>
                    <a:pt x="516" y="1258"/>
                    <a:pt x="542" y="1407"/>
                    <a:pt x="555" y="1553"/>
                  </a:cubicBezTo>
                  <a:cubicBezTo>
                    <a:pt x="568" y="1527"/>
                    <a:pt x="581" y="1488"/>
                    <a:pt x="597" y="1459"/>
                  </a:cubicBezTo>
                  <a:cubicBezTo>
                    <a:pt x="649" y="1433"/>
                    <a:pt x="704" y="1407"/>
                    <a:pt x="759" y="1391"/>
                  </a:cubicBezTo>
                  <a:cubicBezTo>
                    <a:pt x="785" y="1339"/>
                    <a:pt x="798" y="1297"/>
                    <a:pt x="811" y="1245"/>
                  </a:cubicBezTo>
                  <a:cubicBezTo>
                    <a:pt x="730" y="1245"/>
                    <a:pt x="662" y="1216"/>
                    <a:pt x="597" y="1177"/>
                  </a:cubicBezTo>
                  <a:cubicBezTo>
                    <a:pt x="555" y="1164"/>
                    <a:pt x="516" y="1135"/>
                    <a:pt x="487" y="1109"/>
                  </a:cubicBezTo>
                  <a:close/>
                </a:path>
              </a:pathLst>
            </a:custGeom>
            <a:solidFill>
              <a:srgbClr val="9145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25" name="Google Shape;1425;p42"/>
            <p:cNvSpPr/>
            <p:nvPr/>
          </p:nvSpPr>
          <p:spPr>
            <a:xfrm>
              <a:off x="4860225" y="5078500"/>
              <a:ext cx="103950" cy="17600"/>
            </a:xfrm>
            <a:custGeom>
              <a:avLst/>
              <a:gdLst/>
              <a:ahLst/>
              <a:cxnLst/>
              <a:rect l="l" t="t" r="r" b="b"/>
              <a:pathLst>
                <a:path w="4158" h="704" extrusionOk="0">
                  <a:moveTo>
                    <a:pt x="1689" y="1"/>
                  </a:moveTo>
                  <a:cubicBezTo>
                    <a:pt x="1608" y="1"/>
                    <a:pt x="1527" y="17"/>
                    <a:pt x="1446" y="17"/>
                  </a:cubicBezTo>
                  <a:cubicBezTo>
                    <a:pt x="1025" y="56"/>
                    <a:pt x="620" y="179"/>
                    <a:pt x="283" y="422"/>
                  </a:cubicBezTo>
                  <a:cubicBezTo>
                    <a:pt x="176" y="487"/>
                    <a:pt x="82" y="584"/>
                    <a:pt x="1" y="691"/>
                  </a:cubicBezTo>
                  <a:lnTo>
                    <a:pt x="14" y="704"/>
                  </a:lnTo>
                  <a:cubicBezTo>
                    <a:pt x="189" y="474"/>
                    <a:pt x="500" y="422"/>
                    <a:pt x="769" y="380"/>
                  </a:cubicBezTo>
                  <a:cubicBezTo>
                    <a:pt x="918" y="367"/>
                    <a:pt x="1067" y="354"/>
                    <a:pt x="1203" y="354"/>
                  </a:cubicBezTo>
                  <a:lnTo>
                    <a:pt x="1365" y="354"/>
                  </a:lnTo>
                  <a:cubicBezTo>
                    <a:pt x="1553" y="380"/>
                    <a:pt x="1741" y="435"/>
                    <a:pt x="1916" y="487"/>
                  </a:cubicBezTo>
                  <a:cubicBezTo>
                    <a:pt x="2094" y="529"/>
                    <a:pt x="2269" y="568"/>
                    <a:pt x="2444" y="610"/>
                  </a:cubicBezTo>
                  <a:cubicBezTo>
                    <a:pt x="2700" y="649"/>
                    <a:pt x="2956" y="691"/>
                    <a:pt x="3212" y="691"/>
                  </a:cubicBezTo>
                  <a:cubicBezTo>
                    <a:pt x="3322" y="691"/>
                    <a:pt x="3429" y="691"/>
                    <a:pt x="3536" y="678"/>
                  </a:cubicBezTo>
                  <a:cubicBezTo>
                    <a:pt x="3753" y="636"/>
                    <a:pt x="3970" y="568"/>
                    <a:pt x="4158" y="461"/>
                  </a:cubicBezTo>
                  <a:cubicBezTo>
                    <a:pt x="4119" y="461"/>
                    <a:pt x="4090" y="474"/>
                    <a:pt x="4051" y="474"/>
                  </a:cubicBezTo>
                  <a:cubicBezTo>
                    <a:pt x="3591" y="474"/>
                    <a:pt x="3131" y="260"/>
                    <a:pt x="2674" y="137"/>
                  </a:cubicBezTo>
                  <a:cubicBezTo>
                    <a:pt x="2350" y="56"/>
                    <a:pt x="2013" y="1"/>
                    <a:pt x="1689" y="1"/>
                  </a:cubicBezTo>
                  <a:close/>
                </a:path>
              </a:pathLst>
            </a:custGeom>
            <a:solidFill>
              <a:srgbClr val="A859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26" name="Google Shape;1426;p42"/>
            <p:cNvSpPr/>
            <p:nvPr/>
          </p:nvSpPr>
          <p:spPr>
            <a:xfrm>
              <a:off x="4856500" y="5099150"/>
              <a:ext cx="2700" cy="33400"/>
            </a:xfrm>
            <a:custGeom>
              <a:avLst/>
              <a:gdLst/>
              <a:ahLst/>
              <a:cxnLst/>
              <a:rect l="l" t="t" r="r" b="b"/>
              <a:pathLst>
                <a:path w="108" h="1336" extrusionOk="0">
                  <a:moveTo>
                    <a:pt x="108" y="1"/>
                  </a:moveTo>
                  <a:lnTo>
                    <a:pt x="108" y="1"/>
                  </a:lnTo>
                  <a:cubicBezTo>
                    <a:pt x="82" y="108"/>
                    <a:pt x="56" y="215"/>
                    <a:pt x="40" y="338"/>
                  </a:cubicBezTo>
                  <a:cubicBezTo>
                    <a:pt x="27" y="445"/>
                    <a:pt x="14" y="552"/>
                    <a:pt x="1" y="675"/>
                  </a:cubicBezTo>
                  <a:lnTo>
                    <a:pt x="1" y="1012"/>
                  </a:lnTo>
                  <a:cubicBezTo>
                    <a:pt x="14" y="1080"/>
                    <a:pt x="14" y="1135"/>
                    <a:pt x="40" y="1187"/>
                  </a:cubicBezTo>
                  <a:cubicBezTo>
                    <a:pt x="56" y="1242"/>
                    <a:pt x="69" y="1297"/>
                    <a:pt x="108" y="1336"/>
                  </a:cubicBezTo>
                  <a:cubicBezTo>
                    <a:pt x="82" y="1297"/>
                    <a:pt x="69" y="1242"/>
                    <a:pt x="56" y="1187"/>
                  </a:cubicBezTo>
                  <a:cubicBezTo>
                    <a:pt x="56" y="1119"/>
                    <a:pt x="56" y="1067"/>
                    <a:pt x="40" y="1012"/>
                  </a:cubicBezTo>
                  <a:cubicBezTo>
                    <a:pt x="40" y="905"/>
                    <a:pt x="56" y="795"/>
                    <a:pt x="56" y="675"/>
                  </a:cubicBezTo>
                  <a:cubicBezTo>
                    <a:pt x="69" y="568"/>
                    <a:pt x="69" y="445"/>
                    <a:pt x="82" y="338"/>
                  </a:cubicBezTo>
                  <a:lnTo>
                    <a:pt x="95" y="176"/>
                  </a:lnTo>
                  <a:lnTo>
                    <a:pt x="108" y="1"/>
                  </a:lnTo>
                  <a:close/>
                </a:path>
              </a:pathLst>
            </a:custGeom>
            <a:solidFill>
              <a:srgbClr val="41180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27" name="Google Shape;1427;p42"/>
            <p:cNvSpPr/>
            <p:nvPr/>
          </p:nvSpPr>
          <p:spPr>
            <a:xfrm>
              <a:off x="4880150" y="5285625"/>
              <a:ext cx="42150" cy="22625"/>
            </a:xfrm>
            <a:custGeom>
              <a:avLst/>
              <a:gdLst/>
              <a:ahLst/>
              <a:cxnLst/>
              <a:rect l="l" t="t" r="r" b="b"/>
              <a:pathLst>
                <a:path w="1686" h="905" extrusionOk="0">
                  <a:moveTo>
                    <a:pt x="846" y="1"/>
                  </a:moveTo>
                  <a:cubicBezTo>
                    <a:pt x="726" y="1"/>
                    <a:pt x="608" y="52"/>
                    <a:pt x="526" y="156"/>
                  </a:cubicBezTo>
                  <a:lnTo>
                    <a:pt x="500" y="182"/>
                  </a:lnTo>
                  <a:lnTo>
                    <a:pt x="27" y="182"/>
                  </a:lnTo>
                  <a:lnTo>
                    <a:pt x="1" y="804"/>
                  </a:lnTo>
                  <a:lnTo>
                    <a:pt x="1" y="804"/>
                  </a:lnTo>
                  <a:lnTo>
                    <a:pt x="526" y="762"/>
                  </a:lnTo>
                  <a:lnTo>
                    <a:pt x="539" y="775"/>
                  </a:lnTo>
                  <a:cubicBezTo>
                    <a:pt x="625" y="861"/>
                    <a:pt x="737" y="904"/>
                    <a:pt x="848" y="904"/>
                  </a:cubicBezTo>
                  <a:cubicBezTo>
                    <a:pt x="964" y="904"/>
                    <a:pt x="1078" y="857"/>
                    <a:pt x="1161" y="762"/>
                  </a:cubicBezTo>
                  <a:lnTo>
                    <a:pt x="1686" y="762"/>
                  </a:lnTo>
                  <a:lnTo>
                    <a:pt x="1686" y="182"/>
                  </a:lnTo>
                  <a:lnTo>
                    <a:pt x="1187" y="182"/>
                  </a:lnTo>
                  <a:lnTo>
                    <a:pt x="1161" y="140"/>
                  </a:lnTo>
                  <a:cubicBezTo>
                    <a:pt x="1075" y="48"/>
                    <a:pt x="960" y="1"/>
                    <a:pt x="846" y="1"/>
                  </a:cubicBezTo>
                  <a:close/>
                </a:path>
              </a:pathLst>
            </a:custGeom>
            <a:solidFill>
              <a:srgbClr val="AA6E2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28" name="Google Shape;1428;p42"/>
            <p:cNvSpPr/>
            <p:nvPr/>
          </p:nvSpPr>
          <p:spPr>
            <a:xfrm>
              <a:off x="4853425" y="5325225"/>
              <a:ext cx="96575" cy="78875"/>
            </a:xfrm>
            <a:custGeom>
              <a:avLst/>
              <a:gdLst/>
              <a:ahLst/>
              <a:cxnLst/>
              <a:rect l="l" t="t" r="r" b="b"/>
              <a:pathLst>
                <a:path w="3863" h="3155" extrusionOk="0">
                  <a:moveTo>
                    <a:pt x="542" y="1"/>
                  </a:moveTo>
                  <a:cubicBezTo>
                    <a:pt x="542" y="1"/>
                    <a:pt x="516" y="759"/>
                    <a:pt x="435" y="1054"/>
                  </a:cubicBezTo>
                  <a:cubicBezTo>
                    <a:pt x="354" y="1365"/>
                    <a:pt x="1" y="2324"/>
                    <a:pt x="1" y="2904"/>
                  </a:cubicBezTo>
                  <a:cubicBezTo>
                    <a:pt x="1" y="2904"/>
                    <a:pt x="404" y="3155"/>
                    <a:pt x="1208" y="3155"/>
                  </a:cubicBezTo>
                  <a:cubicBezTo>
                    <a:pt x="1335" y="3155"/>
                    <a:pt x="1473" y="3148"/>
                    <a:pt x="1621" y="3134"/>
                  </a:cubicBezTo>
                  <a:lnTo>
                    <a:pt x="1757" y="2000"/>
                  </a:lnTo>
                  <a:cubicBezTo>
                    <a:pt x="1757" y="1945"/>
                    <a:pt x="1799" y="1919"/>
                    <a:pt x="1851" y="1919"/>
                  </a:cubicBezTo>
                  <a:lnTo>
                    <a:pt x="2013" y="1919"/>
                  </a:lnTo>
                  <a:cubicBezTo>
                    <a:pt x="2068" y="1919"/>
                    <a:pt x="2094" y="1945"/>
                    <a:pt x="2107" y="2000"/>
                  </a:cubicBezTo>
                  <a:lnTo>
                    <a:pt x="2230" y="3134"/>
                  </a:lnTo>
                  <a:cubicBezTo>
                    <a:pt x="2377" y="3148"/>
                    <a:pt x="2515" y="3155"/>
                    <a:pt x="2643" y="3155"/>
                  </a:cubicBezTo>
                  <a:cubicBezTo>
                    <a:pt x="3450" y="3155"/>
                    <a:pt x="3863" y="2904"/>
                    <a:pt x="3863" y="2904"/>
                  </a:cubicBezTo>
                  <a:cubicBezTo>
                    <a:pt x="3863" y="2324"/>
                    <a:pt x="3513" y="1365"/>
                    <a:pt x="3419" y="1054"/>
                  </a:cubicBezTo>
                  <a:cubicBezTo>
                    <a:pt x="3338" y="759"/>
                    <a:pt x="3309" y="1"/>
                    <a:pt x="3309" y="1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29" name="Google Shape;1429;p42"/>
            <p:cNvSpPr/>
            <p:nvPr/>
          </p:nvSpPr>
          <p:spPr>
            <a:xfrm>
              <a:off x="4880150" y="5287650"/>
              <a:ext cx="42150" cy="20100"/>
            </a:xfrm>
            <a:custGeom>
              <a:avLst/>
              <a:gdLst/>
              <a:ahLst/>
              <a:cxnLst/>
              <a:rect l="l" t="t" r="r" b="b"/>
              <a:pathLst>
                <a:path w="1686" h="804" extrusionOk="0">
                  <a:moveTo>
                    <a:pt x="846" y="1"/>
                  </a:moveTo>
                  <a:cubicBezTo>
                    <a:pt x="726" y="1"/>
                    <a:pt x="608" y="52"/>
                    <a:pt x="526" y="156"/>
                  </a:cubicBezTo>
                  <a:lnTo>
                    <a:pt x="500" y="182"/>
                  </a:lnTo>
                  <a:lnTo>
                    <a:pt x="27" y="182"/>
                  </a:lnTo>
                  <a:lnTo>
                    <a:pt x="1" y="804"/>
                  </a:lnTo>
                  <a:lnTo>
                    <a:pt x="14" y="804"/>
                  </a:lnTo>
                  <a:lnTo>
                    <a:pt x="27" y="237"/>
                  </a:lnTo>
                  <a:lnTo>
                    <a:pt x="500" y="237"/>
                  </a:lnTo>
                  <a:lnTo>
                    <a:pt x="526" y="208"/>
                  </a:lnTo>
                  <a:cubicBezTo>
                    <a:pt x="608" y="106"/>
                    <a:pt x="726" y="55"/>
                    <a:pt x="844" y="55"/>
                  </a:cubicBezTo>
                  <a:cubicBezTo>
                    <a:pt x="959" y="55"/>
                    <a:pt x="1075" y="102"/>
                    <a:pt x="1161" y="195"/>
                  </a:cubicBezTo>
                  <a:lnTo>
                    <a:pt x="1187" y="237"/>
                  </a:lnTo>
                  <a:lnTo>
                    <a:pt x="1686" y="237"/>
                  </a:lnTo>
                  <a:lnTo>
                    <a:pt x="1686" y="182"/>
                  </a:lnTo>
                  <a:lnTo>
                    <a:pt x="1187" y="182"/>
                  </a:lnTo>
                  <a:lnTo>
                    <a:pt x="1161" y="140"/>
                  </a:lnTo>
                  <a:cubicBezTo>
                    <a:pt x="1075" y="48"/>
                    <a:pt x="960" y="1"/>
                    <a:pt x="846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0" name="Google Shape;1430;p42"/>
            <p:cNvSpPr/>
            <p:nvPr/>
          </p:nvSpPr>
          <p:spPr>
            <a:xfrm>
              <a:off x="4880150" y="5285450"/>
              <a:ext cx="42150" cy="20175"/>
            </a:xfrm>
            <a:custGeom>
              <a:avLst/>
              <a:gdLst/>
              <a:ahLst/>
              <a:cxnLst/>
              <a:rect l="l" t="t" r="r" b="b"/>
              <a:pathLst>
                <a:path w="1686" h="807" extrusionOk="0">
                  <a:moveTo>
                    <a:pt x="1" y="1"/>
                  </a:moveTo>
                  <a:lnTo>
                    <a:pt x="27" y="620"/>
                  </a:lnTo>
                  <a:lnTo>
                    <a:pt x="500" y="620"/>
                  </a:lnTo>
                  <a:lnTo>
                    <a:pt x="526" y="649"/>
                  </a:lnTo>
                  <a:cubicBezTo>
                    <a:pt x="609" y="753"/>
                    <a:pt x="729" y="806"/>
                    <a:pt x="850" y="806"/>
                  </a:cubicBezTo>
                  <a:cubicBezTo>
                    <a:pt x="963" y="806"/>
                    <a:pt x="1076" y="759"/>
                    <a:pt x="1161" y="662"/>
                  </a:cubicBezTo>
                  <a:lnTo>
                    <a:pt x="1187" y="620"/>
                  </a:lnTo>
                  <a:lnTo>
                    <a:pt x="1686" y="620"/>
                  </a:lnTo>
                  <a:lnTo>
                    <a:pt x="1686" y="568"/>
                  </a:lnTo>
                  <a:lnTo>
                    <a:pt x="1187" y="568"/>
                  </a:lnTo>
                  <a:lnTo>
                    <a:pt x="1161" y="607"/>
                  </a:lnTo>
                  <a:cubicBezTo>
                    <a:pt x="1075" y="699"/>
                    <a:pt x="959" y="746"/>
                    <a:pt x="844" y="746"/>
                  </a:cubicBezTo>
                  <a:cubicBezTo>
                    <a:pt x="726" y="746"/>
                    <a:pt x="608" y="696"/>
                    <a:pt x="526" y="594"/>
                  </a:cubicBezTo>
                  <a:lnTo>
                    <a:pt x="500" y="568"/>
                  </a:lnTo>
                  <a:lnTo>
                    <a:pt x="27" y="568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1" name="Google Shape;1431;p42"/>
            <p:cNvSpPr/>
            <p:nvPr/>
          </p:nvSpPr>
          <p:spPr>
            <a:xfrm>
              <a:off x="4929400" y="5325225"/>
              <a:ext cx="20600" cy="76975"/>
            </a:xfrm>
            <a:custGeom>
              <a:avLst/>
              <a:gdLst/>
              <a:ahLst/>
              <a:cxnLst/>
              <a:rect l="l" t="t" r="r" b="b"/>
              <a:pathLst>
                <a:path w="824" h="3079" extrusionOk="0">
                  <a:moveTo>
                    <a:pt x="1" y="1"/>
                  </a:moveTo>
                  <a:cubicBezTo>
                    <a:pt x="1" y="1"/>
                    <a:pt x="1" y="759"/>
                    <a:pt x="82" y="1054"/>
                  </a:cubicBezTo>
                  <a:cubicBezTo>
                    <a:pt x="163" y="1365"/>
                    <a:pt x="325" y="2499"/>
                    <a:pt x="325" y="3079"/>
                  </a:cubicBezTo>
                  <a:lnTo>
                    <a:pt x="824" y="2904"/>
                  </a:lnTo>
                  <a:cubicBezTo>
                    <a:pt x="824" y="2324"/>
                    <a:pt x="474" y="1365"/>
                    <a:pt x="380" y="1054"/>
                  </a:cubicBezTo>
                  <a:cubicBezTo>
                    <a:pt x="299" y="759"/>
                    <a:pt x="270" y="1"/>
                    <a:pt x="270" y="1"/>
                  </a:cubicBezTo>
                  <a:close/>
                </a:path>
              </a:pathLst>
            </a:custGeom>
            <a:solidFill>
              <a:srgbClr val="37743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2" name="Google Shape;1432;p42"/>
            <p:cNvSpPr/>
            <p:nvPr/>
          </p:nvSpPr>
          <p:spPr>
            <a:xfrm>
              <a:off x="4853425" y="5325225"/>
              <a:ext cx="20675" cy="76975"/>
            </a:xfrm>
            <a:custGeom>
              <a:avLst/>
              <a:gdLst/>
              <a:ahLst/>
              <a:cxnLst/>
              <a:rect l="l" t="t" r="r" b="b"/>
              <a:pathLst>
                <a:path w="827" h="3079" extrusionOk="0">
                  <a:moveTo>
                    <a:pt x="542" y="1"/>
                  </a:moveTo>
                  <a:cubicBezTo>
                    <a:pt x="542" y="1"/>
                    <a:pt x="516" y="759"/>
                    <a:pt x="435" y="1054"/>
                  </a:cubicBezTo>
                  <a:cubicBezTo>
                    <a:pt x="354" y="1365"/>
                    <a:pt x="1" y="2324"/>
                    <a:pt x="1" y="2904"/>
                  </a:cubicBezTo>
                  <a:lnTo>
                    <a:pt x="487" y="3079"/>
                  </a:lnTo>
                  <a:cubicBezTo>
                    <a:pt x="487" y="2499"/>
                    <a:pt x="665" y="1365"/>
                    <a:pt x="746" y="1054"/>
                  </a:cubicBezTo>
                  <a:cubicBezTo>
                    <a:pt x="827" y="759"/>
                    <a:pt x="827" y="1"/>
                    <a:pt x="827" y="1"/>
                  </a:cubicBezTo>
                  <a:close/>
                </a:path>
              </a:pathLst>
            </a:custGeom>
            <a:solidFill>
              <a:srgbClr val="37743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3" name="Google Shape;1433;p42"/>
            <p:cNvSpPr/>
            <p:nvPr/>
          </p:nvSpPr>
          <p:spPr>
            <a:xfrm>
              <a:off x="4870025" y="5244550"/>
              <a:ext cx="17850" cy="104350"/>
            </a:xfrm>
            <a:custGeom>
              <a:avLst/>
              <a:gdLst/>
              <a:ahLst/>
              <a:cxnLst/>
              <a:rect l="l" t="t" r="r" b="b"/>
              <a:pathLst>
                <a:path w="714" h="4174" extrusionOk="0">
                  <a:moveTo>
                    <a:pt x="1" y="1"/>
                  </a:moveTo>
                  <a:cubicBezTo>
                    <a:pt x="1" y="1"/>
                    <a:pt x="244" y="367"/>
                    <a:pt x="325" y="1083"/>
                  </a:cubicBezTo>
                  <a:cubicBezTo>
                    <a:pt x="432" y="1961"/>
                    <a:pt x="432" y="4174"/>
                    <a:pt x="432" y="4174"/>
                  </a:cubicBezTo>
                  <a:lnTo>
                    <a:pt x="633" y="4174"/>
                  </a:lnTo>
                  <a:cubicBezTo>
                    <a:pt x="633" y="4174"/>
                    <a:pt x="649" y="3458"/>
                    <a:pt x="633" y="2985"/>
                  </a:cubicBezTo>
                  <a:cubicBezTo>
                    <a:pt x="607" y="2350"/>
                    <a:pt x="714" y="30"/>
                    <a:pt x="1" y="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4" name="Google Shape;1434;p42"/>
            <p:cNvSpPr/>
            <p:nvPr/>
          </p:nvSpPr>
          <p:spPr>
            <a:xfrm>
              <a:off x="4915225" y="5244550"/>
              <a:ext cx="17925" cy="104350"/>
            </a:xfrm>
            <a:custGeom>
              <a:avLst/>
              <a:gdLst/>
              <a:ahLst/>
              <a:cxnLst/>
              <a:rect l="l" t="t" r="r" b="b"/>
              <a:pathLst>
                <a:path w="717" h="4174" extrusionOk="0">
                  <a:moveTo>
                    <a:pt x="717" y="1"/>
                  </a:moveTo>
                  <a:cubicBezTo>
                    <a:pt x="1" y="30"/>
                    <a:pt x="108" y="2350"/>
                    <a:pt x="82" y="2985"/>
                  </a:cubicBezTo>
                  <a:cubicBezTo>
                    <a:pt x="69" y="3458"/>
                    <a:pt x="82" y="4174"/>
                    <a:pt x="82" y="4174"/>
                  </a:cubicBezTo>
                  <a:lnTo>
                    <a:pt x="283" y="4174"/>
                  </a:lnTo>
                  <a:cubicBezTo>
                    <a:pt x="283" y="4174"/>
                    <a:pt x="283" y="1961"/>
                    <a:pt x="393" y="1083"/>
                  </a:cubicBezTo>
                  <a:cubicBezTo>
                    <a:pt x="487" y="367"/>
                    <a:pt x="717" y="1"/>
                    <a:pt x="717" y="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5" name="Google Shape;1435;p42"/>
            <p:cNvSpPr/>
            <p:nvPr/>
          </p:nvSpPr>
          <p:spPr>
            <a:xfrm>
              <a:off x="4880800" y="5342475"/>
              <a:ext cx="41500" cy="12500"/>
            </a:xfrm>
            <a:custGeom>
              <a:avLst/>
              <a:gdLst/>
              <a:ahLst/>
              <a:cxnLst/>
              <a:rect l="l" t="t" r="r" b="b"/>
              <a:pathLst>
                <a:path w="1660" h="500" extrusionOk="0">
                  <a:moveTo>
                    <a:pt x="1" y="1"/>
                  </a:moveTo>
                  <a:lnTo>
                    <a:pt x="1" y="257"/>
                  </a:lnTo>
                  <a:lnTo>
                    <a:pt x="837" y="500"/>
                  </a:lnTo>
                  <a:lnTo>
                    <a:pt x="1660" y="257"/>
                  </a:lnTo>
                  <a:lnTo>
                    <a:pt x="1660" y="1"/>
                  </a:lnTo>
                  <a:lnTo>
                    <a:pt x="837" y="25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6" name="Google Shape;1436;p42"/>
            <p:cNvSpPr/>
            <p:nvPr/>
          </p:nvSpPr>
          <p:spPr>
            <a:xfrm>
              <a:off x="4918025" y="5327425"/>
              <a:ext cx="3525" cy="2775"/>
            </a:xfrm>
            <a:custGeom>
              <a:avLst/>
              <a:gdLst/>
              <a:ahLst/>
              <a:cxnLst/>
              <a:rect l="l" t="t" r="r" b="b"/>
              <a:pathLst>
                <a:path w="141" h="111" extrusionOk="0">
                  <a:moveTo>
                    <a:pt x="63" y="0"/>
                  </a:moveTo>
                  <a:cubicBezTo>
                    <a:pt x="25" y="0"/>
                    <a:pt x="1" y="45"/>
                    <a:pt x="25" y="88"/>
                  </a:cubicBezTo>
                  <a:cubicBezTo>
                    <a:pt x="25" y="88"/>
                    <a:pt x="25" y="104"/>
                    <a:pt x="38" y="104"/>
                  </a:cubicBezTo>
                  <a:cubicBezTo>
                    <a:pt x="47" y="108"/>
                    <a:pt x="56" y="111"/>
                    <a:pt x="65" y="111"/>
                  </a:cubicBezTo>
                  <a:cubicBezTo>
                    <a:pt x="106" y="111"/>
                    <a:pt x="140" y="66"/>
                    <a:pt x="119" y="23"/>
                  </a:cubicBezTo>
                  <a:cubicBezTo>
                    <a:pt x="106" y="23"/>
                    <a:pt x="106" y="7"/>
                    <a:pt x="90" y="7"/>
                  </a:cubicBezTo>
                  <a:cubicBezTo>
                    <a:pt x="80" y="2"/>
                    <a:pt x="72" y="0"/>
                    <a:pt x="63" y="0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7" name="Google Shape;1437;p42"/>
            <p:cNvSpPr/>
            <p:nvPr/>
          </p:nvSpPr>
          <p:spPr>
            <a:xfrm>
              <a:off x="4918025" y="5332825"/>
              <a:ext cx="3475" cy="2800"/>
            </a:xfrm>
            <a:custGeom>
              <a:avLst/>
              <a:gdLst/>
              <a:ahLst/>
              <a:cxnLst/>
              <a:rect l="l" t="t" r="r" b="b"/>
              <a:pathLst>
                <a:path w="139" h="112" extrusionOk="0">
                  <a:moveTo>
                    <a:pt x="63" y="1"/>
                  </a:moveTo>
                  <a:cubicBezTo>
                    <a:pt x="25" y="1"/>
                    <a:pt x="1" y="44"/>
                    <a:pt x="25" y="89"/>
                  </a:cubicBezTo>
                  <a:cubicBezTo>
                    <a:pt x="25" y="102"/>
                    <a:pt x="25" y="102"/>
                    <a:pt x="38" y="102"/>
                  </a:cubicBezTo>
                  <a:cubicBezTo>
                    <a:pt x="49" y="108"/>
                    <a:pt x="61" y="111"/>
                    <a:pt x="72" y="111"/>
                  </a:cubicBezTo>
                  <a:cubicBezTo>
                    <a:pt x="110" y="111"/>
                    <a:pt x="139" y="76"/>
                    <a:pt x="119" y="34"/>
                  </a:cubicBezTo>
                  <a:cubicBezTo>
                    <a:pt x="106" y="21"/>
                    <a:pt x="106" y="21"/>
                    <a:pt x="90" y="8"/>
                  </a:cubicBezTo>
                  <a:cubicBezTo>
                    <a:pt x="80" y="3"/>
                    <a:pt x="71" y="1"/>
                    <a:pt x="63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8" name="Google Shape;1438;p42"/>
            <p:cNvSpPr/>
            <p:nvPr/>
          </p:nvSpPr>
          <p:spPr>
            <a:xfrm>
              <a:off x="4918050" y="5338575"/>
              <a:ext cx="3475" cy="2725"/>
            </a:xfrm>
            <a:custGeom>
              <a:avLst/>
              <a:gdLst/>
              <a:ahLst/>
              <a:cxnLst/>
              <a:rect l="l" t="t" r="r" b="b"/>
              <a:pathLst>
                <a:path w="139" h="109" extrusionOk="0">
                  <a:moveTo>
                    <a:pt x="61" y="1"/>
                  </a:moveTo>
                  <a:cubicBezTo>
                    <a:pt x="24" y="1"/>
                    <a:pt x="0" y="42"/>
                    <a:pt x="24" y="76"/>
                  </a:cubicBezTo>
                  <a:cubicBezTo>
                    <a:pt x="24" y="89"/>
                    <a:pt x="24" y="102"/>
                    <a:pt x="37" y="102"/>
                  </a:cubicBezTo>
                  <a:cubicBezTo>
                    <a:pt x="46" y="107"/>
                    <a:pt x="56" y="109"/>
                    <a:pt x="65" y="109"/>
                  </a:cubicBezTo>
                  <a:cubicBezTo>
                    <a:pt x="106" y="109"/>
                    <a:pt x="139" y="66"/>
                    <a:pt x="118" y="21"/>
                  </a:cubicBezTo>
                  <a:cubicBezTo>
                    <a:pt x="105" y="21"/>
                    <a:pt x="105" y="8"/>
                    <a:pt x="89" y="8"/>
                  </a:cubicBezTo>
                  <a:cubicBezTo>
                    <a:pt x="79" y="3"/>
                    <a:pt x="70" y="1"/>
                    <a:pt x="61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9" name="Google Shape;1439;p42"/>
            <p:cNvSpPr/>
            <p:nvPr/>
          </p:nvSpPr>
          <p:spPr>
            <a:xfrm>
              <a:off x="4881250" y="5327425"/>
              <a:ext cx="3525" cy="2775"/>
            </a:xfrm>
            <a:custGeom>
              <a:avLst/>
              <a:gdLst/>
              <a:ahLst/>
              <a:cxnLst/>
              <a:rect l="l" t="t" r="r" b="b"/>
              <a:pathLst>
                <a:path w="141" h="111" extrusionOk="0">
                  <a:moveTo>
                    <a:pt x="75" y="0"/>
                  </a:moveTo>
                  <a:cubicBezTo>
                    <a:pt x="34" y="0"/>
                    <a:pt x="0" y="45"/>
                    <a:pt x="22" y="88"/>
                  </a:cubicBezTo>
                  <a:lnTo>
                    <a:pt x="38" y="104"/>
                  </a:lnTo>
                  <a:cubicBezTo>
                    <a:pt x="47" y="108"/>
                    <a:pt x="56" y="111"/>
                    <a:pt x="65" y="111"/>
                  </a:cubicBezTo>
                  <a:cubicBezTo>
                    <a:pt x="107" y="111"/>
                    <a:pt x="140" y="66"/>
                    <a:pt x="119" y="23"/>
                  </a:cubicBezTo>
                  <a:lnTo>
                    <a:pt x="103" y="7"/>
                  </a:lnTo>
                  <a:cubicBezTo>
                    <a:pt x="93" y="2"/>
                    <a:pt x="84" y="0"/>
                    <a:pt x="75" y="0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40" name="Google Shape;1440;p42"/>
            <p:cNvSpPr/>
            <p:nvPr/>
          </p:nvSpPr>
          <p:spPr>
            <a:xfrm>
              <a:off x="4881250" y="5332825"/>
              <a:ext cx="3475" cy="2800"/>
            </a:xfrm>
            <a:custGeom>
              <a:avLst/>
              <a:gdLst/>
              <a:ahLst/>
              <a:cxnLst/>
              <a:rect l="l" t="t" r="r" b="b"/>
              <a:pathLst>
                <a:path w="139" h="112" extrusionOk="0">
                  <a:moveTo>
                    <a:pt x="74" y="1"/>
                  </a:moveTo>
                  <a:cubicBezTo>
                    <a:pt x="33" y="1"/>
                    <a:pt x="0" y="44"/>
                    <a:pt x="22" y="89"/>
                  </a:cubicBezTo>
                  <a:cubicBezTo>
                    <a:pt x="22" y="102"/>
                    <a:pt x="38" y="102"/>
                    <a:pt x="38" y="102"/>
                  </a:cubicBezTo>
                  <a:cubicBezTo>
                    <a:pt x="49" y="108"/>
                    <a:pt x="61" y="111"/>
                    <a:pt x="72" y="111"/>
                  </a:cubicBezTo>
                  <a:cubicBezTo>
                    <a:pt x="110" y="111"/>
                    <a:pt x="139" y="76"/>
                    <a:pt x="119" y="34"/>
                  </a:cubicBezTo>
                  <a:cubicBezTo>
                    <a:pt x="119" y="21"/>
                    <a:pt x="103" y="21"/>
                    <a:pt x="103" y="8"/>
                  </a:cubicBezTo>
                  <a:cubicBezTo>
                    <a:pt x="93" y="3"/>
                    <a:pt x="84" y="1"/>
                    <a:pt x="74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41" name="Google Shape;1441;p42"/>
            <p:cNvSpPr/>
            <p:nvPr/>
          </p:nvSpPr>
          <p:spPr>
            <a:xfrm>
              <a:off x="4881250" y="5338575"/>
              <a:ext cx="3500" cy="2725"/>
            </a:xfrm>
            <a:custGeom>
              <a:avLst/>
              <a:gdLst/>
              <a:ahLst/>
              <a:cxnLst/>
              <a:rect l="l" t="t" r="r" b="b"/>
              <a:pathLst>
                <a:path w="140" h="109" extrusionOk="0">
                  <a:moveTo>
                    <a:pt x="74" y="1"/>
                  </a:moveTo>
                  <a:cubicBezTo>
                    <a:pt x="33" y="1"/>
                    <a:pt x="1" y="42"/>
                    <a:pt x="22" y="76"/>
                  </a:cubicBezTo>
                  <a:cubicBezTo>
                    <a:pt x="22" y="89"/>
                    <a:pt x="38" y="102"/>
                    <a:pt x="38" y="102"/>
                  </a:cubicBezTo>
                  <a:cubicBezTo>
                    <a:pt x="47" y="107"/>
                    <a:pt x="57" y="109"/>
                    <a:pt x="66" y="109"/>
                  </a:cubicBezTo>
                  <a:cubicBezTo>
                    <a:pt x="107" y="109"/>
                    <a:pt x="140" y="66"/>
                    <a:pt x="119" y="21"/>
                  </a:cubicBezTo>
                  <a:lnTo>
                    <a:pt x="103" y="8"/>
                  </a:lnTo>
                  <a:cubicBezTo>
                    <a:pt x="93" y="3"/>
                    <a:pt x="83" y="1"/>
                    <a:pt x="74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42" name="Google Shape;1442;p42"/>
            <p:cNvSpPr/>
            <p:nvPr/>
          </p:nvSpPr>
          <p:spPr>
            <a:xfrm>
              <a:off x="4853425" y="5395125"/>
              <a:ext cx="40525" cy="8975"/>
            </a:xfrm>
            <a:custGeom>
              <a:avLst/>
              <a:gdLst/>
              <a:ahLst/>
              <a:cxnLst/>
              <a:rect l="l" t="t" r="r" b="b"/>
              <a:pathLst>
                <a:path w="1621" h="359" extrusionOk="0">
                  <a:moveTo>
                    <a:pt x="1" y="1"/>
                  </a:moveTo>
                  <a:lnTo>
                    <a:pt x="1" y="108"/>
                  </a:lnTo>
                  <a:cubicBezTo>
                    <a:pt x="1" y="108"/>
                    <a:pt x="404" y="359"/>
                    <a:pt x="1199" y="359"/>
                  </a:cubicBezTo>
                  <a:cubicBezTo>
                    <a:pt x="1326" y="359"/>
                    <a:pt x="1462" y="352"/>
                    <a:pt x="1608" y="338"/>
                  </a:cubicBezTo>
                  <a:lnTo>
                    <a:pt x="1621" y="215"/>
                  </a:lnTo>
                  <a:lnTo>
                    <a:pt x="1621" y="215"/>
                  </a:lnTo>
                  <a:cubicBezTo>
                    <a:pt x="1462" y="232"/>
                    <a:pt x="1315" y="239"/>
                    <a:pt x="1179" y="239"/>
                  </a:cubicBezTo>
                  <a:cubicBezTo>
                    <a:pt x="437" y="239"/>
                    <a:pt x="36" y="23"/>
                    <a:pt x="1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43" name="Google Shape;1443;p42"/>
            <p:cNvSpPr/>
            <p:nvPr/>
          </p:nvSpPr>
          <p:spPr>
            <a:xfrm>
              <a:off x="4908825" y="5395125"/>
              <a:ext cx="41175" cy="8975"/>
            </a:xfrm>
            <a:custGeom>
              <a:avLst/>
              <a:gdLst/>
              <a:ahLst/>
              <a:cxnLst/>
              <a:rect l="l" t="t" r="r" b="b"/>
              <a:pathLst>
                <a:path w="1647" h="359" extrusionOk="0">
                  <a:moveTo>
                    <a:pt x="1647" y="1"/>
                  </a:moveTo>
                  <a:cubicBezTo>
                    <a:pt x="1600" y="23"/>
                    <a:pt x="1209" y="239"/>
                    <a:pt x="461" y="239"/>
                  </a:cubicBezTo>
                  <a:cubicBezTo>
                    <a:pt x="324" y="239"/>
                    <a:pt x="175" y="232"/>
                    <a:pt x="14" y="215"/>
                  </a:cubicBezTo>
                  <a:lnTo>
                    <a:pt x="1" y="215"/>
                  </a:lnTo>
                  <a:lnTo>
                    <a:pt x="14" y="338"/>
                  </a:lnTo>
                  <a:cubicBezTo>
                    <a:pt x="161" y="352"/>
                    <a:pt x="299" y="359"/>
                    <a:pt x="427" y="359"/>
                  </a:cubicBezTo>
                  <a:cubicBezTo>
                    <a:pt x="1234" y="359"/>
                    <a:pt x="1647" y="108"/>
                    <a:pt x="1647" y="108"/>
                  </a:cubicBezTo>
                  <a:lnTo>
                    <a:pt x="1647" y="1"/>
                  </a:ln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AEB3C356-1E81-DE43-E6BC-F831E94558F1}"/>
              </a:ext>
            </a:extLst>
          </p:cNvPr>
          <p:cNvGrpSpPr/>
          <p:nvPr/>
        </p:nvGrpSpPr>
        <p:grpSpPr>
          <a:xfrm>
            <a:off x="2657456" y="1289197"/>
            <a:ext cx="5719061" cy="3050285"/>
            <a:chOff x="6840065" y="6637154"/>
            <a:chExt cx="8864411" cy="3050285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xmlns="" id="{B5C98609-115E-4336-AD42-B80BB908E8AA}"/>
                </a:ext>
              </a:extLst>
            </p:cNvPr>
            <p:cNvSpPr txBox="1"/>
            <p:nvPr/>
          </p:nvSpPr>
          <p:spPr>
            <a:xfrm>
              <a:off x="6887308" y="6640451"/>
              <a:ext cx="8769924" cy="30469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1" i="0" u="none" strike="noStrike" kern="1200" cap="none" spc="-150" normalizeH="0" baseline="0" noProof="0" dirty="0">
                  <a:ln w="342900">
                    <a:solidFill>
                      <a:srgbClr val="CCFFFF"/>
                    </a:solidFill>
                    <a:prstDash val="solid"/>
                  </a:ln>
                  <a:solidFill>
                    <a:srgbClr val="FC6E51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HÀNG XÓM CỦA TÔI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xmlns="" id="{03C84CD2-E1F4-9094-8C13-4CC67CC4FAAD}"/>
                </a:ext>
              </a:extLst>
            </p:cNvPr>
            <p:cNvSpPr txBox="1"/>
            <p:nvPr/>
          </p:nvSpPr>
          <p:spPr>
            <a:xfrm>
              <a:off x="6840065" y="6637154"/>
              <a:ext cx="8864411" cy="30469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689C2D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H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EDB43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À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86343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N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CC99FF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G</a:t>
              </a:r>
              <a:r>
                <a:rPr kumimoji="0" lang="en-US" sz="9600" b="1" i="0" u="none" strike="noStrike" kern="1200" cap="none" spc="-150" normalizeH="0" baseline="0" noProof="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CC99FF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 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00B0F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X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3BE23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Ó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8EBF44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M 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D63F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C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86343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Ủ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00B0F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A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D63F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 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CC99FF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T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D63F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Ô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689C2D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I</a:t>
              </a:r>
              <a:endParaRPr kumimoji="0" lang="en-US" sz="9600" b="1" i="0" u="none" strike="noStrike" kern="1200" cap="none" spc="-150" normalizeH="0" baseline="0" noProof="0" dirty="0">
                <a:ln w="28575">
                  <a:solidFill>
                    <a:srgbClr val="002060"/>
                  </a:solidFill>
                  <a:prstDash val="solid"/>
                </a:ln>
                <a:solidFill>
                  <a:srgbClr val="689C2D"/>
                </a:solidFill>
                <a:effectLst>
                  <a:outerShdw blurRad="12700" dist="38100" dir="2700000" algn="tl" rotWithShape="0">
                    <a:srgbClr val="FC6E51">
                      <a:lumMod val="60000"/>
                      <a:lumOff val="40000"/>
                    </a:srgbClr>
                  </a:outerShdw>
                </a:effectLst>
                <a:uLnTx/>
                <a:uFillTx/>
                <a:latin typeface="UTM Cookies" panose="02040603050506020204" pitchFamily="18" charset="0"/>
                <a:ea typeface="+mn-ea"/>
                <a:cs typeface="+mn-cs"/>
              </a:endParaRPr>
            </a:p>
          </p:txBody>
        </p:sp>
      </p:grpSp>
      <p:pic>
        <p:nvPicPr>
          <p:cNvPr id="7" name="NHẠC DẠO NGẮN 10S">
            <a:hlinkClick r:id="" action="ppaction://media"/>
            <a:extLst>
              <a:ext uri="{FF2B5EF4-FFF2-40B4-BE49-F238E27FC236}">
                <a16:creationId xmlns:a16="http://schemas.microsoft.com/office/drawing/2014/main" xmlns="" id="{4652191A-1B09-B93F-F64A-C69338493B92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2220637" y="-28363"/>
            <a:ext cx="487363" cy="48736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929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4" name="Google Shape;1444;p42"/>
          <p:cNvGrpSpPr/>
          <p:nvPr/>
        </p:nvGrpSpPr>
        <p:grpSpPr>
          <a:xfrm>
            <a:off x="10827031" y="3256440"/>
            <a:ext cx="1290501" cy="2459240"/>
            <a:chOff x="5043100" y="5087650"/>
            <a:chExt cx="202875" cy="386600"/>
          </a:xfrm>
        </p:grpSpPr>
        <p:sp>
          <p:nvSpPr>
            <p:cNvPr id="1445" name="Google Shape;1445;p42"/>
            <p:cNvSpPr/>
            <p:nvPr/>
          </p:nvSpPr>
          <p:spPr>
            <a:xfrm>
              <a:off x="5093750" y="5389700"/>
              <a:ext cx="36475" cy="65875"/>
            </a:xfrm>
            <a:custGeom>
              <a:avLst/>
              <a:gdLst/>
              <a:ahLst/>
              <a:cxnLst/>
              <a:rect l="l" t="t" r="r" b="b"/>
              <a:pathLst>
                <a:path w="1459" h="2635" extrusionOk="0">
                  <a:moveTo>
                    <a:pt x="1" y="1"/>
                  </a:moveTo>
                  <a:lnTo>
                    <a:pt x="69" y="487"/>
                  </a:lnTo>
                  <a:lnTo>
                    <a:pt x="218" y="1702"/>
                  </a:lnTo>
                  <a:lnTo>
                    <a:pt x="338" y="2635"/>
                  </a:lnTo>
                  <a:lnTo>
                    <a:pt x="1446" y="2619"/>
                  </a:lnTo>
                  <a:lnTo>
                    <a:pt x="1459" y="1"/>
                  </a:ln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46" name="Google Shape;1446;p42"/>
            <p:cNvSpPr/>
            <p:nvPr/>
          </p:nvSpPr>
          <p:spPr>
            <a:xfrm>
              <a:off x="5099175" y="5418050"/>
              <a:ext cx="30725" cy="18250"/>
            </a:xfrm>
            <a:custGeom>
              <a:avLst/>
              <a:gdLst/>
              <a:ahLst/>
              <a:cxnLst/>
              <a:rect l="l" t="t" r="r" b="b"/>
              <a:pathLst>
                <a:path w="1229" h="730" extrusionOk="0">
                  <a:moveTo>
                    <a:pt x="1054" y="1"/>
                  </a:moveTo>
                  <a:lnTo>
                    <a:pt x="1041" y="542"/>
                  </a:lnTo>
                  <a:lnTo>
                    <a:pt x="1" y="568"/>
                  </a:lnTo>
                  <a:lnTo>
                    <a:pt x="27" y="730"/>
                  </a:lnTo>
                  <a:lnTo>
                    <a:pt x="1229" y="730"/>
                  </a:lnTo>
                  <a:lnTo>
                    <a:pt x="1229" y="14"/>
                  </a:lnTo>
                  <a:cubicBezTo>
                    <a:pt x="1174" y="14"/>
                    <a:pt x="1106" y="14"/>
                    <a:pt x="1054" y="1"/>
                  </a:cubicBezTo>
                  <a:close/>
                </a:path>
              </a:pathLst>
            </a:custGeom>
            <a:solidFill>
              <a:srgbClr val="E3622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47" name="Google Shape;1447;p42"/>
            <p:cNvSpPr/>
            <p:nvPr/>
          </p:nvSpPr>
          <p:spPr>
            <a:xfrm>
              <a:off x="5082975" y="5436275"/>
              <a:ext cx="50975" cy="36300"/>
            </a:xfrm>
            <a:custGeom>
              <a:avLst/>
              <a:gdLst/>
              <a:ahLst/>
              <a:cxnLst/>
              <a:rect l="l" t="t" r="r" b="b"/>
              <a:pathLst>
                <a:path w="2039" h="1452" extrusionOk="0">
                  <a:moveTo>
                    <a:pt x="620" y="1"/>
                  </a:moveTo>
                  <a:lnTo>
                    <a:pt x="701" y="717"/>
                  </a:lnTo>
                  <a:lnTo>
                    <a:pt x="649" y="798"/>
                  </a:lnTo>
                  <a:lnTo>
                    <a:pt x="474" y="918"/>
                  </a:lnTo>
                  <a:lnTo>
                    <a:pt x="14" y="1122"/>
                  </a:lnTo>
                  <a:cubicBezTo>
                    <a:pt x="14" y="1122"/>
                    <a:pt x="1" y="1365"/>
                    <a:pt x="270" y="1433"/>
                  </a:cubicBezTo>
                  <a:cubicBezTo>
                    <a:pt x="323" y="1446"/>
                    <a:pt x="424" y="1452"/>
                    <a:pt x="551" y="1452"/>
                  </a:cubicBezTo>
                  <a:cubicBezTo>
                    <a:pt x="1059" y="1452"/>
                    <a:pt x="1984" y="1365"/>
                    <a:pt x="1984" y="1365"/>
                  </a:cubicBezTo>
                  <a:cubicBezTo>
                    <a:pt x="2039" y="1161"/>
                    <a:pt x="1932" y="879"/>
                    <a:pt x="1932" y="879"/>
                  </a:cubicBezTo>
                  <a:lnTo>
                    <a:pt x="1916" y="772"/>
                  </a:lnTo>
                  <a:lnTo>
                    <a:pt x="1916" y="1"/>
                  </a:lnTo>
                  <a:close/>
                </a:path>
              </a:pathLst>
            </a:custGeom>
            <a:solidFill>
              <a:srgbClr val="E1F3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48" name="Google Shape;1448;p42"/>
            <p:cNvSpPr/>
            <p:nvPr/>
          </p:nvSpPr>
          <p:spPr>
            <a:xfrm>
              <a:off x="5074550" y="5455875"/>
              <a:ext cx="59400" cy="18375"/>
            </a:xfrm>
            <a:custGeom>
              <a:avLst/>
              <a:gdLst/>
              <a:ahLst/>
              <a:cxnLst/>
              <a:rect l="l" t="t" r="r" b="b"/>
              <a:pathLst>
                <a:path w="2376" h="735" extrusionOk="0">
                  <a:moveTo>
                    <a:pt x="973" y="1"/>
                  </a:moveTo>
                  <a:lnTo>
                    <a:pt x="918" y="53"/>
                  </a:lnTo>
                  <a:cubicBezTo>
                    <a:pt x="1080" y="95"/>
                    <a:pt x="1323" y="244"/>
                    <a:pt x="1443" y="325"/>
                  </a:cubicBezTo>
                  <a:cubicBezTo>
                    <a:pt x="1409" y="328"/>
                    <a:pt x="1377" y="329"/>
                    <a:pt x="1346" y="329"/>
                  </a:cubicBezTo>
                  <a:cubicBezTo>
                    <a:pt x="963" y="329"/>
                    <a:pt x="824" y="121"/>
                    <a:pt x="824" y="121"/>
                  </a:cubicBezTo>
                  <a:cubicBezTo>
                    <a:pt x="824" y="121"/>
                    <a:pt x="649" y="189"/>
                    <a:pt x="471" y="270"/>
                  </a:cubicBezTo>
                  <a:cubicBezTo>
                    <a:pt x="364" y="325"/>
                    <a:pt x="257" y="364"/>
                    <a:pt x="189" y="406"/>
                  </a:cubicBezTo>
                  <a:cubicBezTo>
                    <a:pt x="1" y="500"/>
                    <a:pt x="14" y="620"/>
                    <a:pt x="14" y="620"/>
                  </a:cubicBezTo>
                  <a:cubicBezTo>
                    <a:pt x="193" y="706"/>
                    <a:pt x="509" y="735"/>
                    <a:pt x="851" y="735"/>
                  </a:cubicBezTo>
                  <a:cubicBezTo>
                    <a:pt x="1534" y="735"/>
                    <a:pt x="2321" y="620"/>
                    <a:pt x="2321" y="620"/>
                  </a:cubicBezTo>
                  <a:cubicBezTo>
                    <a:pt x="2376" y="539"/>
                    <a:pt x="2376" y="432"/>
                    <a:pt x="2350" y="338"/>
                  </a:cubicBezTo>
                  <a:cubicBezTo>
                    <a:pt x="2321" y="189"/>
                    <a:pt x="2269" y="69"/>
                    <a:pt x="2269" y="69"/>
                  </a:cubicBezTo>
                  <a:cubicBezTo>
                    <a:pt x="2269" y="69"/>
                    <a:pt x="2227" y="163"/>
                    <a:pt x="1634" y="296"/>
                  </a:cubicBezTo>
                  <a:cubicBezTo>
                    <a:pt x="1592" y="296"/>
                    <a:pt x="1553" y="312"/>
                    <a:pt x="1524" y="312"/>
                  </a:cubicBezTo>
                  <a:cubicBezTo>
                    <a:pt x="1443" y="244"/>
                    <a:pt x="1174" y="40"/>
                    <a:pt x="973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49" name="Google Shape;1449;p42"/>
            <p:cNvSpPr/>
            <p:nvPr/>
          </p:nvSpPr>
          <p:spPr>
            <a:xfrm>
              <a:off x="5074875" y="5462600"/>
              <a:ext cx="58750" cy="11525"/>
            </a:xfrm>
            <a:custGeom>
              <a:avLst/>
              <a:gdLst/>
              <a:ahLst/>
              <a:cxnLst/>
              <a:rect l="l" t="t" r="r" b="b"/>
              <a:pathLst>
                <a:path w="2350" h="461" extrusionOk="0">
                  <a:moveTo>
                    <a:pt x="458" y="1"/>
                  </a:moveTo>
                  <a:cubicBezTo>
                    <a:pt x="351" y="56"/>
                    <a:pt x="244" y="95"/>
                    <a:pt x="176" y="137"/>
                  </a:cubicBezTo>
                  <a:cubicBezTo>
                    <a:pt x="14" y="218"/>
                    <a:pt x="1" y="325"/>
                    <a:pt x="1" y="351"/>
                  </a:cubicBezTo>
                  <a:cubicBezTo>
                    <a:pt x="176" y="432"/>
                    <a:pt x="500" y="461"/>
                    <a:pt x="837" y="461"/>
                  </a:cubicBezTo>
                  <a:cubicBezTo>
                    <a:pt x="1527" y="461"/>
                    <a:pt x="2308" y="351"/>
                    <a:pt x="2308" y="351"/>
                  </a:cubicBezTo>
                  <a:cubicBezTo>
                    <a:pt x="2337" y="299"/>
                    <a:pt x="2350" y="244"/>
                    <a:pt x="2350" y="176"/>
                  </a:cubicBezTo>
                  <a:cubicBezTo>
                    <a:pt x="2350" y="137"/>
                    <a:pt x="2350" y="108"/>
                    <a:pt x="2337" y="69"/>
                  </a:cubicBezTo>
                  <a:cubicBezTo>
                    <a:pt x="1984" y="218"/>
                    <a:pt x="1592" y="257"/>
                    <a:pt x="1216" y="257"/>
                  </a:cubicBezTo>
                  <a:lnTo>
                    <a:pt x="1161" y="257"/>
                  </a:lnTo>
                  <a:cubicBezTo>
                    <a:pt x="1080" y="257"/>
                    <a:pt x="999" y="257"/>
                    <a:pt x="918" y="244"/>
                  </a:cubicBezTo>
                  <a:cubicBezTo>
                    <a:pt x="782" y="218"/>
                    <a:pt x="662" y="150"/>
                    <a:pt x="555" y="82"/>
                  </a:cubicBezTo>
                  <a:cubicBezTo>
                    <a:pt x="526" y="56"/>
                    <a:pt x="487" y="27"/>
                    <a:pt x="458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50" name="Google Shape;1450;p42"/>
            <p:cNvSpPr/>
            <p:nvPr/>
          </p:nvSpPr>
          <p:spPr>
            <a:xfrm>
              <a:off x="5146400" y="5389700"/>
              <a:ext cx="36150" cy="65875"/>
            </a:xfrm>
            <a:custGeom>
              <a:avLst/>
              <a:gdLst/>
              <a:ahLst/>
              <a:cxnLst/>
              <a:rect l="l" t="t" r="r" b="b"/>
              <a:pathLst>
                <a:path w="1446" h="2635" extrusionOk="0">
                  <a:moveTo>
                    <a:pt x="1" y="1"/>
                  </a:moveTo>
                  <a:lnTo>
                    <a:pt x="14" y="2619"/>
                  </a:lnTo>
                  <a:lnTo>
                    <a:pt x="1122" y="2635"/>
                  </a:lnTo>
                  <a:lnTo>
                    <a:pt x="1242" y="1702"/>
                  </a:lnTo>
                  <a:lnTo>
                    <a:pt x="1391" y="513"/>
                  </a:lnTo>
                  <a:lnTo>
                    <a:pt x="1446" y="1"/>
                  </a:ln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51" name="Google Shape;1451;p42"/>
            <p:cNvSpPr/>
            <p:nvPr/>
          </p:nvSpPr>
          <p:spPr>
            <a:xfrm>
              <a:off x="5146400" y="5417725"/>
              <a:ext cx="31050" cy="18575"/>
            </a:xfrm>
            <a:custGeom>
              <a:avLst/>
              <a:gdLst/>
              <a:ahLst/>
              <a:cxnLst/>
              <a:rect l="l" t="t" r="r" b="b"/>
              <a:pathLst>
                <a:path w="1242" h="743" extrusionOk="0">
                  <a:moveTo>
                    <a:pt x="338" y="1"/>
                  </a:moveTo>
                  <a:cubicBezTo>
                    <a:pt x="231" y="14"/>
                    <a:pt x="124" y="27"/>
                    <a:pt x="1" y="27"/>
                  </a:cubicBezTo>
                  <a:lnTo>
                    <a:pt x="14" y="743"/>
                  </a:lnTo>
                  <a:lnTo>
                    <a:pt x="1216" y="743"/>
                  </a:lnTo>
                  <a:lnTo>
                    <a:pt x="1242" y="581"/>
                  </a:lnTo>
                  <a:lnTo>
                    <a:pt x="351" y="555"/>
                  </a:lnTo>
                  <a:lnTo>
                    <a:pt x="338" y="1"/>
                  </a:lnTo>
                  <a:close/>
                </a:path>
              </a:pathLst>
            </a:custGeom>
            <a:solidFill>
              <a:srgbClr val="E3622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52" name="Google Shape;1452;p42"/>
            <p:cNvSpPr/>
            <p:nvPr/>
          </p:nvSpPr>
          <p:spPr>
            <a:xfrm>
              <a:off x="5143000" y="5436275"/>
              <a:ext cx="50650" cy="36300"/>
            </a:xfrm>
            <a:custGeom>
              <a:avLst/>
              <a:gdLst/>
              <a:ahLst/>
              <a:cxnLst/>
              <a:rect l="l" t="t" r="r" b="b"/>
              <a:pathLst>
                <a:path w="2026" h="1452" extrusionOk="0">
                  <a:moveTo>
                    <a:pt x="111" y="1"/>
                  </a:moveTo>
                  <a:lnTo>
                    <a:pt x="124" y="772"/>
                  </a:lnTo>
                  <a:lnTo>
                    <a:pt x="98" y="879"/>
                  </a:lnTo>
                  <a:cubicBezTo>
                    <a:pt x="98" y="879"/>
                    <a:pt x="1" y="1161"/>
                    <a:pt x="43" y="1365"/>
                  </a:cubicBezTo>
                  <a:cubicBezTo>
                    <a:pt x="43" y="1365"/>
                    <a:pt x="976" y="1452"/>
                    <a:pt x="1480" y="1452"/>
                  </a:cubicBezTo>
                  <a:cubicBezTo>
                    <a:pt x="1606" y="1452"/>
                    <a:pt x="1705" y="1446"/>
                    <a:pt x="1757" y="1433"/>
                  </a:cubicBezTo>
                  <a:cubicBezTo>
                    <a:pt x="2026" y="1365"/>
                    <a:pt x="2026" y="1122"/>
                    <a:pt x="2026" y="1122"/>
                  </a:cubicBezTo>
                  <a:lnTo>
                    <a:pt x="1556" y="918"/>
                  </a:lnTo>
                  <a:lnTo>
                    <a:pt x="1394" y="798"/>
                  </a:lnTo>
                  <a:lnTo>
                    <a:pt x="1326" y="717"/>
                  </a:lnTo>
                  <a:lnTo>
                    <a:pt x="1407" y="1"/>
                  </a:lnTo>
                  <a:close/>
                </a:path>
              </a:pathLst>
            </a:custGeom>
            <a:solidFill>
              <a:srgbClr val="E1F3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53" name="Google Shape;1453;p42"/>
            <p:cNvSpPr/>
            <p:nvPr/>
          </p:nvSpPr>
          <p:spPr>
            <a:xfrm>
              <a:off x="5143000" y="5455875"/>
              <a:ext cx="59475" cy="18375"/>
            </a:xfrm>
            <a:custGeom>
              <a:avLst/>
              <a:gdLst/>
              <a:ahLst/>
              <a:cxnLst/>
              <a:rect l="l" t="t" r="r" b="b"/>
              <a:pathLst>
                <a:path w="2379" h="735" extrusionOk="0">
                  <a:moveTo>
                    <a:pt x="1407" y="1"/>
                  </a:moveTo>
                  <a:cubicBezTo>
                    <a:pt x="1203" y="40"/>
                    <a:pt x="934" y="244"/>
                    <a:pt x="853" y="312"/>
                  </a:cubicBezTo>
                  <a:cubicBezTo>
                    <a:pt x="811" y="312"/>
                    <a:pt x="785" y="296"/>
                    <a:pt x="746" y="296"/>
                  </a:cubicBezTo>
                  <a:cubicBezTo>
                    <a:pt x="137" y="163"/>
                    <a:pt x="111" y="69"/>
                    <a:pt x="111" y="69"/>
                  </a:cubicBezTo>
                  <a:cubicBezTo>
                    <a:pt x="111" y="69"/>
                    <a:pt x="30" y="215"/>
                    <a:pt x="17" y="377"/>
                  </a:cubicBezTo>
                  <a:cubicBezTo>
                    <a:pt x="1" y="474"/>
                    <a:pt x="17" y="555"/>
                    <a:pt x="43" y="620"/>
                  </a:cubicBezTo>
                  <a:cubicBezTo>
                    <a:pt x="43" y="620"/>
                    <a:pt x="835" y="735"/>
                    <a:pt x="1523" y="735"/>
                  </a:cubicBezTo>
                  <a:cubicBezTo>
                    <a:pt x="1867" y="735"/>
                    <a:pt x="2185" y="706"/>
                    <a:pt x="2366" y="620"/>
                  </a:cubicBezTo>
                  <a:cubicBezTo>
                    <a:pt x="2366" y="620"/>
                    <a:pt x="2379" y="500"/>
                    <a:pt x="2188" y="406"/>
                  </a:cubicBezTo>
                  <a:cubicBezTo>
                    <a:pt x="2094" y="351"/>
                    <a:pt x="1945" y="283"/>
                    <a:pt x="1812" y="231"/>
                  </a:cubicBezTo>
                  <a:cubicBezTo>
                    <a:pt x="1663" y="176"/>
                    <a:pt x="1556" y="121"/>
                    <a:pt x="1556" y="121"/>
                  </a:cubicBezTo>
                  <a:cubicBezTo>
                    <a:pt x="1556" y="121"/>
                    <a:pt x="1417" y="329"/>
                    <a:pt x="1031" y="329"/>
                  </a:cubicBezTo>
                  <a:cubicBezTo>
                    <a:pt x="1000" y="329"/>
                    <a:pt x="968" y="328"/>
                    <a:pt x="934" y="325"/>
                  </a:cubicBezTo>
                  <a:cubicBezTo>
                    <a:pt x="1054" y="244"/>
                    <a:pt x="1284" y="95"/>
                    <a:pt x="1446" y="53"/>
                  </a:cubicBezTo>
                  <a:lnTo>
                    <a:pt x="140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54" name="Google Shape;1454;p42"/>
            <p:cNvSpPr/>
            <p:nvPr/>
          </p:nvSpPr>
          <p:spPr>
            <a:xfrm>
              <a:off x="5143400" y="5461625"/>
              <a:ext cx="58750" cy="12500"/>
            </a:xfrm>
            <a:custGeom>
              <a:avLst/>
              <a:gdLst/>
              <a:ahLst/>
              <a:cxnLst/>
              <a:rect l="l" t="t" r="r" b="b"/>
              <a:pathLst>
                <a:path w="2350" h="500" extrusionOk="0">
                  <a:moveTo>
                    <a:pt x="1796" y="1"/>
                  </a:moveTo>
                  <a:cubicBezTo>
                    <a:pt x="1754" y="40"/>
                    <a:pt x="1702" y="82"/>
                    <a:pt x="1660" y="121"/>
                  </a:cubicBezTo>
                  <a:cubicBezTo>
                    <a:pt x="1540" y="189"/>
                    <a:pt x="1417" y="257"/>
                    <a:pt x="1297" y="283"/>
                  </a:cubicBezTo>
                  <a:cubicBezTo>
                    <a:pt x="1216" y="296"/>
                    <a:pt x="1135" y="296"/>
                    <a:pt x="1054" y="296"/>
                  </a:cubicBezTo>
                  <a:lnTo>
                    <a:pt x="999" y="296"/>
                  </a:lnTo>
                  <a:cubicBezTo>
                    <a:pt x="662" y="296"/>
                    <a:pt x="309" y="270"/>
                    <a:pt x="1" y="147"/>
                  </a:cubicBezTo>
                  <a:lnTo>
                    <a:pt x="1" y="215"/>
                  </a:lnTo>
                  <a:cubicBezTo>
                    <a:pt x="1" y="283"/>
                    <a:pt x="1" y="338"/>
                    <a:pt x="27" y="390"/>
                  </a:cubicBezTo>
                  <a:cubicBezTo>
                    <a:pt x="27" y="390"/>
                    <a:pt x="824" y="500"/>
                    <a:pt x="1498" y="500"/>
                  </a:cubicBezTo>
                  <a:cubicBezTo>
                    <a:pt x="1848" y="500"/>
                    <a:pt x="2159" y="471"/>
                    <a:pt x="2350" y="390"/>
                  </a:cubicBezTo>
                  <a:cubicBezTo>
                    <a:pt x="2350" y="364"/>
                    <a:pt x="2334" y="257"/>
                    <a:pt x="2172" y="176"/>
                  </a:cubicBezTo>
                  <a:cubicBezTo>
                    <a:pt x="2078" y="121"/>
                    <a:pt x="1929" y="53"/>
                    <a:pt x="1796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55" name="Google Shape;1455;p42"/>
            <p:cNvSpPr/>
            <p:nvPr/>
          </p:nvSpPr>
          <p:spPr>
            <a:xfrm>
              <a:off x="5043100" y="5271925"/>
              <a:ext cx="60800" cy="100675"/>
            </a:xfrm>
            <a:custGeom>
              <a:avLst/>
              <a:gdLst/>
              <a:ahLst/>
              <a:cxnLst/>
              <a:rect l="l" t="t" r="r" b="b"/>
              <a:pathLst>
                <a:path w="2432" h="4027" extrusionOk="0">
                  <a:moveTo>
                    <a:pt x="1298" y="1"/>
                  </a:moveTo>
                  <a:cubicBezTo>
                    <a:pt x="1285" y="69"/>
                    <a:pt x="1272" y="121"/>
                    <a:pt x="1243" y="176"/>
                  </a:cubicBezTo>
                  <a:cubicBezTo>
                    <a:pt x="1204" y="325"/>
                    <a:pt x="1162" y="461"/>
                    <a:pt x="1110" y="607"/>
                  </a:cubicBezTo>
                  <a:cubicBezTo>
                    <a:pt x="919" y="1242"/>
                    <a:pt x="731" y="1890"/>
                    <a:pt x="556" y="2525"/>
                  </a:cubicBezTo>
                  <a:lnTo>
                    <a:pt x="530" y="2606"/>
                  </a:lnTo>
                  <a:cubicBezTo>
                    <a:pt x="530" y="2606"/>
                    <a:pt x="57" y="3147"/>
                    <a:pt x="15" y="3280"/>
                  </a:cubicBezTo>
                  <a:cubicBezTo>
                    <a:pt x="1" y="3316"/>
                    <a:pt x="14" y="3329"/>
                    <a:pt x="40" y="3329"/>
                  </a:cubicBezTo>
                  <a:cubicBezTo>
                    <a:pt x="112" y="3329"/>
                    <a:pt x="287" y="3228"/>
                    <a:pt x="287" y="3228"/>
                  </a:cubicBezTo>
                  <a:lnTo>
                    <a:pt x="287" y="3228"/>
                  </a:lnTo>
                  <a:cubicBezTo>
                    <a:pt x="287" y="3228"/>
                    <a:pt x="44" y="3591"/>
                    <a:pt x="57" y="3659"/>
                  </a:cubicBezTo>
                  <a:cubicBezTo>
                    <a:pt x="59" y="3672"/>
                    <a:pt x="68" y="3678"/>
                    <a:pt x="83" y="3678"/>
                  </a:cubicBezTo>
                  <a:cubicBezTo>
                    <a:pt x="155" y="3678"/>
                    <a:pt x="354" y="3529"/>
                    <a:pt x="433" y="3416"/>
                  </a:cubicBezTo>
                  <a:lnTo>
                    <a:pt x="433" y="3416"/>
                  </a:lnTo>
                  <a:cubicBezTo>
                    <a:pt x="420" y="3442"/>
                    <a:pt x="245" y="3863"/>
                    <a:pt x="313" y="3915"/>
                  </a:cubicBezTo>
                  <a:cubicBezTo>
                    <a:pt x="317" y="3918"/>
                    <a:pt x="323" y="3920"/>
                    <a:pt x="329" y="3920"/>
                  </a:cubicBezTo>
                  <a:cubicBezTo>
                    <a:pt x="416" y="3920"/>
                    <a:pt x="650" y="3591"/>
                    <a:pt x="650" y="3591"/>
                  </a:cubicBezTo>
                  <a:lnTo>
                    <a:pt x="650" y="3591"/>
                  </a:lnTo>
                  <a:cubicBezTo>
                    <a:pt x="650" y="3591"/>
                    <a:pt x="543" y="3996"/>
                    <a:pt x="624" y="4025"/>
                  </a:cubicBezTo>
                  <a:cubicBezTo>
                    <a:pt x="627" y="4026"/>
                    <a:pt x="630" y="4027"/>
                    <a:pt x="633" y="4027"/>
                  </a:cubicBezTo>
                  <a:cubicBezTo>
                    <a:pt x="733" y="4027"/>
                    <a:pt x="961" y="3484"/>
                    <a:pt x="961" y="3484"/>
                  </a:cubicBezTo>
                  <a:cubicBezTo>
                    <a:pt x="961" y="3484"/>
                    <a:pt x="1060" y="3664"/>
                    <a:pt x="1139" y="3664"/>
                  </a:cubicBezTo>
                  <a:cubicBezTo>
                    <a:pt x="1147" y="3664"/>
                    <a:pt x="1154" y="3662"/>
                    <a:pt x="1162" y="3659"/>
                  </a:cubicBezTo>
                  <a:cubicBezTo>
                    <a:pt x="1243" y="3620"/>
                    <a:pt x="1178" y="2930"/>
                    <a:pt x="1178" y="2930"/>
                  </a:cubicBezTo>
                  <a:lnTo>
                    <a:pt x="1635" y="2120"/>
                  </a:lnTo>
                  <a:lnTo>
                    <a:pt x="2432" y="675"/>
                  </a:lnTo>
                  <a:cubicBezTo>
                    <a:pt x="2053" y="445"/>
                    <a:pt x="1677" y="231"/>
                    <a:pt x="1298" y="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56" name="Google Shape;1456;p42"/>
            <p:cNvSpPr/>
            <p:nvPr/>
          </p:nvSpPr>
          <p:spPr>
            <a:xfrm>
              <a:off x="5173050" y="5268850"/>
              <a:ext cx="60825" cy="100650"/>
            </a:xfrm>
            <a:custGeom>
              <a:avLst/>
              <a:gdLst/>
              <a:ahLst/>
              <a:cxnLst/>
              <a:rect l="l" t="t" r="r" b="b"/>
              <a:pathLst>
                <a:path w="2433" h="4026" extrusionOk="0">
                  <a:moveTo>
                    <a:pt x="1135" y="1"/>
                  </a:moveTo>
                  <a:cubicBezTo>
                    <a:pt x="759" y="231"/>
                    <a:pt x="380" y="448"/>
                    <a:pt x="1" y="678"/>
                  </a:cubicBezTo>
                  <a:lnTo>
                    <a:pt x="811" y="2107"/>
                  </a:lnTo>
                  <a:lnTo>
                    <a:pt x="1258" y="2917"/>
                  </a:lnTo>
                  <a:cubicBezTo>
                    <a:pt x="1258" y="2917"/>
                    <a:pt x="1190" y="3607"/>
                    <a:pt x="1271" y="3646"/>
                  </a:cubicBezTo>
                  <a:cubicBezTo>
                    <a:pt x="1278" y="3650"/>
                    <a:pt x="1286" y="3651"/>
                    <a:pt x="1294" y="3651"/>
                  </a:cubicBezTo>
                  <a:cubicBezTo>
                    <a:pt x="1373" y="3651"/>
                    <a:pt x="1472" y="3484"/>
                    <a:pt x="1472" y="3484"/>
                  </a:cubicBezTo>
                  <a:cubicBezTo>
                    <a:pt x="1472" y="3484"/>
                    <a:pt x="1719" y="4026"/>
                    <a:pt x="1806" y="4026"/>
                  </a:cubicBezTo>
                  <a:cubicBezTo>
                    <a:pt x="1808" y="4026"/>
                    <a:pt x="1810" y="4025"/>
                    <a:pt x="1812" y="4025"/>
                  </a:cubicBezTo>
                  <a:cubicBezTo>
                    <a:pt x="1893" y="3986"/>
                    <a:pt x="1783" y="3581"/>
                    <a:pt x="1783" y="3581"/>
                  </a:cubicBezTo>
                  <a:lnTo>
                    <a:pt x="1783" y="3581"/>
                  </a:lnTo>
                  <a:cubicBezTo>
                    <a:pt x="1783" y="3581"/>
                    <a:pt x="2032" y="3910"/>
                    <a:pt x="2107" y="3910"/>
                  </a:cubicBezTo>
                  <a:cubicBezTo>
                    <a:pt x="2112" y="3910"/>
                    <a:pt x="2116" y="3908"/>
                    <a:pt x="2120" y="3905"/>
                  </a:cubicBezTo>
                  <a:cubicBezTo>
                    <a:pt x="2186" y="3864"/>
                    <a:pt x="2022" y="3455"/>
                    <a:pt x="2001" y="3421"/>
                  </a:cubicBezTo>
                  <a:lnTo>
                    <a:pt x="2001" y="3421"/>
                  </a:lnTo>
                  <a:cubicBezTo>
                    <a:pt x="2082" y="3534"/>
                    <a:pt x="2299" y="3676"/>
                    <a:pt x="2370" y="3676"/>
                  </a:cubicBezTo>
                  <a:cubicBezTo>
                    <a:pt x="2382" y="3676"/>
                    <a:pt x="2390" y="3671"/>
                    <a:pt x="2392" y="3662"/>
                  </a:cubicBezTo>
                  <a:cubicBezTo>
                    <a:pt x="2405" y="3581"/>
                    <a:pt x="2149" y="3215"/>
                    <a:pt x="2149" y="3215"/>
                  </a:cubicBezTo>
                  <a:lnTo>
                    <a:pt x="2149" y="3215"/>
                  </a:lnTo>
                  <a:cubicBezTo>
                    <a:pt x="2149" y="3215"/>
                    <a:pt x="2323" y="3324"/>
                    <a:pt x="2394" y="3324"/>
                  </a:cubicBezTo>
                  <a:cubicBezTo>
                    <a:pt x="2420" y="3324"/>
                    <a:pt x="2432" y="3310"/>
                    <a:pt x="2418" y="3270"/>
                  </a:cubicBezTo>
                  <a:cubicBezTo>
                    <a:pt x="2379" y="3134"/>
                    <a:pt x="1906" y="2609"/>
                    <a:pt x="1906" y="2609"/>
                  </a:cubicBezTo>
                  <a:lnTo>
                    <a:pt x="1877" y="2512"/>
                  </a:lnTo>
                  <a:cubicBezTo>
                    <a:pt x="1702" y="1880"/>
                    <a:pt x="1514" y="1245"/>
                    <a:pt x="1326" y="610"/>
                  </a:cubicBezTo>
                  <a:cubicBezTo>
                    <a:pt x="1284" y="461"/>
                    <a:pt x="1229" y="312"/>
                    <a:pt x="1190" y="163"/>
                  </a:cubicBezTo>
                  <a:cubicBezTo>
                    <a:pt x="1177" y="111"/>
                    <a:pt x="1148" y="56"/>
                    <a:pt x="1135" y="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57" name="Google Shape;1457;p42"/>
            <p:cNvSpPr/>
            <p:nvPr/>
          </p:nvSpPr>
          <p:spPr>
            <a:xfrm>
              <a:off x="5111325" y="5221625"/>
              <a:ext cx="54700" cy="67500"/>
            </a:xfrm>
            <a:custGeom>
              <a:avLst/>
              <a:gdLst/>
              <a:ahLst/>
              <a:cxnLst/>
              <a:rect l="l" t="t" r="r" b="b"/>
              <a:pathLst>
                <a:path w="2188" h="2700" extrusionOk="0">
                  <a:moveTo>
                    <a:pt x="2133" y="1"/>
                  </a:moveTo>
                  <a:lnTo>
                    <a:pt x="150" y="529"/>
                  </a:lnTo>
                  <a:cubicBezTo>
                    <a:pt x="150" y="529"/>
                    <a:pt x="215" y="1485"/>
                    <a:pt x="1" y="1971"/>
                  </a:cubicBezTo>
                  <a:lnTo>
                    <a:pt x="607" y="2269"/>
                  </a:lnTo>
                  <a:lnTo>
                    <a:pt x="986" y="2700"/>
                  </a:lnTo>
                  <a:lnTo>
                    <a:pt x="1349" y="2269"/>
                  </a:lnTo>
                  <a:lnTo>
                    <a:pt x="1851" y="1971"/>
                  </a:lnTo>
                  <a:cubicBezTo>
                    <a:pt x="1945" y="1838"/>
                    <a:pt x="2065" y="1715"/>
                    <a:pt x="2188" y="1621"/>
                  </a:cubicBezTo>
                  <a:cubicBezTo>
                    <a:pt x="2078" y="999"/>
                    <a:pt x="2133" y="1"/>
                    <a:pt x="2133" y="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58" name="Google Shape;1458;p42"/>
            <p:cNvSpPr/>
            <p:nvPr/>
          </p:nvSpPr>
          <p:spPr>
            <a:xfrm>
              <a:off x="5119750" y="5224300"/>
              <a:ext cx="44900" cy="17750"/>
            </a:xfrm>
            <a:custGeom>
              <a:avLst/>
              <a:gdLst/>
              <a:ahLst/>
              <a:cxnLst/>
              <a:rect l="l" t="t" r="r" b="b"/>
              <a:pathLst>
                <a:path w="1796" h="710" extrusionOk="0">
                  <a:moveTo>
                    <a:pt x="1796" y="1"/>
                  </a:moveTo>
                  <a:cubicBezTo>
                    <a:pt x="1472" y="218"/>
                    <a:pt x="1067" y="354"/>
                    <a:pt x="594" y="393"/>
                  </a:cubicBezTo>
                  <a:cubicBezTo>
                    <a:pt x="493" y="399"/>
                    <a:pt x="395" y="402"/>
                    <a:pt x="299" y="402"/>
                  </a:cubicBezTo>
                  <a:cubicBezTo>
                    <a:pt x="202" y="402"/>
                    <a:pt x="108" y="399"/>
                    <a:pt x="14" y="393"/>
                  </a:cubicBezTo>
                  <a:cubicBezTo>
                    <a:pt x="14" y="487"/>
                    <a:pt x="14" y="597"/>
                    <a:pt x="1" y="704"/>
                  </a:cubicBezTo>
                  <a:cubicBezTo>
                    <a:pt x="48" y="708"/>
                    <a:pt x="96" y="709"/>
                    <a:pt x="144" y="709"/>
                  </a:cubicBezTo>
                  <a:cubicBezTo>
                    <a:pt x="260" y="709"/>
                    <a:pt x="380" y="700"/>
                    <a:pt x="513" y="691"/>
                  </a:cubicBezTo>
                  <a:cubicBezTo>
                    <a:pt x="1028" y="665"/>
                    <a:pt x="1446" y="503"/>
                    <a:pt x="1796" y="244"/>
                  </a:cubicBezTo>
                  <a:lnTo>
                    <a:pt x="1796" y="1"/>
                  </a:lnTo>
                  <a:close/>
                </a:path>
              </a:pathLst>
            </a:custGeom>
            <a:solidFill>
              <a:srgbClr val="E453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59" name="Google Shape;1459;p42"/>
            <p:cNvSpPr/>
            <p:nvPr/>
          </p:nvSpPr>
          <p:spPr>
            <a:xfrm>
              <a:off x="5066825" y="5099850"/>
              <a:ext cx="145200" cy="134575"/>
            </a:xfrm>
            <a:custGeom>
              <a:avLst/>
              <a:gdLst/>
              <a:ahLst/>
              <a:cxnLst/>
              <a:rect l="l" t="t" r="r" b="b"/>
              <a:pathLst>
                <a:path w="5808" h="5383" extrusionOk="0">
                  <a:moveTo>
                    <a:pt x="2671" y="1"/>
                  </a:moveTo>
                  <a:cubicBezTo>
                    <a:pt x="1836" y="1"/>
                    <a:pt x="1043" y="242"/>
                    <a:pt x="754" y="553"/>
                  </a:cubicBezTo>
                  <a:cubicBezTo>
                    <a:pt x="294" y="1039"/>
                    <a:pt x="362" y="1820"/>
                    <a:pt x="404" y="2374"/>
                  </a:cubicBezTo>
                  <a:cubicBezTo>
                    <a:pt x="417" y="2698"/>
                    <a:pt x="375" y="3035"/>
                    <a:pt x="268" y="3346"/>
                  </a:cubicBezTo>
                  <a:cubicBezTo>
                    <a:pt x="0" y="4141"/>
                    <a:pt x="458" y="5382"/>
                    <a:pt x="2381" y="5382"/>
                  </a:cubicBezTo>
                  <a:cubicBezTo>
                    <a:pt x="2486" y="5382"/>
                    <a:pt x="2596" y="5378"/>
                    <a:pt x="2711" y="5371"/>
                  </a:cubicBezTo>
                  <a:cubicBezTo>
                    <a:pt x="3670" y="5303"/>
                    <a:pt x="4331" y="4778"/>
                    <a:pt x="4723" y="4088"/>
                  </a:cubicBezTo>
                  <a:cubicBezTo>
                    <a:pt x="4750" y="4089"/>
                    <a:pt x="4776" y="4090"/>
                    <a:pt x="4801" y="4090"/>
                  </a:cubicBezTo>
                  <a:cubicBezTo>
                    <a:pt x="5778" y="4090"/>
                    <a:pt x="5807" y="2856"/>
                    <a:pt x="5413" y="2727"/>
                  </a:cubicBezTo>
                  <a:cubicBezTo>
                    <a:pt x="5354" y="2709"/>
                    <a:pt x="5302" y="2702"/>
                    <a:pt x="5255" y="2702"/>
                  </a:cubicBezTo>
                  <a:cubicBezTo>
                    <a:pt x="5224" y="2702"/>
                    <a:pt x="5196" y="2706"/>
                    <a:pt x="5170" y="2711"/>
                  </a:cubicBezTo>
                  <a:cubicBezTo>
                    <a:pt x="5264" y="1875"/>
                    <a:pt x="5073" y="1065"/>
                    <a:pt x="4642" y="660"/>
                  </a:cubicBezTo>
                  <a:cubicBezTo>
                    <a:pt x="4152" y="183"/>
                    <a:pt x="3395" y="1"/>
                    <a:pt x="2671" y="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60" name="Google Shape;1460;p42"/>
            <p:cNvSpPr/>
            <p:nvPr/>
          </p:nvSpPr>
          <p:spPr>
            <a:xfrm>
              <a:off x="5071475" y="5128800"/>
              <a:ext cx="60450" cy="72600"/>
            </a:xfrm>
            <a:custGeom>
              <a:avLst/>
              <a:gdLst/>
              <a:ahLst/>
              <a:cxnLst/>
              <a:rect l="l" t="t" r="r" b="b"/>
              <a:pathLst>
                <a:path w="2418" h="2904" extrusionOk="0">
                  <a:moveTo>
                    <a:pt x="934" y="1"/>
                  </a:moveTo>
                  <a:lnTo>
                    <a:pt x="205" y="1190"/>
                  </a:lnTo>
                  <a:cubicBezTo>
                    <a:pt x="218" y="1190"/>
                    <a:pt x="218" y="1203"/>
                    <a:pt x="218" y="1216"/>
                  </a:cubicBezTo>
                  <a:cubicBezTo>
                    <a:pt x="231" y="1540"/>
                    <a:pt x="189" y="1877"/>
                    <a:pt x="82" y="2188"/>
                  </a:cubicBezTo>
                  <a:cubicBezTo>
                    <a:pt x="56" y="2256"/>
                    <a:pt x="43" y="2324"/>
                    <a:pt x="27" y="2405"/>
                  </a:cubicBezTo>
                  <a:cubicBezTo>
                    <a:pt x="1" y="2554"/>
                    <a:pt x="1" y="2716"/>
                    <a:pt x="27" y="2865"/>
                  </a:cubicBezTo>
                  <a:cubicBezTo>
                    <a:pt x="27" y="2877"/>
                    <a:pt x="40" y="2889"/>
                    <a:pt x="43" y="2901"/>
                  </a:cubicBezTo>
                  <a:lnTo>
                    <a:pt x="43" y="2901"/>
                  </a:lnTo>
                  <a:cubicBezTo>
                    <a:pt x="27" y="2727"/>
                    <a:pt x="56" y="2553"/>
                    <a:pt x="108" y="2405"/>
                  </a:cubicBezTo>
                  <a:cubicBezTo>
                    <a:pt x="218" y="2094"/>
                    <a:pt x="257" y="1757"/>
                    <a:pt x="244" y="1433"/>
                  </a:cubicBezTo>
                  <a:cubicBezTo>
                    <a:pt x="244" y="1420"/>
                    <a:pt x="244" y="1407"/>
                    <a:pt x="231" y="1407"/>
                  </a:cubicBezTo>
                  <a:lnTo>
                    <a:pt x="960" y="218"/>
                  </a:lnTo>
                  <a:cubicBezTo>
                    <a:pt x="960" y="218"/>
                    <a:pt x="1216" y="1216"/>
                    <a:pt x="2418" y="1420"/>
                  </a:cubicBezTo>
                  <a:lnTo>
                    <a:pt x="2175" y="1164"/>
                  </a:lnTo>
                  <a:cubicBezTo>
                    <a:pt x="1161" y="879"/>
                    <a:pt x="934" y="1"/>
                    <a:pt x="934" y="1"/>
                  </a:cubicBezTo>
                  <a:close/>
                  <a:moveTo>
                    <a:pt x="43" y="2901"/>
                  </a:moveTo>
                  <a:cubicBezTo>
                    <a:pt x="43" y="2902"/>
                    <a:pt x="43" y="2903"/>
                    <a:pt x="43" y="2904"/>
                  </a:cubicBezTo>
                  <a:cubicBezTo>
                    <a:pt x="43" y="2903"/>
                    <a:pt x="43" y="2902"/>
                    <a:pt x="43" y="290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61" name="Google Shape;1461;p42"/>
            <p:cNvSpPr/>
            <p:nvPr/>
          </p:nvSpPr>
          <p:spPr>
            <a:xfrm>
              <a:off x="5113675" y="5140300"/>
              <a:ext cx="68225" cy="36800"/>
            </a:xfrm>
            <a:custGeom>
              <a:avLst/>
              <a:gdLst/>
              <a:ahLst/>
              <a:cxnLst/>
              <a:rect l="l" t="t" r="r" b="b"/>
              <a:pathLst>
                <a:path w="2729" h="1472" extrusionOk="0">
                  <a:moveTo>
                    <a:pt x="1" y="1"/>
                  </a:moveTo>
                  <a:lnTo>
                    <a:pt x="461" y="487"/>
                  </a:lnTo>
                  <a:cubicBezTo>
                    <a:pt x="931" y="756"/>
                    <a:pt x="1715" y="1122"/>
                    <a:pt x="2486" y="1122"/>
                  </a:cubicBezTo>
                  <a:lnTo>
                    <a:pt x="2444" y="675"/>
                  </a:lnTo>
                  <a:lnTo>
                    <a:pt x="2444" y="675"/>
                  </a:lnTo>
                  <a:lnTo>
                    <a:pt x="2729" y="1472"/>
                  </a:lnTo>
                  <a:lnTo>
                    <a:pt x="2713" y="1297"/>
                  </a:lnTo>
                  <a:lnTo>
                    <a:pt x="2418" y="461"/>
                  </a:lnTo>
                  <a:lnTo>
                    <a:pt x="2457" y="905"/>
                  </a:lnTo>
                  <a:cubicBezTo>
                    <a:pt x="1242" y="89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EC82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62" name="Google Shape;1462;p42"/>
            <p:cNvSpPr/>
            <p:nvPr/>
          </p:nvSpPr>
          <p:spPr>
            <a:xfrm>
              <a:off x="5134575" y="5160875"/>
              <a:ext cx="31775" cy="27750"/>
            </a:xfrm>
            <a:custGeom>
              <a:avLst/>
              <a:gdLst/>
              <a:ahLst/>
              <a:cxnLst/>
              <a:rect l="l" t="t" r="r" b="b"/>
              <a:pathLst>
                <a:path w="1271" h="1110" extrusionOk="0">
                  <a:moveTo>
                    <a:pt x="710" y="0"/>
                  </a:moveTo>
                  <a:cubicBezTo>
                    <a:pt x="402" y="0"/>
                    <a:pt x="29" y="292"/>
                    <a:pt x="14" y="594"/>
                  </a:cubicBezTo>
                  <a:cubicBezTo>
                    <a:pt x="1" y="892"/>
                    <a:pt x="380" y="1096"/>
                    <a:pt x="678" y="1109"/>
                  </a:cubicBezTo>
                  <a:cubicBezTo>
                    <a:pt x="686" y="1109"/>
                    <a:pt x="694" y="1109"/>
                    <a:pt x="703" y="1109"/>
                  </a:cubicBezTo>
                  <a:cubicBezTo>
                    <a:pt x="999" y="1109"/>
                    <a:pt x="1245" y="883"/>
                    <a:pt x="1258" y="581"/>
                  </a:cubicBezTo>
                  <a:cubicBezTo>
                    <a:pt x="1271" y="270"/>
                    <a:pt x="1028" y="14"/>
                    <a:pt x="730" y="1"/>
                  </a:cubicBezTo>
                  <a:cubicBezTo>
                    <a:pt x="723" y="1"/>
                    <a:pt x="717" y="0"/>
                    <a:pt x="71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63" name="Google Shape;1463;p42"/>
            <p:cNvSpPr/>
            <p:nvPr/>
          </p:nvSpPr>
          <p:spPr>
            <a:xfrm>
              <a:off x="5134575" y="5160300"/>
              <a:ext cx="32100" cy="24250"/>
            </a:xfrm>
            <a:custGeom>
              <a:avLst/>
              <a:gdLst/>
              <a:ahLst/>
              <a:cxnLst/>
              <a:rect l="l" t="t" r="r" b="b"/>
              <a:pathLst>
                <a:path w="1284" h="970" extrusionOk="0">
                  <a:moveTo>
                    <a:pt x="717" y="0"/>
                  </a:moveTo>
                  <a:cubicBezTo>
                    <a:pt x="642" y="0"/>
                    <a:pt x="568" y="18"/>
                    <a:pt x="500" y="37"/>
                  </a:cubicBezTo>
                  <a:cubicBezTo>
                    <a:pt x="406" y="79"/>
                    <a:pt x="312" y="131"/>
                    <a:pt x="231" y="199"/>
                  </a:cubicBezTo>
                  <a:cubicBezTo>
                    <a:pt x="163" y="267"/>
                    <a:pt x="95" y="348"/>
                    <a:pt x="56" y="442"/>
                  </a:cubicBezTo>
                  <a:cubicBezTo>
                    <a:pt x="30" y="484"/>
                    <a:pt x="14" y="536"/>
                    <a:pt x="14" y="591"/>
                  </a:cubicBezTo>
                  <a:cubicBezTo>
                    <a:pt x="1" y="633"/>
                    <a:pt x="14" y="685"/>
                    <a:pt x="30" y="740"/>
                  </a:cubicBezTo>
                  <a:cubicBezTo>
                    <a:pt x="14" y="633"/>
                    <a:pt x="30" y="536"/>
                    <a:pt x="69" y="455"/>
                  </a:cubicBezTo>
                  <a:cubicBezTo>
                    <a:pt x="124" y="361"/>
                    <a:pt x="192" y="293"/>
                    <a:pt x="257" y="228"/>
                  </a:cubicBezTo>
                  <a:cubicBezTo>
                    <a:pt x="338" y="173"/>
                    <a:pt x="419" y="118"/>
                    <a:pt x="516" y="92"/>
                  </a:cubicBezTo>
                  <a:cubicBezTo>
                    <a:pt x="575" y="65"/>
                    <a:pt x="635" y="50"/>
                    <a:pt x="694" y="50"/>
                  </a:cubicBezTo>
                  <a:cubicBezTo>
                    <a:pt x="729" y="50"/>
                    <a:pt x="763" y="55"/>
                    <a:pt x="798" y="66"/>
                  </a:cubicBezTo>
                  <a:cubicBezTo>
                    <a:pt x="986" y="92"/>
                    <a:pt x="1148" y="241"/>
                    <a:pt x="1216" y="416"/>
                  </a:cubicBezTo>
                  <a:cubicBezTo>
                    <a:pt x="1271" y="591"/>
                    <a:pt x="1229" y="808"/>
                    <a:pt x="1096" y="970"/>
                  </a:cubicBezTo>
                  <a:cubicBezTo>
                    <a:pt x="1177" y="902"/>
                    <a:pt x="1229" y="808"/>
                    <a:pt x="1258" y="714"/>
                  </a:cubicBezTo>
                  <a:cubicBezTo>
                    <a:pt x="1284" y="604"/>
                    <a:pt x="1284" y="497"/>
                    <a:pt x="1245" y="403"/>
                  </a:cubicBezTo>
                  <a:cubicBezTo>
                    <a:pt x="1190" y="199"/>
                    <a:pt x="1015" y="37"/>
                    <a:pt x="811" y="11"/>
                  </a:cubicBezTo>
                  <a:cubicBezTo>
                    <a:pt x="779" y="3"/>
                    <a:pt x="748" y="0"/>
                    <a:pt x="717" y="0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64" name="Google Shape;1464;p42"/>
            <p:cNvSpPr/>
            <p:nvPr/>
          </p:nvSpPr>
          <p:spPr>
            <a:xfrm>
              <a:off x="5137325" y="5163225"/>
              <a:ext cx="19875" cy="19625"/>
            </a:xfrm>
            <a:custGeom>
              <a:avLst/>
              <a:gdLst/>
              <a:ahLst/>
              <a:cxnLst/>
              <a:rect l="l" t="t" r="r" b="b"/>
              <a:pathLst>
                <a:path w="795" h="785" extrusionOk="0">
                  <a:moveTo>
                    <a:pt x="419" y="1"/>
                  </a:moveTo>
                  <a:cubicBezTo>
                    <a:pt x="309" y="1"/>
                    <a:pt x="228" y="30"/>
                    <a:pt x="147" y="95"/>
                  </a:cubicBezTo>
                  <a:cubicBezTo>
                    <a:pt x="82" y="150"/>
                    <a:pt x="40" y="218"/>
                    <a:pt x="14" y="312"/>
                  </a:cubicBezTo>
                  <a:lnTo>
                    <a:pt x="14" y="380"/>
                  </a:lnTo>
                  <a:cubicBezTo>
                    <a:pt x="1" y="461"/>
                    <a:pt x="27" y="555"/>
                    <a:pt x="82" y="623"/>
                  </a:cubicBezTo>
                  <a:cubicBezTo>
                    <a:pt x="147" y="704"/>
                    <a:pt x="228" y="759"/>
                    <a:pt x="338" y="772"/>
                  </a:cubicBezTo>
                  <a:cubicBezTo>
                    <a:pt x="351" y="785"/>
                    <a:pt x="364" y="785"/>
                    <a:pt x="377" y="785"/>
                  </a:cubicBezTo>
                  <a:cubicBezTo>
                    <a:pt x="594" y="785"/>
                    <a:pt x="782" y="623"/>
                    <a:pt x="795" y="406"/>
                  </a:cubicBezTo>
                  <a:cubicBezTo>
                    <a:pt x="795" y="380"/>
                    <a:pt x="795" y="338"/>
                    <a:pt x="782" y="312"/>
                  </a:cubicBezTo>
                  <a:cubicBezTo>
                    <a:pt x="756" y="192"/>
                    <a:pt x="675" y="82"/>
                    <a:pt x="568" y="43"/>
                  </a:cubicBezTo>
                  <a:cubicBezTo>
                    <a:pt x="526" y="14"/>
                    <a:pt x="471" y="1"/>
                    <a:pt x="419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65" name="Google Shape;1465;p42"/>
            <p:cNvSpPr/>
            <p:nvPr/>
          </p:nvSpPr>
          <p:spPr>
            <a:xfrm>
              <a:off x="5137650" y="5165575"/>
              <a:ext cx="9100" cy="7150"/>
            </a:xfrm>
            <a:custGeom>
              <a:avLst/>
              <a:gdLst/>
              <a:ahLst/>
              <a:cxnLst/>
              <a:rect l="l" t="t" r="r" b="b"/>
              <a:pathLst>
                <a:path w="364" h="286" extrusionOk="0">
                  <a:moveTo>
                    <a:pt x="134" y="1"/>
                  </a:moveTo>
                  <a:cubicBezTo>
                    <a:pt x="69" y="56"/>
                    <a:pt x="27" y="124"/>
                    <a:pt x="1" y="218"/>
                  </a:cubicBezTo>
                  <a:lnTo>
                    <a:pt x="364" y="286"/>
                  </a:lnTo>
                  <a:lnTo>
                    <a:pt x="134" y="1"/>
                  </a:lnTo>
                  <a:close/>
                </a:path>
              </a:pathLst>
            </a:custGeom>
            <a:solidFill>
              <a:srgbClr val="961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66" name="Google Shape;1466;p42"/>
            <p:cNvSpPr/>
            <p:nvPr/>
          </p:nvSpPr>
          <p:spPr>
            <a:xfrm>
              <a:off x="5139350" y="5172700"/>
              <a:ext cx="7400" cy="9825"/>
            </a:xfrm>
            <a:custGeom>
              <a:avLst/>
              <a:gdLst/>
              <a:ahLst/>
              <a:cxnLst/>
              <a:rect l="l" t="t" r="r" b="b"/>
              <a:pathLst>
                <a:path w="296" h="393" extrusionOk="0">
                  <a:moveTo>
                    <a:pt x="296" y="1"/>
                  </a:moveTo>
                  <a:lnTo>
                    <a:pt x="1" y="244"/>
                  </a:lnTo>
                  <a:cubicBezTo>
                    <a:pt x="66" y="325"/>
                    <a:pt x="147" y="380"/>
                    <a:pt x="257" y="393"/>
                  </a:cubicBezTo>
                  <a:lnTo>
                    <a:pt x="296" y="1"/>
                  </a:lnTo>
                  <a:close/>
                </a:path>
              </a:pathLst>
            </a:custGeom>
            <a:solidFill>
              <a:srgbClr val="961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67" name="Google Shape;1467;p42"/>
            <p:cNvSpPr/>
            <p:nvPr/>
          </p:nvSpPr>
          <p:spPr>
            <a:xfrm>
              <a:off x="5142025" y="5167600"/>
              <a:ext cx="10800" cy="10875"/>
            </a:xfrm>
            <a:custGeom>
              <a:avLst/>
              <a:gdLst/>
              <a:ahLst/>
              <a:cxnLst/>
              <a:rect l="l" t="t" r="r" b="b"/>
              <a:pathLst>
                <a:path w="432" h="435" extrusionOk="0">
                  <a:moveTo>
                    <a:pt x="218" y="1"/>
                  </a:moveTo>
                  <a:cubicBezTo>
                    <a:pt x="108" y="1"/>
                    <a:pt x="1" y="82"/>
                    <a:pt x="1" y="205"/>
                  </a:cubicBezTo>
                  <a:cubicBezTo>
                    <a:pt x="1" y="325"/>
                    <a:pt x="82" y="422"/>
                    <a:pt x="202" y="435"/>
                  </a:cubicBezTo>
                  <a:cubicBezTo>
                    <a:pt x="325" y="435"/>
                    <a:pt x="419" y="341"/>
                    <a:pt x="419" y="218"/>
                  </a:cubicBezTo>
                  <a:cubicBezTo>
                    <a:pt x="432" y="111"/>
                    <a:pt x="338" y="1"/>
                    <a:pt x="218" y="1"/>
                  </a:cubicBezTo>
                  <a:close/>
                </a:path>
              </a:pathLst>
            </a:custGeom>
            <a:solidFill>
              <a:srgbClr val="2C030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68" name="Google Shape;1468;p42"/>
            <p:cNvSpPr/>
            <p:nvPr/>
          </p:nvSpPr>
          <p:spPr>
            <a:xfrm>
              <a:off x="5150775" y="5173675"/>
              <a:ext cx="3100" cy="3100"/>
            </a:xfrm>
            <a:custGeom>
              <a:avLst/>
              <a:gdLst/>
              <a:ahLst/>
              <a:cxnLst/>
              <a:rect l="l" t="t" r="r" b="b"/>
              <a:pathLst>
                <a:path w="124" h="124" extrusionOk="0">
                  <a:moveTo>
                    <a:pt x="69" y="1"/>
                  </a:moveTo>
                  <a:cubicBezTo>
                    <a:pt x="43" y="1"/>
                    <a:pt x="14" y="30"/>
                    <a:pt x="1" y="56"/>
                  </a:cubicBezTo>
                  <a:cubicBezTo>
                    <a:pt x="1" y="98"/>
                    <a:pt x="30" y="124"/>
                    <a:pt x="69" y="124"/>
                  </a:cubicBezTo>
                  <a:cubicBezTo>
                    <a:pt x="95" y="124"/>
                    <a:pt x="124" y="98"/>
                    <a:pt x="124" y="69"/>
                  </a:cubicBezTo>
                  <a:cubicBezTo>
                    <a:pt x="124" y="30"/>
                    <a:pt x="95" y="1"/>
                    <a:pt x="6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69" name="Google Shape;1469;p42"/>
            <p:cNvSpPr/>
            <p:nvPr/>
          </p:nvSpPr>
          <p:spPr>
            <a:xfrm>
              <a:off x="5081600" y="5158525"/>
              <a:ext cx="31450" cy="27750"/>
            </a:xfrm>
            <a:custGeom>
              <a:avLst/>
              <a:gdLst/>
              <a:ahLst/>
              <a:cxnLst/>
              <a:rect l="l" t="t" r="r" b="b"/>
              <a:pathLst>
                <a:path w="1258" h="1110" extrusionOk="0">
                  <a:moveTo>
                    <a:pt x="569" y="0"/>
                  </a:moveTo>
                  <a:cubicBezTo>
                    <a:pt x="272" y="0"/>
                    <a:pt x="26" y="226"/>
                    <a:pt x="14" y="526"/>
                  </a:cubicBezTo>
                  <a:cubicBezTo>
                    <a:pt x="1" y="837"/>
                    <a:pt x="231" y="1093"/>
                    <a:pt x="542" y="1109"/>
                  </a:cubicBezTo>
                  <a:cubicBezTo>
                    <a:pt x="553" y="1109"/>
                    <a:pt x="563" y="1110"/>
                    <a:pt x="574" y="1110"/>
                  </a:cubicBezTo>
                  <a:cubicBezTo>
                    <a:pt x="878" y="1110"/>
                    <a:pt x="1229" y="937"/>
                    <a:pt x="1242" y="649"/>
                  </a:cubicBezTo>
                  <a:cubicBezTo>
                    <a:pt x="1258" y="338"/>
                    <a:pt x="892" y="14"/>
                    <a:pt x="594" y="1"/>
                  </a:cubicBezTo>
                  <a:cubicBezTo>
                    <a:pt x="585" y="0"/>
                    <a:pt x="577" y="0"/>
                    <a:pt x="56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70" name="Google Shape;1470;p42"/>
            <p:cNvSpPr/>
            <p:nvPr/>
          </p:nvSpPr>
          <p:spPr>
            <a:xfrm>
              <a:off x="5081275" y="5157775"/>
              <a:ext cx="31775" cy="23375"/>
            </a:xfrm>
            <a:custGeom>
              <a:avLst/>
              <a:gdLst/>
              <a:ahLst/>
              <a:cxnLst/>
              <a:rect l="l" t="t" r="r" b="b"/>
              <a:pathLst>
                <a:path w="1271" h="935" extrusionOk="0">
                  <a:moveTo>
                    <a:pt x="589" y="0"/>
                  </a:moveTo>
                  <a:cubicBezTo>
                    <a:pt x="568" y="0"/>
                    <a:pt x="547" y="2"/>
                    <a:pt x="526" y="5"/>
                  </a:cubicBezTo>
                  <a:cubicBezTo>
                    <a:pt x="312" y="18"/>
                    <a:pt x="121" y="167"/>
                    <a:pt x="56" y="355"/>
                  </a:cubicBezTo>
                  <a:cubicBezTo>
                    <a:pt x="14" y="449"/>
                    <a:pt x="1" y="556"/>
                    <a:pt x="14" y="666"/>
                  </a:cubicBezTo>
                  <a:cubicBezTo>
                    <a:pt x="40" y="760"/>
                    <a:pt x="82" y="854"/>
                    <a:pt x="150" y="935"/>
                  </a:cubicBezTo>
                  <a:cubicBezTo>
                    <a:pt x="27" y="773"/>
                    <a:pt x="1" y="543"/>
                    <a:pt x="82" y="368"/>
                  </a:cubicBezTo>
                  <a:cubicBezTo>
                    <a:pt x="163" y="193"/>
                    <a:pt x="338" y="70"/>
                    <a:pt x="526" y="57"/>
                  </a:cubicBezTo>
                  <a:cubicBezTo>
                    <a:pt x="543" y="54"/>
                    <a:pt x="560" y="53"/>
                    <a:pt x="577" y="53"/>
                  </a:cubicBezTo>
                  <a:cubicBezTo>
                    <a:pt x="656" y="53"/>
                    <a:pt x="733" y="77"/>
                    <a:pt x="811" y="112"/>
                  </a:cubicBezTo>
                  <a:cubicBezTo>
                    <a:pt x="892" y="151"/>
                    <a:pt x="973" y="206"/>
                    <a:pt x="1054" y="274"/>
                  </a:cubicBezTo>
                  <a:cubicBezTo>
                    <a:pt x="1122" y="342"/>
                    <a:pt x="1174" y="423"/>
                    <a:pt x="1216" y="504"/>
                  </a:cubicBezTo>
                  <a:cubicBezTo>
                    <a:pt x="1255" y="598"/>
                    <a:pt x="1271" y="705"/>
                    <a:pt x="1229" y="799"/>
                  </a:cubicBezTo>
                  <a:cubicBezTo>
                    <a:pt x="1255" y="747"/>
                    <a:pt x="1271" y="705"/>
                    <a:pt x="1271" y="653"/>
                  </a:cubicBezTo>
                  <a:cubicBezTo>
                    <a:pt x="1271" y="598"/>
                    <a:pt x="1255" y="543"/>
                    <a:pt x="1242" y="504"/>
                  </a:cubicBezTo>
                  <a:cubicBezTo>
                    <a:pt x="1203" y="410"/>
                    <a:pt x="1148" y="313"/>
                    <a:pt x="1080" y="248"/>
                  </a:cubicBezTo>
                  <a:cubicBezTo>
                    <a:pt x="1012" y="167"/>
                    <a:pt x="918" y="112"/>
                    <a:pt x="824" y="57"/>
                  </a:cubicBezTo>
                  <a:cubicBezTo>
                    <a:pt x="758" y="25"/>
                    <a:pt x="676" y="0"/>
                    <a:pt x="589" y="0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71" name="Google Shape;1471;p42"/>
            <p:cNvSpPr/>
            <p:nvPr/>
          </p:nvSpPr>
          <p:spPr>
            <a:xfrm>
              <a:off x="5082650" y="5160875"/>
              <a:ext cx="19550" cy="19650"/>
            </a:xfrm>
            <a:custGeom>
              <a:avLst/>
              <a:gdLst/>
              <a:ahLst/>
              <a:cxnLst/>
              <a:rect l="l" t="t" r="r" b="b"/>
              <a:pathLst>
                <a:path w="782" h="786" extrusionOk="0">
                  <a:moveTo>
                    <a:pt x="406" y="1"/>
                  </a:moveTo>
                  <a:cubicBezTo>
                    <a:pt x="309" y="1"/>
                    <a:pt x="215" y="27"/>
                    <a:pt x="134" y="95"/>
                  </a:cubicBezTo>
                  <a:cubicBezTo>
                    <a:pt x="66" y="150"/>
                    <a:pt x="27" y="218"/>
                    <a:pt x="14" y="312"/>
                  </a:cubicBezTo>
                  <a:cubicBezTo>
                    <a:pt x="1" y="338"/>
                    <a:pt x="1" y="351"/>
                    <a:pt x="1" y="380"/>
                  </a:cubicBezTo>
                  <a:cubicBezTo>
                    <a:pt x="1" y="461"/>
                    <a:pt x="27" y="555"/>
                    <a:pt x="66" y="623"/>
                  </a:cubicBezTo>
                  <a:cubicBezTo>
                    <a:pt x="134" y="704"/>
                    <a:pt x="215" y="756"/>
                    <a:pt x="325" y="772"/>
                  </a:cubicBezTo>
                  <a:cubicBezTo>
                    <a:pt x="338" y="785"/>
                    <a:pt x="364" y="785"/>
                    <a:pt x="377" y="785"/>
                  </a:cubicBezTo>
                  <a:cubicBezTo>
                    <a:pt x="384" y="785"/>
                    <a:pt x="392" y="786"/>
                    <a:pt x="399" y="786"/>
                  </a:cubicBezTo>
                  <a:cubicBezTo>
                    <a:pt x="606" y="786"/>
                    <a:pt x="769" y="615"/>
                    <a:pt x="782" y="406"/>
                  </a:cubicBezTo>
                  <a:cubicBezTo>
                    <a:pt x="782" y="380"/>
                    <a:pt x="782" y="351"/>
                    <a:pt x="769" y="312"/>
                  </a:cubicBezTo>
                  <a:cubicBezTo>
                    <a:pt x="756" y="189"/>
                    <a:pt x="662" y="82"/>
                    <a:pt x="552" y="43"/>
                  </a:cubicBezTo>
                  <a:cubicBezTo>
                    <a:pt x="513" y="14"/>
                    <a:pt x="458" y="1"/>
                    <a:pt x="406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72" name="Google Shape;1472;p42"/>
            <p:cNvSpPr/>
            <p:nvPr/>
          </p:nvSpPr>
          <p:spPr>
            <a:xfrm>
              <a:off x="5082975" y="5163225"/>
              <a:ext cx="9100" cy="7150"/>
            </a:xfrm>
            <a:custGeom>
              <a:avLst/>
              <a:gdLst/>
              <a:ahLst/>
              <a:cxnLst/>
              <a:rect l="l" t="t" r="r" b="b"/>
              <a:pathLst>
                <a:path w="364" h="286" extrusionOk="0">
                  <a:moveTo>
                    <a:pt x="121" y="1"/>
                  </a:moveTo>
                  <a:cubicBezTo>
                    <a:pt x="53" y="56"/>
                    <a:pt x="14" y="124"/>
                    <a:pt x="1" y="218"/>
                  </a:cubicBezTo>
                  <a:lnTo>
                    <a:pt x="364" y="286"/>
                  </a:lnTo>
                  <a:lnTo>
                    <a:pt x="121" y="1"/>
                  </a:lnTo>
                  <a:close/>
                </a:path>
              </a:pathLst>
            </a:custGeom>
            <a:solidFill>
              <a:srgbClr val="961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73" name="Google Shape;1473;p42"/>
            <p:cNvSpPr/>
            <p:nvPr/>
          </p:nvSpPr>
          <p:spPr>
            <a:xfrm>
              <a:off x="5084275" y="5170350"/>
              <a:ext cx="7800" cy="9825"/>
            </a:xfrm>
            <a:custGeom>
              <a:avLst/>
              <a:gdLst/>
              <a:ahLst/>
              <a:cxnLst/>
              <a:rect l="l" t="t" r="r" b="b"/>
              <a:pathLst>
                <a:path w="312" h="393" extrusionOk="0">
                  <a:moveTo>
                    <a:pt x="312" y="1"/>
                  </a:moveTo>
                  <a:lnTo>
                    <a:pt x="1" y="244"/>
                  </a:lnTo>
                  <a:cubicBezTo>
                    <a:pt x="69" y="325"/>
                    <a:pt x="150" y="377"/>
                    <a:pt x="260" y="393"/>
                  </a:cubicBezTo>
                  <a:lnTo>
                    <a:pt x="312" y="1"/>
                  </a:lnTo>
                  <a:close/>
                </a:path>
              </a:pathLst>
            </a:custGeom>
            <a:solidFill>
              <a:srgbClr val="961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74" name="Google Shape;1474;p42"/>
            <p:cNvSpPr/>
            <p:nvPr/>
          </p:nvSpPr>
          <p:spPr>
            <a:xfrm>
              <a:off x="5087025" y="5165250"/>
              <a:ext cx="10800" cy="10875"/>
            </a:xfrm>
            <a:custGeom>
              <a:avLst/>
              <a:gdLst/>
              <a:ahLst/>
              <a:cxnLst/>
              <a:rect l="l" t="t" r="r" b="b"/>
              <a:pathLst>
                <a:path w="432" h="435" extrusionOk="0">
                  <a:moveTo>
                    <a:pt x="231" y="1"/>
                  </a:moveTo>
                  <a:cubicBezTo>
                    <a:pt x="108" y="1"/>
                    <a:pt x="1" y="82"/>
                    <a:pt x="1" y="205"/>
                  </a:cubicBezTo>
                  <a:cubicBezTo>
                    <a:pt x="1" y="325"/>
                    <a:pt x="82" y="419"/>
                    <a:pt x="202" y="435"/>
                  </a:cubicBezTo>
                  <a:cubicBezTo>
                    <a:pt x="325" y="435"/>
                    <a:pt x="419" y="338"/>
                    <a:pt x="432" y="231"/>
                  </a:cubicBezTo>
                  <a:cubicBezTo>
                    <a:pt x="432" y="111"/>
                    <a:pt x="338" y="14"/>
                    <a:pt x="231" y="1"/>
                  </a:cubicBezTo>
                  <a:close/>
                </a:path>
              </a:pathLst>
            </a:custGeom>
            <a:solidFill>
              <a:srgbClr val="2C030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75" name="Google Shape;1475;p42"/>
            <p:cNvSpPr/>
            <p:nvPr/>
          </p:nvSpPr>
          <p:spPr>
            <a:xfrm>
              <a:off x="5095775" y="5171325"/>
              <a:ext cx="3425" cy="3100"/>
            </a:xfrm>
            <a:custGeom>
              <a:avLst/>
              <a:gdLst/>
              <a:ahLst/>
              <a:cxnLst/>
              <a:rect l="l" t="t" r="r" b="b"/>
              <a:pathLst>
                <a:path w="137" h="124" extrusionOk="0">
                  <a:moveTo>
                    <a:pt x="69" y="1"/>
                  </a:moveTo>
                  <a:cubicBezTo>
                    <a:pt x="43" y="1"/>
                    <a:pt x="14" y="30"/>
                    <a:pt x="14" y="56"/>
                  </a:cubicBezTo>
                  <a:cubicBezTo>
                    <a:pt x="1" y="95"/>
                    <a:pt x="27" y="124"/>
                    <a:pt x="69" y="124"/>
                  </a:cubicBezTo>
                  <a:cubicBezTo>
                    <a:pt x="95" y="124"/>
                    <a:pt x="124" y="95"/>
                    <a:pt x="124" y="69"/>
                  </a:cubicBezTo>
                  <a:cubicBezTo>
                    <a:pt x="137" y="30"/>
                    <a:pt x="108" y="1"/>
                    <a:pt x="6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76" name="Google Shape;1476;p42"/>
            <p:cNvSpPr/>
            <p:nvPr/>
          </p:nvSpPr>
          <p:spPr>
            <a:xfrm>
              <a:off x="5153050" y="5139750"/>
              <a:ext cx="13950" cy="11475"/>
            </a:xfrm>
            <a:custGeom>
              <a:avLst/>
              <a:gdLst/>
              <a:ahLst/>
              <a:cxnLst/>
              <a:rect l="l" t="t" r="r" b="b"/>
              <a:pathLst>
                <a:path w="558" h="459" extrusionOk="0">
                  <a:moveTo>
                    <a:pt x="185" y="1"/>
                  </a:moveTo>
                  <a:cubicBezTo>
                    <a:pt x="72" y="1"/>
                    <a:pt x="1" y="99"/>
                    <a:pt x="59" y="224"/>
                  </a:cubicBezTo>
                  <a:cubicBezTo>
                    <a:pt x="85" y="292"/>
                    <a:pt x="140" y="334"/>
                    <a:pt x="195" y="373"/>
                  </a:cubicBezTo>
                  <a:cubicBezTo>
                    <a:pt x="247" y="415"/>
                    <a:pt x="289" y="441"/>
                    <a:pt x="357" y="454"/>
                  </a:cubicBezTo>
                  <a:cubicBezTo>
                    <a:pt x="369" y="457"/>
                    <a:pt x="382" y="458"/>
                    <a:pt x="396" y="458"/>
                  </a:cubicBezTo>
                  <a:cubicBezTo>
                    <a:pt x="439" y="458"/>
                    <a:pt x="487" y="442"/>
                    <a:pt x="519" y="402"/>
                  </a:cubicBezTo>
                  <a:cubicBezTo>
                    <a:pt x="558" y="360"/>
                    <a:pt x="558" y="292"/>
                    <a:pt x="532" y="240"/>
                  </a:cubicBezTo>
                  <a:cubicBezTo>
                    <a:pt x="506" y="172"/>
                    <a:pt x="451" y="130"/>
                    <a:pt x="409" y="91"/>
                  </a:cubicBezTo>
                  <a:cubicBezTo>
                    <a:pt x="357" y="62"/>
                    <a:pt x="315" y="23"/>
                    <a:pt x="247" y="10"/>
                  </a:cubicBezTo>
                  <a:cubicBezTo>
                    <a:pt x="225" y="4"/>
                    <a:pt x="205" y="1"/>
                    <a:pt x="185" y="1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77" name="Google Shape;1477;p42"/>
            <p:cNvSpPr/>
            <p:nvPr/>
          </p:nvSpPr>
          <p:spPr>
            <a:xfrm>
              <a:off x="5082975" y="5136825"/>
              <a:ext cx="14350" cy="11050"/>
            </a:xfrm>
            <a:custGeom>
              <a:avLst/>
              <a:gdLst/>
              <a:ahLst/>
              <a:cxnLst/>
              <a:rect l="l" t="t" r="r" b="b"/>
              <a:pathLst>
                <a:path w="574" h="442" extrusionOk="0">
                  <a:moveTo>
                    <a:pt x="365" y="0"/>
                  </a:moveTo>
                  <a:cubicBezTo>
                    <a:pt x="352" y="0"/>
                    <a:pt x="339" y="1"/>
                    <a:pt x="325" y="4"/>
                  </a:cubicBezTo>
                  <a:cubicBezTo>
                    <a:pt x="270" y="17"/>
                    <a:pt x="215" y="46"/>
                    <a:pt x="163" y="85"/>
                  </a:cubicBezTo>
                  <a:cubicBezTo>
                    <a:pt x="108" y="114"/>
                    <a:pt x="69" y="153"/>
                    <a:pt x="27" y="208"/>
                  </a:cubicBezTo>
                  <a:cubicBezTo>
                    <a:pt x="1" y="260"/>
                    <a:pt x="1" y="328"/>
                    <a:pt x="27" y="383"/>
                  </a:cubicBezTo>
                  <a:cubicBezTo>
                    <a:pt x="62" y="415"/>
                    <a:pt x="113" y="441"/>
                    <a:pt x="161" y="441"/>
                  </a:cubicBezTo>
                  <a:cubicBezTo>
                    <a:pt x="170" y="441"/>
                    <a:pt x="180" y="440"/>
                    <a:pt x="189" y="438"/>
                  </a:cubicBezTo>
                  <a:cubicBezTo>
                    <a:pt x="244" y="438"/>
                    <a:pt x="296" y="409"/>
                    <a:pt x="351" y="383"/>
                  </a:cubicBezTo>
                  <a:cubicBezTo>
                    <a:pt x="419" y="341"/>
                    <a:pt x="474" y="302"/>
                    <a:pt x="500" y="247"/>
                  </a:cubicBezTo>
                  <a:cubicBezTo>
                    <a:pt x="573" y="111"/>
                    <a:pt x="492" y="0"/>
                    <a:pt x="365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78" name="Google Shape;1478;p42"/>
            <p:cNvSpPr/>
            <p:nvPr/>
          </p:nvSpPr>
          <p:spPr>
            <a:xfrm>
              <a:off x="5116025" y="5181125"/>
              <a:ext cx="14850" cy="7800"/>
            </a:xfrm>
            <a:custGeom>
              <a:avLst/>
              <a:gdLst/>
              <a:ahLst/>
              <a:cxnLst/>
              <a:rect l="l" t="t" r="r" b="b"/>
              <a:pathLst>
                <a:path w="594" h="312" extrusionOk="0">
                  <a:moveTo>
                    <a:pt x="299" y="1"/>
                  </a:moveTo>
                  <a:lnTo>
                    <a:pt x="244" y="14"/>
                  </a:lnTo>
                  <a:lnTo>
                    <a:pt x="176" y="14"/>
                  </a:lnTo>
                  <a:cubicBezTo>
                    <a:pt x="124" y="27"/>
                    <a:pt x="82" y="27"/>
                    <a:pt x="43" y="69"/>
                  </a:cubicBezTo>
                  <a:cubicBezTo>
                    <a:pt x="27" y="69"/>
                    <a:pt x="27" y="82"/>
                    <a:pt x="14" y="95"/>
                  </a:cubicBezTo>
                  <a:cubicBezTo>
                    <a:pt x="14" y="108"/>
                    <a:pt x="1" y="124"/>
                    <a:pt x="1" y="137"/>
                  </a:cubicBezTo>
                  <a:cubicBezTo>
                    <a:pt x="1" y="163"/>
                    <a:pt x="14" y="189"/>
                    <a:pt x="27" y="205"/>
                  </a:cubicBezTo>
                  <a:cubicBezTo>
                    <a:pt x="56" y="244"/>
                    <a:pt x="82" y="270"/>
                    <a:pt x="108" y="299"/>
                  </a:cubicBezTo>
                  <a:cubicBezTo>
                    <a:pt x="82" y="270"/>
                    <a:pt x="69" y="231"/>
                    <a:pt x="43" y="189"/>
                  </a:cubicBezTo>
                  <a:cubicBezTo>
                    <a:pt x="27" y="150"/>
                    <a:pt x="43" y="124"/>
                    <a:pt x="69" y="95"/>
                  </a:cubicBezTo>
                  <a:cubicBezTo>
                    <a:pt x="95" y="82"/>
                    <a:pt x="137" y="69"/>
                    <a:pt x="176" y="69"/>
                  </a:cubicBezTo>
                  <a:lnTo>
                    <a:pt x="244" y="56"/>
                  </a:lnTo>
                  <a:lnTo>
                    <a:pt x="299" y="56"/>
                  </a:lnTo>
                  <a:cubicBezTo>
                    <a:pt x="325" y="56"/>
                    <a:pt x="351" y="56"/>
                    <a:pt x="367" y="69"/>
                  </a:cubicBezTo>
                  <a:lnTo>
                    <a:pt x="432" y="69"/>
                  </a:lnTo>
                  <a:cubicBezTo>
                    <a:pt x="474" y="69"/>
                    <a:pt x="513" y="82"/>
                    <a:pt x="542" y="108"/>
                  </a:cubicBezTo>
                  <a:cubicBezTo>
                    <a:pt x="568" y="124"/>
                    <a:pt x="555" y="163"/>
                    <a:pt x="542" y="205"/>
                  </a:cubicBezTo>
                  <a:cubicBezTo>
                    <a:pt x="529" y="244"/>
                    <a:pt x="500" y="270"/>
                    <a:pt x="461" y="312"/>
                  </a:cubicBezTo>
                  <a:cubicBezTo>
                    <a:pt x="500" y="286"/>
                    <a:pt x="542" y="257"/>
                    <a:pt x="568" y="218"/>
                  </a:cubicBezTo>
                  <a:cubicBezTo>
                    <a:pt x="581" y="205"/>
                    <a:pt x="581" y="176"/>
                    <a:pt x="594" y="150"/>
                  </a:cubicBezTo>
                  <a:cubicBezTo>
                    <a:pt x="594" y="137"/>
                    <a:pt x="581" y="124"/>
                    <a:pt x="581" y="108"/>
                  </a:cubicBezTo>
                  <a:cubicBezTo>
                    <a:pt x="581" y="95"/>
                    <a:pt x="581" y="82"/>
                    <a:pt x="568" y="82"/>
                  </a:cubicBezTo>
                  <a:cubicBezTo>
                    <a:pt x="529" y="43"/>
                    <a:pt x="487" y="27"/>
                    <a:pt x="432" y="14"/>
                  </a:cubicBezTo>
                  <a:lnTo>
                    <a:pt x="367" y="14"/>
                  </a:lnTo>
                  <a:cubicBezTo>
                    <a:pt x="351" y="14"/>
                    <a:pt x="325" y="1"/>
                    <a:pt x="299" y="1"/>
                  </a:cubicBezTo>
                  <a:close/>
                </a:path>
              </a:pathLst>
            </a:custGeom>
            <a:solidFill>
              <a:srgbClr val="8E20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79" name="Google Shape;1479;p42"/>
            <p:cNvSpPr/>
            <p:nvPr/>
          </p:nvSpPr>
          <p:spPr>
            <a:xfrm>
              <a:off x="5185925" y="5171100"/>
              <a:ext cx="18900" cy="22525"/>
            </a:xfrm>
            <a:custGeom>
              <a:avLst/>
              <a:gdLst/>
              <a:ahLst/>
              <a:cxnLst/>
              <a:rect l="l" t="t" r="r" b="b"/>
              <a:pathLst>
                <a:path w="756" h="901" extrusionOk="0">
                  <a:moveTo>
                    <a:pt x="506" y="0"/>
                  </a:moveTo>
                  <a:cubicBezTo>
                    <a:pt x="486" y="0"/>
                    <a:pt x="466" y="3"/>
                    <a:pt x="445" y="10"/>
                  </a:cubicBezTo>
                  <a:cubicBezTo>
                    <a:pt x="377" y="23"/>
                    <a:pt x="296" y="52"/>
                    <a:pt x="244" y="104"/>
                  </a:cubicBezTo>
                  <a:cubicBezTo>
                    <a:pt x="134" y="201"/>
                    <a:pt x="53" y="334"/>
                    <a:pt x="27" y="470"/>
                  </a:cubicBezTo>
                  <a:cubicBezTo>
                    <a:pt x="14" y="509"/>
                    <a:pt x="1" y="538"/>
                    <a:pt x="1" y="577"/>
                  </a:cubicBezTo>
                  <a:lnTo>
                    <a:pt x="1" y="687"/>
                  </a:lnTo>
                  <a:lnTo>
                    <a:pt x="1" y="794"/>
                  </a:lnTo>
                  <a:cubicBezTo>
                    <a:pt x="14" y="820"/>
                    <a:pt x="14" y="862"/>
                    <a:pt x="14" y="901"/>
                  </a:cubicBezTo>
                  <a:cubicBezTo>
                    <a:pt x="14" y="752"/>
                    <a:pt x="27" y="619"/>
                    <a:pt x="66" y="483"/>
                  </a:cubicBezTo>
                  <a:cubicBezTo>
                    <a:pt x="66" y="444"/>
                    <a:pt x="82" y="415"/>
                    <a:pt x="95" y="389"/>
                  </a:cubicBezTo>
                  <a:cubicBezTo>
                    <a:pt x="121" y="363"/>
                    <a:pt x="121" y="321"/>
                    <a:pt x="147" y="295"/>
                  </a:cubicBezTo>
                  <a:cubicBezTo>
                    <a:pt x="189" y="240"/>
                    <a:pt x="228" y="185"/>
                    <a:pt x="283" y="146"/>
                  </a:cubicBezTo>
                  <a:cubicBezTo>
                    <a:pt x="338" y="104"/>
                    <a:pt x="390" y="65"/>
                    <a:pt x="458" y="52"/>
                  </a:cubicBezTo>
                  <a:cubicBezTo>
                    <a:pt x="475" y="49"/>
                    <a:pt x="491" y="47"/>
                    <a:pt x="506" y="47"/>
                  </a:cubicBezTo>
                  <a:cubicBezTo>
                    <a:pt x="553" y="47"/>
                    <a:pt x="594" y="62"/>
                    <a:pt x="633" y="91"/>
                  </a:cubicBezTo>
                  <a:cubicBezTo>
                    <a:pt x="662" y="120"/>
                    <a:pt x="675" y="146"/>
                    <a:pt x="688" y="172"/>
                  </a:cubicBezTo>
                  <a:cubicBezTo>
                    <a:pt x="701" y="201"/>
                    <a:pt x="714" y="240"/>
                    <a:pt x="730" y="266"/>
                  </a:cubicBezTo>
                  <a:cubicBezTo>
                    <a:pt x="730" y="334"/>
                    <a:pt x="730" y="402"/>
                    <a:pt x="714" y="470"/>
                  </a:cubicBezTo>
                  <a:cubicBezTo>
                    <a:pt x="743" y="415"/>
                    <a:pt x="756" y="334"/>
                    <a:pt x="743" y="266"/>
                  </a:cubicBezTo>
                  <a:cubicBezTo>
                    <a:pt x="743" y="227"/>
                    <a:pt x="743" y="185"/>
                    <a:pt x="730" y="159"/>
                  </a:cubicBezTo>
                  <a:cubicBezTo>
                    <a:pt x="714" y="120"/>
                    <a:pt x="688" y="91"/>
                    <a:pt x="662" y="65"/>
                  </a:cubicBezTo>
                  <a:cubicBezTo>
                    <a:pt x="649" y="52"/>
                    <a:pt x="633" y="39"/>
                    <a:pt x="620" y="23"/>
                  </a:cubicBezTo>
                  <a:cubicBezTo>
                    <a:pt x="594" y="23"/>
                    <a:pt x="581" y="10"/>
                    <a:pt x="568" y="10"/>
                  </a:cubicBezTo>
                  <a:cubicBezTo>
                    <a:pt x="547" y="3"/>
                    <a:pt x="526" y="0"/>
                    <a:pt x="506" y="0"/>
                  </a:cubicBezTo>
                  <a:close/>
                </a:path>
              </a:pathLst>
            </a:custGeom>
            <a:solidFill>
              <a:srgbClr val="E453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0" name="Google Shape;1480;p42"/>
            <p:cNvSpPr/>
            <p:nvPr/>
          </p:nvSpPr>
          <p:spPr>
            <a:xfrm>
              <a:off x="5188275" y="5179050"/>
              <a:ext cx="8125" cy="15300"/>
            </a:xfrm>
            <a:custGeom>
              <a:avLst/>
              <a:gdLst/>
              <a:ahLst/>
              <a:cxnLst/>
              <a:rect l="l" t="t" r="r" b="b"/>
              <a:pathLst>
                <a:path w="325" h="612" extrusionOk="0">
                  <a:moveTo>
                    <a:pt x="126" y="1"/>
                  </a:moveTo>
                  <a:cubicBezTo>
                    <a:pt x="84" y="1"/>
                    <a:pt x="40" y="8"/>
                    <a:pt x="1" y="16"/>
                  </a:cubicBezTo>
                  <a:cubicBezTo>
                    <a:pt x="69" y="16"/>
                    <a:pt x="150" y="29"/>
                    <a:pt x="202" y="58"/>
                  </a:cubicBezTo>
                  <a:cubicBezTo>
                    <a:pt x="257" y="84"/>
                    <a:pt x="270" y="152"/>
                    <a:pt x="257" y="220"/>
                  </a:cubicBezTo>
                  <a:cubicBezTo>
                    <a:pt x="257" y="272"/>
                    <a:pt x="231" y="340"/>
                    <a:pt x="215" y="408"/>
                  </a:cubicBezTo>
                  <a:cubicBezTo>
                    <a:pt x="189" y="476"/>
                    <a:pt x="163" y="544"/>
                    <a:pt x="134" y="612"/>
                  </a:cubicBezTo>
                  <a:cubicBezTo>
                    <a:pt x="189" y="557"/>
                    <a:pt x="215" y="489"/>
                    <a:pt x="257" y="421"/>
                  </a:cubicBezTo>
                  <a:cubicBezTo>
                    <a:pt x="283" y="369"/>
                    <a:pt x="312" y="288"/>
                    <a:pt x="312" y="220"/>
                  </a:cubicBezTo>
                  <a:cubicBezTo>
                    <a:pt x="325" y="178"/>
                    <a:pt x="312" y="139"/>
                    <a:pt x="296" y="97"/>
                  </a:cubicBezTo>
                  <a:cubicBezTo>
                    <a:pt x="283" y="71"/>
                    <a:pt x="257" y="29"/>
                    <a:pt x="215" y="16"/>
                  </a:cubicBezTo>
                  <a:cubicBezTo>
                    <a:pt x="187" y="5"/>
                    <a:pt x="157" y="1"/>
                    <a:pt x="126" y="1"/>
                  </a:cubicBezTo>
                  <a:close/>
                </a:path>
              </a:pathLst>
            </a:custGeom>
            <a:solidFill>
              <a:srgbClr val="E4532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1" name="Google Shape;1481;p42"/>
            <p:cNvSpPr/>
            <p:nvPr/>
          </p:nvSpPr>
          <p:spPr>
            <a:xfrm>
              <a:off x="5101525" y="5192625"/>
              <a:ext cx="43525" cy="18250"/>
            </a:xfrm>
            <a:custGeom>
              <a:avLst/>
              <a:gdLst/>
              <a:ahLst/>
              <a:cxnLst/>
              <a:rect l="l" t="t" r="r" b="b"/>
              <a:pathLst>
                <a:path w="1741" h="730" extrusionOk="0">
                  <a:moveTo>
                    <a:pt x="270" y="1"/>
                  </a:moveTo>
                  <a:cubicBezTo>
                    <a:pt x="202" y="14"/>
                    <a:pt x="163" y="14"/>
                    <a:pt x="137" y="27"/>
                  </a:cubicBezTo>
                  <a:cubicBezTo>
                    <a:pt x="40" y="82"/>
                    <a:pt x="1" y="419"/>
                    <a:pt x="299" y="607"/>
                  </a:cubicBezTo>
                  <a:cubicBezTo>
                    <a:pt x="312" y="607"/>
                    <a:pt x="325" y="620"/>
                    <a:pt x="325" y="620"/>
                  </a:cubicBezTo>
                  <a:cubicBezTo>
                    <a:pt x="445" y="688"/>
                    <a:pt x="594" y="730"/>
                    <a:pt x="811" y="730"/>
                  </a:cubicBezTo>
                  <a:cubicBezTo>
                    <a:pt x="1054" y="730"/>
                    <a:pt x="1229" y="675"/>
                    <a:pt x="1352" y="620"/>
                  </a:cubicBezTo>
                  <a:cubicBezTo>
                    <a:pt x="1365" y="607"/>
                    <a:pt x="1378" y="607"/>
                    <a:pt x="1391" y="594"/>
                  </a:cubicBezTo>
                  <a:cubicBezTo>
                    <a:pt x="1741" y="393"/>
                    <a:pt x="1647" y="27"/>
                    <a:pt x="1498" y="1"/>
                  </a:cubicBezTo>
                  <a:lnTo>
                    <a:pt x="1433" y="1"/>
                  </a:lnTo>
                  <a:cubicBezTo>
                    <a:pt x="1365" y="1"/>
                    <a:pt x="1255" y="1"/>
                    <a:pt x="1174" y="14"/>
                  </a:cubicBezTo>
                  <a:cubicBezTo>
                    <a:pt x="1067" y="27"/>
                    <a:pt x="959" y="33"/>
                    <a:pt x="851" y="33"/>
                  </a:cubicBezTo>
                  <a:cubicBezTo>
                    <a:pt x="743" y="33"/>
                    <a:pt x="634" y="27"/>
                    <a:pt x="526" y="14"/>
                  </a:cubicBezTo>
                  <a:cubicBezTo>
                    <a:pt x="432" y="14"/>
                    <a:pt x="338" y="1"/>
                    <a:pt x="270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2" name="Google Shape;1482;p42"/>
            <p:cNvSpPr/>
            <p:nvPr/>
          </p:nvSpPr>
          <p:spPr>
            <a:xfrm>
              <a:off x="5108250" y="5192625"/>
              <a:ext cx="29425" cy="6225"/>
            </a:xfrm>
            <a:custGeom>
              <a:avLst/>
              <a:gdLst/>
              <a:ahLst/>
              <a:cxnLst/>
              <a:rect l="l" t="t" r="r" b="b"/>
              <a:pathLst>
                <a:path w="1177" h="249" extrusionOk="0">
                  <a:moveTo>
                    <a:pt x="1" y="1"/>
                  </a:moveTo>
                  <a:cubicBezTo>
                    <a:pt x="1" y="95"/>
                    <a:pt x="30" y="231"/>
                    <a:pt x="176" y="244"/>
                  </a:cubicBezTo>
                  <a:cubicBezTo>
                    <a:pt x="236" y="247"/>
                    <a:pt x="315" y="248"/>
                    <a:pt x="402" y="248"/>
                  </a:cubicBezTo>
                  <a:cubicBezTo>
                    <a:pt x="689" y="248"/>
                    <a:pt x="1060" y="231"/>
                    <a:pt x="1122" y="189"/>
                  </a:cubicBezTo>
                  <a:cubicBezTo>
                    <a:pt x="1177" y="163"/>
                    <a:pt x="1177" y="82"/>
                    <a:pt x="1177" y="1"/>
                  </a:cubicBezTo>
                  <a:lnTo>
                    <a:pt x="1164" y="1"/>
                  </a:lnTo>
                  <a:cubicBezTo>
                    <a:pt x="1096" y="1"/>
                    <a:pt x="986" y="1"/>
                    <a:pt x="905" y="14"/>
                  </a:cubicBezTo>
                  <a:cubicBezTo>
                    <a:pt x="798" y="27"/>
                    <a:pt x="690" y="33"/>
                    <a:pt x="582" y="33"/>
                  </a:cubicBezTo>
                  <a:cubicBezTo>
                    <a:pt x="474" y="33"/>
                    <a:pt x="365" y="27"/>
                    <a:pt x="257" y="14"/>
                  </a:cubicBezTo>
                  <a:cubicBezTo>
                    <a:pt x="163" y="14"/>
                    <a:pt x="69" y="1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3" name="Google Shape;1483;p42"/>
            <p:cNvSpPr/>
            <p:nvPr/>
          </p:nvSpPr>
          <p:spPr>
            <a:xfrm>
              <a:off x="5109625" y="5205075"/>
              <a:ext cx="25700" cy="5800"/>
            </a:xfrm>
            <a:custGeom>
              <a:avLst/>
              <a:gdLst/>
              <a:ahLst/>
              <a:cxnLst/>
              <a:rect l="l" t="t" r="r" b="b"/>
              <a:pathLst>
                <a:path w="1028" h="232" extrusionOk="0">
                  <a:moveTo>
                    <a:pt x="490" y="0"/>
                  </a:moveTo>
                  <a:cubicBezTo>
                    <a:pt x="258" y="0"/>
                    <a:pt x="91" y="73"/>
                    <a:pt x="1" y="122"/>
                  </a:cubicBezTo>
                  <a:cubicBezTo>
                    <a:pt x="121" y="190"/>
                    <a:pt x="270" y="232"/>
                    <a:pt x="487" y="232"/>
                  </a:cubicBezTo>
                  <a:cubicBezTo>
                    <a:pt x="730" y="232"/>
                    <a:pt x="905" y="177"/>
                    <a:pt x="1028" y="122"/>
                  </a:cubicBezTo>
                  <a:cubicBezTo>
                    <a:pt x="823" y="32"/>
                    <a:pt x="643" y="0"/>
                    <a:pt x="490" y="0"/>
                  </a:cubicBezTo>
                  <a:close/>
                </a:path>
              </a:pathLst>
            </a:custGeom>
            <a:solidFill>
              <a:srgbClr val="FF967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4" name="Google Shape;1484;p42"/>
            <p:cNvSpPr/>
            <p:nvPr/>
          </p:nvSpPr>
          <p:spPr>
            <a:xfrm>
              <a:off x="5049850" y="5087650"/>
              <a:ext cx="196125" cy="169075"/>
            </a:xfrm>
            <a:custGeom>
              <a:avLst/>
              <a:gdLst/>
              <a:ahLst/>
              <a:cxnLst/>
              <a:rect l="l" t="t" r="r" b="b"/>
              <a:pathLst>
                <a:path w="7845" h="6763" extrusionOk="0">
                  <a:moveTo>
                    <a:pt x="3147" y="1"/>
                  </a:moveTo>
                  <a:cubicBezTo>
                    <a:pt x="2946" y="1"/>
                    <a:pt x="2755" y="14"/>
                    <a:pt x="2554" y="27"/>
                  </a:cubicBezTo>
                  <a:cubicBezTo>
                    <a:pt x="1987" y="95"/>
                    <a:pt x="1365" y="257"/>
                    <a:pt x="1054" y="743"/>
                  </a:cubicBezTo>
                  <a:cubicBezTo>
                    <a:pt x="973" y="866"/>
                    <a:pt x="921" y="999"/>
                    <a:pt x="892" y="1148"/>
                  </a:cubicBezTo>
                  <a:cubicBezTo>
                    <a:pt x="746" y="1715"/>
                    <a:pt x="908" y="2389"/>
                    <a:pt x="678" y="2956"/>
                  </a:cubicBezTo>
                  <a:cubicBezTo>
                    <a:pt x="568" y="3215"/>
                    <a:pt x="393" y="3429"/>
                    <a:pt x="260" y="3659"/>
                  </a:cubicBezTo>
                  <a:cubicBezTo>
                    <a:pt x="111" y="3889"/>
                    <a:pt x="1" y="4171"/>
                    <a:pt x="69" y="4430"/>
                  </a:cubicBezTo>
                  <a:cubicBezTo>
                    <a:pt x="98" y="4576"/>
                    <a:pt x="179" y="4699"/>
                    <a:pt x="218" y="4835"/>
                  </a:cubicBezTo>
                  <a:cubicBezTo>
                    <a:pt x="367" y="5305"/>
                    <a:pt x="56" y="5820"/>
                    <a:pt x="137" y="6319"/>
                  </a:cubicBezTo>
                  <a:cubicBezTo>
                    <a:pt x="218" y="6374"/>
                    <a:pt x="312" y="6426"/>
                    <a:pt x="406" y="6468"/>
                  </a:cubicBezTo>
                  <a:cubicBezTo>
                    <a:pt x="461" y="6494"/>
                    <a:pt x="516" y="6520"/>
                    <a:pt x="555" y="6536"/>
                  </a:cubicBezTo>
                  <a:cubicBezTo>
                    <a:pt x="584" y="6549"/>
                    <a:pt x="597" y="6549"/>
                    <a:pt x="610" y="6562"/>
                  </a:cubicBezTo>
                  <a:cubicBezTo>
                    <a:pt x="597" y="6400"/>
                    <a:pt x="584" y="5846"/>
                    <a:pt x="798" y="5535"/>
                  </a:cubicBezTo>
                  <a:lnTo>
                    <a:pt x="798" y="5535"/>
                  </a:lnTo>
                  <a:cubicBezTo>
                    <a:pt x="798" y="5535"/>
                    <a:pt x="746" y="6196"/>
                    <a:pt x="785" y="6536"/>
                  </a:cubicBezTo>
                  <a:cubicBezTo>
                    <a:pt x="798" y="6575"/>
                    <a:pt x="798" y="6601"/>
                    <a:pt x="811" y="6630"/>
                  </a:cubicBezTo>
                  <a:cubicBezTo>
                    <a:pt x="811" y="6630"/>
                    <a:pt x="827" y="6643"/>
                    <a:pt x="840" y="6643"/>
                  </a:cubicBezTo>
                  <a:cubicBezTo>
                    <a:pt x="934" y="6669"/>
                    <a:pt x="1015" y="6698"/>
                    <a:pt x="1109" y="6711"/>
                  </a:cubicBezTo>
                  <a:cubicBezTo>
                    <a:pt x="1232" y="6724"/>
                    <a:pt x="1339" y="6750"/>
                    <a:pt x="1459" y="6763"/>
                  </a:cubicBezTo>
                  <a:cubicBezTo>
                    <a:pt x="1608" y="6630"/>
                    <a:pt x="2055" y="6468"/>
                    <a:pt x="2269" y="6413"/>
                  </a:cubicBezTo>
                  <a:cubicBezTo>
                    <a:pt x="2311" y="6400"/>
                    <a:pt x="2337" y="6387"/>
                    <a:pt x="2350" y="6387"/>
                  </a:cubicBezTo>
                  <a:cubicBezTo>
                    <a:pt x="2473" y="6358"/>
                    <a:pt x="2567" y="6358"/>
                    <a:pt x="2567" y="6358"/>
                  </a:cubicBezTo>
                  <a:lnTo>
                    <a:pt x="2755" y="6358"/>
                  </a:lnTo>
                  <a:cubicBezTo>
                    <a:pt x="2810" y="6183"/>
                    <a:pt x="2810" y="5995"/>
                    <a:pt x="2810" y="5859"/>
                  </a:cubicBezTo>
                  <a:cubicBezTo>
                    <a:pt x="2648" y="5846"/>
                    <a:pt x="2486" y="5833"/>
                    <a:pt x="2337" y="5807"/>
                  </a:cubicBezTo>
                  <a:cubicBezTo>
                    <a:pt x="1812" y="5684"/>
                    <a:pt x="1446" y="5454"/>
                    <a:pt x="1203" y="5185"/>
                  </a:cubicBezTo>
                  <a:cubicBezTo>
                    <a:pt x="1203" y="5172"/>
                    <a:pt x="1190" y="5172"/>
                    <a:pt x="1190" y="5159"/>
                  </a:cubicBezTo>
                  <a:cubicBezTo>
                    <a:pt x="866" y="4738"/>
                    <a:pt x="811" y="4226"/>
                    <a:pt x="947" y="3834"/>
                  </a:cubicBezTo>
                  <a:cubicBezTo>
                    <a:pt x="973" y="3753"/>
                    <a:pt x="989" y="3685"/>
                    <a:pt x="1015" y="3604"/>
                  </a:cubicBezTo>
                  <a:cubicBezTo>
                    <a:pt x="1070" y="3377"/>
                    <a:pt x="1096" y="3134"/>
                    <a:pt x="1083" y="2891"/>
                  </a:cubicBezTo>
                  <a:lnTo>
                    <a:pt x="1083" y="2862"/>
                  </a:lnTo>
                  <a:cubicBezTo>
                    <a:pt x="1083" y="2849"/>
                    <a:pt x="1083" y="2836"/>
                    <a:pt x="1070" y="2836"/>
                  </a:cubicBezTo>
                  <a:lnTo>
                    <a:pt x="1096" y="2794"/>
                  </a:lnTo>
                  <a:lnTo>
                    <a:pt x="1799" y="1647"/>
                  </a:lnTo>
                  <a:cubicBezTo>
                    <a:pt x="1799" y="1647"/>
                    <a:pt x="1880" y="1971"/>
                    <a:pt x="2175" y="2295"/>
                  </a:cubicBezTo>
                  <a:cubicBezTo>
                    <a:pt x="2392" y="2525"/>
                    <a:pt x="2742" y="2768"/>
                    <a:pt x="3257" y="2849"/>
                  </a:cubicBezTo>
                  <a:lnTo>
                    <a:pt x="3215" y="2810"/>
                  </a:lnTo>
                  <a:lnTo>
                    <a:pt x="2554" y="2107"/>
                  </a:lnTo>
                  <a:lnTo>
                    <a:pt x="2554" y="2107"/>
                  </a:lnTo>
                  <a:cubicBezTo>
                    <a:pt x="2554" y="2107"/>
                    <a:pt x="2904" y="2363"/>
                    <a:pt x="3432" y="2606"/>
                  </a:cubicBezTo>
                  <a:cubicBezTo>
                    <a:pt x="3863" y="2810"/>
                    <a:pt x="4417" y="2998"/>
                    <a:pt x="4971" y="3011"/>
                  </a:cubicBezTo>
                  <a:lnTo>
                    <a:pt x="5010" y="3011"/>
                  </a:lnTo>
                  <a:lnTo>
                    <a:pt x="4971" y="2567"/>
                  </a:lnTo>
                  <a:lnTo>
                    <a:pt x="5023" y="2729"/>
                  </a:lnTo>
                  <a:lnTo>
                    <a:pt x="5266" y="3403"/>
                  </a:lnTo>
                  <a:lnTo>
                    <a:pt x="5295" y="3863"/>
                  </a:lnTo>
                  <a:cubicBezTo>
                    <a:pt x="5295" y="3863"/>
                    <a:pt x="5606" y="3552"/>
                    <a:pt x="5833" y="3280"/>
                  </a:cubicBezTo>
                  <a:cubicBezTo>
                    <a:pt x="5862" y="3254"/>
                    <a:pt x="5888" y="3228"/>
                    <a:pt x="5901" y="3199"/>
                  </a:cubicBezTo>
                  <a:cubicBezTo>
                    <a:pt x="5923" y="3194"/>
                    <a:pt x="5947" y="3190"/>
                    <a:pt x="5972" y="3190"/>
                  </a:cubicBezTo>
                  <a:cubicBezTo>
                    <a:pt x="6010" y="3190"/>
                    <a:pt x="6051" y="3197"/>
                    <a:pt x="6092" y="3215"/>
                  </a:cubicBezTo>
                  <a:cubicBezTo>
                    <a:pt x="6254" y="3267"/>
                    <a:pt x="6348" y="3523"/>
                    <a:pt x="6319" y="3808"/>
                  </a:cubicBezTo>
                  <a:cubicBezTo>
                    <a:pt x="6293" y="4077"/>
                    <a:pt x="6144" y="4388"/>
                    <a:pt x="5833" y="4524"/>
                  </a:cubicBezTo>
                  <a:cubicBezTo>
                    <a:pt x="5739" y="4550"/>
                    <a:pt x="5658" y="4576"/>
                    <a:pt x="5551" y="4576"/>
                  </a:cubicBezTo>
                  <a:lnTo>
                    <a:pt x="5402" y="4576"/>
                  </a:lnTo>
                  <a:cubicBezTo>
                    <a:pt x="5295" y="4780"/>
                    <a:pt x="5159" y="4968"/>
                    <a:pt x="4997" y="5130"/>
                  </a:cubicBezTo>
                  <a:cubicBezTo>
                    <a:pt x="4903" y="5224"/>
                    <a:pt x="4796" y="5321"/>
                    <a:pt x="4686" y="5402"/>
                  </a:cubicBezTo>
                  <a:cubicBezTo>
                    <a:pt x="4660" y="5415"/>
                    <a:pt x="4634" y="5441"/>
                    <a:pt x="4592" y="5467"/>
                  </a:cubicBezTo>
                  <a:cubicBezTo>
                    <a:pt x="4579" y="5671"/>
                    <a:pt x="4579" y="6102"/>
                    <a:pt x="4660" y="6387"/>
                  </a:cubicBezTo>
                  <a:cubicBezTo>
                    <a:pt x="4699" y="6387"/>
                    <a:pt x="4741" y="6400"/>
                    <a:pt x="4780" y="6413"/>
                  </a:cubicBezTo>
                  <a:lnTo>
                    <a:pt x="4809" y="6413"/>
                  </a:lnTo>
                  <a:cubicBezTo>
                    <a:pt x="4890" y="6426"/>
                    <a:pt x="4958" y="6455"/>
                    <a:pt x="5039" y="6481"/>
                  </a:cubicBezTo>
                  <a:cubicBezTo>
                    <a:pt x="5120" y="6507"/>
                    <a:pt x="5214" y="6549"/>
                    <a:pt x="5295" y="6588"/>
                  </a:cubicBezTo>
                  <a:lnTo>
                    <a:pt x="5428" y="6588"/>
                  </a:lnTo>
                  <a:cubicBezTo>
                    <a:pt x="5577" y="6588"/>
                    <a:pt x="5713" y="6575"/>
                    <a:pt x="5849" y="6562"/>
                  </a:cubicBezTo>
                  <a:cubicBezTo>
                    <a:pt x="5875" y="6562"/>
                    <a:pt x="5888" y="6549"/>
                    <a:pt x="5914" y="6549"/>
                  </a:cubicBezTo>
                  <a:cubicBezTo>
                    <a:pt x="6186" y="6507"/>
                    <a:pt x="6455" y="6455"/>
                    <a:pt x="6711" y="6374"/>
                  </a:cubicBezTo>
                  <a:cubicBezTo>
                    <a:pt x="6659" y="6170"/>
                    <a:pt x="6497" y="5684"/>
                    <a:pt x="6497" y="5548"/>
                  </a:cubicBezTo>
                  <a:lnTo>
                    <a:pt x="6497" y="5548"/>
                  </a:lnTo>
                  <a:lnTo>
                    <a:pt x="6902" y="6306"/>
                  </a:lnTo>
                  <a:cubicBezTo>
                    <a:pt x="7035" y="6251"/>
                    <a:pt x="7171" y="6196"/>
                    <a:pt x="7307" y="6131"/>
                  </a:cubicBezTo>
                  <a:cubicBezTo>
                    <a:pt x="7388" y="6089"/>
                    <a:pt x="7482" y="6050"/>
                    <a:pt x="7563" y="5995"/>
                  </a:cubicBezTo>
                  <a:cubicBezTo>
                    <a:pt x="7615" y="5969"/>
                    <a:pt x="7683" y="5927"/>
                    <a:pt x="7738" y="5901"/>
                  </a:cubicBezTo>
                  <a:cubicBezTo>
                    <a:pt x="7777" y="5872"/>
                    <a:pt x="7806" y="5846"/>
                    <a:pt x="7845" y="5820"/>
                  </a:cubicBezTo>
                  <a:cubicBezTo>
                    <a:pt x="7819" y="5441"/>
                    <a:pt x="7320" y="5198"/>
                    <a:pt x="7307" y="4806"/>
                  </a:cubicBezTo>
                  <a:cubicBezTo>
                    <a:pt x="7291" y="4592"/>
                    <a:pt x="7440" y="4388"/>
                    <a:pt x="7469" y="4171"/>
                  </a:cubicBezTo>
                  <a:cubicBezTo>
                    <a:pt x="7495" y="3902"/>
                    <a:pt x="7333" y="3659"/>
                    <a:pt x="7171" y="3458"/>
                  </a:cubicBezTo>
                  <a:cubicBezTo>
                    <a:pt x="6983" y="3215"/>
                    <a:pt x="6766" y="2985"/>
                    <a:pt x="6617" y="2729"/>
                  </a:cubicBezTo>
                  <a:cubicBezTo>
                    <a:pt x="6319" y="2243"/>
                    <a:pt x="6361" y="1378"/>
                    <a:pt x="5862" y="1028"/>
                  </a:cubicBezTo>
                  <a:cubicBezTo>
                    <a:pt x="5794" y="986"/>
                    <a:pt x="5713" y="947"/>
                    <a:pt x="5619" y="918"/>
                  </a:cubicBezTo>
                  <a:cubicBezTo>
                    <a:pt x="5606" y="918"/>
                    <a:pt x="5590" y="905"/>
                    <a:pt x="5564" y="905"/>
                  </a:cubicBezTo>
                  <a:lnTo>
                    <a:pt x="5525" y="866"/>
                  </a:lnTo>
                  <a:cubicBezTo>
                    <a:pt x="5146" y="513"/>
                    <a:pt x="4634" y="257"/>
                    <a:pt x="4148" y="137"/>
                  </a:cubicBezTo>
                  <a:cubicBezTo>
                    <a:pt x="4012" y="95"/>
                    <a:pt x="3876" y="69"/>
                    <a:pt x="3743" y="56"/>
                  </a:cubicBezTo>
                  <a:cubicBezTo>
                    <a:pt x="3539" y="27"/>
                    <a:pt x="3351" y="14"/>
                    <a:pt x="3147" y="1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5" name="Google Shape;1485;p42"/>
            <p:cNvSpPr/>
            <p:nvPr/>
          </p:nvSpPr>
          <p:spPr>
            <a:xfrm>
              <a:off x="5069450" y="5217250"/>
              <a:ext cx="38825" cy="36800"/>
            </a:xfrm>
            <a:custGeom>
              <a:avLst/>
              <a:gdLst/>
              <a:ahLst/>
              <a:cxnLst/>
              <a:rect l="l" t="t" r="r" b="b"/>
              <a:pathLst>
                <a:path w="1553" h="1472" extrusionOk="0">
                  <a:moveTo>
                    <a:pt x="419" y="1"/>
                  </a:moveTo>
                  <a:cubicBezTo>
                    <a:pt x="419" y="69"/>
                    <a:pt x="393" y="137"/>
                    <a:pt x="380" y="189"/>
                  </a:cubicBezTo>
                  <a:cubicBezTo>
                    <a:pt x="299" y="474"/>
                    <a:pt x="176" y="743"/>
                    <a:pt x="82" y="1012"/>
                  </a:cubicBezTo>
                  <a:cubicBezTo>
                    <a:pt x="69" y="1054"/>
                    <a:pt x="56" y="1093"/>
                    <a:pt x="56" y="1135"/>
                  </a:cubicBezTo>
                  <a:cubicBezTo>
                    <a:pt x="27" y="1203"/>
                    <a:pt x="14" y="1284"/>
                    <a:pt x="1" y="1352"/>
                  </a:cubicBezTo>
                  <a:cubicBezTo>
                    <a:pt x="14" y="1391"/>
                    <a:pt x="14" y="1417"/>
                    <a:pt x="27" y="1446"/>
                  </a:cubicBezTo>
                  <a:cubicBezTo>
                    <a:pt x="27" y="1446"/>
                    <a:pt x="43" y="1459"/>
                    <a:pt x="56" y="1459"/>
                  </a:cubicBezTo>
                  <a:cubicBezTo>
                    <a:pt x="82" y="1459"/>
                    <a:pt x="95" y="1472"/>
                    <a:pt x="124" y="1472"/>
                  </a:cubicBezTo>
                  <a:cubicBezTo>
                    <a:pt x="393" y="1174"/>
                    <a:pt x="691" y="1093"/>
                    <a:pt x="918" y="1093"/>
                  </a:cubicBezTo>
                  <a:cubicBezTo>
                    <a:pt x="1122" y="1093"/>
                    <a:pt x="1284" y="1148"/>
                    <a:pt x="1378" y="1190"/>
                  </a:cubicBezTo>
                  <a:lnTo>
                    <a:pt x="1378" y="1174"/>
                  </a:lnTo>
                  <a:lnTo>
                    <a:pt x="1391" y="1174"/>
                  </a:lnTo>
                  <a:lnTo>
                    <a:pt x="1391" y="1148"/>
                  </a:lnTo>
                  <a:lnTo>
                    <a:pt x="1472" y="1148"/>
                  </a:lnTo>
                  <a:cubicBezTo>
                    <a:pt x="1459" y="973"/>
                    <a:pt x="1514" y="798"/>
                    <a:pt x="1553" y="623"/>
                  </a:cubicBezTo>
                  <a:cubicBezTo>
                    <a:pt x="1109" y="526"/>
                    <a:pt x="772" y="338"/>
                    <a:pt x="542" y="121"/>
                  </a:cubicBezTo>
                  <a:lnTo>
                    <a:pt x="529" y="108"/>
                  </a:lnTo>
                  <a:cubicBezTo>
                    <a:pt x="487" y="69"/>
                    <a:pt x="461" y="40"/>
                    <a:pt x="419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6" name="Google Shape;1486;p42"/>
            <p:cNvSpPr/>
            <p:nvPr/>
          </p:nvSpPr>
          <p:spPr>
            <a:xfrm>
              <a:off x="5076900" y="5159175"/>
              <a:ext cx="25" cy="75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1"/>
                  </a:move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B08D9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7" name="Google Shape;1487;p42"/>
            <p:cNvSpPr/>
            <p:nvPr/>
          </p:nvSpPr>
          <p:spPr>
            <a:xfrm>
              <a:off x="5076575" y="5157475"/>
              <a:ext cx="675" cy="2450"/>
            </a:xfrm>
            <a:custGeom>
              <a:avLst/>
              <a:gdLst/>
              <a:ahLst/>
              <a:cxnLst/>
              <a:rect l="l" t="t" r="r" b="b"/>
              <a:pathLst>
                <a:path w="27" h="98" extrusionOk="0">
                  <a:moveTo>
                    <a:pt x="27" y="1"/>
                  </a:moveTo>
                  <a:lnTo>
                    <a:pt x="1" y="43"/>
                  </a:lnTo>
                  <a:cubicBezTo>
                    <a:pt x="14" y="43"/>
                    <a:pt x="14" y="56"/>
                    <a:pt x="14" y="69"/>
                  </a:cubicBezTo>
                  <a:lnTo>
                    <a:pt x="14" y="98"/>
                  </a:lnTo>
                  <a:cubicBezTo>
                    <a:pt x="14" y="69"/>
                    <a:pt x="27" y="30"/>
                    <a:pt x="27" y="1"/>
                  </a:cubicBezTo>
                  <a:close/>
                </a:path>
              </a:pathLst>
            </a:custGeom>
            <a:solidFill>
              <a:srgbClr val="A348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8" name="Google Shape;1488;p42"/>
            <p:cNvSpPr/>
            <p:nvPr/>
          </p:nvSpPr>
          <p:spPr>
            <a:xfrm>
              <a:off x="5051225" y="5116325"/>
              <a:ext cx="27725" cy="133025"/>
            </a:xfrm>
            <a:custGeom>
              <a:avLst/>
              <a:gdLst/>
              <a:ahLst/>
              <a:cxnLst/>
              <a:rect l="l" t="t" r="r" b="b"/>
              <a:pathLst>
                <a:path w="1109" h="5321" extrusionOk="0">
                  <a:moveTo>
                    <a:pt x="837" y="1"/>
                  </a:moveTo>
                  <a:lnTo>
                    <a:pt x="837" y="1"/>
                  </a:lnTo>
                  <a:cubicBezTo>
                    <a:pt x="691" y="568"/>
                    <a:pt x="853" y="1242"/>
                    <a:pt x="623" y="1809"/>
                  </a:cubicBezTo>
                  <a:cubicBezTo>
                    <a:pt x="513" y="2068"/>
                    <a:pt x="338" y="2282"/>
                    <a:pt x="205" y="2512"/>
                  </a:cubicBezTo>
                  <a:cubicBezTo>
                    <a:pt x="82" y="2700"/>
                    <a:pt x="1" y="2917"/>
                    <a:pt x="1" y="3134"/>
                  </a:cubicBezTo>
                  <a:cubicBezTo>
                    <a:pt x="1" y="3186"/>
                    <a:pt x="1" y="3228"/>
                    <a:pt x="14" y="3283"/>
                  </a:cubicBezTo>
                  <a:cubicBezTo>
                    <a:pt x="43" y="3429"/>
                    <a:pt x="124" y="3552"/>
                    <a:pt x="163" y="3688"/>
                  </a:cubicBezTo>
                  <a:cubicBezTo>
                    <a:pt x="189" y="3782"/>
                    <a:pt x="205" y="3876"/>
                    <a:pt x="205" y="3970"/>
                  </a:cubicBezTo>
                  <a:cubicBezTo>
                    <a:pt x="205" y="4307"/>
                    <a:pt x="69" y="4660"/>
                    <a:pt x="69" y="4997"/>
                  </a:cubicBezTo>
                  <a:cubicBezTo>
                    <a:pt x="69" y="5065"/>
                    <a:pt x="69" y="5117"/>
                    <a:pt x="82" y="5172"/>
                  </a:cubicBezTo>
                  <a:cubicBezTo>
                    <a:pt x="163" y="5227"/>
                    <a:pt x="257" y="5279"/>
                    <a:pt x="351" y="5321"/>
                  </a:cubicBezTo>
                  <a:cubicBezTo>
                    <a:pt x="367" y="5308"/>
                    <a:pt x="367" y="5279"/>
                    <a:pt x="380" y="5253"/>
                  </a:cubicBezTo>
                  <a:cubicBezTo>
                    <a:pt x="461" y="4835"/>
                    <a:pt x="367" y="4388"/>
                    <a:pt x="312" y="3970"/>
                  </a:cubicBezTo>
                  <a:cubicBezTo>
                    <a:pt x="270" y="3578"/>
                    <a:pt x="257" y="3160"/>
                    <a:pt x="419" y="2797"/>
                  </a:cubicBezTo>
                  <a:cubicBezTo>
                    <a:pt x="581" y="2444"/>
                    <a:pt x="905" y="2162"/>
                    <a:pt x="1015" y="1770"/>
                  </a:cubicBezTo>
                  <a:cubicBezTo>
                    <a:pt x="1015" y="1757"/>
                    <a:pt x="1028" y="1757"/>
                    <a:pt x="1028" y="1744"/>
                  </a:cubicBezTo>
                  <a:lnTo>
                    <a:pt x="1028" y="1715"/>
                  </a:lnTo>
                  <a:cubicBezTo>
                    <a:pt x="1028" y="1702"/>
                    <a:pt x="1028" y="1689"/>
                    <a:pt x="1015" y="1689"/>
                  </a:cubicBezTo>
                  <a:lnTo>
                    <a:pt x="1041" y="1647"/>
                  </a:lnTo>
                  <a:cubicBezTo>
                    <a:pt x="1109" y="1216"/>
                    <a:pt x="918" y="772"/>
                    <a:pt x="853" y="325"/>
                  </a:cubicBezTo>
                  <a:cubicBezTo>
                    <a:pt x="837" y="218"/>
                    <a:pt x="837" y="108"/>
                    <a:pt x="837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9" name="Google Shape;1489;p42"/>
            <p:cNvSpPr/>
            <p:nvPr/>
          </p:nvSpPr>
          <p:spPr>
            <a:xfrm>
              <a:off x="5111650" y="5113975"/>
              <a:ext cx="63125" cy="48950"/>
            </a:xfrm>
            <a:custGeom>
              <a:avLst/>
              <a:gdLst/>
              <a:ahLst/>
              <a:cxnLst/>
              <a:rect l="l" t="t" r="r" b="b"/>
              <a:pathLst>
                <a:path w="2525" h="1958" extrusionOk="0">
                  <a:moveTo>
                    <a:pt x="14" y="1"/>
                  </a:moveTo>
                  <a:cubicBezTo>
                    <a:pt x="1" y="82"/>
                    <a:pt x="1" y="163"/>
                    <a:pt x="14" y="244"/>
                  </a:cubicBezTo>
                  <a:cubicBezTo>
                    <a:pt x="56" y="419"/>
                    <a:pt x="137" y="581"/>
                    <a:pt x="231" y="730"/>
                  </a:cubicBezTo>
                  <a:cubicBezTo>
                    <a:pt x="406" y="1041"/>
                    <a:pt x="607" y="1323"/>
                    <a:pt x="905" y="1514"/>
                  </a:cubicBezTo>
                  <a:cubicBezTo>
                    <a:pt x="918" y="1527"/>
                    <a:pt x="931" y="1540"/>
                    <a:pt x="960" y="1553"/>
                  </a:cubicBezTo>
                  <a:cubicBezTo>
                    <a:pt x="1391" y="1757"/>
                    <a:pt x="1945" y="1945"/>
                    <a:pt x="2499" y="1958"/>
                  </a:cubicBezTo>
                  <a:lnTo>
                    <a:pt x="2525" y="1958"/>
                  </a:lnTo>
                  <a:cubicBezTo>
                    <a:pt x="2499" y="1796"/>
                    <a:pt x="2418" y="1647"/>
                    <a:pt x="2308" y="1527"/>
                  </a:cubicBezTo>
                  <a:lnTo>
                    <a:pt x="2295" y="1527"/>
                  </a:lnTo>
                  <a:cubicBezTo>
                    <a:pt x="2282" y="1498"/>
                    <a:pt x="2256" y="1485"/>
                    <a:pt x="2227" y="1472"/>
                  </a:cubicBezTo>
                  <a:cubicBezTo>
                    <a:pt x="2107" y="1378"/>
                    <a:pt x="1945" y="1323"/>
                    <a:pt x="1796" y="1271"/>
                  </a:cubicBezTo>
                  <a:cubicBezTo>
                    <a:pt x="1553" y="1190"/>
                    <a:pt x="1323" y="1080"/>
                    <a:pt x="1109" y="947"/>
                  </a:cubicBezTo>
                  <a:cubicBezTo>
                    <a:pt x="743" y="717"/>
                    <a:pt x="432" y="380"/>
                    <a:pt x="231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90" name="Google Shape;1490;p42"/>
            <p:cNvSpPr/>
            <p:nvPr/>
          </p:nvSpPr>
          <p:spPr>
            <a:xfrm>
              <a:off x="5100150" y="5114625"/>
              <a:ext cx="31125" cy="44250"/>
            </a:xfrm>
            <a:custGeom>
              <a:avLst/>
              <a:gdLst/>
              <a:ahLst/>
              <a:cxnLst/>
              <a:rect l="l" t="t" r="r" b="b"/>
              <a:pathLst>
                <a:path w="1245" h="1770" extrusionOk="0">
                  <a:moveTo>
                    <a:pt x="150" y="1"/>
                  </a:moveTo>
                  <a:cubicBezTo>
                    <a:pt x="124" y="1"/>
                    <a:pt x="95" y="14"/>
                    <a:pt x="69" y="14"/>
                  </a:cubicBezTo>
                  <a:cubicBezTo>
                    <a:pt x="30" y="244"/>
                    <a:pt x="1" y="474"/>
                    <a:pt x="30" y="717"/>
                  </a:cubicBezTo>
                  <a:cubicBezTo>
                    <a:pt x="56" y="879"/>
                    <a:pt x="95" y="1054"/>
                    <a:pt x="163" y="1216"/>
                  </a:cubicBezTo>
                  <a:cubicBezTo>
                    <a:pt x="380" y="1446"/>
                    <a:pt x="730" y="1689"/>
                    <a:pt x="1245" y="1770"/>
                  </a:cubicBezTo>
                  <a:lnTo>
                    <a:pt x="1203" y="1731"/>
                  </a:lnTo>
                  <a:cubicBezTo>
                    <a:pt x="1015" y="1582"/>
                    <a:pt x="824" y="1433"/>
                    <a:pt x="649" y="1245"/>
                  </a:cubicBezTo>
                  <a:cubicBezTo>
                    <a:pt x="435" y="1002"/>
                    <a:pt x="257" y="717"/>
                    <a:pt x="192" y="406"/>
                  </a:cubicBezTo>
                  <a:cubicBezTo>
                    <a:pt x="150" y="273"/>
                    <a:pt x="137" y="137"/>
                    <a:pt x="150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91" name="Google Shape;1491;p42"/>
            <p:cNvSpPr/>
            <p:nvPr/>
          </p:nvSpPr>
          <p:spPr>
            <a:xfrm>
              <a:off x="5182850" y="5109275"/>
              <a:ext cx="56075" cy="131650"/>
            </a:xfrm>
            <a:custGeom>
              <a:avLst/>
              <a:gdLst/>
              <a:ahLst/>
              <a:cxnLst/>
              <a:rect l="l" t="t" r="r" b="b"/>
              <a:pathLst>
                <a:path w="2243" h="5266" extrusionOk="0">
                  <a:moveTo>
                    <a:pt x="205" y="1"/>
                  </a:moveTo>
                  <a:cubicBezTo>
                    <a:pt x="82" y="338"/>
                    <a:pt x="1" y="688"/>
                    <a:pt x="14" y="1067"/>
                  </a:cubicBezTo>
                  <a:cubicBezTo>
                    <a:pt x="14" y="1148"/>
                    <a:pt x="27" y="1242"/>
                    <a:pt x="43" y="1336"/>
                  </a:cubicBezTo>
                  <a:cubicBezTo>
                    <a:pt x="95" y="1485"/>
                    <a:pt x="137" y="1647"/>
                    <a:pt x="163" y="1809"/>
                  </a:cubicBezTo>
                  <a:cubicBezTo>
                    <a:pt x="257" y="2039"/>
                    <a:pt x="367" y="2240"/>
                    <a:pt x="513" y="2415"/>
                  </a:cubicBezTo>
                  <a:cubicBezTo>
                    <a:pt x="542" y="2389"/>
                    <a:pt x="568" y="2363"/>
                    <a:pt x="581" y="2334"/>
                  </a:cubicBezTo>
                  <a:cubicBezTo>
                    <a:pt x="594" y="2321"/>
                    <a:pt x="610" y="2321"/>
                    <a:pt x="636" y="2321"/>
                  </a:cubicBezTo>
                  <a:cubicBezTo>
                    <a:pt x="675" y="2321"/>
                    <a:pt x="717" y="2334"/>
                    <a:pt x="772" y="2350"/>
                  </a:cubicBezTo>
                  <a:cubicBezTo>
                    <a:pt x="918" y="2402"/>
                    <a:pt x="1015" y="2606"/>
                    <a:pt x="1015" y="2849"/>
                  </a:cubicBezTo>
                  <a:cubicBezTo>
                    <a:pt x="1015" y="2875"/>
                    <a:pt x="1015" y="2901"/>
                    <a:pt x="999" y="2943"/>
                  </a:cubicBezTo>
                  <a:cubicBezTo>
                    <a:pt x="1148" y="3092"/>
                    <a:pt x="1271" y="3241"/>
                    <a:pt x="1323" y="3442"/>
                  </a:cubicBezTo>
                  <a:cubicBezTo>
                    <a:pt x="1420" y="3727"/>
                    <a:pt x="1352" y="4022"/>
                    <a:pt x="1391" y="4307"/>
                  </a:cubicBezTo>
                  <a:cubicBezTo>
                    <a:pt x="1459" y="4683"/>
                    <a:pt x="1689" y="5023"/>
                    <a:pt x="1987" y="5266"/>
                  </a:cubicBezTo>
                  <a:cubicBezTo>
                    <a:pt x="2068" y="5224"/>
                    <a:pt x="2162" y="5185"/>
                    <a:pt x="2243" y="5130"/>
                  </a:cubicBezTo>
                  <a:cubicBezTo>
                    <a:pt x="2133" y="5007"/>
                    <a:pt x="2026" y="4887"/>
                    <a:pt x="1932" y="4751"/>
                  </a:cubicBezTo>
                  <a:cubicBezTo>
                    <a:pt x="1757" y="4495"/>
                    <a:pt x="1663" y="4184"/>
                    <a:pt x="1663" y="3860"/>
                  </a:cubicBezTo>
                  <a:cubicBezTo>
                    <a:pt x="1647" y="3617"/>
                    <a:pt x="1702" y="3374"/>
                    <a:pt x="1676" y="3131"/>
                  </a:cubicBezTo>
                  <a:cubicBezTo>
                    <a:pt x="1647" y="2917"/>
                    <a:pt x="1553" y="2713"/>
                    <a:pt x="1404" y="2538"/>
                  </a:cubicBezTo>
                  <a:cubicBezTo>
                    <a:pt x="1271" y="2389"/>
                    <a:pt x="1096" y="2269"/>
                    <a:pt x="947" y="2133"/>
                  </a:cubicBezTo>
                  <a:cubicBezTo>
                    <a:pt x="623" y="1822"/>
                    <a:pt x="419" y="1391"/>
                    <a:pt x="338" y="944"/>
                  </a:cubicBezTo>
                  <a:cubicBezTo>
                    <a:pt x="286" y="649"/>
                    <a:pt x="270" y="351"/>
                    <a:pt x="299" y="53"/>
                  </a:cubicBezTo>
                  <a:cubicBezTo>
                    <a:pt x="286" y="53"/>
                    <a:pt x="270" y="40"/>
                    <a:pt x="244" y="40"/>
                  </a:cubicBezTo>
                  <a:lnTo>
                    <a:pt x="205" y="1"/>
                  </a:ln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92" name="Google Shape;1492;p42"/>
            <p:cNvSpPr/>
            <p:nvPr/>
          </p:nvSpPr>
          <p:spPr>
            <a:xfrm>
              <a:off x="5180500" y="5200725"/>
              <a:ext cx="17925" cy="45875"/>
            </a:xfrm>
            <a:custGeom>
              <a:avLst/>
              <a:gdLst/>
              <a:ahLst/>
              <a:cxnLst/>
              <a:rect l="l" t="t" r="r" b="b"/>
              <a:pathLst>
                <a:path w="717" h="1835" extrusionOk="0">
                  <a:moveTo>
                    <a:pt x="607" y="1"/>
                  </a:moveTo>
                  <a:cubicBezTo>
                    <a:pt x="513" y="27"/>
                    <a:pt x="432" y="53"/>
                    <a:pt x="325" y="53"/>
                  </a:cubicBezTo>
                  <a:lnTo>
                    <a:pt x="325" y="69"/>
                  </a:lnTo>
                  <a:cubicBezTo>
                    <a:pt x="312" y="445"/>
                    <a:pt x="108" y="798"/>
                    <a:pt x="27" y="1174"/>
                  </a:cubicBezTo>
                  <a:cubicBezTo>
                    <a:pt x="14" y="1229"/>
                    <a:pt x="14" y="1284"/>
                    <a:pt x="14" y="1349"/>
                  </a:cubicBezTo>
                  <a:cubicBezTo>
                    <a:pt x="1" y="1485"/>
                    <a:pt x="14" y="1634"/>
                    <a:pt x="56" y="1754"/>
                  </a:cubicBezTo>
                  <a:lnTo>
                    <a:pt x="189" y="1754"/>
                  </a:lnTo>
                  <a:cubicBezTo>
                    <a:pt x="312" y="1754"/>
                    <a:pt x="445" y="1770"/>
                    <a:pt x="594" y="1835"/>
                  </a:cubicBezTo>
                  <a:cubicBezTo>
                    <a:pt x="513" y="1621"/>
                    <a:pt x="487" y="1391"/>
                    <a:pt x="542" y="1174"/>
                  </a:cubicBezTo>
                  <a:cubicBezTo>
                    <a:pt x="568" y="1012"/>
                    <a:pt x="636" y="863"/>
                    <a:pt x="662" y="717"/>
                  </a:cubicBezTo>
                  <a:cubicBezTo>
                    <a:pt x="717" y="474"/>
                    <a:pt x="688" y="215"/>
                    <a:pt x="607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93" name="Google Shape;1493;p42"/>
            <p:cNvSpPr/>
            <p:nvPr/>
          </p:nvSpPr>
          <p:spPr>
            <a:xfrm>
              <a:off x="5074875" y="5101175"/>
              <a:ext cx="112375" cy="55350"/>
            </a:xfrm>
            <a:custGeom>
              <a:avLst/>
              <a:gdLst/>
              <a:ahLst/>
              <a:cxnLst/>
              <a:rect l="l" t="t" r="r" b="b"/>
              <a:pathLst>
                <a:path w="4495" h="2214" extrusionOk="0">
                  <a:moveTo>
                    <a:pt x="1984" y="1"/>
                  </a:moveTo>
                  <a:cubicBezTo>
                    <a:pt x="1485" y="1"/>
                    <a:pt x="1106" y="95"/>
                    <a:pt x="837" y="228"/>
                  </a:cubicBezTo>
                  <a:cubicBezTo>
                    <a:pt x="1" y="633"/>
                    <a:pt x="40" y="1472"/>
                    <a:pt x="40" y="1472"/>
                  </a:cubicBezTo>
                  <a:cubicBezTo>
                    <a:pt x="215" y="957"/>
                    <a:pt x="662" y="594"/>
                    <a:pt x="1203" y="539"/>
                  </a:cubicBezTo>
                  <a:cubicBezTo>
                    <a:pt x="1255" y="526"/>
                    <a:pt x="1310" y="526"/>
                    <a:pt x="1365" y="513"/>
                  </a:cubicBezTo>
                  <a:cubicBezTo>
                    <a:pt x="1527" y="513"/>
                    <a:pt x="1702" y="513"/>
                    <a:pt x="1890" y="526"/>
                  </a:cubicBezTo>
                  <a:cubicBezTo>
                    <a:pt x="2227" y="552"/>
                    <a:pt x="2538" y="662"/>
                    <a:pt x="2823" y="782"/>
                  </a:cubicBezTo>
                  <a:cubicBezTo>
                    <a:pt x="3241" y="986"/>
                    <a:pt x="3591" y="1242"/>
                    <a:pt x="3847" y="1459"/>
                  </a:cubicBezTo>
                  <a:cubicBezTo>
                    <a:pt x="4064" y="1647"/>
                    <a:pt x="4265" y="1877"/>
                    <a:pt x="4427" y="2120"/>
                  </a:cubicBezTo>
                  <a:lnTo>
                    <a:pt x="4495" y="2214"/>
                  </a:lnTo>
                  <a:cubicBezTo>
                    <a:pt x="4388" y="1459"/>
                    <a:pt x="3970" y="782"/>
                    <a:pt x="3335" y="390"/>
                  </a:cubicBezTo>
                  <a:cubicBezTo>
                    <a:pt x="3241" y="338"/>
                    <a:pt x="3147" y="283"/>
                    <a:pt x="3037" y="228"/>
                  </a:cubicBezTo>
                  <a:cubicBezTo>
                    <a:pt x="2726" y="95"/>
                    <a:pt x="2376" y="1"/>
                    <a:pt x="1984" y="1"/>
                  </a:cubicBez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94" name="Google Shape;1494;p42"/>
            <p:cNvSpPr/>
            <p:nvPr/>
          </p:nvSpPr>
          <p:spPr>
            <a:xfrm>
              <a:off x="5075850" y="5106850"/>
              <a:ext cx="33150" cy="31125"/>
            </a:xfrm>
            <a:custGeom>
              <a:avLst/>
              <a:gdLst/>
              <a:ahLst/>
              <a:cxnLst/>
              <a:rect l="l" t="t" r="r" b="b"/>
              <a:pathLst>
                <a:path w="1326" h="1245" extrusionOk="0">
                  <a:moveTo>
                    <a:pt x="798" y="1"/>
                  </a:moveTo>
                  <a:cubicBezTo>
                    <a:pt x="43" y="380"/>
                    <a:pt x="1" y="1096"/>
                    <a:pt x="1" y="1216"/>
                  </a:cubicBezTo>
                  <a:lnTo>
                    <a:pt x="1" y="1245"/>
                  </a:lnTo>
                  <a:cubicBezTo>
                    <a:pt x="176" y="730"/>
                    <a:pt x="623" y="367"/>
                    <a:pt x="1164" y="312"/>
                  </a:cubicBezTo>
                  <a:cubicBezTo>
                    <a:pt x="1216" y="299"/>
                    <a:pt x="1271" y="299"/>
                    <a:pt x="1326" y="286"/>
                  </a:cubicBezTo>
                  <a:cubicBezTo>
                    <a:pt x="1190" y="231"/>
                    <a:pt x="1054" y="163"/>
                    <a:pt x="934" y="82"/>
                  </a:cubicBezTo>
                  <a:cubicBezTo>
                    <a:pt x="879" y="56"/>
                    <a:pt x="840" y="43"/>
                    <a:pt x="798" y="1"/>
                  </a:cubicBezTo>
                  <a:close/>
                </a:path>
              </a:pathLst>
            </a:custGeom>
            <a:solidFill>
              <a:srgbClr val="F3525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95" name="Google Shape;1495;p42"/>
            <p:cNvSpPr/>
            <p:nvPr/>
          </p:nvSpPr>
          <p:spPr>
            <a:xfrm>
              <a:off x="5145425" y="5110900"/>
              <a:ext cx="41825" cy="45625"/>
            </a:xfrm>
            <a:custGeom>
              <a:avLst/>
              <a:gdLst/>
              <a:ahLst/>
              <a:cxnLst/>
              <a:rect l="l" t="t" r="r" b="b"/>
              <a:pathLst>
                <a:path w="1673" h="1825" extrusionOk="0">
                  <a:moveTo>
                    <a:pt x="513" y="1"/>
                  </a:moveTo>
                  <a:cubicBezTo>
                    <a:pt x="526" y="82"/>
                    <a:pt x="487" y="163"/>
                    <a:pt x="419" y="231"/>
                  </a:cubicBezTo>
                  <a:cubicBezTo>
                    <a:pt x="325" y="325"/>
                    <a:pt x="189" y="367"/>
                    <a:pt x="40" y="393"/>
                  </a:cubicBezTo>
                  <a:lnTo>
                    <a:pt x="1" y="393"/>
                  </a:lnTo>
                  <a:cubicBezTo>
                    <a:pt x="419" y="597"/>
                    <a:pt x="769" y="853"/>
                    <a:pt x="1025" y="1070"/>
                  </a:cubicBezTo>
                  <a:cubicBezTo>
                    <a:pt x="1242" y="1258"/>
                    <a:pt x="1443" y="1488"/>
                    <a:pt x="1605" y="1731"/>
                  </a:cubicBezTo>
                  <a:lnTo>
                    <a:pt x="1673" y="1825"/>
                  </a:lnTo>
                  <a:cubicBezTo>
                    <a:pt x="1673" y="1799"/>
                    <a:pt x="1673" y="1770"/>
                    <a:pt x="1660" y="1744"/>
                  </a:cubicBezTo>
                  <a:cubicBezTo>
                    <a:pt x="1634" y="1582"/>
                    <a:pt x="1592" y="1420"/>
                    <a:pt x="1540" y="1271"/>
                  </a:cubicBezTo>
                  <a:cubicBezTo>
                    <a:pt x="1349" y="746"/>
                    <a:pt x="986" y="299"/>
                    <a:pt x="513" y="1"/>
                  </a:cubicBezTo>
                  <a:close/>
                </a:path>
              </a:pathLst>
            </a:custGeom>
            <a:solidFill>
              <a:srgbClr val="F3525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96" name="Google Shape;1496;p42"/>
            <p:cNvSpPr/>
            <p:nvPr/>
          </p:nvSpPr>
          <p:spPr>
            <a:xfrm>
              <a:off x="5110275" y="5245925"/>
              <a:ext cx="57450" cy="55750"/>
            </a:xfrm>
            <a:custGeom>
              <a:avLst/>
              <a:gdLst/>
              <a:ahLst/>
              <a:cxnLst/>
              <a:rect l="l" t="t" r="r" b="b"/>
              <a:pathLst>
                <a:path w="2298" h="2230" extrusionOk="0">
                  <a:moveTo>
                    <a:pt x="150" y="1"/>
                  </a:moveTo>
                  <a:lnTo>
                    <a:pt x="1" y="675"/>
                  </a:lnTo>
                  <a:lnTo>
                    <a:pt x="299" y="1906"/>
                  </a:lnTo>
                  <a:lnTo>
                    <a:pt x="879" y="2230"/>
                  </a:lnTo>
                  <a:lnTo>
                    <a:pt x="1825" y="2120"/>
                  </a:lnTo>
                  <a:lnTo>
                    <a:pt x="2094" y="1446"/>
                  </a:lnTo>
                  <a:lnTo>
                    <a:pt x="2298" y="299"/>
                  </a:lnTo>
                  <a:lnTo>
                    <a:pt x="2120" y="1"/>
                  </a:lnTo>
                  <a:cubicBezTo>
                    <a:pt x="2055" y="367"/>
                    <a:pt x="1919" y="623"/>
                    <a:pt x="1783" y="798"/>
                  </a:cubicBezTo>
                  <a:cubicBezTo>
                    <a:pt x="1635" y="987"/>
                    <a:pt x="1403" y="1082"/>
                    <a:pt x="1170" y="1082"/>
                  </a:cubicBezTo>
                  <a:cubicBezTo>
                    <a:pt x="937" y="1082"/>
                    <a:pt x="704" y="987"/>
                    <a:pt x="555" y="798"/>
                  </a:cubicBezTo>
                  <a:cubicBezTo>
                    <a:pt x="273" y="461"/>
                    <a:pt x="150" y="1"/>
                    <a:pt x="150" y="1"/>
                  </a:cubicBezTo>
                  <a:close/>
                </a:path>
              </a:pathLst>
            </a:custGeom>
            <a:solidFill>
              <a:srgbClr val="5AE0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97" name="Google Shape;1497;p42"/>
            <p:cNvSpPr/>
            <p:nvPr/>
          </p:nvSpPr>
          <p:spPr>
            <a:xfrm>
              <a:off x="5054950" y="5244550"/>
              <a:ext cx="59400" cy="49025"/>
            </a:xfrm>
            <a:custGeom>
              <a:avLst/>
              <a:gdLst/>
              <a:ahLst/>
              <a:cxnLst/>
              <a:rect l="l" t="t" r="r" b="b"/>
              <a:pathLst>
                <a:path w="2376" h="1961" extrusionOk="0">
                  <a:moveTo>
                    <a:pt x="1506" y="0"/>
                  </a:moveTo>
                  <a:cubicBezTo>
                    <a:pt x="1259" y="0"/>
                    <a:pt x="957" y="88"/>
                    <a:pt x="675" y="406"/>
                  </a:cubicBezTo>
                  <a:cubicBezTo>
                    <a:pt x="1" y="1177"/>
                    <a:pt x="743" y="1637"/>
                    <a:pt x="743" y="1637"/>
                  </a:cubicBezTo>
                  <a:lnTo>
                    <a:pt x="555" y="1961"/>
                  </a:lnTo>
                  <a:lnTo>
                    <a:pt x="1919" y="1961"/>
                  </a:lnTo>
                  <a:lnTo>
                    <a:pt x="1796" y="1718"/>
                  </a:lnTo>
                  <a:lnTo>
                    <a:pt x="2188" y="1663"/>
                  </a:lnTo>
                  <a:lnTo>
                    <a:pt x="2376" y="1028"/>
                  </a:lnTo>
                  <a:lnTo>
                    <a:pt x="2039" y="137"/>
                  </a:lnTo>
                  <a:cubicBezTo>
                    <a:pt x="2039" y="137"/>
                    <a:pt x="1814" y="0"/>
                    <a:pt x="1506" y="0"/>
                  </a:cubicBezTo>
                  <a:close/>
                </a:path>
              </a:pathLst>
            </a:custGeom>
            <a:solidFill>
              <a:srgbClr val="5AE0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98" name="Google Shape;1498;p42"/>
            <p:cNvSpPr/>
            <p:nvPr/>
          </p:nvSpPr>
          <p:spPr>
            <a:xfrm>
              <a:off x="5069125" y="5286750"/>
              <a:ext cx="3750" cy="6425"/>
            </a:xfrm>
            <a:custGeom>
              <a:avLst/>
              <a:gdLst/>
              <a:ahLst/>
              <a:cxnLst/>
              <a:rect l="l" t="t" r="r" b="b"/>
              <a:pathLst>
                <a:path w="150" h="257" extrusionOk="0">
                  <a:moveTo>
                    <a:pt x="150" y="1"/>
                  </a:moveTo>
                  <a:lnTo>
                    <a:pt x="150" y="1"/>
                  </a:lnTo>
                  <a:lnTo>
                    <a:pt x="1" y="257"/>
                  </a:lnTo>
                  <a:lnTo>
                    <a:pt x="1" y="257"/>
                  </a:lnTo>
                  <a:close/>
                </a:path>
              </a:pathLst>
            </a:custGeom>
            <a:solidFill>
              <a:srgbClr val="9F7A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99" name="Google Shape;1499;p42"/>
            <p:cNvSpPr/>
            <p:nvPr/>
          </p:nvSpPr>
          <p:spPr>
            <a:xfrm>
              <a:off x="5068800" y="5271275"/>
              <a:ext cx="33725" cy="22300"/>
            </a:xfrm>
            <a:custGeom>
              <a:avLst/>
              <a:gdLst/>
              <a:ahLst/>
              <a:cxnLst/>
              <a:rect l="l" t="t" r="r" b="b"/>
              <a:pathLst>
                <a:path w="1349" h="892" extrusionOk="0">
                  <a:moveTo>
                    <a:pt x="1284" y="1"/>
                  </a:moveTo>
                  <a:cubicBezTo>
                    <a:pt x="1080" y="309"/>
                    <a:pt x="743" y="568"/>
                    <a:pt x="163" y="620"/>
                  </a:cubicBezTo>
                  <a:lnTo>
                    <a:pt x="14" y="876"/>
                  </a:lnTo>
                  <a:lnTo>
                    <a:pt x="1" y="892"/>
                  </a:lnTo>
                  <a:lnTo>
                    <a:pt x="1349" y="892"/>
                  </a:lnTo>
                  <a:lnTo>
                    <a:pt x="1336" y="876"/>
                  </a:lnTo>
                  <a:cubicBezTo>
                    <a:pt x="1242" y="769"/>
                    <a:pt x="1203" y="620"/>
                    <a:pt x="1229" y="487"/>
                  </a:cubicBezTo>
                  <a:lnTo>
                    <a:pt x="1284" y="1"/>
                  </a:ln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00" name="Google Shape;1500;p42"/>
            <p:cNvSpPr/>
            <p:nvPr/>
          </p:nvSpPr>
          <p:spPr>
            <a:xfrm>
              <a:off x="5087675" y="5249325"/>
              <a:ext cx="15900" cy="4400"/>
            </a:xfrm>
            <a:custGeom>
              <a:avLst/>
              <a:gdLst/>
              <a:ahLst/>
              <a:cxnLst/>
              <a:rect l="l" t="t" r="r" b="b"/>
              <a:pathLst>
                <a:path w="636" h="176" extrusionOk="0">
                  <a:moveTo>
                    <a:pt x="406" y="1"/>
                  </a:moveTo>
                  <a:cubicBezTo>
                    <a:pt x="150" y="1"/>
                    <a:pt x="1" y="134"/>
                    <a:pt x="1" y="134"/>
                  </a:cubicBezTo>
                  <a:cubicBezTo>
                    <a:pt x="82" y="95"/>
                    <a:pt x="163" y="82"/>
                    <a:pt x="244" y="82"/>
                  </a:cubicBezTo>
                  <a:cubicBezTo>
                    <a:pt x="380" y="82"/>
                    <a:pt x="500" y="134"/>
                    <a:pt x="568" y="176"/>
                  </a:cubicBezTo>
                  <a:lnTo>
                    <a:pt x="623" y="176"/>
                  </a:lnTo>
                  <a:lnTo>
                    <a:pt x="636" y="40"/>
                  </a:lnTo>
                  <a:cubicBezTo>
                    <a:pt x="555" y="14"/>
                    <a:pt x="474" y="1"/>
                    <a:pt x="406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01" name="Google Shape;1501;p42"/>
            <p:cNvSpPr/>
            <p:nvPr/>
          </p:nvSpPr>
          <p:spPr>
            <a:xfrm>
              <a:off x="5088725" y="5253375"/>
              <a:ext cx="14525" cy="4075"/>
            </a:xfrm>
            <a:custGeom>
              <a:avLst/>
              <a:gdLst/>
              <a:ahLst/>
              <a:cxnLst/>
              <a:rect l="l" t="t" r="r" b="b"/>
              <a:pathLst>
                <a:path w="581" h="163" extrusionOk="0">
                  <a:moveTo>
                    <a:pt x="406" y="1"/>
                  </a:moveTo>
                  <a:cubicBezTo>
                    <a:pt x="163" y="1"/>
                    <a:pt x="1" y="134"/>
                    <a:pt x="1" y="134"/>
                  </a:cubicBezTo>
                  <a:cubicBezTo>
                    <a:pt x="95" y="95"/>
                    <a:pt x="176" y="82"/>
                    <a:pt x="257" y="82"/>
                  </a:cubicBezTo>
                  <a:cubicBezTo>
                    <a:pt x="377" y="82"/>
                    <a:pt x="487" y="121"/>
                    <a:pt x="552" y="163"/>
                  </a:cubicBezTo>
                  <a:lnTo>
                    <a:pt x="581" y="27"/>
                  </a:lnTo>
                  <a:cubicBezTo>
                    <a:pt x="568" y="27"/>
                    <a:pt x="552" y="14"/>
                    <a:pt x="526" y="14"/>
                  </a:cubicBezTo>
                  <a:cubicBezTo>
                    <a:pt x="487" y="1"/>
                    <a:pt x="445" y="1"/>
                    <a:pt x="406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02" name="Google Shape;1502;p42"/>
            <p:cNvSpPr/>
            <p:nvPr/>
          </p:nvSpPr>
          <p:spPr>
            <a:xfrm>
              <a:off x="5101850" y="5253700"/>
              <a:ext cx="1400" cy="350"/>
            </a:xfrm>
            <a:custGeom>
              <a:avLst/>
              <a:gdLst/>
              <a:ahLst/>
              <a:cxnLst/>
              <a:rect l="l" t="t" r="r" b="b"/>
              <a:pathLst>
                <a:path w="56" h="14" extrusionOk="0">
                  <a:moveTo>
                    <a:pt x="1" y="1"/>
                  </a:moveTo>
                  <a:cubicBezTo>
                    <a:pt x="27" y="1"/>
                    <a:pt x="43" y="14"/>
                    <a:pt x="56" y="14"/>
                  </a:cubicBezTo>
                  <a:lnTo>
                    <a:pt x="56" y="1"/>
                  </a:lnTo>
                  <a:close/>
                </a:path>
              </a:pathLst>
            </a:custGeom>
            <a:solidFill>
              <a:srgbClr val="29C5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03" name="Google Shape;1503;p42"/>
            <p:cNvSpPr/>
            <p:nvPr/>
          </p:nvSpPr>
          <p:spPr>
            <a:xfrm>
              <a:off x="5162600" y="5244550"/>
              <a:ext cx="61825" cy="49025"/>
            </a:xfrm>
            <a:custGeom>
              <a:avLst/>
              <a:gdLst/>
              <a:ahLst/>
              <a:cxnLst/>
              <a:rect l="l" t="t" r="r" b="b"/>
              <a:pathLst>
                <a:path w="2473" h="1961" extrusionOk="0">
                  <a:moveTo>
                    <a:pt x="904" y="0"/>
                  </a:moveTo>
                  <a:cubicBezTo>
                    <a:pt x="584" y="0"/>
                    <a:pt x="351" y="137"/>
                    <a:pt x="351" y="137"/>
                  </a:cubicBezTo>
                  <a:lnTo>
                    <a:pt x="1" y="1028"/>
                  </a:lnTo>
                  <a:lnTo>
                    <a:pt x="189" y="1663"/>
                  </a:lnTo>
                  <a:lnTo>
                    <a:pt x="594" y="1718"/>
                  </a:lnTo>
                  <a:lnTo>
                    <a:pt x="474" y="1961"/>
                  </a:lnTo>
                  <a:lnTo>
                    <a:pt x="1890" y="1961"/>
                  </a:lnTo>
                  <a:lnTo>
                    <a:pt x="1702" y="1637"/>
                  </a:lnTo>
                  <a:cubicBezTo>
                    <a:pt x="1702" y="1637"/>
                    <a:pt x="2473" y="1177"/>
                    <a:pt x="1770" y="406"/>
                  </a:cubicBezTo>
                  <a:cubicBezTo>
                    <a:pt x="1475" y="88"/>
                    <a:pt x="1162" y="0"/>
                    <a:pt x="904" y="0"/>
                  </a:cubicBezTo>
                  <a:close/>
                </a:path>
              </a:pathLst>
            </a:custGeom>
            <a:solidFill>
              <a:srgbClr val="5AE0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04" name="Google Shape;1504;p42"/>
            <p:cNvSpPr/>
            <p:nvPr/>
          </p:nvSpPr>
          <p:spPr>
            <a:xfrm>
              <a:off x="5208200" y="5291125"/>
              <a:ext cx="1650" cy="2450"/>
            </a:xfrm>
            <a:custGeom>
              <a:avLst/>
              <a:gdLst/>
              <a:ahLst/>
              <a:cxnLst/>
              <a:rect l="l" t="t" r="r" b="b"/>
              <a:pathLst>
                <a:path w="66" h="98" extrusionOk="0">
                  <a:moveTo>
                    <a:pt x="1" y="1"/>
                  </a:moveTo>
                  <a:lnTo>
                    <a:pt x="1" y="1"/>
                  </a:lnTo>
                  <a:lnTo>
                    <a:pt x="66" y="98"/>
                  </a:lnTo>
                  <a:close/>
                </a:path>
              </a:pathLst>
            </a:custGeom>
            <a:solidFill>
              <a:srgbClr val="ACE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05" name="Google Shape;1505;p42"/>
            <p:cNvSpPr/>
            <p:nvPr/>
          </p:nvSpPr>
          <p:spPr>
            <a:xfrm>
              <a:off x="5205775" y="5286750"/>
              <a:ext cx="2450" cy="4400"/>
            </a:xfrm>
            <a:custGeom>
              <a:avLst/>
              <a:gdLst/>
              <a:ahLst/>
              <a:cxnLst/>
              <a:rect l="l" t="t" r="r" b="b"/>
              <a:pathLst>
                <a:path w="98" h="176" extrusionOk="0">
                  <a:moveTo>
                    <a:pt x="1" y="1"/>
                  </a:moveTo>
                  <a:lnTo>
                    <a:pt x="98" y="176"/>
                  </a:lnTo>
                  <a:lnTo>
                    <a:pt x="98" y="176"/>
                  </a:lnTo>
                  <a:close/>
                </a:path>
              </a:pathLst>
            </a:custGeom>
            <a:solidFill>
              <a:srgbClr val="9F7A4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06" name="Google Shape;1506;p42"/>
            <p:cNvSpPr/>
            <p:nvPr/>
          </p:nvSpPr>
          <p:spPr>
            <a:xfrm>
              <a:off x="5174750" y="5271925"/>
              <a:ext cx="35100" cy="21650"/>
            </a:xfrm>
            <a:custGeom>
              <a:avLst/>
              <a:gdLst/>
              <a:ahLst/>
              <a:cxnLst/>
              <a:rect l="l" t="t" r="r" b="b"/>
              <a:pathLst>
                <a:path w="1404" h="866" extrusionOk="0">
                  <a:moveTo>
                    <a:pt x="95" y="1"/>
                  </a:moveTo>
                  <a:lnTo>
                    <a:pt x="150" y="432"/>
                  </a:lnTo>
                  <a:lnTo>
                    <a:pt x="150" y="500"/>
                  </a:lnTo>
                  <a:cubicBezTo>
                    <a:pt x="150" y="607"/>
                    <a:pt x="108" y="730"/>
                    <a:pt x="27" y="824"/>
                  </a:cubicBezTo>
                  <a:lnTo>
                    <a:pt x="1" y="866"/>
                  </a:lnTo>
                  <a:lnTo>
                    <a:pt x="1404" y="866"/>
                  </a:lnTo>
                  <a:lnTo>
                    <a:pt x="1339" y="769"/>
                  </a:lnTo>
                  <a:lnTo>
                    <a:pt x="1242" y="594"/>
                  </a:lnTo>
                  <a:cubicBezTo>
                    <a:pt x="662" y="542"/>
                    <a:pt x="312" y="299"/>
                    <a:pt x="95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07" name="Google Shape;1507;p42"/>
            <p:cNvSpPr/>
            <p:nvPr/>
          </p:nvSpPr>
          <p:spPr>
            <a:xfrm>
              <a:off x="5174425" y="5249325"/>
              <a:ext cx="15900" cy="4400"/>
            </a:xfrm>
            <a:custGeom>
              <a:avLst/>
              <a:gdLst/>
              <a:ahLst/>
              <a:cxnLst/>
              <a:rect l="l" t="t" r="r" b="b"/>
              <a:pathLst>
                <a:path w="636" h="176" extrusionOk="0">
                  <a:moveTo>
                    <a:pt x="218" y="1"/>
                  </a:moveTo>
                  <a:cubicBezTo>
                    <a:pt x="150" y="1"/>
                    <a:pt x="82" y="14"/>
                    <a:pt x="1" y="27"/>
                  </a:cubicBezTo>
                  <a:lnTo>
                    <a:pt x="14" y="176"/>
                  </a:lnTo>
                  <a:lnTo>
                    <a:pt x="40" y="176"/>
                  </a:lnTo>
                  <a:cubicBezTo>
                    <a:pt x="121" y="134"/>
                    <a:pt x="244" y="82"/>
                    <a:pt x="380" y="82"/>
                  </a:cubicBezTo>
                  <a:cubicBezTo>
                    <a:pt x="461" y="82"/>
                    <a:pt x="542" y="95"/>
                    <a:pt x="636" y="134"/>
                  </a:cubicBezTo>
                  <a:cubicBezTo>
                    <a:pt x="636" y="134"/>
                    <a:pt x="474" y="1"/>
                    <a:pt x="218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08" name="Google Shape;1508;p42"/>
            <p:cNvSpPr/>
            <p:nvPr/>
          </p:nvSpPr>
          <p:spPr>
            <a:xfrm>
              <a:off x="5174750" y="5253375"/>
              <a:ext cx="14200" cy="3750"/>
            </a:xfrm>
            <a:custGeom>
              <a:avLst/>
              <a:gdLst/>
              <a:ahLst/>
              <a:cxnLst/>
              <a:rect l="l" t="t" r="r" b="b"/>
              <a:pathLst>
                <a:path w="568" h="150" extrusionOk="0">
                  <a:moveTo>
                    <a:pt x="163" y="1"/>
                  </a:moveTo>
                  <a:cubicBezTo>
                    <a:pt x="124" y="1"/>
                    <a:pt x="69" y="1"/>
                    <a:pt x="27" y="14"/>
                  </a:cubicBezTo>
                  <a:lnTo>
                    <a:pt x="1" y="14"/>
                  </a:lnTo>
                  <a:lnTo>
                    <a:pt x="14" y="150"/>
                  </a:lnTo>
                  <a:cubicBezTo>
                    <a:pt x="95" y="121"/>
                    <a:pt x="205" y="82"/>
                    <a:pt x="312" y="82"/>
                  </a:cubicBezTo>
                  <a:cubicBezTo>
                    <a:pt x="393" y="82"/>
                    <a:pt x="487" y="95"/>
                    <a:pt x="568" y="134"/>
                  </a:cubicBezTo>
                  <a:cubicBezTo>
                    <a:pt x="568" y="134"/>
                    <a:pt x="419" y="1"/>
                    <a:pt x="163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09" name="Google Shape;1509;p42"/>
            <p:cNvSpPr/>
            <p:nvPr/>
          </p:nvSpPr>
          <p:spPr>
            <a:xfrm>
              <a:off x="5174750" y="5253700"/>
              <a:ext cx="675" cy="25"/>
            </a:xfrm>
            <a:custGeom>
              <a:avLst/>
              <a:gdLst/>
              <a:ahLst/>
              <a:cxnLst/>
              <a:rect l="l" t="t" r="r" b="b"/>
              <a:pathLst>
                <a:path w="27" h="1" extrusionOk="0">
                  <a:moveTo>
                    <a:pt x="27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29C5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10" name="Google Shape;1510;p42"/>
            <p:cNvSpPr/>
            <p:nvPr/>
          </p:nvSpPr>
          <p:spPr>
            <a:xfrm>
              <a:off x="5051225" y="5368075"/>
              <a:ext cx="172475" cy="50375"/>
            </a:xfrm>
            <a:custGeom>
              <a:avLst/>
              <a:gdLst/>
              <a:ahLst/>
              <a:cxnLst/>
              <a:rect l="l" t="t" r="r" b="b"/>
              <a:pathLst>
                <a:path w="6899" h="2015" extrusionOk="0">
                  <a:moveTo>
                    <a:pt x="1135" y="1"/>
                  </a:moveTo>
                  <a:lnTo>
                    <a:pt x="513" y="325"/>
                  </a:lnTo>
                  <a:lnTo>
                    <a:pt x="1" y="1054"/>
                  </a:lnTo>
                  <a:cubicBezTo>
                    <a:pt x="1" y="1054"/>
                    <a:pt x="1256" y="2014"/>
                    <a:pt x="3338" y="2014"/>
                  </a:cubicBezTo>
                  <a:cubicBezTo>
                    <a:pt x="3382" y="2014"/>
                    <a:pt x="3426" y="2014"/>
                    <a:pt x="3471" y="2013"/>
                  </a:cubicBezTo>
                  <a:cubicBezTo>
                    <a:pt x="3515" y="2014"/>
                    <a:pt x="3559" y="2014"/>
                    <a:pt x="3602" y="2014"/>
                  </a:cubicBezTo>
                  <a:cubicBezTo>
                    <a:pt x="5668" y="2014"/>
                    <a:pt x="6899" y="1054"/>
                    <a:pt x="6899" y="1054"/>
                  </a:cubicBezTo>
                  <a:lnTo>
                    <a:pt x="6426" y="325"/>
                  </a:lnTo>
                  <a:lnTo>
                    <a:pt x="5794" y="1"/>
                  </a:lnTo>
                  <a:lnTo>
                    <a:pt x="3552" y="325"/>
                  </a:lnTo>
                  <a:lnTo>
                    <a:pt x="3471" y="1028"/>
                  </a:lnTo>
                  <a:lnTo>
                    <a:pt x="3390" y="325"/>
                  </a:lnTo>
                  <a:lnTo>
                    <a:pt x="1135" y="1"/>
                  </a:lnTo>
                  <a:close/>
                </a:path>
              </a:pathLst>
            </a:custGeom>
            <a:solidFill>
              <a:srgbClr val="5AE0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11" name="Google Shape;1511;p42"/>
            <p:cNvSpPr/>
            <p:nvPr/>
          </p:nvSpPr>
          <p:spPr>
            <a:xfrm>
              <a:off x="5061025" y="5379900"/>
              <a:ext cx="156925" cy="5775"/>
            </a:xfrm>
            <a:custGeom>
              <a:avLst/>
              <a:gdLst/>
              <a:ahLst/>
              <a:cxnLst/>
              <a:rect l="l" t="t" r="r" b="b"/>
              <a:pathLst>
                <a:path w="6277" h="231" extrusionOk="0">
                  <a:moveTo>
                    <a:pt x="6131" y="1"/>
                  </a:moveTo>
                  <a:lnTo>
                    <a:pt x="6131" y="1"/>
                  </a:lnTo>
                  <a:lnTo>
                    <a:pt x="6277" y="231"/>
                  </a:lnTo>
                  <a:lnTo>
                    <a:pt x="6277" y="231"/>
                  </a:lnTo>
                  <a:lnTo>
                    <a:pt x="6131" y="1"/>
                  </a:lnTo>
                  <a:close/>
                  <a:moveTo>
                    <a:pt x="14" y="1"/>
                  </a:moveTo>
                  <a:lnTo>
                    <a:pt x="1" y="43"/>
                  </a:lnTo>
                  <a:lnTo>
                    <a:pt x="1" y="43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ACE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12" name="Google Shape;1512;p42"/>
            <p:cNvSpPr/>
            <p:nvPr/>
          </p:nvSpPr>
          <p:spPr>
            <a:xfrm>
              <a:off x="5061025" y="5379900"/>
              <a:ext cx="156925" cy="23025"/>
            </a:xfrm>
            <a:custGeom>
              <a:avLst/>
              <a:gdLst/>
              <a:ahLst/>
              <a:cxnLst/>
              <a:rect l="l" t="t" r="r" b="b"/>
              <a:pathLst>
                <a:path w="6277" h="921" extrusionOk="0">
                  <a:moveTo>
                    <a:pt x="14" y="1"/>
                  </a:moveTo>
                  <a:lnTo>
                    <a:pt x="1" y="43"/>
                  </a:lnTo>
                  <a:cubicBezTo>
                    <a:pt x="542" y="367"/>
                    <a:pt x="1527" y="840"/>
                    <a:pt x="2904" y="892"/>
                  </a:cubicBezTo>
                  <a:cubicBezTo>
                    <a:pt x="3092" y="921"/>
                    <a:pt x="3280" y="921"/>
                    <a:pt x="3471" y="921"/>
                  </a:cubicBezTo>
                  <a:cubicBezTo>
                    <a:pt x="4929" y="921"/>
                    <a:pt x="5953" y="435"/>
                    <a:pt x="6277" y="231"/>
                  </a:cubicBezTo>
                  <a:lnTo>
                    <a:pt x="6131" y="1"/>
                  </a:lnTo>
                  <a:cubicBezTo>
                    <a:pt x="5739" y="231"/>
                    <a:pt x="4754" y="691"/>
                    <a:pt x="3267" y="691"/>
                  </a:cubicBezTo>
                  <a:lnTo>
                    <a:pt x="2891" y="691"/>
                  </a:lnTo>
                  <a:cubicBezTo>
                    <a:pt x="1391" y="691"/>
                    <a:pt x="406" y="231"/>
                    <a:pt x="14" y="1"/>
                  </a:cubicBezTo>
                  <a:close/>
                </a:path>
              </a:pathLst>
            </a:custGeom>
            <a:solidFill>
              <a:srgbClr val="3DD2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13" name="Google Shape;1513;p42"/>
            <p:cNvSpPr/>
            <p:nvPr/>
          </p:nvSpPr>
          <p:spPr>
            <a:xfrm>
              <a:off x="5056650" y="5316800"/>
              <a:ext cx="162675" cy="80450"/>
            </a:xfrm>
            <a:custGeom>
              <a:avLst/>
              <a:gdLst/>
              <a:ahLst/>
              <a:cxnLst/>
              <a:rect l="l" t="t" r="r" b="b"/>
              <a:pathLst>
                <a:path w="6507" h="3218" extrusionOk="0">
                  <a:moveTo>
                    <a:pt x="2444" y="1"/>
                  </a:moveTo>
                  <a:lnTo>
                    <a:pt x="1783" y="244"/>
                  </a:lnTo>
                  <a:cubicBezTo>
                    <a:pt x="1783" y="244"/>
                    <a:pt x="824" y="717"/>
                    <a:pt x="1" y="2405"/>
                  </a:cubicBezTo>
                  <a:cubicBezTo>
                    <a:pt x="1" y="2405"/>
                    <a:pt x="1082" y="3217"/>
                    <a:pt x="3072" y="3217"/>
                  </a:cubicBezTo>
                  <a:cubicBezTo>
                    <a:pt x="3132" y="3217"/>
                    <a:pt x="3192" y="3216"/>
                    <a:pt x="3254" y="3215"/>
                  </a:cubicBezTo>
                  <a:cubicBezTo>
                    <a:pt x="3315" y="3216"/>
                    <a:pt x="3376" y="3217"/>
                    <a:pt x="3436" y="3217"/>
                  </a:cubicBezTo>
                  <a:cubicBezTo>
                    <a:pt x="5426" y="3217"/>
                    <a:pt x="6507" y="2405"/>
                    <a:pt x="6507" y="2405"/>
                  </a:cubicBezTo>
                  <a:cubicBezTo>
                    <a:pt x="5629" y="623"/>
                    <a:pt x="4725" y="244"/>
                    <a:pt x="4725" y="244"/>
                  </a:cubicBezTo>
                  <a:lnTo>
                    <a:pt x="4051" y="1"/>
                  </a:lnTo>
                  <a:close/>
                </a:path>
              </a:pathLst>
            </a:custGeom>
            <a:solidFill>
              <a:srgbClr val="F7727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14" name="Google Shape;1514;p42"/>
            <p:cNvSpPr/>
            <p:nvPr/>
          </p:nvSpPr>
          <p:spPr>
            <a:xfrm>
              <a:off x="5056650" y="5322225"/>
              <a:ext cx="162675" cy="74950"/>
            </a:xfrm>
            <a:custGeom>
              <a:avLst/>
              <a:gdLst/>
              <a:ahLst/>
              <a:cxnLst/>
              <a:rect l="l" t="t" r="r" b="b"/>
              <a:pathLst>
                <a:path w="6507" h="2998" extrusionOk="0">
                  <a:moveTo>
                    <a:pt x="4657" y="1"/>
                  </a:moveTo>
                  <a:lnTo>
                    <a:pt x="4657" y="1"/>
                  </a:lnTo>
                  <a:cubicBezTo>
                    <a:pt x="5360" y="973"/>
                    <a:pt x="4699" y="2402"/>
                    <a:pt x="3254" y="2512"/>
                  </a:cubicBezTo>
                  <a:cubicBezTo>
                    <a:pt x="3079" y="2525"/>
                    <a:pt x="2888" y="2525"/>
                    <a:pt x="2700" y="2525"/>
                  </a:cubicBezTo>
                  <a:lnTo>
                    <a:pt x="2321" y="2525"/>
                  </a:lnTo>
                  <a:cubicBezTo>
                    <a:pt x="1336" y="2525"/>
                    <a:pt x="568" y="2321"/>
                    <a:pt x="27" y="2120"/>
                  </a:cubicBezTo>
                  <a:cubicBezTo>
                    <a:pt x="27" y="2146"/>
                    <a:pt x="14" y="2175"/>
                    <a:pt x="1" y="2188"/>
                  </a:cubicBezTo>
                  <a:cubicBezTo>
                    <a:pt x="1" y="2188"/>
                    <a:pt x="1080" y="2998"/>
                    <a:pt x="3066" y="2998"/>
                  </a:cubicBezTo>
                  <a:lnTo>
                    <a:pt x="3442" y="2998"/>
                  </a:lnTo>
                  <a:cubicBezTo>
                    <a:pt x="5428" y="2998"/>
                    <a:pt x="6507" y="2188"/>
                    <a:pt x="6507" y="2188"/>
                  </a:cubicBezTo>
                  <a:cubicBezTo>
                    <a:pt x="6358" y="1903"/>
                    <a:pt x="6225" y="1647"/>
                    <a:pt x="6076" y="1430"/>
                  </a:cubicBezTo>
                  <a:cubicBezTo>
                    <a:pt x="6021" y="1323"/>
                    <a:pt x="5953" y="1229"/>
                    <a:pt x="5885" y="1148"/>
                  </a:cubicBezTo>
                  <a:cubicBezTo>
                    <a:pt x="5253" y="244"/>
                    <a:pt x="4725" y="27"/>
                    <a:pt x="4725" y="27"/>
                  </a:cubicBezTo>
                  <a:lnTo>
                    <a:pt x="4657" y="1"/>
                  </a:lnTo>
                  <a:close/>
                </a:path>
              </a:pathLst>
            </a:custGeom>
            <a:solidFill>
              <a:srgbClr val="F34F5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15" name="Google Shape;1515;p42"/>
            <p:cNvSpPr/>
            <p:nvPr/>
          </p:nvSpPr>
          <p:spPr>
            <a:xfrm>
              <a:off x="5154500" y="5324250"/>
              <a:ext cx="17275" cy="26675"/>
            </a:xfrm>
            <a:custGeom>
              <a:avLst/>
              <a:gdLst/>
              <a:ahLst/>
              <a:cxnLst/>
              <a:rect l="l" t="t" r="r" b="b"/>
              <a:pathLst>
                <a:path w="691" h="1067" extrusionOk="0">
                  <a:moveTo>
                    <a:pt x="244" y="1"/>
                  </a:moveTo>
                  <a:lnTo>
                    <a:pt x="108" y="14"/>
                  </a:lnTo>
                  <a:cubicBezTo>
                    <a:pt x="69" y="14"/>
                    <a:pt x="43" y="27"/>
                    <a:pt x="1" y="27"/>
                  </a:cubicBezTo>
                  <a:cubicBezTo>
                    <a:pt x="286" y="82"/>
                    <a:pt x="594" y="1067"/>
                    <a:pt x="594" y="1067"/>
                  </a:cubicBezTo>
                  <a:cubicBezTo>
                    <a:pt x="691" y="351"/>
                    <a:pt x="244" y="1"/>
                    <a:pt x="244" y="1"/>
                  </a:cubicBezTo>
                  <a:close/>
                </a:path>
              </a:pathLst>
            </a:custGeom>
            <a:solidFill>
              <a:srgbClr val="F34F5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16" name="Google Shape;1516;p42"/>
            <p:cNvSpPr/>
            <p:nvPr/>
          </p:nvSpPr>
          <p:spPr>
            <a:xfrm>
              <a:off x="5111000" y="5324250"/>
              <a:ext cx="15825" cy="26675"/>
            </a:xfrm>
            <a:custGeom>
              <a:avLst/>
              <a:gdLst/>
              <a:ahLst/>
              <a:cxnLst/>
              <a:rect l="l" t="t" r="r" b="b"/>
              <a:pathLst>
                <a:path w="633" h="1067" extrusionOk="0">
                  <a:moveTo>
                    <a:pt x="419" y="1"/>
                  </a:moveTo>
                  <a:cubicBezTo>
                    <a:pt x="351" y="69"/>
                    <a:pt x="1" y="419"/>
                    <a:pt x="82" y="1067"/>
                  </a:cubicBezTo>
                  <a:cubicBezTo>
                    <a:pt x="82" y="1067"/>
                    <a:pt x="364" y="163"/>
                    <a:pt x="633" y="40"/>
                  </a:cubicBezTo>
                  <a:cubicBezTo>
                    <a:pt x="568" y="27"/>
                    <a:pt x="487" y="14"/>
                    <a:pt x="419" y="1"/>
                  </a:cubicBezTo>
                  <a:close/>
                </a:path>
              </a:pathLst>
            </a:custGeom>
            <a:solidFill>
              <a:srgbClr val="F34F5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17" name="Google Shape;1517;p42"/>
            <p:cNvSpPr/>
            <p:nvPr/>
          </p:nvSpPr>
          <p:spPr>
            <a:xfrm>
              <a:off x="5099175" y="5245925"/>
              <a:ext cx="79650" cy="80175"/>
            </a:xfrm>
            <a:custGeom>
              <a:avLst/>
              <a:gdLst/>
              <a:ahLst/>
              <a:cxnLst/>
              <a:rect l="l" t="t" r="r" b="b"/>
              <a:pathLst>
                <a:path w="3186" h="3207" extrusionOk="0">
                  <a:moveTo>
                    <a:pt x="202" y="1"/>
                  </a:moveTo>
                  <a:lnTo>
                    <a:pt x="14" y="1472"/>
                  </a:lnTo>
                  <a:cubicBezTo>
                    <a:pt x="1" y="1608"/>
                    <a:pt x="40" y="1757"/>
                    <a:pt x="134" y="1864"/>
                  </a:cubicBezTo>
                  <a:lnTo>
                    <a:pt x="393" y="2175"/>
                  </a:lnTo>
                  <a:lnTo>
                    <a:pt x="393" y="3024"/>
                  </a:lnTo>
                  <a:cubicBezTo>
                    <a:pt x="393" y="3024"/>
                    <a:pt x="960" y="3186"/>
                    <a:pt x="1459" y="3202"/>
                  </a:cubicBezTo>
                  <a:cubicBezTo>
                    <a:pt x="1518" y="3205"/>
                    <a:pt x="1576" y="3207"/>
                    <a:pt x="1633" y="3207"/>
                  </a:cubicBezTo>
                  <a:cubicBezTo>
                    <a:pt x="2274" y="3207"/>
                    <a:pt x="2807" y="3024"/>
                    <a:pt x="2807" y="3024"/>
                  </a:cubicBezTo>
                  <a:lnTo>
                    <a:pt x="2807" y="2175"/>
                  </a:lnTo>
                  <a:lnTo>
                    <a:pt x="3050" y="1864"/>
                  </a:lnTo>
                  <a:cubicBezTo>
                    <a:pt x="3147" y="1757"/>
                    <a:pt x="3186" y="1608"/>
                    <a:pt x="3173" y="1472"/>
                  </a:cubicBezTo>
                  <a:lnTo>
                    <a:pt x="2985" y="1"/>
                  </a:lnTo>
                  <a:lnTo>
                    <a:pt x="2564" y="1"/>
                  </a:lnTo>
                  <a:lnTo>
                    <a:pt x="2444" y="866"/>
                  </a:lnTo>
                  <a:cubicBezTo>
                    <a:pt x="2402" y="1161"/>
                    <a:pt x="2201" y="1420"/>
                    <a:pt x="1916" y="1553"/>
                  </a:cubicBezTo>
                  <a:cubicBezTo>
                    <a:pt x="1770" y="1621"/>
                    <a:pt x="1673" y="1634"/>
                    <a:pt x="1621" y="1634"/>
                  </a:cubicBezTo>
                  <a:lnTo>
                    <a:pt x="1621" y="1608"/>
                  </a:lnTo>
                  <a:cubicBezTo>
                    <a:pt x="1621" y="1608"/>
                    <a:pt x="1621" y="1621"/>
                    <a:pt x="1592" y="1621"/>
                  </a:cubicBezTo>
                  <a:cubicBezTo>
                    <a:pt x="1579" y="1621"/>
                    <a:pt x="1566" y="1608"/>
                    <a:pt x="1566" y="1608"/>
                  </a:cubicBezTo>
                  <a:lnTo>
                    <a:pt x="1566" y="1634"/>
                  </a:lnTo>
                  <a:cubicBezTo>
                    <a:pt x="1511" y="1634"/>
                    <a:pt x="1430" y="1621"/>
                    <a:pt x="1284" y="1553"/>
                  </a:cubicBezTo>
                  <a:cubicBezTo>
                    <a:pt x="986" y="1420"/>
                    <a:pt x="798" y="1161"/>
                    <a:pt x="756" y="866"/>
                  </a:cubicBezTo>
                  <a:lnTo>
                    <a:pt x="636" y="1"/>
                  </a:ln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18" name="Google Shape;1518;p42"/>
            <p:cNvSpPr/>
            <p:nvPr/>
          </p:nvSpPr>
          <p:spPr>
            <a:xfrm>
              <a:off x="5160575" y="5245925"/>
              <a:ext cx="17925" cy="78025"/>
            </a:xfrm>
            <a:custGeom>
              <a:avLst/>
              <a:gdLst/>
              <a:ahLst/>
              <a:cxnLst/>
              <a:rect l="l" t="t" r="r" b="b"/>
              <a:pathLst>
                <a:path w="717" h="3121" extrusionOk="0">
                  <a:moveTo>
                    <a:pt x="351" y="1"/>
                  </a:moveTo>
                  <a:lnTo>
                    <a:pt x="448" y="1459"/>
                  </a:lnTo>
                  <a:cubicBezTo>
                    <a:pt x="461" y="1608"/>
                    <a:pt x="406" y="1744"/>
                    <a:pt x="312" y="1851"/>
                  </a:cubicBezTo>
                  <a:lnTo>
                    <a:pt x="43" y="2149"/>
                  </a:lnTo>
                  <a:lnTo>
                    <a:pt x="1" y="3121"/>
                  </a:lnTo>
                  <a:cubicBezTo>
                    <a:pt x="218" y="3066"/>
                    <a:pt x="351" y="3024"/>
                    <a:pt x="351" y="3024"/>
                  </a:cubicBezTo>
                  <a:lnTo>
                    <a:pt x="351" y="2175"/>
                  </a:lnTo>
                  <a:lnTo>
                    <a:pt x="594" y="1864"/>
                  </a:lnTo>
                  <a:cubicBezTo>
                    <a:pt x="675" y="1770"/>
                    <a:pt x="717" y="1647"/>
                    <a:pt x="717" y="1540"/>
                  </a:cubicBezTo>
                  <a:lnTo>
                    <a:pt x="717" y="1472"/>
                  </a:lnTo>
                  <a:lnTo>
                    <a:pt x="568" y="312"/>
                  </a:lnTo>
                  <a:lnTo>
                    <a:pt x="555" y="163"/>
                  </a:lnTo>
                  <a:lnTo>
                    <a:pt x="542" y="27"/>
                  </a:lnTo>
                  <a:lnTo>
                    <a:pt x="529" y="1"/>
                  </a:lnTo>
                  <a:close/>
                </a:path>
              </a:pathLst>
            </a:custGeom>
            <a:solidFill>
              <a:srgbClr val="3471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19" name="Google Shape;1519;p42"/>
            <p:cNvSpPr/>
            <p:nvPr/>
          </p:nvSpPr>
          <p:spPr>
            <a:xfrm>
              <a:off x="5103875" y="5246575"/>
              <a:ext cx="350" cy="425"/>
            </a:xfrm>
            <a:custGeom>
              <a:avLst/>
              <a:gdLst/>
              <a:ahLst/>
              <a:cxnLst/>
              <a:rect l="l" t="t" r="r" b="b"/>
              <a:pathLst>
                <a:path w="14" h="17" extrusionOk="0">
                  <a:moveTo>
                    <a:pt x="1" y="1"/>
                  </a:moveTo>
                  <a:lnTo>
                    <a:pt x="1" y="17"/>
                  </a:lnTo>
                  <a:lnTo>
                    <a:pt x="14" y="17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3A0D0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20" name="Google Shape;1520;p42"/>
            <p:cNvSpPr/>
            <p:nvPr/>
          </p:nvSpPr>
          <p:spPr>
            <a:xfrm>
              <a:off x="5099825" y="52874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CA753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21" name="Google Shape;1521;p42"/>
            <p:cNvSpPr/>
            <p:nvPr/>
          </p:nvSpPr>
          <p:spPr>
            <a:xfrm>
              <a:off x="5102175" y="5292175"/>
              <a:ext cx="6825" cy="28050"/>
            </a:xfrm>
            <a:custGeom>
              <a:avLst/>
              <a:gdLst/>
              <a:ahLst/>
              <a:cxnLst/>
              <a:rect l="l" t="t" r="r" b="b"/>
              <a:pathLst>
                <a:path w="273" h="1122" extrusionOk="0">
                  <a:moveTo>
                    <a:pt x="1" y="1"/>
                  </a:moveTo>
                  <a:lnTo>
                    <a:pt x="30" y="56"/>
                  </a:lnTo>
                  <a:lnTo>
                    <a:pt x="14" y="56"/>
                  </a:lnTo>
                  <a:lnTo>
                    <a:pt x="257" y="351"/>
                  </a:lnTo>
                  <a:lnTo>
                    <a:pt x="257" y="1122"/>
                  </a:lnTo>
                  <a:lnTo>
                    <a:pt x="273" y="1122"/>
                  </a:lnTo>
                  <a:lnTo>
                    <a:pt x="273" y="325"/>
                  </a:lnTo>
                  <a:lnTo>
                    <a:pt x="14" y="14"/>
                  </a:lnTo>
                  <a:cubicBezTo>
                    <a:pt x="14" y="14"/>
                    <a:pt x="14" y="1"/>
                    <a:pt x="1" y="1"/>
                  </a:cubicBezTo>
                  <a:close/>
                </a:path>
              </a:pathLst>
            </a:custGeom>
            <a:solidFill>
              <a:srgbClr val="DAE5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22" name="Google Shape;1522;p42"/>
            <p:cNvSpPr/>
            <p:nvPr/>
          </p:nvSpPr>
          <p:spPr>
            <a:xfrm>
              <a:off x="5100875" y="5246975"/>
              <a:ext cx="3350" cy="24325"/>
            </a:xfrm>
            <a:custGeom>
              <a:avLst/>
              <a:gdLst/>
              <a:ahLst/>
              <a:cxnLst/>
              <a:rect l="l" t="t" r="r" b="b"/>
              <a:pathLst>
                <a:path w="134" h="973" extrusionOk="0">
                  <a:moveTo>
                    <a:pt x="121" y="1"/>
                  </a:moveTo>
                  <a:lnTo>
                    <a:pt x="108" y="134"/>
                  </a:lnTo>
                  <a:lnTo>
                    <a:pt x="121" y="134"/>
                  </a:lnTo>
                  <a:lnTo>
                    <a:pt x="134" y="1"/>
                  </a:lnTo>
                  <a:close/>
                  <a:moveTo>
                    <a:pt x="66" y="419"/>
                  </a:moveTo>
                  <a:lnTo>
                    <a:pt x="1" y="967"/>
                  </a:lnTo>
                  <a:lnTo>
                    <a:pt x="1" y="967"/>
                  </a:lnTo>
                  <a:cubicBezTo>
                    <a:pt x="4" y="957"/>
                    <a:pt x="14" y="957"/>
                    <a:pt x="14" y="957"/>
                  </a:cubicBezTo>
                  <a:lnTo>
                    <a:pt x="82" y="419"/>
                  </a:lnTo>
                  <a:close/>
                  <a:moveTo>
                    <a:pt x="1" y="967"/>
                  </a:moveTo>
                  <a:cubicBezTo>
                    <a:pt x="1" y="969"/>
                    <a:pt x="1" y="971"/>
                    <a:pt x="1" y="973"/>
                  </a:cubicBezTo>
                  <a:lnTo>
                    <a:pt x="1" y="967"/>
                  </a:lnTo>
                  <a:close/>
                </a:path>
              </a:pathLst>
            </a:custGeom>
            <a:solidFill>
              <a:srgbClr val="4DC9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23" name="Google Shape;1523;p42"/>
            <p:cNvSpPr/>
            <p:nvPr/>
          </p:nvSpPr>
          <p:spPr>
            <a:xfrm>
              <a:off x="5098850" y="5270875"/>
              <a:ext cx="4075" cy="22700"/>
            </a:xfrm>
            <a:custGeom>
              <a:avLst/>
              <a:gdLst/>
              <a:ahLst/>
              <a:cxnLst/>
              <a:rect l="l" t="t" r="r" b="b"/>
              <a:pathLst>
                <a:path w="163" h="908" extrusionOk="0">
                  <a:moveTo>
                    <a:pt x="95" y="1"/>
                  </a:moveTo>
                  <a:cubicBezTo>
                    <a:pt x="95" y="1"/>
                    <a:pt x="82" y="1"/>
                    <a:pt x="82" y="17"/>
                  </a:cubicBezTo>
                  <a:lnTo>
                    <a:pt x="42" y="365"/>
                  </a:lnTo>
                  <a:lnTo>
                    <a:pt x="95" y="1"/>
                  </a:lnTo>
                  <a:close/>
                  <a:moveTo>
                    <a:pt x="42" y="365"/>
                  </a:moveTo>
                  <a:lnTo>
                    <a:pt x="27" y="474"/>
                  </a:lnTo>
                  <a:cubicBezTo>
                    <a:pt x="27" y="484"/>
                    <a:pt x="27" y="493"/>
                    <a:pt x="27" y="503"/>
                  </a:cubicBezTo>
                  <a:lnTo>
                    <a:pt x="27" y="503"/>
                  </a:lnTo>
                  <a:lnTo>
                    <a:pt x="42" y="365"/>
                  </a:lnTo>
                  <a:close/>
                  <a:moveTo>
                    <a:pt x="27" y="503"/>
                  </a:moveTo>
                  <a:lnTo>
                    <a:pt x="27" y="503"/>
                  </a:lnTo>
                  <a:cubicBezTo>
                    <a:pt x="1" y="636"/>
                    <a:pt x="40" y="785"/>
                    <a:pt x="134" y="892"/>
                  </a:cubicBezTo>
                  <a:lnTo>
                    <a:pt x="147" y="908"/>
                  </a:lnTo>
                  <a:lnTo>
                    <a:pt x="163" y="908"/>
                  </a:lnTo>
                  <a:lnTo>
                    <a:pt x="134" y="853"/>
                  </a:lnTo>
                  <a:cubicBezTo>
                    <a:pt x="95" y="798"/>
                    <a:pt x="66" y="730"/>
                    <a:pt x="40" y="665"/>
                  </a:cubicBezTo>
                  <a:cubicBezTo>
                    <a:pt x="29" y="607"/>
                    <a:pt x="27" y="558"/>
                    <a:pt x="27" y="503"/>
                  </a:cubicBezTo>
                  <a:close/>
                </a:path>
              </a:pathLst>
            </a:custGeom>
            <a:solidFill>
              <a:srgbClr val="34BD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24" name="Google Shape;1524;p42"/>
            <p:cNvSpPr/>
            <p:nvPr/>
          </p:nvSpPr>
          <p:spPr>
            <a:xfrm>
              <a:off x="5103225" y="5250300"/>
              <a:ext cx="675" cy="3425"/>
            </a:xfrm>
            <a:custGeom>
              <a:avLst/>
              <a:gdLst/>
              <a:ahLst/>
              <a:cxnLst/>
              <a:rect l="l" t="t" r="r" b="b"/>
              <a:pathLst>
                <a:path w="27" h="137" extrusionOk="0">
                  <a:moveTo>
                    <a:pt x="14" y="1"/>
                  </a:moveTo>
                  <a:lnTo>
                    <a:pt x="1" y="137"/>
                  </a:lnTo>
                  <a:lnTo>
                    <a:pt x="27" y="1"/>
                  </a:lnTo>
                  <a:close/>
                </a:path>
              </a:pathLst>
            </a:custGeom>
            <a:solidFill>
              <a:srgbClr val="34BD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25" name="Google Shape;1525;p42"/>
            <p:cNvSpPr/>
            <p:nvPr/>
          </p:nvSpPr>
          <p:spPr>
            <a:xfrm>
              <a:off x="5102500" y="5254025"/>
              <a:ext cx="750" cy="3425"/>
            </a:xfrm>
            <a:custGeom>
              <a:avLst/>
              <a:gdLst/>
              <a:ahLst/>
              <a:cxnLst/>
              <a:rect l="l" t="t" r="r" b="b"/>
              <a:pathLst>
                <a:path w="30" h="137" extrusionOk="0">
                  <a:moveTo>
                    <a:pt x="30" y="1"/>
                  </a:moveTo>
                  <a:lnTo>
                    <a:pt x="1" y="137"/>
                  </a:lnTo>
                  <a:lnTo>
                    <a:pt x="17" y="137"/>
                  </a:lnTo>
                  <a:lnTo>
                    <a:pt x="30" y="14"/>
                  </a:lnTo>
                  <a:lnTo>
                    <a:pt x="30" y="1"/>
                  </a:lnTo>
                  <a:close/>
                </a:path>
              </a:pathLst>
            </a:custGeom>
            <a:solidFill>
              <a:srgbClr val="34BD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26" name="Google Shape;1526;p42"/>
            <p:cNvSpPr/>
            <p:nvPr/>
          </p:nvSpPr>
          <p:spPr>
            <a:xfrm>
              <a:off x="5103225" y="5253700"/>
              <a:ext cx="25" cy="675"/>
            </a:xfrm>
            <a:custGeom>
              <a:avLst/>
              <a:gdLst/>
              <a:ahLst/>
              <a:cxnLst/>
              <a:rect l="l" t="t" r="r" b="b"/>
              <a:pathLst>
                <a:path w="1" h="27" extrusionOk="0">
                  <a:moveTo>
                    <a:pt x="1" y="1"/>
                  </a:moveTo>
                  <a:lnTo>
                    <a:pt x="1" y="14"/>
                  </a:lnTo>
                  <a:lnTo>
                    <a:pt x="1" y="2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23B1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27" name="Google Shape;1527;p42"/>
            <p:cNvSpPr/>
            <p:nvPr/>
          </p:nvSpPr>
          <p:spPr>
            <a:xfrm>
              <a:off x="5108575" y="5320200"/>
              <a:ext cx="8850" cy="4400"/>
            </a:xfrm>
            <a:custGeom>
              <a:avLst/>
              <a:gdLst/>
              <a:ahLst/>
              <a:cxnLst/>
              <a:rect l="l" t="t" r="r" b="b"/>
              <a:pathLst>
                <a:path w="354" h="176" extrusionOk="0">
                  <a:moveTo>
                    <a:pt x="1" y="1"/>
                  </a:moveTo>
                  <a:lnTo>
                    <a:pt x="1" y="82"/>
                  </a:lnTo>
                  <a:cubicBezTo>
                    <a:pt x="1" y="82"/>
                    <a:pt x="137" y="121"/>
                    <a:pt x="354" y="176"/>
                  </a:cubicBezTo>
                  <a:lnTo>
                    <a:pt x="354" y="134"/>
                  </a:lnTo>
                  <a:cubicBezTo>
                    <a:pt x="150" y="95"/>
                    <a:pt x="17" y="53"/>
                    <a:pt x="17" y="53"/>
                  </a:cubicBezTo>
                  <a:lnTo>
                    <a:pt x="17" y="1"/>
                  </a:lnTo>
                  <a:close/>
                </a:path>
              </a:pathLst>
            </a:custGeom>
            <a:solidFill>
              <a:srgbClr val="D3665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28" name="Google Shape;1528;p42"/>
            <p:cNvSpPr/>
            <p:nvPr/>
          </p:nvSpPr>
          <p:spPr>
            <a:xfrm>
              <a:off x="5099500" y="5246575"/>
              <a:ext cx="17925" cy="76975"/>
            </a:xfrm>
            <a:custGeom>
              <a:avLst/>
              <a:gdLst/>
              <a:ahLst/>
              <a:cxnLst/>
              <a:rect l="l" t="t" r="r" b="b"/>
              <a:pathLst>
                <a:path w="717" h="3079" extrusionOk="0">
                  <a:moveTo>
                    <a:pt x="189" y="1"/>
                  </a:moveTo>
                  <a:lnTo>
                    <a:pt x="189" y="17"/>
                  </a:lnTo>
                  <a:lnTo>
                    <a:pt x="176" y="150"/>
                  </a:lnTo>
                  <a:lnTo>
                    <a:pt x="150" y="286"/>
                  </a:lnTo>
                  <a:lnTo>
                    <a:pt x="150" y="312"/>
                  </a:lnTo>
                  <a:lnTo>
                    <a:pt x="137" y="435"/>
                  </a:lnTo>
                  <a:lnTo>
                    <a:pt x="69" y="973"/>
                  </a:lnTo>
                  <a:lnTo>
                    <a:pt x="1" y="1446"/>
                  </a:lnTo>
                  <a:cubicBezTo>
                    <a:pt x="1" y="1514"/>
                    <a:pt x="1" y="1569"/>
                    <a:pt x="14" y="1637"/>
                  </a:cubicBezTo>
                  <a:cubicBezTo>
                    <a:pt x="40" y="1702"/>
                    <a:pt x="69" y="1770"/>
                    <a:pt x="108" y="1825"/>
                  </a:cubicBezTo>
                  <a:cubicBezTo>
                    <a:pt x="121" y="1825"/>
                    <a:pt x="121" y="1838"/>
                    <a:pt x="121" y="1838"/>
                  </a:cubicBezTo>
                  <a:lnTo>
                    <a:pt x="380" y="2149"/>
                  </a:lnTo>
                  <a:lnTo>
                    <a:pt x="380" y="2946"/>
                  </a:lnTo>
                  <a:lnTo>
                    <a:pt x="380" y="2998"/>
                  </a:lnTo>
                  <a:cubicBezTo>
                    <a:pt x="380" y="2998"/>
                    <a:pt x="513" y="3040"/>
                    <a:pt x="717" y="3079"/>
                  </a:cubicBezTo>
                  <a:lnTo>
                    <a:pt x="662" y="2149"/>
                  </a:lnTo>
                  <a:lnTo>
                    <a:pt x="406" y="1851"/>
                  </a:lnTo>
                  <a:cubicBezTo>
                    <a:pt x="299" y="1744"/>
                    <a:pt x="257" y="1608"/>
                    <a:pt x="257" y="1459"/>
                  </a:cubicBezTo>
                  <a:lnTo>
                    <a:pt x="364" y="1"/>
                  </a:lnTo>
                  <a:close/>
                </a:path>
              </a:pathLst>
            </a:custGeom>
            <a:solidFill>
              <a:srgbClr val="3471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29" name="Google Shape;1529;p42"/>
            <p:cNvSpPr/>
            <p:nvPr/>
          </p:nvSpPr>
          <p:spPr>
            <a:xfrm>
              <a:off x="5123475" y="5297925"/>
              <a:ext cx="34450" cy="9825"/>
            </a:xfrm>
            <a:custGeom>
              <a:avLst/>
              <a:gdLst/>
              <a:ahLst/>
              <a:cxnLst/>
              <a:rect l="l" t="t" r="r" b="b"/>
              <a:pathLst>
                <a:path w="1378" h="393" extrusionOk="0">
                  <a:moveTo>
                    <a:pt x="53" y="1"/>
                  </a:moveTo>
                  <a:lnTo>
                    <a:pt x="1" y="53"/>
                  </a:lnTo>
                  <a:cubicBezTo>
                    <a:pt x="14" y="53"/>
                    <a:pt x="406" y="393"/>
                    <a:pt x="1378" y="393"/>
                  </a:cubicBezTo>
                  <a:lnTo>
                    <a:pt x="1378" y="325"/>
                  </a:lnTo>
                  <a:cubicBezTo>
                    <a:pt x="892" y="325"/>
                    <a:pt x="568" y="244"/>
                    <a:pt x="351" y="163"/>
                  </a:cubicBezTo>
                  <a:cubicBezTo>
                    <a:pt x="244" y="121"/>
                    <a:pt x="163" y="82"/>
                    <a:pt x="121" y="53"/>
                  </a:cubicBezTo>
                  <a:cubicBezTo>
                    <a:pt x="95" y="40"/>
                    <a:pt x="82" y="27"/>
                    <a:pt x="69" y="14"/>
                  </a:cubicBezTo>
                  <a:lnTo>
                    <a:pt x="53" y="14"/>
                  </a:lnTo>
                  <a:lnTo>
                    <a:pt x="53" y="1"/>
                  </a:lnTo>
                  <a:close/>
                </a:path>
              </a:pathLst>
            </a:custGeom>
            <a:solidFill>
              <a:srgbClr val="3A35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30" name="Google Shape;1530;p42"/>
            <p:cNvSpPr/>
            <p:nvPr/>
          </p:nvSpPr>
          <p:spPr>
            <a:xfrm>
              <a:off x="5124125" y="5297925"/>
              <a:ext cx="34450" cy="9825"/>
            </a:xfrm>
            <a:custGeom>
              <a:avLst/>
              <a:gdLst/>
              <a:ahLst/>
              <a:cxnLst/>
              <a:rect l="l" t="t" r="r" b="b"/>
              <a:pathLst>
                <a:path w="1378" h="393" extrusionOk="0">
                  <a:moveTo>
                    <a:pt x="1339" y="1"/>
                  </a:moveTo>
                  <a:cubicBezTo>
                    <a:pt x="1310" y="27"/>
                    <a:pt x="934" y="325"/>
                    <a:pt x="1" y="325"/>
                  </a:cubicBezTo>
                  <a:lnTo>
                    <a:pt x="1" y="393"/>
                  </a:lnTo>
                  <a:cubicBezTo>
                    <a:pt x="986" y="393"/>
                    <a:pt x="1365" y="53"/>
                    <a:pt x="1378" y="53"/>
                  </a:cubicBezTo>
                  <a:lnTo>
                    <a:pt x="1339" y="1"/>
                  </a:lnTo>
                  <a:close/>
                </a:path>
              </a:pathLst>
            </a:custGeom>
            <a:solidFill>
              <a:srgbClr val="3A35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31" name="Google Shape;1531;p42"/>
            <p:cNvSpPr/>
            <p:nvPr/>
          </p:nvSpPr>
          <p:spPr>
            <a:xfrm>
              <a:off x="5123475" y="5306025"/>
              <a:ext cx="34450" cy="9825"/>
            </a:xfrm>
            <a:custGeom>
              <a:avLst/>
              <a:gdLst/>
              <a:ahLst/>
              <a:cxnLst/>
              <a:rect l="l" t="t" r="r" b="b"/>
              <a:pathLst>
                <a:path w="1378" h="393" extrusionOk="0">
                  <a:moveTo>
                    <a:pt x="53" y="1"/>
                  </a:moveTo>
                  <a:lnTo>
                    <a:pt x="1" y="53"/>
                  </a:lnTo>
                  <a:cubicBezTo>
                    <a:pt x="14" y="53"/>
                    <a:pt x="406" y="393"/>
                    <a:pt x="1378" y="393"/>
                  </a:cubicBezTo>
                  <a:lnTo>
                    <a:pt x="1378" y="325"/>
                  </a:lnTo>
                  <a:cubicBezTo>
                    <a:pt x="892" y="325"/>
                    <a:pt x="568" y="244"/>
                    <a:pt x="351" y="163"/>
                  </a:cubicBezTo>
                  <a:cubicBezTo>
                    <a:pt x="244" y="121"/>
                    <a:pt x="163" y="82"/>
                    <a:pt x="121" y="53"/>
                  </a:cubicBezTo>
                  <a:cubicBezTo>
                    <a:pt x="95" y="40"/>
                    <a:pt x="82" y="27"/>
                    <a:pt x="69" y="14"/>
                  </a:cubicBezTo>
                  <a:cubicBezTo>
                    <a:pt x="53" y="14"/>
                    <a:pt x="53" y="14"/>
                    <a:pt x="53" y="1"/>
                  </a:cubicBezTo>
                  <a:close/>
                </a:path>
              </a:pathLst>
            </a:custGeom>
            <a:solidFill>
              <a:srgbClr val="3A35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32" name="Google Shape;1532;p42"/>
            <p:cNvSpPr/>
            <p:nvPr/>
          </p:nvSpPr>
          <p:spPr>
            <a:xfrm>
              <a:off x="5124125" y="5306025"/>
              <a:ext cx="34450" cy="9825"/>
            </a:xfrm>
            <a:custGeom>
              <a:avLst/>
              <a:gdLst/>
              <a:ahLst/>
              <a:cxnLst/>
              <a:rect l="l" t="t" r="r" b="b"/>
              <a:pathLst>
                <a:path w="1378" h="393" extrusionOk="0">
                  <a:moveTo>
                    <a:pt x="1339" y="1"/>
                  </a:moveTo>
                  <a:cubicBezTo>
                    <a:pt x="1310" y="14"/>
                    <a:pt x="934" y="325"/>
                    <a:pt x="1" y="325"/>
                  </a:cubicBezTo>
                  <a:lnTo>
                    <a:pt x="1" y="393"/>
                  </a:lnTo>
                  <a:cubicBezTo>
                    <a:pt x="986" y="393"/>
                    <a:pt x="1365" y="53"/>
                    <a:pt x="1378" y="53"/>
                  </a:cubicBezTo>
                  <a:lnTo>
                    <a:pt x="1339" y="1"/>
                  </a:lnTo>
                  <a:close/>
                </a:path>
              </a:pathLst>
            </a:custGeom>
            <a:solidFill>
              <a:srgbClr val="3A353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pic>
        <p:nvPicPr>
          <p:cNvPr id="2" name="Hình ảnh 8" descr="Ảnh có chứa khuôn làm bánh quy&#10;&#10;Mô tả được tạo tự động">
            <a:extLst>
              <a:ext uri="{FF2B5EF4-FFF2-40B4-BE49-F238E27FC236}">
                <a16:creationId xmlns:a16="http://schemas.microsoft.com/office/drawing/2014/main" xmlns="" id="{4BD9B63B-C9B3-293D-91F7-4B09ED7476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1638" y="0"/>
            <a:ext cx="9350698" cy="6238560"/>
          </a:xfrm>
          <a:prstGeom prst="rect">
            <a:avLst/>
          </a:prstGeom>
        </p:spPr>
      </p:pic>
      <p:pic>
        <p:nvPicPr>
          <p:cNvPr id="3" name="Picture 2" descr="Cute rabbit holding carrot with thumb up cartoon vector icon illustration animal nature isolated Free Vector">
            <a:extLst>
              <a:ext uri="{FF2B5EF4-FFF2-40B4-BE49-F238E27FC236}">
                <a16:creationId xmlns:a16="http://schemas.microsoft.com/office/drawing/2014/main" xmlns="" id="{687C46F4-B05F-A95B-1EC0-2188E2281F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7348" b="89936" l="9904" r="89936">
                        <a14:foregroundMark x1="42971" y1="7348" x2="42971" y2="7348"/>
                        <a14:foregroundMark x1="24441" y1="52716" x2="24441" y2="52716"/>
                        <a14:foregroundMark x1="77955" y1="44089" x2="77955" y2="440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9175" y="2461171"/>
            <a:ext cx="4909387" cy="490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64" name="Google Shape;1364;p42"/>
          <p:cNvGrpSpPr/>
          <p:nvPr/>
        </p:nvGrpSpPr>
        <p:grpSpPr>
          <a:xfrm>
            <a:off x="9184716" y="3862990"/>
            <a:ext cx="1771399" cy="2516968"/>
            <a:chOff x="4761425" y="5078500"/>
            <a:chExt cx="278475" cy="395675"/>
          </a:xfrm>
        </p:grpSpPr>
        <p:sp>
          <p:nvSpPr>
            <p:cNvPr id="1365" name="Google Shape;1365;p42"/>
            <p:cNvSpPr/>
            <p:nvPr/>
          </p:nvSpPr>
          <p:spPr>
            <a:xfrm>
              <a:off x="4859500" y="5397800"/>
              <a:ext cx="35175" cy="56725"/>
            </a:xfrm>
            <a:custGeom>
              <a:avLst/>
              <a:gdLst/>
              <a:ahLst/>
              <a:cxnLst/>
              <a:rect l="l" t="t" r="r" b="b"/>
              <a:pathLst>
                <a:path w="1407" h="2269" extrusionOk="0">
                  <a:moveTo>
                    <a:pt x="1" y="1"/>
                  </a:moveTo>
                  <a:lnTo>
                    <a:pt x="30" y="257"/>
                  </a:lnTo>
                  <a:lnTo>
                    <a:pt x="98" y="756"/>
                  </a:lnTo>
                  <a:lnTo>
                    <a:pt x="150" y="1216"/>
                  </a:lnTo>
                  <a:lnTo>
                    <a:pt x="299" y="2269"/>
                  </a:lnTo>
                  <a:lnTo>
                    <a:pt x="1407" y="2269"/>
                  </a:lnTo>
                  <a:lnTo>
                    <a:pt x="1407" y="1216"/>
                  </a:lnTo>
                  <a:lnTo>
                    <a:pt x="1407" y="1"/>
                  </a:ln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66" name="Google Shape;1366;p42"/>
            <p:cNvSpPr/>
            <p:nvPr/>
          </p:nvSpPr>
          <p:spPr>
            <a:xfrm>
              <a:off x="4859900" y="5399500"/>
              <a:ext cx="34775" cy="20600"/>
            </a:xfrm>
            <a:custGeom>
              <a:avLst/>
              <a:gdLst/>
              <a:ahLst/>
              <a:cxnLst/>
              <a:rect l="l" t="t" r="r" b="b"/>
              <a:pathLst>
                <a:path w="1391" h="824" extrusionOk="0">
                  <a:moveTo>
                    <a:pt x="1391" y="1"/>
                  </a:moveTo>
                  <a:lnTo>
                    <a:pt x="1362" y="163"/>
                  </a:lnTo>
                  <a:cubicBezTo>
                    <a:pt x="1216" y="176"/>
                    <a:pt x="1067" y="176"/>
                    <a:pt x="944" y="176"/>
                  </a:cubicBezTo>
                  <a:cubicBezTo>
                    <a:pt x="513" y="176"/>
                    <a:pt x="189" y="108"/>
                    <a:pt x="1" y="40"/>
                  </a:cubicBezTo>
                  <a:lnTo>
                    <a:pt x="1" y="40"/>
                  </a:lnTo>
                  <a:lnTo>
                    <a:pt x="14" y="189"/>
                  </a:lnTo>
                  <a:lnTo>
                    <a:pt x="1255" y="189"/>
                  </a:lnTo>
                  <a:lnTo>
                    <a:pt x="1255" y="688"/>
                  </a:lnTo>
                  <a:lnTo>
                    <a:pt x="82" y="688"/>
                  </a:lnTo>
                  <a:lnTo>
                    <a:pt x="95" y="824"/>
                  </a:lnTo>
                  <a:lnTo>
                    <a:pt x="1391" y="824"/>
                  </a:lnTo>
                  <a:lnTo>
                    <a:pt x="1391" y="1"/>
                  </a:lnTo>
                  <a:close/>
                </a:path>
              </a:pathLst>
            </a:custGeom>
            <a:solidFill>
              <a:srgbClr val="FFA35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67" name="Google Shape;1367;p42"/>
            <p:cNvSpPr/>
            <p:nvPr/>
          </p:nvSpPr>
          <p:spPr>
            <a:xfrm>
              <a:off x="4861525" y="5420075"/>
              <a:ext cx="34450" cy="41900"/>
            </a:xfrm>
            <a:custGeom>
              <a:avLst/>
              <a:gdLst/>
              <a:ahLst/>
              <a:cxnLst/>
              <a:rect l="l" t="t" r="r" b="b"/>
              <a:pathLst>
                <a:path w="1378" h="1676" extrusionOk="0">
                  <a:moveTo>
                    <a:pt x="1" y="1"/>
                  </a:moveTo>
                  <a:lnTo>
                    <a:pt x="137" y="1041"/>
                  </a:lnTo>
                  <a:lnTo>
                    <a:pt x="205" y="1501"/>
                  </a:lnTo>
                  <a:lnTo>
                    <a:pt x="1339" y="1676"/>
                  </a:lnTo>
                  <a:lnTo>
                    <a:pt x="1378" y="1"/>
                  </a:lnTo>
                  <a:close/>
                </a:path>
              </a:pathLst>
            </a:custGeom>
            <a:solidFill>
              <a:srgbClr val="E1F3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68" name="Google Shape;1368;p42"/>
            <p:cNvSpPr/>
            <p:nvPr/>
          </p:nvSpPr>
          <p:spPr>
            <a:xfrm>
              <a:off x="4834875" y="5449550"/>
              <a:ext cx="62475" cy="24625"/>
            </a:xfrm>
            <a:custGeom>
              <a:avLst/>
              <a:gdLst/>
              <a:ahLst/>
              <a:cxnLst/>
              <a:rect l="l" t="t" r="r" b="b"/>
              <a:pathLst>
                <a:path w="2499" h="985" extrusionOk="0">
                  <a:moveTo>
                    <a:pt x="1517" y="0"/>
                  </a:moveTo>
                  <a:cubicBezTo>
                    <a:pt x="1425" y="0"/>
                    <a:pt x="1311" y="27"/>
                    <a:pt x="1177" y="105"/>
                  </a:cubicBezTo>
                  <a:cubicBezTo>
                    <a:pt x="811" y="293"/>
                    <a:pt x="312" y="510"/>
                    <a:pt x="56" y="698"/>
                  </a:cubicBezTo>
                  <a:cubicBezTo>
                    <a:pt x="14" y="727"/>
                    <a:pt x="1" y="779"/>
                    <a:pt x="14" y="821"/>
                  </a:cubicBezTo>
                  <a:cubicBezTo>
                    <a:pt x="30" y="860"/>
                    <a:pt x="56" y="902"/>
                    <a:pt x="111" y="902"/>
                  </a:cubicBezTo>
                  <a:cubicBezTo>
                    <a:pt x="406" y="963"/>
                    <a:pt x="720" y="984"/>
                    <a:pt x="1018" y="984"/>
                  </a:cubicBezTo>
                  <a:cubicBezTo>
                    <a:pt x="1767" y="984"/>
                    <a:pt x="2418" y="847"/>
                    <a:pt x="2418" y="847"/>
                  </a:cubicBezTo>
                  <a:cubicBezTo>
                    <a:pt x="2499" y="497"/>
                    <a:pt x="2418" y="186"/>
                    <a:pt x="2418" y="186"/>
                  </a:cubicBezTo>
                  <a:cubicBezTo>
                    <a:pt x="2363" y="186"/>
                    <a:pt x="2324" y="212"/>
                    <a:pt x="2269" y="241"/>
                  </a:cubicBezTo>
                  <a:cubicBezTo>
                    <a:pt x="2217" y="280"/>
                    <a:pt x="2149" y="348"/>
                    <a:pt x="2055" y="361"/>
                  </a:cubicBezTo>
                  <a:cubicBezTo>
                    <a:pt x="2051" y="361"/>
                    <a:pt x="2047" y="361"/>
                    <a:pt x="2043" y="361"/>
                  </a:cubicBezTo>
                  <a:cubicBezTo>
                    <a:pt x="1889" y="361"/>
                    <a:pt x="1812" y="118"/>
                    <a:pt x="1812" y="118"/>
                  </a:cubicBezTo>
                  <a:cubicBezTo>
                    <a:pt x="1812" y="118"/>
                    <a:pt x="1712" y="0"/>
                    <a:pt x="1517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69" name="Google Shape;1369;p42"/>
            <p:cNvSpPr/>
            <p:nvPr/>
          </p:nvSpPr>
          <p:spPr>
            <a:xfrm>
              <a:off x="4835200" y="5454175"/>
              <a:ext cx="61175" cy="19950"/>
            </a:xfrm>
            <a:custGeom>
              <a:avLst/>
              <a:gdLst/>
              <a:ahLst/>
              <a:cxnLst/>
              <a:rect l="l" t="t" r="r" b="b"/>
              <a:pathLst>
                <a:path w="2447" h="798" extrusionOk="0">
                  <a:moveTo>
                    <a:pt x="2379" y="1"/>
                  </a:moveTo>
                  <a:cubicBezTo>
                    <a:pt x="2337" y="1"/>
                    <a:pt x="2298" y="27"/>
                    <a:pt x="2256" y="56"/>
                  </a:cubicBezTo>
                  <a:cubicBezTo>
                    <a:pt x="2256" y="163"/>
                    <a:pt x="2243" y="257"/>
                    <a:pt x="2136" y="351"/>
                  </a:cubicBezTo>
                  <a:cubicBezTo>
                    <a:pt x="2042" y="432"/>
                    <a:pt x="1919" y="461"/>
                    <a:pt x="1799" y="487"/>
                  </a:cubicBezTo>
                  <a:cubicBezTo>
                    <a:pt x="1663" y="513"/>
                    <a:pt x="1514" y="542"/>
                    <a:pt x="1365" y="555"/>
                  </a:cubicBezTo>
                  <a:cubicBezTo>
                    <a:pt x="1054" y="594"/>
                    <a:pt x="746" y="594"/>
                    <a:pt x="435" y="594"/>
                  </a:cubicBezTo>
                  <a:cubicBezTo>
                    <a:pt x="354" y="607"/>
                    <a:pt x="260" y="607"/>
                    <a:pt x="179" y="607"/>
                  </a:cubicBezTo>
                  <a:cubicBezTo>
                    <a:pt x="124" y="607"/>
                    <a:pt x="56" y="607"/>
                    <a:pt x="1" y="636"/>
                  </a:cubicBezTo>
                  <a:cubicBezTo>
                    <a:pt x="17" y="675"/>
                    <a:pt x="43" y="717"/>
                    <a:pt x="98" y="717"/>
                  </a:cubicBezTo>
                  <a:cubicBezTo>
                    <a:pt x="393" y="785"/>
                    <a:pt x="704" y="798"/>
                    <a:pt x="1002" y="798"/>
                  </a:cubicBezTo>
                  <a:cubicBezTo>
                    <a:pt x="1757" y="798"/>
                    <a:pt x="2405" y="662"/>
                    <a:pt x="2405" y="662"/>
                  </a:cubicBezTo>
                  <a:cubicBezTo>
                    <a:pt x="2431" y="542"/>
                    <a:pt x="2447" y="419"/>
                    <a:pt x="2447" y="325"/>
                  </a:cubicBezTo>
                  <a:cubicBezTo>
                    <a:pt x="2447" y="137"/>
                    <a:pt x="2405" y="1"/>
                    <a:pt x="2405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70" name="Google Shape;1370;p42"/>
            <p:cNvSpPr/>
            <p:nvPr/>
          </p:nvSpPr>
          <p:spPr>
            <a:xfrm>
              <a:off x="4911175" y="5397800"/>
              <a:ext cx="35425" cy="56725"/>
            </a:xfrm>
            <a:custGeom>
              <a:avLst/>
              <a:gdLst/>
              <a:ahLst/>
              <a:cxnLst/>
              <a:rect l="l" t="t" r="r" b="b"/>
              <a:pathLst>
                <a:path w="1417" h="2269" extrusionOk="0">
                  <a:moveTo>
                    <a:pt x="1" y="1"/>
                  </a:moveTo>
                  <a:lnTo>
                    <a:pt x="1" y="1216"/>
                  </a:lnTo>
                  <a:lnTo>
                    <a:pt x="1" y="2269"/>
                  </a:lnTo>
                  <a:lnTo>
                    <a:pt x="1109" y="2269"/>
                  </a:lnTo>
                  <a:lnTo>
                    <a:pt x="1255" y="1216"/>
                  </a:lnTo>
                  <a:lnTo>
                    <a:pt x="1310" y="756"/>
                  </a:lnTo>
                  <a:lnTo>
                    <a:pt x="1378" y="257"/>
                  </a:lnTo>
                  <a:lnTo>
                    <a:pt x="1417" y="1"/>
                  </a:ln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71" name="Google Shape;1371;p42"/>
            <p:cNvSpPr/>
            <p:nvPr/>
          </p:nvSpPr>
          <p:spPr>
            <a:xfrm>
              <a:off x="4911175" y="5399825"/>
              <a:ext cx="35100" cy="20275"/>
            </a:xfrm>
            <a:custGeom>
              <a:avLst/>
              <a:gdLst/>
              <a:ahLst/>
              <a:cxnLst/>
              <a:rect l="l" t="t" r="r" b="b"/>
              <a:pathLst>
                <a:path w="1404" h="811" extrusionOk="0">
                  <a:moveTo>
                    <a:pt x="1404" y="1"/>
                  </a:moveTo>
                  <a:cubicBezTo>
                    <a:pt x="1216" y="69"/>
                    <a:pt x="866" y="163"/>
                    <a:pt x="351" y="163"/>
                  </a:cubicBezTo>
                  <a:cubicBezTo>
                    <a:pt x="244" y="163"/>
                    <a:pt x="137" y="163"/>
                    <a:pt x="1" y="150"/>
                  </a:cubicBezTo>
                  <a:lnTo>
                    <a:pt x="1" y="811"/>
                  </a:lnTo>
                  <a:lnTo>
                    <a:pt x="1297" y="811"/>
                  </a:lnTo>
                  <a:lnTo>
                    <a:pt x="1310" y="675"/>
                  </a:lnTo>
                  <a:lnTo>
                    <a:pt x="150" y="675"/>
                  </a:lnTo>
                  <a:lnTo>
                    <a:pt x="150" y="176"/>
                  </a:lnTo>
                  <a:lnTo>
                    <a:pt x="1378" y="176"/>
                  </a:lnTo>
                  <a:lnTo>
                    <a:pt x="1404" y="1"/>
                  </a:lnTo>
                  <a:close/>
                </a:path>
              </a:pathLst>
            </a:custGeom>
            <a:solidFill>
              <a:srgbClr val="FFA35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72" name="Google Shape;1372;p42"/>
            <p:cNvSpPr/>
            <p:nvPr/>
          </p:nvSpPr>
          <p:spPr>
            <a:xfrm>
              <a:off x="4909475" y="5420075"/>
              <a:ext cx="34450" cy="41900"/>
            </a:xfrm>
            <a:custGeom>
              <a:avLst/>
              <a:gdLst/>
              <a:ahLst/>
              <a:cxnLst/>
              <a:rect l="l" t="t" r="r" b="b"/>
              <a:pathLst>
                <a:path w="1378" h="1676" extrusionOk="0">
                  <a:moveTo>
                    <a:pt x="1" y="1"/>
                  </a:moveTo>
                  <a:lnTo>
                    <a:pt x="43" y="1676"/>
                  </a:lnTo>
                  <a:lnTo>
                    <a:pt x="1177" y="1501"/>
                  </a:lnTo>
                  <a:lnTo>
                    <a:pt x="1242" y="973"/>
                  </a:lnTo>
                  <a:lnTo>
                    <a:pt x="1378" y="1"/>
                  </a:lnTo>
                  <a:close/>
                </a:path>
              </a:pathLst>
            </a:custGeom>
            <a:solidFill>
              <a:srgbClr val="E1F3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73" name="Google Shape;1373;p42"/>
            <p:cNvSpPr/>
            <p:nvPr/>
          </p:nvSpPr>
          <p:spPr>
            <a:xfrm>
              <a:off x="4907775" y="5449550"/>
              <a:ext cx="62475" cy="24625"/>
            </a:xfrm>
            <a:custGeom>
              <a:avLst/>
              <a:gdLst/>
              <a:ahLst/>
              <a:cxnLst/>
              <a:rect l="l" t="t" r="r" b="b"/>
              <a:pathLst>
                <a:path w="2499" h="985" extrusionOk="0">
                  <a:moveTo>
                    <a:pt x="991" y="0"/>
                  </a:moveTo>
                  <a:cubicBezTo>
                    <a:pt x="796" y="0"/>
                    <a:pt x="704" y="118"/>
                    <a:pt x="704" y="118"/>
                  </a:cubicBezTo>
                  <a:cubicBezTo>
                    <a:pt x="704" y="118"/>
                    <a:pt x="614" y="361"/>
                    <a:pt x="460" y="361"/>
                  </a:cubicBezTo>
                  <a:cubicBezTo>
                    <a:pt x="456" y="361"/>
                    <a:pt x="452" y="361"/>
                    <a:pt x="448" y="361"/>
                  </a:cubicBezTo>
                  <a:cubicBezTo>
                    <a:pt x="354" y="348"/>
                    <a:pt x="286" y="280"/>
                    <a:pt x="231" y="241"/>
                  </a:cubicBezTo>
                  <a:cubicBezTo>
                    <a:pt x="176" y="212"/>
                    <a:pt x="137" y="186"/>
                    <a:pt x="82" y="186"/>
                  </a:cubicBezTo>
                  <a:cubicBezTo>
                    <a:pt x="82" y="186"/>
                    <a:pt x="1" y="497"/>
                    <a:pt x="95" y="847"/>
                  </a:cubicBezTo>
                  <a:cubicBezTo>
                    <a:pt x="95" y="847"/>
                    <a:pt x="738" y="984"/>
                    <a:pt x="1485" y="984"/>
                  </a:cubicBezTo>
                  <a:cubicBezTo>
                    <a:pt x="1782" y="984"/>
                    <a:pt x="2096" y="963"/>
                    <a:pt x="2392" y="902"/>
                  </a:cubicBezTo>
                  <a:cubicBezTo>
                    <a:pt x="2444" y="902"/>
                    <a:pt x="2473" y="860"/>
                    <a:pt x="2486" y="821"/>
                  </a:cubicBezTo>
                  <a:cubicBezTo>
                    <a:pt x="2499" y="779"/>
                    <a:pt x="2486" y="727"/>
                    <a:pt x="2444" y="698"/>
                  </a:cubicBezTo>
                  <a:cubicBezTo>
                    <a:pt x="2188" y="510"/>
                    <a:pt x="1689" y="293"/>
                    <a:pt x="1339" y="105"/>
                  </a:cubicBezTo>
                  <a:cubicBezTo>
                    <a:pt x="1199" y="27"/>
                    <a:pt x="1083" y="0"/>
                    <a:pt x="991" y="0"/>
                  </a:cubicBez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74" name="Google Shape;1374;p42"/>
            <p:cNvSpPr/>
            <p:nvPr/>
          </p:nvSpPr>
          <p:spPr>
            <a:xfrm>
              <a:off x="4909150" y="5454175"/>
              <a:ext cx="60775" cy="19950"/>
            </a:xfrm>
            <a:custGeom>
              <a:avLst/>
              <a:gdLst/>
              <a:ahLst/>
              <a:cxnLst/>
              <a:rect l="l" t="t" r="r" b="b"/>
              <a:pathLst>
                <a:path w="2431" h="798" extrusionOk="0">
                  <a:moveTo>
                    <a:pt x="27" y="1"/>
                  </a:moveTo>
                  <a:cubicBezTo>
                    <a:pt x="27" y="1"/>
                    <a:pt x="1" y="137"/>
                    <a:pt x="1" y="325"/>
                  </a:cubicBezTo>
                  <a:cubicBezTo>
                    <a:pt x="1" y="419"/>
                    <a:pt x="1" y="542"/>
                    <a:pt x="40" y="662"/>
                  </a:cubicBezTo>
                  <a:cubicBezTo>
                    <a:pt x="40" y="662"/>
                    <a:pt x="688" y="798"/>
                    <a:pt x="1433" y="798"/>
                  </a:cubicBezTo>
                  <a:cubicBezTo>
                    <a:pt x="1728" y="798"/>
                    <a:pt x="2039" y="785"/>
                    <a:pt x="2337" y="717"/>
                  </a:cubicBezTo>
                  <a:cubicBezTo>
                    <a:pt x="2389" y="717"/>
                    <a:pt x="2418" y="675"/>
                    <a:pt x="2431" y="636"/>
                  </a:cubicBezTo>
                  <a:cubicBezTo>
                    <a:pt x="2376" y="607"/>
                    <a:pt x="2324" y="607"/>
                    <a:pt x="2256" y="607"/>
                  </a:cubicBezTo>
                  <a:cubicBezTo>
                    <a:pt x="2175" y="607"/>
                    <a:pt x="2094" y="607"/>
                    <a:pt x="2000" y="594"/>
                  </a:cubicBezTo>
                  <a:cubicBezTo>
                    <a:pt x="1689" y="594"/>
                    <a:pt x="1378" y="594"/>
                    <a:pt x="1067" y="555"/>
                  </a:cubicBezTo>
                  <a:cubicBezTo>
                    <a:pt x="918" y="542"/>
                    <a:pt x="785" y="513"/>
                    <a:pt x="636" y="487"/>
                  </a:cubicBezTo>
                  <a:cubicBezTo>
                    <a:pt x="513" y="461"/>
                    <a:pt x="393" y="432"/>
                    <a:pt x="299" y="351"/>
                  </a:cubicBezTo>
                  <a:cubicBezTo>
                    <a:pt x="202" y="257"/>
                    <a:pt x="176" y="163"/>
                    <a:pt x="176" y="56"/>
                  </a:cubicBezTo>
                  <a:cubicBezTo>
                    <a:pt x="137" y="27"/>
                    <a:pt x="95" y="1"/>
                    <a:pt x="56" y="1"/>
                  </a:cubicBez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75" name="Google Shape;1375;p42"/>
            <p:cNvSpPr/>
            <p:nvPr/>
          </p:nvSpPr>
          <p:spPr>
            <a:xfrm>
              <a:off x="4964475" y="5202750"/>
              <a:ext cx="75425" cy="56725"/>
            </a:xfrm>
            <a:custGeom>
              <a:avLst/>
              <a:gdLst/>
              <a:ahLst/>
              <a:cxnLst/>
              <a:rect l="l" t="t" r="r" b="b"/>
              <a:pathLst>
                <a:path w="3017" h="2269" extrusionOk="0">
                  <a:moveTo>
                    <a:pt x="2266" y="1"/>
                  </a:moveTo>
                  <a:cubicBezTo>
                    <a:pt x="2193" y="1"/>
                    <a:pt x="1906" y="458"/>
                    <a:pt x="1906" y="458"/>
                  </a:cubicBezTo>
                  <a:lnTo>
                    <a:pt x="542" y="1054"/>
                  </a:lnTo>
                  <a:lnTo>
                    <a:pt x="1" y="1268"/>
                  </a:lnTo>
                  <a:cubicBezTo>
                    <a:pt x="82" y="1446"/>
                    <a:pt x="124" y="1621"/>
                    <a:pt x="176" y="1809"/>
                  </a:cubicBezTo>
                  <a:cubicBezTo>
                    <a:pt x="244" y="1958"/>
                    <a:pt x="325" y="2120"/>
                    <a:pt x="393" y="2269"/>
                  </a:cubicBezTo>
                  <a:cubicBezTo>
                    <a:pt x="435" y="2256"/>
                    <a:pt x="461" y="2227"/>
                    <a:pt x="487" y="2214"/>
                  </a:cubicBezTo>
                  <a:cubicBezTo>
                    <a:pt x="1028" y="1835"/>
                    <a:pt x="1540" y="1459"/>
                    <a:pt x="2068" y="1067"/>
                  </a:cubicBezTo>
                  <a:lnTo>
                    <a:pt x="2107" y="1025"/>
                  </a:lnTo>
                  <a:lnTo>
                    <a:pt x="2162" y="986"/>
                  </a:lnTo>
                  <a:cubicBezTo>
                    <a:pt x="2162" y="986"/>
                    <a:pt x="2729" y="879"/>
                    <a:pt x="2836" y="811"/>
                  </a:cubicBezTo>
                  <a:cubicBezTo>
                    <a:pt x="2930" y="743"/>
                    <a:pt x="2622" y="717"/>
                    <a:pt x="2622" y="717"/>
                  </a:cubicBezTo>
                  <a:cubicBezTo>
                    <a:pt x="2622" y="717"/>
                    <a:pt x="2972" y="594"/>
                    <a:pt x="2998" y="539"/>
                  </a:cubicBezTo>
                  <a:cubicBezTo>
                    <a:pt x="3017" y="513"/>
                    <a:pt x="2908" y="494"/>
                    <a:pt x="2793" y="494"/>
                  </a:cubicBezTo>
                  <a:cubicBezTo>
                    <a:pt x="2731" y="494"/>
                    <a:pt x="2668" y="499"/>
                    <a:pt x="2622" y="513"/>
                  </a:cubicBezTo>
                  <a:cubicBezTo>
                    <a:pt x="2622" y="513"/>
                    <a:pt x="2972" y="325"/>
                    <a:pt x="2959" y="257"/>
                  </a:cubicBezTo>
                  <a:cubicBezTo>
                    <a:pt x="2956" y="240"/>
                    <a:pt x="2931" y="234"/>
                    <a:pt x="2896" y="234"/>
                  </a:cubicBezTo>
                  <a:cubicBezTo>
                    <a:pt x="2785" y="234"/>
                    <a:pt x="2567" y="296"/>
                    <a:pt x="2567" y="296"/>
                  </a:cubicBezTo>
                  <a:cubicBezTo>
                    <a:pt x="2567" y="296"/>
                    <a:pt x="2836" y="95"/>
                    <a:pt x="2810" y="27"/>
                  </a:cubicBezTo>
                  <a:cubicBezTo>
                    <a:pt x="2805" y="18"/>
                    <a:pt x="2793" y="15"/>
                    <a:pt x="2778" y="15"/>
                  </a:cubicBezTo>
                  <a:cubicBezTo>
                    <a:pt x="2665" y="15"/>
                    <a:pt x="2324" y="202"/>
                    <a:pt x="2324" y="202"/>
                  </a:cubicBezTo>
                  <a:cubicBezTo>
                    <a:pt x="2324" y="202"/>
                    <a:pt x="2350" y="14"/>
                    <a:pt x="2269" y="1"/>
                  </a:cubicBezTo>
                  <a:cubicBezTo>
                    <a:pt x="2268" y="1"/>
                    <a:pt x="2267" y="1"/>
                    <a:pt x="2266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76" name="Google Shape;1376;p42"/>
            <p:cNvSpPr/>
            <p:nvPr/>
          </p:nvSpPr>
          <p:spPr>
            <a:xfrm>
              <a:off x="4970550" y="5229075"/>
              <a:ext cx="45625" cy="26675"/>
            </a:xfrm>
            <a:custGeom>
              <a:avLst/>
              <a:gdLst/>
              <a:ahLst/>
              <a:cxnLst/>
              <a:rect l="l" t="t" r="r" b="b"/>
              <a:pathLst>
                <a:path w="1825" h="1067" extrusionOk="0">
                  <a:moveTo>
                    <a:pt x="299" y="1"/>
                  </a:moveTo>
                  <a:lnTo>
                    <a:pt x="1" y="121"/>
                  </a:lnTo>
                  <a:lnTo>
                    <a:pt x="367" y="1041"/>
                  </a:lnTo>
                  <a:lnTo>
                    <a:pt x="367" y="1067"/>
                  </a:lnTo>
                  <a:cubicBezTo>
                    <a:pt x="866" y="730"/>
                    <a:pt x="1339" y="364"/>
                    <a:pt x="1825" y="14"/>
                  </a:cubicBezTo>
                  <a:lnTo>
                    <a:pt x="1825" y="14"/>
                  </a:lnTo>
                  <a:cubicBezTo>
                    <a:pt x="1634" y="82"/>
                    <a:pt x="1216" y="215"/>
                    <a:pt x="853" y="215"/>
                  </a:cubicBezTo>
                  <a:cubicBezTo>
                    <a:pt x="623" y="215"/>
                    <a:pt x="406" y="163"/>
                    <a:pt x="299" y="1"/>
                  </a:cubicBezTo>
                  <a:close/>
                </a:path>
              </a:pathLst>
            </a:custGeom>
            <a:solidFill>
              <a:srgbClr val="FFA35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77" name="Google Shape;1377;p42"/>
            <p:cNvSpPr/>
            <p:nvPr/>
          </p:nvSpPr>
          <p:spPr>
            <a:xfrm>
              <a:off x="4761425" y="5217225"/>
              <a:ext cx="78250" cy="48650"/>
            </a:xfrm>
            <a:custGeom>
              <a:avLst/>
              <a:gdLst/>
              <a:ahLst/>
              <a:cxnLst/>
              <a:rect l="l" t="t" r="r" b="b"/>
              <a:pathLst>
                <a:path w="3130" h="1946" extrusionOk="0">
                  <a:moveTo>
                    <a:pt x="664" y="1"/>
                  </a:moveTo>
                  <a:cubicBezTo>
                    <a:pt x="662" y="1"/>
                    <a:pt x="660" y="1"/>
                    <a:pt x="658" y="2"/>
                  </a:cubicBezTo>
                  <a:cubicBezTo>
                    <a:pt x="590" y="28"/>
                    <a:pt x="645" y="219"/>
                    <a:pt x="645" y="219"/>
                  </a:cubicBezTo>
                  <a:cubicBezTo>
                    <a:pt x="645" y="219"/>
                    <a:pt x="322" y="101"/>
                    <a:pt x="196" y="101"/>
                  </a:cubicBezTo>
                  <a:cubicBezTo>
                    <a:pt x="167" y="101"/>
                    <a:pt x="148" y="107"/>
                    <a:pt x="146" y="122"/>
                  </a:cubicBezTo>
                  <a:cubicBezTo>
                    <a:pt x="117" y="190"/>
                    <a:pt x="415" y="352"/>
                    <a:pt x="415" y="352"/>
                  </a:cubicBezTo>
                  <a:cubicBezTo>
                    <a:pt x="415" y="352"/>
                    <a:pt x="271" y="332"/>
                    <a:pt x="158" y="332"/>
                  </a:cubicBezTo>
                  <a:cubicBezTo>
                    <a:pt x="87" y="332"/>
                    <a:pt x="28" y="340"/>
                    <a:pt x="23" y="365"/>
                  </a:cubicBezTo>
                  <a:cubicBezTo>
                    <a:pt x="23" y="433"/>
                    <a:pt x="389" y="569"/>
                    <a:pt x="389" y="569"/>
                  </a:cubicBezTo>
                  <a:cubicBezTo>
                    <a:pt x="374" y="567"/>
                    <a:pt x="359" y="567"/>
                    <a:pt x="342" y="567"/>
                  </a:cubicBezTo>
                  <a:cubicBezTo>
                    <a:pt x="202" y="567"/>
                    <a:pt x="1" y="613"/>
                    <a:pt x="36" y="663"/>
                  </a:cubicBezTo>
                  <a:cubicBezTo>
                    <a:pt x="65" y="718"/>
                    <a:pt x="428" y="770"/>
                    <a:pt x="428" y="770"/>
                  </a:cubicBezTo>
                  <a:cubicBezTo>
                    <a:pt x="428" y="770"/>
                    <a:pt x="133" y="851"/>
                    <a:pt x="240" y="906"/>
                  </a:cubicBezTo>
                  <a:cubicBezTo>
                    <a:pt x="347" y="948"/>
                    <a:pt x="927" y="961"/>
                    <a:pt x="927" y="961"/>
                  </a:cubicBezTo>
                  <a:lnTo>
                    <a:pt x="927" y="974"/>
                  </a:lnTo>
                  <a:cubicBezTo>
                    <a:pt x="943" y="974"/>
                    <a:pt x="982" y="1000"/>
                    <a:pt x="995" y="1000"/>
                  </a:cubicBezTo>
                  <a:cubicBezTo>
                    <a:pt x="1575" y="1311"/>
                    <a:pt x="2171" y="1622"/>
                    <a:pt x="2764" y="1904"/>
                  </a:cubicBezTo>
                  <a:cubicBezTo>
                    <a:pt x="2806" y="1920"/>
                    <a:pt x="2832" y="1933"/>
                    <a:pt x="2858" y="1946"/>
                  </a:cubicBezTo>
                  <a:cubicBezTo>
                    <a:pt x="2887" y="1823"/>
                    <a:pt x="2926" y="1703"/>
                    <a:pt x="2968" y="1580"/>
                  </a:cubicBezTo>
                  <a:cubicBezTo>
                    <a:pt x="3020" y="1353"/>
                    <a:pt x="3062" y="1136"/>
                    <a:pt x="3130" y="919"/>
                  </a:cubicBezTo>
                  <a:lnTo>
                    <a:pt x="2777" y="825"/>
                  </a:lnTo>
                  <a:lnTo>
                    <a:pt x="1089" y="407"/>
                  </a:lnTo>
                  <a:cubicBezTo>
                    <a:pt x="1089" y="407"/>
                    <a:pt x="747" y="1"/>
                    <a:pt x="664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78" name="Google Shape;1378;p42"/>
            <p:cNvSpPr/>
            <p:nvPr/>
          </p:nvSpPr>
          <p:spPr>
            <a:xfrm>
              <a:off x="4784575" y="5237825"/>
              <a:ext cx="49675" cy="22950"/>
            </a:xfrm>
            <a:custGeom>
              <a:avLst/>
              <a:gdLst/>
              <a:ahLst/>
              <a:cxnLst/>
              <a:rect l="l" t="t" r="r" b="b"/>
              <a:pathLst>
                <a:path w="1987" h="918" extrusionOk="0">
                  <a:moveTo>
                    <a:pt x="1851" y="1"/>
                  </a:moveTo>
                  <a:cubicBezTo>
                    <a:pt x="1757" y="176"/>
                    <a:pt x="1514" y="568"/>
                    <a:pt x="1245" y="568"/>
                  </a:cubicBezTo>
                  <a:lnTo>
                    <a:pt x="1216" y="568"/>
                  </a:lnTo>
                  <a:cubicBezTo>
                    <a:pt x="973" y="542"/>
                    <a:pt x="474" y="338"/>
                    <a:pt x="192" y="231"/>
                  </a:cubicBezTo>
                  <a:cubicBezTo>
                    <a:pt x="111" y="189"/>
                    <a:pt x="56" y="163"/>
                    <a:pt x="17" y="150"/>
                  </a:cubicBezTo>
                  <a:lnTo>
                    <a:pt x="1" y="150"/>
                  </a:lnTo>
                  <a:cubicBezTo>
                    <a:pt x="17" y="150"/>
                    <a:pt x="56" y="176"/>
                    <a:pt x="69" y="176"/>
                  </a:cubicBezTo>
                  <a:cubicBezTo>
                    <a:pt x="542" y="432"/>
                    <a:pt x="1028" y="675"/>
                    <a:pt x="1514" y="918"/>
                  </a:cubicBezTo>
                  <a:lnTo>
                    <a:pt x="1987" y="43"/>
                  </a:lnTo>
                  <a:lnTo>
                    <a:pt x="1851" y="1"/>
                  </a:lnTo>
                  <a:close/>
                </a:path>
              </a:pathLst>
            </a:custGeom>
            <a:solidFill>
              <a:srgbClr val="FFA35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79" name="Google Shape;1379;p42"/>
            <p:cNvSpPr/>
            <p:nvPr/>
          </p:nvSpPr>
          <p:spPr>
            <a:xfrm>
              <a:off x="4821750" y="5230775"/>
              <a:ext cx="158950" cy="102725"/>
            </a:xfrm>
            <a:custGeom>
              <a:avLst/>
              <a:gdLst/>
              <a:ahLst/>
              <a:cxnLst/>
              <a:rect l="l" t="t" r="r" b="b"/>
              <a:pathLst>
                <a:path w="6358" h="4109" extrusionOk="0">
                  <a:moveTo>
                    <a:pt x="5927" y="1"/>
                  </a:moveTo>
                  <a:lnTo>
                    <a:pt x="4563" y="607"/>
                  </a:lnTo>
                  <a:lnTo>
                    <a:pt x="4239" y="500"/>
                  </a:lnTo>
                  <a:cubicBezTo>
                    <a:pt x="4239" y="500"/>
                    <a:pt x="3821" y="1038"/>
                    <a:pt x="3293" y="1080"/>
                  </a:cubicBezTo>
                  <a:cubicBezTo>
                    <a:pt x="3276" y="1081"/>
                    <a:pt x="3259" y="1082"/>
                    <a:pt x="3242" y="1082"/>
                  </a:cubicBezTo>
                  <a:cubicBezTo>
                    <a:pt x="2738" y="1082"/>
                    <a:pt x="2308" y="539"/>
                    <a:pt x="2308" y="539"/>
                  </a:cubicBezTo>
                  <a:lnTo>
                    <a:pt x="2052" y="620"/>
                  </a:lnTo>
                  <a:lnTo>
                    <a:pt x="620" y="296"/>
                  </a:lnTo>
                  <a:lnTo>
                    <a:pt x="526" y="270"/>
                  </a:lnTo>
                  <a:lnTo>
                    <a:pt x="1" y="1255"/>
                  </a:lnTo>
                  <a:lnTo>
                    <a:pt x="1242" y="1848"/>
                  </a:lnTo>
                  <a:lnTo>
                    <a:pt x="1809" y="3779"/>
                  </a:lnTo>
                  <a:cubicBezTo>
                    <a:pt x="2434" y="4026"/>
                    <a:pt x="2950" y="4108"/>
                    <a:pt x="3360" y="4108"/>
                  </a:cubicBezTo>
                  <a:cubicBezTo>
                    <a:pt x="4180" y="4108"/>
                    <a:pt x="4576" y="3779"/>
                    <a:pt x="4576" y="3779"/>
                  </a:cubicBezTo>
                  <a:lnTo>
                    <a:pt x="5237" y="1890"/>
                  </a:lnTo>
                  <a:lnTo>
                    <a:pt x="6358" y="1093"/>
                  </a:lnTo>
                  <a:lnTo>
                    <a:pt x="6319" y="973"/>
                  </a:lnTo>
                  <a:lnTo>
                    <a:pt x="5927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80" name="Google Shape;1380;p42"/>
            <p:cNvSpPr/>
            <p:nvPr/>
          </p:nvSpPr>
          <p:spPr>
            <a:xfrm>
              <a:off x="4873675" y="524592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B08D9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81" name="Google Shape;1381;p42"/>
            <p:cNvSpPr/>
            <p:nvPr/>
          </p:nvSpPr>
          <p:spPr>
            <a:xfrm>
              <a:off x="4873675" y="5245925"/>
              <a:ext cx="58425" cy="26025"/>
            </a:xfrm>
            <a:custGeom>
              <a:avLst/>
              <a:gdLst/>
              <a:ahLst/>
              <a:cxnLst/>
              <a:rect l="l" t="t" r="r" b="b"/>
              <a:pathLst>
                <a:path w="2337" h="1041" extrusionOk="0">
                  <a:moveTo>
                    <a:pt x="2337" y="1"/>
                  </a:moveTo>
                  <a:lnTo>
                    <a:pt x="1799" y="824"/>
                  </a:lnTo>
                  <a:lnTo>
                    <a:pt x="1459" y="461"/>
                  </a:lnTo>
                  <a:lnTo>
                    <a:pt x="1203" y="649"/>
                  </a:lnTo>
                  <a:lnTo>
                    <a:pt x="934" y="461"/>
                  </a:lnTo>
                  <a:lnTo>
                    <a:pt x="636" y="785"/>
                  </a:lnTo>
                  <a:cubicBezTo>
                    <a:pt x="435" y="610"/>
                    <a:pt x="17" y="27"/>
                    <a:pt x="1" y="1"/>
                  </a:cubicBezTo>
                  <a:lnTo>
                    <a:pt x="1" y="1"/>
                  </a:lnTo>
                  <a:lnTo>
                    <a:pt x="529" y="1028"/>
                  </a:lnTo>
                  <a:lnTo>
                    <a:pt x="921" y="594"/>
                  </a:lnTo>
                  <a:lnTo>
                    <a:pt x="1203" y="785"/>
                  </a:lnTo>
                  <a:lnTo>
                    <a:pt x="1433" y="649"/>
                  </a:lnTo>
                  <a:lnTo>
                    <a:pt x="1987" y="1041"/>
                  </a:lnTo>
                  <a:lnTo>
                    <a:pt x="2337" y="1"/>
                  </a:lnTo>
                  <a:close/>
                </a:path>
              </a:pathLst>
            </a:custGeom>
            <a:solidFill>
              <a:srgbClr val="440F1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82" name="Google Shape;1382;p42"/>
            <p:cNvSpPr/>
            <p:nvPr/>
          </p:nvSpPr>
          <p:spPr>
            <a:xfrm>
              <a:off x="4879750" y="5228750"/>
              <a:ext cx="47000" cy="32025"/>
            </a:xfrm>
            <a:custGeom>
              <a:avLst/>
              <a:gdLst/>
              <a:ahLst/>
              <a:cxnLst/>
              <a:rect l="l" t="t" r="r" b="b"/>
              <a:pathLst>
                <a:path w="1880" h="1281" extrusionOk="0">
                  <a:moveTo>
                    <a:pt x="56" y="1"/>
                  </a:moveTo>
                  <a:cubicBezTo>
                    <a:pt x="56" y="1"/>
                    <a:pt x="98" y="377"/>
                    <a:pt x="1" y="688"/>
                  </a:cubicBezTo>
                  <a:cubicBezTo>
                    <a:pt x="98" y="743"/>
                    <a:pt x="137" y="850"/>
                    <a:pt x="124" y="957"/>
                  </a:cubicBezTo>
                  <a:lnTo>
                    <a:pt x="367" y="1054"/>
                  </a:lnTo>
                  <a:cubicBezTo>
                    <a:pt x="393" y="957"/>
                    <a:pt x="474" y="892"/>
                    <a:pt x="597" y="892"/>
                  </a:cubicBezTo>
                  <a:cubicBezTo>
                    <a:pt x="798" y="892"/>
                    <a:pt x="892" y="1080"/>
                    <a:pt x="853" y="1242"/>
                  </a:cubicBezTo>
                  <a:lnTo>
                    <a:pt x="973" y="1281"/>
                  </a:lnTo>
                  <a:lnTo>
                    <a:pt x="1041" y="1255"/>
                  </a:lnTo>
                  <a:cubicBezTo>
                    <a:pt x="1015" y="1119"/>
                    <a:pt x="1109" y="957"/>
                    <a:pt x="1297" y="957"/>
                  </a:cubicBezTo>
                  <a:cubicBezTo>
                    <a:pt x="1394" y="957"/>
                    <a:pt x="1475" y="999"/>
                    <a:pt x="1514" y="1067"/>
                  </a:cubicBezTo>
                  <a:lnTo>
                    <a:pt x="1731" y="973"/>
                  </a:lnTo>
                  <a:cubicBezTo>
                    <a:pt x="1689" y="850"/>
                    <a:pt x="1744" y="675"/>
                    <a:pt x="1880" y="633"/>
                  </a:cubicBezTo>
                  <a:cubicBezTo>
                    <a:pt x="1812" y="338"/>
                    <a:pt x="1851" y="1"/>
                    <a:pt x="1851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83" name="Google Shape;1383;p42"/>
            <p:cNvSpPr/>
            <p:nvPr/>
          </p:nvSpPr>
          <p:spPr>
            <a:xfrm>
              <a:off x="4881125" y="5231100"/>
              <a:ext cx="44900" cy="11200"/>
            </a:xfrm>
            <a:custGeom>
              <a:avLst/>
              <a:gdLst/>
              <a:ahLst/>
              <a:cxnLst/>
              <a:rect l="l" t="t" r="r" b="b"/>
              <a:pathLst>
                <a:path w="1796" h="448" extrusionOk="0">
                  <a:moveTo>
                    <a:pt x="1" y="1"/>
                  </a:moveTo>
                  <a:lnTo>
                    <a:pt x="1" y="1"/>
                  </a:lnTo>
                  <a:cubicBezTo>
                    <a:pt x="14" y="69"/>
                    <a:pt x="14" y="189"/>
                    <a:pt x="1" y="312"/>
                  </a:cubicBezTo>
                  <a:cubicBezTo>
                    <a:pt x="257" y="393"/>
                    <a:pt x="542" y="432"/>
                    <a:pt x="866" y="445"/>
                  </a:cubicBezTo>
                  <a:cubicBezTo>
                    <a:pt x="909" y="446"/>
                    <a:pt x="952" y="447"/>
                    <a:pt x="995" y="447"/>
                  </a:cubicBezTo>
                  <a:cubicBezTo>
                    <a:pt x="1292" y="447"/>
                    <a:pt x="1560" y="407"/>
                    <a:pt x="1796" y="325"/>
                  </a:cubicBezTo>
                  <a:cubicBezTo>
                    <a:pt x="1783" y="202"/>
                    <a:pt x="1783" y="95"/>
                    <a:pt x="1783" y="14"/>
                  </a:cubicBezTo>
                  <a:cubicBezTo>
                    <a:pt x="1514" y="95"/>
                    <a:pt x="1216" y="134"/>
                    <a:pt x="866" y="134"/>
                  </a:cubicBezTo>
                  <a:cubicBezTo>
                    <a:pt x="542" y="121"/>
                    <a:pt x="257" y="82"/>
                    <a:pt x="1" y="1"/>
                  </a:cubicBezTo>
                  <a:close/>
                </a:path>
              </a:pathLst>
            </a:custGeom>
            <a:solidFill>
              <a:srgbClr val="FF8F6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84" name="Google Shape;1384;p42"/>
            <p:cNvSpPr/>
            <p:nvPr/>
          </p:nvSpPr>
          <p:spPr>
            <a:xfrm>
              <a:off x="4876100" y="5236850"/>
              <a:ext cx="27650" cy="27325"/>
            </a:xfrm>
            <a:custGeom>
              <a:avLst/>
              <a:gdLst/>
              <a:ahLst/>
              <a:cxnLst/>
              <a:rect l="l" t="t" r="r" b="b"/>
              <a:pathLst>
                <a:path w="1106" h="1093" extrusionOk="0">
                  <a:moveTo>
                    <a:pt x="202" y="1"/>
                  </a:moveTo>
                  <a:lnTo>
                    <a:pt x="1" y="338"/>
                  </a:lnTo>
                  <a:cubicBezTo>
                    <a:pt x="1" y="338"/>
                    <a:pt x="202" y="986"/>
                    <a:pt x="526" y="1093"/>
                  </a:cubicBezTo>
                  <a:lnTo>
                    <a:pt x="837" y="824"/>
                  </a:lnTo>
                  <a:lnTo>
                    <a:pt x="931" y="905"/>
                  </a:lnTo>
                  <a:lnTo>
                    <a:pt x="1106" y="1012"/>
                  </a:lnTo>
                  <a:cubicBezTo>
                    <a:pt x="1106" y="999"/>
                    <a:pt x="1093" y="918"/>
                    <a:pt x="1093" y="824"/>
                  </a:cubicBezTo>
                  <a:cubicBezTo>
                    <a:pt x="1080" y="675"/>
                    <a:pt x="1054" y="500"/>
                    <a:pt x="1012" y="471"/>
                  </a:cubicBezTo>
                  <a:cubicBezTo>
                    <a:pt x="931" y="419"/>
                    <a:pt x="202" y="189"/>
                    <a:pt x="202" y="189"/>
                  </a:cubicBezTo>
                  <a:lnTo>
                    <a:pt x="202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85" name="Google Shape;1385;p42"/>
            <p:cNvSpPr/>
            <p:nvPr/>
          </p:nvSpPr>
          <p:spPr>
            <a:xfrm>
              <a:off x="4897000" y="5251025"/>
              <a:ext cx="6750" cy="11125"/>
            </a:xfrm>
            <a:custGeom>
              <a:avLst/>
              <a:gdLst/>
              <a:ahLst/>
              <a:cxnLst/>
              <a:rect l="l" t="t" r="r" b="b"/>
              <a:pathLst>
                <a:path w="270" h="445" extrusionOk="0">
                  <a:moveTo>
                    <a:pt x="108" y="1"/>
                  </a:moveTo>
                  <a:lnTo>
                    <a:pt x="1" y="257"/>
                  </a:lnTo>
                  <a:lnTo>
                    <a:pt x="270" y="445"/>
                  </a:lnTo>
                  <a:lnTo>
                    <a:pt x="108" y="1"/>
                  </a:lnTo>
                  <a:close/>
                </a:path>
              </a:pathLst>
            </a:custGeom>
            <a:solidFill>
              <a:srgbClr val="38040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86" name="Google Shape;1386;p42"/>
            <p:cNvSpPr/>
            <p:nvPr/>
          </p:nvSpPr>
          <p:spPr>
            <a:xfrm>
              <a:off x="4903725" y="5237175"/>
              <a:ext cx="27075" cy="27000"/>
            </a:xfrm>
            <a:custGeom>
              <a:avLst/>
              <a:gdLst/>
              <a:ahLst/>
              <a:cxnLst/>
              <a:rect l="l" t="t" r="r" b="b"/>
              <a:pathLst>
                <a:path w="1083" h="1080" extrusionOk="0">
                  <a:moveTo>
                    <a:pt x="879" y="1"/>
                  </a:moveTo>
                  <a:lnTo>
                    <a:pt x="879" y="176"/>
                  </a:lnTo>
                  <a:cubicBezTo>
                    <a:pt x="879" y="176"/>
                    <a:pt x="150" y="406"/>
                    <a:pt x="69" y="458"/>
                  </a:cubicBezTo>
                  <a:cubicBezTo>
                    <a:pt x="30" y="487"/>
                    <a:pt x="14" y="662"/>
                    <a:pt x="1" y="811"/>
                  </a:cubicBezTo>
                  <a:lnTo>
                    <a:pt x="1" y="999"/>
                  </a:lnTo>
                  <a:lnTo>
                    <a:pt x="192" y="850"/>
                  </a:lnTo>
                  <a:lnTo>
                    <a:pt x="257" y="811"/>
                  </a:lnTo>
                  <a:lnTo>
                    <a:pt x="555" y="1080"/>
                  </a:lnTo>
                  <a:cubicBezTo>
                    <a:pt x="879" y="973"/>
                    <a:pt x="1083" y="325"/>
                    <a:pt x="1083" y="325"/>
                  </a:cubicBezTo>
                  <a:lnTo>
                    <a:pt x="879" y="1"/>
                  </a:lnTo>
                  <a:close/>
                </a:path>
              </a:pathLst>
            </a:custGeom>
            <a:solidFill>
              <a:srgbClr val="621B2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87" name="Google Shape;1387;p42"/>
            <p:cNvSpPr/>
            <p:nvPr/>
          </p:nvSpPr>
          <p:spPr>
            <a:xfrm>
              <a:off x="4903725" y="5251025"/>
              <a:ext cx="6425" cy="11125"/>
            </a:xfrm>
            <a:custGeom>
              <a:avLst/>
              <a:gdLst/>
              <a:ahLst/>
              <a:cxnLst/>
              <a:rect l="l" t="t" r="r" b="b"/>
              <a:pathLst>
                <a:path w="257" h="445" extrusionOk="0">
                  <a:moveTo>
                    <a:pt x="137" y="1"/>
                  </a:moveTo>
                  <a:lnTo>
                    <a:pt x="1" y="445"/>
                  </a:lnTo>
                  <a:lnTo>
                    <a:pt x="1" y="445"/>
                  </a:lnTo>
                  <a:lnTo>
                    <a:pt x="257" y="257"/>
                  </a:lnTo>
                  <a:lnTo>
                    <a:pt x="137" y="1"/>
                  </a:lnTo>
                  <a:close/>
                </a:path>
              </a:pathLst>
            </a:custGeom>
            <a:solidFill>
              <a:srgbClr val="38040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88" name="Google Shape;1388;p42"/>
            <p:cNvSpPr/>
            <p:nvPr/>
          </p:nvSpPr>
          <p:spPr>
            <a:xfrm>
              <a:off x="4812550" y="5100775"/>
              <a:ext cx="181950" cy="133700"/>
            </a:xfrm>
            <a:custGeom>
              <a:avLst/>
              <a:gdLst/>
              <a:ahLst/>
              <a:cxnLst/>
              <a:rect l="l" t="t" r="r" b="b"/>
              <a:pathLst>
                <a:path w="7278" h="5348" extrusionOk="0">
                  <a:moveTo>
                    <a:pt x="3645" y="1"/>
                  </a:moveTo>
                  <a:cubicBezTo>
                    <a:pt x="3566" y="1"/>
                    <a:pt x="1336" y="13"/>
                    <a:pt x="1085" y="1420"/>
                  </a:cubicBezTo>
                  <a:cubicBezTo>
                    <a:pt x="1030" y="1718"/>
                    <a:pt x="988" y="2042"/>
                    <a:pt x="1004" y="2392"/>
                  </a:cubicBezTo>
                  <a:cubicBezTo>
                    <a:pt x="909" y="2318"/>
                    <a:pt x="796" y="2262"/>
                    <a:pt x="663" y="2262"/>
                  </a:cubicBezTo>
                  <a:cubicBezTo>
                    <a:pt x="605" y="2262"/>
                    <a:pt x="542" y="2273"/>
                    <a:pt x="476" y="2298"/>
                  </a:cubicBezTo>
                  <a:cubicBezTo>
                    <a:pt x="0" y="2482"/>
                    <a:pt x="108" y="3933"/>
                    <a:pt x="1234" y="3933"/>
                  </a:cubicBezTo>
                  <a:cubicBezTo>
                    <a:pt x="1259" y="3933"/>
                    <a:pt x="1285" y="3932"/>
                    <a:pt x="1312" y="3931"/>
                  </a:cubicBezTo>
                  <a:cubicBezTo>
                    <a:pt x="1678" y="4699"/>
                    <a:pt x="2365" y="5308"/>
                    <a:pt x="3609" y="5347"/>
                  </a:cubicBezTo>
                  <a:cubicBezTo>
                    <a:pt x="3636" y="5347"/>
                    <a:pt x="3663" y="5348"/>
                    <a:pt x="3690" y="5348"/>
                  </a:cubicBezTo>
                  <a:cubicBezTo>
                    <a:pt x="4869" y="5348"/>
                    <a:pt x="5574" y="4723"/>
                    <a:pt x="5945" y="3918"/>
                  </a:cubicBezTo>
                  <a:cubicBezTo>
                    <a:pt x="5981" y="3921"/>
                    <a:pt x="6016" y="3922"/>
                    <a:pt x="6051" y="3922"/>
                  </a:cubicBezTo>
                  <a:cubicBezTo>
                    <a:pt x="7167" y="3922"/>
                    <a:pt x="7278" y="2480"/>
                    <a:pt x="6794" y="2298"/>
                  </a:cubicBezTo>
                  <a:cubicBezTo>
                    <a:pt x="6727" y="2273"/>
                    <a:pt x="6665" y="2262"/>
                    <a:pt x="6606" y="2262"/>
                  </a:cubicBezTo>
                  <a:cubicBezTo>
                    <a:pt x="6473" y="2262"/>
                    <a:pt x="6361" y="2318"/>
                    <a:pt x="6269" y="2392"/>
                  </a:cubicBezTo>
                  <a:cubicBezTo>
                    <a:pt x="6282" y="2013"/>
                    <a:pt x="6240" y="1663"/>
                    <a:pt x="6159" y="1365"/>
                  </a:cubicBezTo>
                  <a:cubicBezTo>
                    <a:pt x="5783" y="17"/>
                    <a:pt x="3648" y="1"/>
                    <a:pt x="3648" y="1"/>
                  </a:cubicBezTo>
                  <a:cubicBezTo>
                    <a:pt x="3648" y="1"/>
                    <a:pt x="3647" y="1"/>
                    <a:pt x="3645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89" name="Google Shape;1389;p42"/>
            <p:cNvSpPr/>
            <p:nvPr/>
          </p:nvSpPr>
          <p:spPr>
            <a:xfrm>
              <a:off x="4829525" y="5127100"/>
              <a:ext cx="118450" cy="54700"/>
            </a:xfrm>
            <a:custGeom>
              <a:avLst/>
              <a:gdLst/>
              <a:ahLst/>
              <a:cxnLst/>
              <a:rect l="l" t="t" r="r" b="b"/>
              <a:pathLst>
                <a:path w="4738" h="2188" extrusionOk="0">
                  <a:moveTo>
                    <a:pt x="4738" y="1"/>
                  </a:moveTo>
                  <a:cubicBezTo>
                    <a:pt x="4440" y="150"/>
                    <a:pt x="4132" y="244"/>
                    <a:pt x="3821" y="299"/>
                  </a:cubicBezTo>
                  <a:cubicBezTo>
                    <a:pt x="3413" y="381"/>
                    <a:pt x="2904" y="434"/>
                    <a:pt x="2400" y="434"/>
                  </a:cubicBezTo>
                  <a:cubicBezTo>
                    <a:pt x="1985" y="434"/>
                    <a:pt x="1575" y="398"/>
                    <a:pt x="1229" y="312"/>
                  </a:cubicBezTo>
                  <a:cubicBezTo>
                    <a:pt x="1216" y="678"/>
                    <a:pt x="1135" y="1177"/>
                    <a:pt x="743" y="1540"/>
                  </a:cubicBezTo>
                  <a:lnTo>
                    <a:pt x="743" y="1569"/>
                  </a:lnTo>
                  <a:lnTo>
                    <a:pt x="649" y="2000"/>
                  </a:lnTo>
                  <a:cubicBezTo>
                    <a:pt x="649" y="2000"/>
                    <a:pt x="432" y="1608"/>
                    <a:pt x="283" y="1313"/>
                  </a:cubicBezTo>
                  <a:cubicBezTo>
                    <a:pt x="270" y="1297"/>
                    <a:pt x="257" y="1297"/>
                    <a:pt x="257" y="1284"/>
                  </a:cubicBezTo>
                  <a:cubicBezTo>
                    <a:pt x="244" y="1284"/>
                    <a:pt x="244" y="1284"/>
                    <a:pt x="228" y="1271"/>
                  </a:cubicBezTo>
                  <a:lnTo>
                    <a:pt x="215" y="1271"/>
                  </a:lnTo>
                  <a:cubicBezTo>
                    <a:pt x="202" y="1258"/>
                    <a:pt x="202" y="1258"/>
                    <a:pt x="189" y="1258"/>
                  </a:cubicBezTo>
                  <a:cubicBezTo>
                    <a:pt x="176" y="1245"/>
                    <a:pt x="163" y="1245"/>
                    <a:pt x="163" y="1245"/>
                  </a:cubicBezTo>
                  <a:lnTo>
                    <a:pt x="147" y="1245"/>
                  </a:lnTo>
                  <a:cubicBezTo>
                    <a:pt x="147" y="1232"/>
                    <a:pt x="134" y="1232"/>
                    <a:pt x="134" y="1232"/>
                  </a:cubicBezTo>
                  <a:cubicBezTo>
                    <a:pt x="82" y="1216"/>
                    <a:pt x="40" y="1203"/>
                    <a:pt x="1" y="1203"/>
                  </a:cubicBezTo>
                  <a:cubicBezTo>
                    <a:pt x="14" y="1271"/>
                    <a:pt x="27" y="1339"/>
                    <a:pt x="53" y="1407"/>
                  </a:cubicBezTo>
                  <a:cubicBezTo>
                    <a:pt x="121" y="1407"/>
                    <a:pt x="189" y="1433"/>
                    <a:pt x="257" y="1475"/>
                  </a:cubicBezTo>
                  <a:cubicBezTo>
                    <a:pt x="257" y="1488"/>
                    <a:pt x="270" y="1488"/>
                    <a:pt x="283" y="1501"/>
                  </a:cubicBezTo>
                  <a:cubicBezTo>
                    <a:pt x="432" y="1799"/>
                    <a:pt x="649" y="2188"/>
                    <a:pt x="649" y="2188"/>
                  </a:cubicBezTo>
                  <a:lnTo>
                    <a:pt x="743" y="1757"/>
                  </a:lnTo>
                  <a:lnTo>
                    <a:pt x="743" y="1731"/>
                  </a:lnTo>
                  <a:cubicBezTo>
                    <a:pt x="1135" y="1365"/>
                    <a:pt x="1216" y="866"/>
                    <a:pt x="1229" y="503"/>
                  </a:cubicBezTo>
                  <a:cubicBezTo>
                    <a:pt x="1573" y="587"/>
                    <a:pt x="1980" y="623"/>
                    <a:pt x="2392" y="623"/>
                  </a:cubicBezTo>
                  <a:cubicBezTo>
                    <a:pt x="2899" y="623"/>
                    <a:pt x="3411" y="569"/>
                    <a:pt x="3821" y="487"/>
                  </a:cubicBezTo>
                  <a:cubicBezTo>
                    <a:pt x="4132" y="435"/>
                    <a:pt x="4440" y="341"/>
                    <a:pt x="4725" y="205"/>
                  </a:cubicBezTo>
                  <a:cubicBezTo>
                    <a:pt x="4725" y="124"/>
                    <a:pt x="4725" y="56"/>
                    <a:pt x="4738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90" name="Google Shape;1390;p42"/>
            <p:cNvSpPr/>
            <p:nvPr/>
          </p:nvSpPr>
          <p:spPr>
            <a:xfrm>
              <a:off x="4947300" y="5136250"/>
              <a:ext cx="29675" cy="45550"/>
            </a:xfrm>
            <a:custGeom>
              <a:avLst/>
              <a:gdLst/>
              <a:ahLst/>
              <a:cxnLst/>
              <a:rect l="l" t="t" r="r" b="b"/>
              <a:pathLst>
                <a:path w="1187" h="1822" extrusionOk="0">
                  <a:moveTo>
                    <a:pt x="14" y="1"/>
                  </a:moveTo>
                  <a:cubicBezTo>
                    <a:pt x="1" y="380"/>
                    <a:pt x="53" y="947"/>
                    <a:pt x="500" y="1365"/>
                  </a:cubicBezTo>
                  <a:lnTo>
                    <a:pt x="594" y="1822"/>
                  </a:lnTo>
                  <a:cubicBezTo>
                    <a:pt x="594" y="1822"/>
                    <a:pt x="782" y="1485"/>
                    <a:pt x="918" y="1203"/>
                  </a:cubicBezTo>
                  <a:cubicBezTo>
                    <a:pt x="931" y="1174"/>
                    <a:pt x="944" y="1135"/>
                    <a:pt x="960" y="1109"/>
                  </a:cubicBezTo>
                  <a:cubicBezTo>
                    <a:pt x="1012" y="1080"/>
                    <a:pt x="1067" y="1054"/>
                    <a:pt x="1122" y="1041"/>
                  </a:cubicBezTo>
                  <a:cubicBezTo>
                    <a:pt x="1148" y="986"/>
                    <a:pt x="1161" y="947"/>
                    <a:pt x="1174" y="892"/>
                  </a:cubicBezTo>
                  <a:cubicBezTo>
                    <a:pt x="1174" y="879"/>
                    <a:pt x="1187" y="866"/>
                    <a:pt x="1187" y="837"/>
                  </a:cubicBezTo>
                  <a:lnTo>
                    <a:pt x="1187" y="837"/>
                  </a:lnTo>
                  <a:cubicBezTo>
                    <a:pt x="1161" y="850"/>
                    <a:pt x="1148" y="850"/>
                    <a:pt x="1122" y="850"/>
                  </a:cubicBezTo>
                  <a:cubicBezTo>
                    <a:pt x="1106" y="850"/>
                    <a:pt x="1106" y="850"/>
                    <a:pt x="1093" y="866"/>
                  </a:cubicBezTo>
                  <a:lnTo>
                    <a:pt x="1080" y="866"/>
                  </a:lnTo>
                  <a:cubicBezTo>
                    <a:pt x="1067" y="866"/>
                    <a:pt x="1054" y="879"/>
                    <a:pt x="1041" y="879"/>
                  </a:cubicBezTo>
                  <a:cubicBezTo>
                    <a:pt x="1025" y="879"/>
                    <a:pt x="1025" y="879"/>
                    <a:pt x="1012" y="892"/>
                  </a:cubicBezTo>
                  <a:lnTo>
                    <a:pt x="999" y="892"/>
                  </a:lnTo>
                  <a:cubicBezTo>
                    <a:pt x="986" y="905"/>
                    <a:pt x="986" y="905"/>
                    <a:pt x="973" y="905"/>
                  </a:cubicBezTo>
                  <a:cubicBezTo>
                    <a:pt x="973" y="918"/>
                    <a:pt x="973" y="918"/>
                    <a:pt x="960" y="918"/>
                  </a:cubicBezTo>
                  <a:cubicBezTo>
                    <a:pt x="944" y="947"/>
                    <a:pt x="931" y="986"/>
                    <a:pt x="918" y="1012"/>
                  </a:cubicBezTo>
                  <a:cubicBezTo>
                    <a:pt x="782" y="1297"/>
                    <a:pt x="594" y="1634"/>
                    <a:pt x="594" y="1634"/>
                  </a:cubicBezTo>
                  <a:lnTo>
                    <a:pt x="500" y="1174"/>
                  </a:lnTo>
                  <a:cubicBezTo>
                    <a:pt x="121" y="824"/>
                    <a:pt x="27" y="364"/>
                    <a:pt x="14" y="1"/>
                  </a:cubicBezTo>
                  <a:close/>
                </a:path>
              </a:pathLst>
            </a:custGeom>
            <a:solidFill>
              <a:srgbClr val="FFBC7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91" name="Google Shape;1391;p42"/>
            <p:cNvSpPr/>
            <p:nvPr/>
          </p:nvSpPr>
          <p:spPr>
            <a:xfrm>
              <a:off x="4914575" y="5156825"/>
              <a:ext cx="31050" cy="27725"/>
            </a:xfrm>
            <a:custGeom>
              <a:avLst/>
              <a:gdLst/>
              <a:ahLst/>
              <a:cxnLst/>
              <a:rect l="l" t="t" r="r" b="b"/>
              <a:pathLst>
                <a:path w="1242" h="1109" extrusionOk="0">
                  <a:moveTo>
                    <a:pt x="688" y="1"/>
                  </a:moveTo>
                  <a:cubicBezTo>
                    <a:pt x="377" y="1"/>
                    <a:pt x="1" y="325"/>
                    <a:pt x="1" y="623"/>
                  </a:cubicBezTo>
                  <a:cubicBezTo>
                    <a:pt x="1" y="934"/>
                    <a:pt x="377" y="1109"/>
                    <a:pt x="688" y="1109"/>
                  </a:cubicBezTo>
                  <a:cubicBezTo>
                    <a:pt x="986" y="1109"/>
                    <a:pt x="1242" y="866"/>
                    <a:pt x="1242" y="555"/>
                  </a:cubicBezTo>
                  <a:cubicBezTo>
                    <a:pt x="1242" y="257"/>
                    <a:pt x="986" y="1"/>
                    <a:pt x="68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92" name="Google Shape;1392;p42"/>
            <p:cNvSpPr/>
            <p:nvPr/>
          </p:nvSpPr>
          <p:spPr>
            <a:xfrm>
              <a:off x="4914175" y="5156375"/>
              <a:ext cx="32100" cy="23800"/>
            </a:xfrm>
            <a:custGeom>
              <a:avLst/>
              <a:gdLst/>
              <a:ahLst/>
              <a:cxnLst/>
              <a:rect l="l" t="t" r="r" b="b"/>
              <a:pathLst>
                <a:path w="1284" h="952" extrusionOk="0">
                  <a:moveTo>
                    <a:pt x="704" y="1"/>
                  </a:moveTo>
                  <a:cubicBezTo>
                    <a:pt x="624" y="1"/>
                    <a:pt x="544" y="16"/>
                    <a:pt x="474" y="45"/>
                  </a:cubicBezTo>
                  <a:cubicBezTo>
                    <a:pt x="380" y="87"/>
                    <a:pt x="286" y="142"/>
                    <a:pt x="218" y="223"/>
                  </a:cubicBezTo>
                  <a:cubicBezTo>
                    <a:pt x="137" y="288"/>
                    <a:pt x="82" y="369"/>
                    <a:pt x="43" y="466"/>
                  </a:cubicBezTo>
                  <a:cubicBezTo>
                    <a:pt x="30" y="518"/>
                    <a:pt x="17" y="560"/>
                    <a:pt x="17" y="612"/>
                  </a:cubicBezTo>
                  <a:cubicBezTo>
                    <a:pt x="1" y="667"/>
                    <a:pt x="17" y="722"/>
                    <a:pt x="43" y="761"/>
                  </a:cubicBezTo>
                  <a:cubicBezTo>
                    <a:pt x="17" y="667"/>
                    <a:pt x="30" y="560"/>
                    <a:pt x="69" y="479"/>
                  </a:cubicBezTo>
                  <a:cubicBezTo>
                    <a:pt x="111" y="385"/>
                    <a:pt x="179" y="317"/>
                    <a:pt x="244" y="249"/>
                  </a:cubicBezTo>
                  <a:cubicBezTo>
                    <a:pt x="325" y="181"/>
                    <a:pt x="406" y="126"/>
                    <a:pt x="487" y="100"/>
                  </a:cubicBezTo>
                  <a:cubicBezTo>
                    <a:pt x="559" y="71"/>
                    <a:pt x="629" y="55"/>
                    <a:pt x="698" y="55"/>
                  </a:cubicBezTo>
                  <a:cubicBezTo>
                    <a:pt x="723" y="55"/>
                    <a:pt x="747" y="57"/>
                    <a:pt x="772" y="61"/>
                  </a:cubicBezTo>
                  <a:cubicBezTo>
                    <a:pt x="960" y="74"/>
                    <a:pt x="1135" y="207"/>
                    <a:pt x="1203" y="398"/>
                  </a:cubicBezTo>
                  <a:cubicBezTo>
                    <a:pt x="1271" y="573"/>
                    <a:pt x="1245" y="790"/>
                    <a:pt x="1122" y="952"/>
                  </a:cubicBezTo>
                  <a:cubicBezTo>
                    <a:pt x="1190" y="871"/>
                    <a:pt x="1232" y="774"/>
                    <a:pt x="1258" y="680"/>
                  </a:cubicBezTo>
                  <a:cubicBezTo>
                    <a:pt x="1284" y="586"/>
                    <a:pt x="1271" y="479"/>
                    <a:pt x="1245" y="385"/>
                  </a:cubicBezTo>
                  <a:cubicBezTo>
                    <a:pt x="1177" y="181"/>
                    <a:pt x="989" y="32"/>
                    <a:pt x="785" y="6"/>
                  </a:cubicBezTo>
                  <a:cubicBezTo>
                    <a:pt x="758" y="3"/>
                    <a:pt x="731" y="1"/>
                    <a:pt x="704" y="1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93" name="Google Shape;1393;p42"/>
            <p:cNvSpPr/>
            <p:nvPr/>
          </p:nvSpPr>
          <p:spPr>
            <a:xfrm>
              <a:off x="4920650" y="5159500"/>
              <a:ext cx="19550" cy="19300"/>
            </a:xfrm>
            <a:custGeom>
              <a:avLst/>
              <a:gdLst/>
              <a:ahLst/>
              <a:cxnLst/>
              <a:rect l="l" t="t" r="r" b="b"/>
              <a:pathLst>
                <a:path w="782" h="772" extrusionOk="0">
                  <a:moveTo>
                    <a:pt x="390" y="1"/>
                  </a:moveTo>
                  <a:cubicBezTo>
                    <a:pt x="283" y="1"/>
                    <a:pt x="202" y="30"/>
                    <a:pt x="121" y="98"/>
                  </a:cubicBezTo>
                  <a:cubicBezTo>
                    <a:pt x="66" y="150"/>
                    <a:pt x="14" y="231"/>
                    <a:pt x="1" y="325"/>
                  </a:cubicBezTo>
                  <a:lnTo>
                    <a:pt x="1" y="380"/>
                  </a:lnTo>
                  <a:cubicBezTo>
                    <a:pt x="1" y="474"/>
                    <a:pt x="27" y="555"/>
                    <a:pt x="82" y="623"/>
                  </a:cubicBezTo>
                  <a:cubicBezTo>
                    <a:pt x="147" y="704"/>
                    <a:pt x="244" y="759"/>
                    <a:pt x="351" y="772"/>
                  </a:cubicBezTo>
                  <a:lnTo>
                    <a:pt x="390" y="772"/>
                  </a:lnTo>
                  <a:cubicBezTo>
                    <a:pt x="607" y="772"/>
                    <a:pt x="782" y="597"/>
                    <a:pt x="782" y="380"/>
                  </a:cubicBezTo>
                  <a:cubicBezTo>
                    <a:pt x="782" y="354"/>
                    <a:pt x="782" y="325"/>
                    <a:pt x="769" y="299"/>
                  </a:cubicBezTo>
                  <a:cubicBezTo>
                    <a:pt x="743" y="179"/>
                    <a:pt x="649" y="69"/>
                    <a:pt x="539" y="30"/>
                  </a:cubicBezTo>
                  <a:cubicBezTo>
                    <a:pt x="487" y="1"/>
                    <a:pt x="445" y="1"/>
                    <a:pt x="390" y="1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94" name="Google Shape;1394;p42"/>
            <p:cNvSpPr/>
            <p:nvPr/>
          </p:nvSpPr>
          <p:spPr>
            <a:xfrm>
              <a:off x="4920650" y="5161925"/>
              <a:ext cx="9425" cy="6750"/>
            </a:xfrm>
            <a:custGeom>
              <a:avLst/>
              <a:gdLst/>
              <a:ahLst/>
              <a:cxnLst/>
              <a:rect l="l" t="t" r="r" b="b"/>
              <a:pathLst>
                <a:path w="377" h="270" extrusionOk="0">
                  <a:moveTo>
                    <a:pt x="121" y="1"/>
                  </a:moveTo>
                  <a:cubicBezTo>
                    <a:pt x="66" y="53"/>
                    <a:pt x="14" y="134"/>
                    <a:pt x="1" y="228"/>
                  </a:cubicBezTo>
                  <a:lnTo>
                    <a:pt x="377" y="270"/>
                  </a:lnTo>
                  <a:lnTo>
                    <a:pt x="121" y="1"/>
                  </a:lnTo>
                  <a:close/>
                </a:path>
              </a:pathLst>
            </a:custGeom>
            <a:solidFill>
              <a:srgbClr val="AA53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95" name="Google Shape;1395;p42"/>
            <p:cNvSpPr/>
            <p:nvPr/>
          </p:nvSpPr>
          <p:spPr>
            <a:xfrm>
              <a:off x="4922675" y="5168650"/>
              <a:ext cx="7400" cy="10150"/>
            </a:xfrm>
            <a:custGeom>
              <a:avLst/>
              <a:gdLst/>
              <a:ahLst/>
              <a:cxnLst/>
              <a:rect l="l" t="t" r="r" b="b"/>
              <a:pathLst>
                <a:path w="296" h="406" extrusionOk="0">
                  <a:moveTo>
                    <a:pt x="296" y="1"/>
                  </a:moveTo>
                  <a:lnTo>
                    <a:pt x="1" y="257"/>
                  </a:lnTo>
                  <a:cubicBezTo>
                    <a:pt x="66" y="338"/>
                    <a:pt x="163" y="393"/>
                    <a:pt x="270" y="406"/>
                  </a:cubicBezTo>
                  <a:lnTo>
                    <a:pt x="296" y="1"/>
                  </a:lnTo>
                  <a:close/>
                </a:path>
              </a:pathLst>
            </a:custGeom>
            <a:solidFill>
              <a:srgbClr val="AA53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96" name="Google Shape;1396;p42"/>
            <p:cNvSpPr/>
            <p:nvPr/>
          </p:nvSpPr>
          <p:spPr>
            <a:xfrm>
              <a:off x="4925025" y="5163950"/>
              <a:ext cx="10800" cy="10475"/>
            </a:xfrm>
            <a:custGeom>
              <a:avLst/>
              <a:gdLst/>
              <a:ahLst/>
              <a:cxnLst/>
              <a:rect l="l" t="t" r="r" b="b"/>
              <a:pathLst>
                <a:path w="432" h="419" extrusionOk="0">
                  <a:moveTo>
                    <a:pt x="215" y="1"/>
                  </a:moveTo>
                  <a:cubicBezTo>
                    <a:pt x="95" y="1"/>
                    <a:pt x="1" y="95"/>
                    <a:pt x="1" y="202"/>
                  </a:cubicBezTo>
                  <a:cubicBezTo>
                    <a:pt x="1" y="325"/>
                    <a:pt x="95" y="419"/>
                    <a:pt x="215" y="419"/>
                  </a:cubicBezTo>
                  <a:cubicBezTo>
                    <a:pt x="338" y="419"/>
                    <a:pt x="432" y="325"/>
                    <a:pt x="432" y="202"/>
                  </a:cubicBezTo>
                  <a:cubicBezTo>
                    <a:pt x="432" y="95"/>
                    <a:pt x="338" y="1"/>
                    <a:pt x="215" y="1"/>
                  </a:cubicBezTo>
                  <a:close/>
                </a:path>
              </a:pathLst>
            </a:custGeom>
            <a:solidFill>
              <a:srgbClr val="3A180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97" name="Google Shape;1397;p42"/>
            <p:cNvSpPr/>
            <p:nvPr/>
          </p:nvSpPr>
          <p:spPr>
            <a:xfrm>
              <a:off x="4934100" y="5169625"/>
              <a:ext cx="3100" cy="3100"/>
            </a:xfrm>
            <a:custGeom>
              <a:avLst/>
              <a:gdLst/>
              <a:ahLst/>
              <a:cxnLst/>
              <a:rect l="l" t="t" r="r" b="b"/>
              <a:pathLst>
                <a:path w="124" h="124" extrusionOk="0">
                  <a:moveTo>
                    <a:pt x="56" y="1"/>
                  </a:moveTo>
                  <a:cubicBezTo>
                    <a:pt x="30" y="1"/>
                    <a:pt x="1" y="30"/>
                    <a:pt x="1" y="56"/>
                  </a:cubicBezTo>
                  <a:cubicBezTo>
                    <a:pt x="1" y="98"/>
                    <a:pt x="30" y="124"/>
                    <a:pt x="56" y="124"/>
                  </a:cubicBezTo>
                  <a:cubicBezTo>
                    <a:pt x="95" y="124"/>
                    <a:pt x="124" y="98"/>
                    <a:pt x="124" y="56"/>
                  </a:cubicBezTo>
                  <a:cubicBezTo>
                    <a:pt x="124" y="30"/>
                    <a:pt x="95" y="1"/>
                    <a:pt x="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98" name="Google Shape;1398;p42"/>
            <p:cNvSpPr/>
            <p:nvPr/>
          </p:nvSpPr>
          <p:spPr>
            <a:xfrm>
              <a:off x="4861200" y="5156825"/>
              <a:ext cx="31125" cy="27725"/>
            </a:xfrm>
            <a:custGeom>
              <a:avLst/>
              <a:gdLst/>
              <a:ahLst/>
              <a:cxnLst/>
              <a:rect l="l" t="t" r="r" b="b"/>
              <a:pathLst>
                <a:path w="1245" h="1109" extrusionOk="0">
                  <a:moveTo>
                    <a:pt x="555" y="1"/>
                  </a:moveTo>
                  <a:cubicBezTo>
                    <a:pt x="257" y="1"/>
                    <a:pt x="1" y="257"/>
                    <a:pt x="1" y="555"/>
                  </a:cubicBezTo>
                  <a:cubicBezTo>
                    <a:pt x="1" y="866"/>
                    <a:pt x="257" y="1109"/>
                    <a:pt x="555" y="1109"/>
                  </a:cubicBezTo>
                  <a:cubicBezTo>
                    <a:pt x="866" y="1109"/>
                    <a:pt x="1245" y="934"/>
                    <a:pt x="1245" y="623"/>
                  </a:cubicBezTo>
                  <a:cubicBezTo>
                    <a:pt x="1245" y="325"/>
                    <a:pt x="866" y="1"/>
                    <a:pt x="55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399" name="Google Shape;1399;p42"/>
            <p:cNvSpPr/>
            <p:nvPr/>
          </p:nvSpPr>
          <p:spPr>
            <a:xfrm>
              <a:off x="4860875" y="5156375"/>
              <a:ext cx="31775" cy="23800"/>
            </a:xfrm>
            <a:custGeom>
              <a:avLst/>
              <a:gdLst/>
              <a:ahLst/>
              <a:cxnLst/>
              <a:rect l="l" t="t" r="r" b="b"/>
              <a:pathLst>
                <a:path w="1271" h="952" extrusionOk="0">
                  <a:moveTo>
                    <a:pt x="573" y="1"/>
                  </a:moveTo>
                  <a:cubicBezTo>
                    <a:pt x="548" y="1"/>
                    <a:pt x="523" y="3"/>
                    <a:pt x="500" y="6"/>
                  </a:cubicBezTo>
                  <a:cubicBezTo>
                    <a:pt x="286" y="32"/>
                    <a:pt x="108" y="181"/>
                    <a:pt x="43" y="385"/>
                  </a:cubicBezTo>
                  <a:cubicBezTo>
                    <a:pt x="1" y="479"/>
                    <a:pt x="1" y="586"/>
                    <a:pt x="14" y="680"/>
                  </a:cubicBezTo>
                  <a:cubicBezTo>
                    <a:pt x="43" y="774"/>
                    <a:pt x="95" y="871"/>
                    <a:pt x="163" y="952"/>
                  </a:cubicBezTo>
                  <a:cubicBezTo>
                    <a:pt x="27" y="790"/>
                    <a:pt x="1" y="573"/>
                    <a:pt x="69" y="398"/>
                  </a:cubicBezTo>
                  <a:cubicBezTo>
                    <a:pt x="150" y="207"/>
                    <a:pt x="312" y="74"/>
                    <a:pt x="500" y="61"/>
                  </a:cubicBezTo>
                  <a:cubicBezTo>
                    <a:pt x="524" y="57"/>
                    <a:pt x="549" y="55"/>
                    <a:pt x="574" y="55"/>
                  </a:cubicBezTo>
                  <a:cubicBezTo>
                    <a:pt x="644" y="55"/>
                    <a:pt x="715" y="71"/>
                    <a:pt x="785" y="100"/>
                  </a:cubicBezTo>
                  <a:cubicBezTo>
                    <a:pt x="879" y="126"/>
                    <a:pt x="960" y="181"/>
                    <a:pt x="1028" y="249"/>
                  </a:cubicBezTo>
                  <a:cubicBezTo>
                    <a:pt x="1109" y="317"/>
                    <a:pt x="1161" y="385"/>
                    <a:pt x="1203" y="479"/>
                  </a:cubicBezTo>
                  <a:cubicBezTo>
                    <a:pt x="1242" y="560"/>
                    <a:pt x="1271" y="667"/>
                    <a:pt x="1242" y="761"/>
                  </a:cubicBezTo>
                  <a:cubicBezTo>
                    <a:pt x="1258" y="722"/>
                    <a:pt x="1271" y="667"/>
                    <a:pt x="1271" y="612"/>
                  </a:cubicBezTo>
                  <a:cubicBezTo>
                    <a:pt x="1271" y="560"/>
                    <a:pt x="1258" y="518"/>
                    <a:pt x="1229" y="466"/>
                  </a:cubicBezTo>
                  <a:cubicBezTo>
                    <a:pt x="1190" y="369"/>
                    <a:pt x="1135" y="288"/>
                    <a:pt x="1054" y="223"/>
                  </a:cubicBezTo>
                  <a:cubicBezTo>
                    <a:pt x="986" y="142"/>
                    <a:pt x="905" y="87"/>
                    <a:pt x="798" y="45"/>
                  </a:cubicBezTo>
                  <a:cubicBezTo>
                    <a:pt x="727" y="16"/>
                    <a:pt x="648" y="1"/>
                    <a:pt x="573" y="1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00" name="Google Shape;1400;p42"/>
            <p:cNvSpPr/>
            <p:nvPr/>
          </p:nvSpPr>
          <p:spPr>
            <a:xfrm>
              <a:off x="4868000" y="5160225"/>
              <a:ext cx="19550" cy="19225"/>
            </a:xfrm>
            <a:custGeom>
              <a:avLst/>
              <a:gdLst/>
              <a:ahLst/>
              <a:cxnLst/>
              <a:rect l="l" t="t" r="r" b="b"/>
              <a:pathLst>
                <a:path w="782" h="769" extrusionOk="0">
                  <a:moveTo>
                    <a:pt x="390" y="1"/>
                  </a:moveTo>
                  <a:cubicBezTo>
                    <a:pt x="283" y="1"/>
                    <a:pt x="202" y="27"/>
                    <a:pt x="121" y="95"/>
                  </a:cubicBezTo>
                  <a:cubicBezTo>
                    <a:pt x="66" y="150"/>
                    <a:pt x="14" y="231"/>
                    <a:pt x="1" y="325"/>
                  </a:cubicBezTo>
                  <a:lnTo>
                    <a:pt x="1" y="377"/>
                  </a:lnTo>
                  <a:cubicBezTo>
                    <a:pt x="1" y="474"/>
                    <a:pt x="27" y="555"/>
                    <a:pt x="82" y="620"/>
                  </a:cubicBezTo>
                  <a:cubicBezTo>
                    <a:pt x="147" y="701"/>
                    <a:pt x="244" y="756"/>
                    <a:pt x="351" y="769"/>
                  </a:cubicBezTo>
                  <a:lnTo>
                    <a:pt x="390" y="769"/>
                  </a:lnTo>
                  <a:cubicBezTo>
                    <a:pt x="607" y="769"/>
                    <a:pt x="782" y="594"/>
                    <a:pt x="782" y="377"/>
                  </a:cubicBezTo>
                  <a:cubicBezTo>
                    <a:pt x="782" y="351"/>
                    <a:pt x="782" y="325"/>
                    <a:pt x="769" y="296"/>
                  </a:cubicBezTo>
                  <a:cubicBezTo>
                    <a:pt x="743" y="176"/>
                    <a:pt x="649" y="69"/>
                    <a:pt x="539" y="27"/>
                  </a:cubicBezTo>
                  <a:cubicBezTo>
                    <a:pt x="487" y="1"/>
                    <a:pt x="445" y="1"/>
                    <a:pt x="390" y="1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01" name="Google Shape;1401;p42"/>
            <p:cNvSpPr/>
            <p:nvPr/>
          </p:nvSpPr>
          <p:spPr>
            <a:xfrm>
              <a:off x="4868000" y="5162575"/>
              <a:ext cx="9425" cy="6750"/>
            </a:xfrm>
            <a:custGeom>
              <a:avLst/>
              <a:gdLst/>
              <a:ahLst/>
              <a:cxnLst/>
              <a:rect l="l" t="t" r="r" b="b"/>
              <a:pathLst>
                <a:path w="377" h="270" extrusionOk="0">
                  <a:moveTo>
                    <a:pt x="121" y="1"/>
                  </a:moveTo>
                  <a:cubicBezTo>
                    <a:pt x="66" y="56"/>
                    <a:pt x="14" y="137"/>
                    <a:pt x="1" y="231"/>
                  </a:cubicBezTo>
                  <a:lnTo>
                    <a:pt x="377" y="270"/>
                  </a:lnTo>
                  <a:lnTo>
                    <a:pt x="121" y="1"/>
                  </a:lnTo>
                  <a:close/>
                </a:path>
              </a:pathLst>
            </a:custGeom>
            <a:solidFill>
              <a:srgbClr val="AA53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02" name="Google Shape;1402;p42"/>
            <p:cNvSpPr/>
            <p:nvPr/>
          </p:nvSpPr>
          <p:spPr>
            <a:xfrm>
              <a:off x="4870025" y="5169300"/>
              <a:ext cx="7400" cy="10150"/>
            </a:xfrm>
            <a:custGeom>
              <a:avLst/>
              <a:gdLst/>
              <a:ahLst/>
              <a:cxnLst/>
              <a:rect l="l" t="t" r="r" b="b"/>
              <a:pathLst>
                <a:path w="296" h="406" extrusionOk="0">
                  <a:moveTo>
                    <a:pt x="296" y="1"/>
                  </a:moveTo>
                  <a:lnTo>
                    <a:pt x="1" y="257"/>
                  </a:lnTo>
                  <a:cubicBezTo>
                    <a:pt x="66" y="338"/>
                    <a:pt x="163" y="393"/>
                    <a:pt x="270" y="406"/>
                  </a:cubicBezTo>
                  <a:lnTo>
                    <a:pt x="296" y="1"/>
                  </a:lnTo>
                  <a:close/>
                </a:path>
              </a:pathLst>
            </a:custGeom>
            <a:solidFill>
              <a:srgbClr val="AA53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03" name="Google Shape;1403;p42"/>
            <p:cNvSpPr/>
            <p:nvPr/>
          </p:nvSpPr>
          <p:spPr>
            <a:xfrm>
              <a:off x="4872375" y="5164600"/>
              <a:ext cx="10800" cy="10475"/>
            </a:xfrm>
            <a:custGeom>
              <a:avLst/>
              <a:gdLst/>
              <a:ahLst/>
              <a:cxnLst/>
              <a:rect l="l" t="t" r="r" b="b"/>
              <a:pathLst>
                <a:path w="432" h="419" extrusionOk="0">
                  <a:moveTo>
                    <a:pt x="215" y="1"/>
                  </a:moveTo>
                  <a:cubicBezTo>
                    <a:pt x="95" y="1"/>
                    <a:pt x="1" y="95"/>
                    <a:pt x="1" y="202"/>
                  </a:cubicBezTo>
                  <a:cubicBezTo>
                    <a:pt x="1" y="325"/>
                    <a:pt x="95" y="419"/>
                    <a:pt x="215" y="419"/>
                  </a:cubicBezTo>
                  <a:cubicBezTo>
                    <a:pt x="338" y="419"/>
                    <a:pt x="432" y="325"/>
                    <a:pt x="432" y="202"/>
                  </a:cubicBezTo>
                  <a:cubicBezTo>
                    <a:pt x="432" y="95"/>
                    <a:pt x="338" y="1"/>
                    <a:pt x="215" y="1"/>
                  </a:cubicBezTo>
                  <a:close/>
                </a:path>
              </a:pathLst>
            </a:custGeom>
            <a:solidFill>
              <a:srgbClr val="3A180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04" name="Google Shape;1404;p42"/>
            <p:cNvSpPr/>
            <p:nvPr/>
          </p:nvSpPr>
          <p:spPr>
            <a:xfrm>
              <a:off x="4881450" y="5170350"/>
              <a:ext cx="3100" cy="3025"/>
            </a:xfrm>
            <a:custGeom>
              <a:avLst/>
              <a:gdLst/>
              <a:ahLst/>
              <a:cxnLst/>
              <a:rect l="l" t="t" r="r" b="b"/>
              <a:pathLst>
                <a:path w="124" h="121" extrusionOk="0">
                  <a:moveTo>
                    <a:pt x="56" y="1"/>
                  </a:moveTo>
                  <a:cubicBezTo>
                    <a:pt x="30" y="1"/>
                    <a:pt x="1" y="27"/>
                    <a:pt x="1" y="53"/>
                  </a:cubicBezTo>
                  <a:cubicBezTo>
                    <a:pt x="1" y="95"/>
                    <a:pt x="30" y="121"/>
                    <a:pt x="56" y="121"/>
                  </a:cubicBezTo>
                  <a:cubicBezTo>
                    <a:pt x="95" y="121"/>
                    <a:pt x="124" y="95"/>
                    <a:pt x="124" y="53"/>
                  </a:cubicBezTo>
                  <a:cubicBezTo>
                    <a:pt x="124" y="27"/>
                    <a:pt x="95" y="1"/>
                    <a:pt x="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05" name="Google Shape;1405;p42"/>
            <p:cNvSpPr/>
            <p:nvPr/>
          </p:nvSpPr>
          <p:spPr>
            <a:xfrm>
              <a:off x="4931275" y="5140550"/>
              <a:ext cx="14350" cy="11375"/>
            </a:xfrm>
            <a:custGeom>
              <a:avLst/>
              <a:gdLst/>
              <a:ahLst/>
              <a:cxnLst/>
              <a:rect l="l" t="t" r="r" b="b"/>
              <a:pathLst>
                <a:path w="574" h="455" extrusionOk="0">
                  <a:moveTo>
                    <a:pt x="209" y="0"/>
                  </a:moveTo>
                  <a:cubicBezTo>
                    <a:pt x="82" y="0"/>
                    <a:pt x="0" y="110"/>
                    <a:pt x="62" y="234"/>
                  </a:cubicBezTo>
                  <a:cubicBezTo>
                    <a:pt x="101" y="302"/>
                    <a:pt x="156" y="341"/>
                    <a:pt x="208" y="383"/>
                  </a:cubicBezTo>
                  <a:cubicBezTo>
                    <a:pt x="263" y="409"/>
                    <a:pt x="318" y="435"/>
                    <a:pt x="370" y="451"/>
                  </a:cubicBezTo>
                  <a:cubicBezTo>
                    <a:pt x="379" y="453"/>
                    <a:pt x="388" y="454"/>
                    <a:pt x="398" y="454"/>
                  </a:cubicBezTo>
                  <a:cubicBezTo>
                    <a:pt x="446" y="454"/>
                    <a:pt x="499" y="428"/>
                    <a:pt x="532" y="396"/>
                  </a:cubicBezTo>
                  <a:cubicBezTo>
                    <a:pt x="574" y="341"/>
                    <a:pt x="561" y="273"/>
                    <a:pt x="532" y="221"/>
                  </a:cubicBezTo>
                  <a:cubicBezTo>
                    <a:pt x="506" y="166"/>
                    <a:pt x="467" y="127"/>
                    <a:pt x="412" y="85"/>
                  </a:cubicBezTo>
                  <a:cubicBezTo>
                    <a:pt x="370" y="59"/>
                    <a:pt x="318" y="17"/>
                    <a:pt x="250" y="4"/>
                  </a:cubicBezTo>
                  <a:cubicBezTo>
                    <a:pt x="236" y="1"/>
                    <a:pt x="222" y="0"/>
                    <a:pt x="209" y="0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06" name="Google Shape;1406;p42"/>
            <p:cNvSpPr/>
            <p:nvPr/>
          </p:nvSpPr>
          <p:spPr>
            <a:xfrm>
              <a:off x="4861525" y="5140550"/>
              <a:ext cx="14050" cy="11375"/>
            </a:xfrm>
            <a:custGeom>
              <a:avLst/>
              <a:gdLst/>
              <a:ahLst/>
              <a:cxnLst/>
              <a:rect l="l" t="t" r="r" b="b"/>
              <a:pathLst>
                <a:path w="562" h="455" extrusionOk="0">
                  <a:moveTo>
                    <a:pt x="352" y="0"/>
                  </a:moveTo>
                  <a:cubicBezTo>
                    <a:pt x="339" y="0"/>
                    <a:pt x="325" y="1"/>
                    <a:pt x="312" y="4"/>
                  </a:cubicBezTo>
                  <a:cubicBezTo>
                    <a:pt x="260" y="17"/>
                    <a:pt x="205" y="59"/>
                    <a:pt x="150" y="85"/>
                  </a:cubicBezTo>
                  <a:cubicBezTo>
                    <a:pt x="98" y="127"/>
                    <a:pt x="56" y="166"/>
                    <a:pt x="30" y="221"/>
                  </a:cubicBezTo>
                  <a:cubicBezTo>
                    <a:pt x="1" y="273"/>
                    <a:pt x="1" y="341"/>
                    <a:pt x="30" y="396"/>
                  </a:cubicBezTo>
                  <a:cubicBezTo>
                    <a:pt x="62" y="428"/>
                    <a:pt x="115" y="454"/>
                    <a:pt x="164" y="454"/>
                  </a:cubicBezTo>
                  <a:cubicBezTo>
                    <a:pt x="173" y="454"/>
                    <a:pt x="183" y="453"/>
                    <a:pt x="192" y="451"/>
                  </a:cubicBezTo>
                  <a:cubicBezTo>
                    <a:pt x="260" y="435"/>
                    <a:pt x="299" y="409"/>
                    <a:pt x="354" y="383"/>
                  </a:cubicBezTo>
                  <a:cubicBezTo>
                    <a:pt x="406" y="341"/>
                    <a:pt x="474" y="302"/>
                    <a:pt x="503" y="234"/>
                  </a:cubicBezTo>
                  <a:cubicBezTo>
                    <a:pt x="562" y="110"/>
                    <a:pt x="479" y="0"/>
                    <a:pt x="352" y="0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07" name="Google Shape;1407;p42"/>
            <p:cNvSpPr/>
            <p:nvPr/>
          </p:nvSpPr>
          <p:spPr>
            <a:xfrm>
              <a:off x="4895950" y="5178450"/>
              <a:ext cx="14925" cy="7800"/>
            </a:xfrm>
            <a:custGeom>
              <a:avLst/>
              <a:gdLst/>
              <a:ahLst/>
              <a:cxnLst/>
              <a:rect l="l" t="t" r="r" b="b"/>
              <a:pathLst>
                <a:path w="597" h="312" extrusionOk="0">
                  <a:moveTo>
                    <a:pt x="299" y="1"/>
                  </a:moveTo>
                  <a:lnTo>
                    <a:pt x="231" y="14"/>
                  </a:lnTo>
                  <a:lnTo>
                    <a:pt x="163" y="14"/>
                  </a:lnTo>
                  <a:cubicBezTo>
                    <a:pt x="124" y="27"/>
                    <a:pt x="82" y="40"/>
                    <a:pt x="43" y="82"/>
                  </a:cubicBezTo>
                  <a:cubicBezTo>
                    <a:pt x="30" y="82"/>
                    <a:pt x="30" y="95"/>
                    <a:pt x="17" y="108"/>
                  </a:cubicBezTo>
                  <a:cubicBezTo>
                    <a:pt x="17" y="121"/>
                    <a:pt x="1" y="134"/>
                    <a:pt x="17" y="150"/>
                  </a:cubicBezTo>
                  <a:cubicBezTo>
                    <a:pt x="1" y="176"/>
                    <a:pt x="17" y="189"/>
                    <a:pt x="30" y="215"/>
                  </a:cubicBezTo>
                  <a:cubicBezTo>
                    <a:pt x="56" y="257"/>
                    <a:pt x="98" y="283"/>
                    <a:pt x="124" y="312"/>
                  </a:cubicBezTo>
                  <a:cubicBezTo>
                    <a:pt x="98" y="270"/>
                    <a:pt x="69" y="244"/>
                    <a:pt x="56" y="202"/>
                  </a:cubicBezTo>
                  <a:cubicBezTo>
                    <a:pt x="43" y="163"/>
                    <a:pt x="43" y="121"/>
                    <a:pt x="69" y="108"/>
                  </a:cubicBezTo>
                  <a:cubicBezTo>
                    <a:pt x="98" y="82"/>
                    <a:pt x="137" y="82"/>
                    <a:pt x="179" y="69"/>
                  </a:cubicBezTo>
                  <a:lnTo>
                    <a:pt x="244" y="69"/>
                  </a:lnTo>
                  <a:lnTo>
                    <a:pt x="299" y="53"/>
                  </a:lnTo>
                  <a:lnTo>
                    <a:pt x="367" y="53"/>
                  </a:lnTo>
                  <a:cubicBezTo>
                    <a:pt x="393" y="53"/>
                    <a:pt x="406" y="53"/>
                    <a:pt x="435" y="69"/>
                  </a:cubicBezTo>
                  <a:cubicBezTo>
                    <a:pt x="474" y="69"/>
                    <a:pt x="516" y="82"/>
                    <a:pt x="542" y="95"/>
                  </a:cubicBezTo>
                  <a:cubicBezTo>
                    <a:pt x="568" y="121"/>
                    <a:pt x="568" y="163"/>
                    <a:pt x="542" y="189"/>
                  </a:cubicBezTo>
                  <a:cubicBezTo>
                    <a:pt x="529" y="231"/>
                    <a:pt x="503" y="270"/>
                    <a:pt x="474" y="296"/>
                  </a:cubicBezTo>
                  <a:cubicBezTo>
                    <a:pt x="516" y="270"/>
                    <a:pt x="542" y="244"/>
                    <a:pt x="568" y="202"/>
                  </a:cubicBezTo>
                  <a:cubicBezTo>
                    <a:pt x="584" y="189"/>
                    <a:pt x="597" y="163"/>
                    <a:pt x="597" y="134"/>
                  </a:cubicBezTo>
                  <a:cubicBezTo>
                    <a:pt x="597" y="121"/>
                    <a:pt x="597" y="108"/>
                    <a:pt x="584" y="95"/>
                  </a:cubicBezTo>
                  <a:cubicBezTo>
                    <a:pt x="584" y="95"/>
                    <a:pt x="584" y="69"/>
                    <a:pt x="568" y="69"/>
                  </a:cubicBezTo>
                  <a:cubicBezTo>
                    <a:pt x="529" y="27"/>
                    <a:pt x="474" y="14"/>
                    <a:pt x="435" y="14"/>
                  </a:cubicBezTo>
                  <a:cubicBezTo>
                    <a:pt x="406" y="14"/>
                    <a:pt x="393" y="1"/>
                    <a:pt x="367" y="1"/>
                  </a:cubicBezTo>
                  <a:close/>
                </a:path>
              </a:pathLst>
            </a:custGeom>
            <a:solidFill>
              <a:srgbClr val="8E20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08" name="Google Shape;1408;p42"/>
            <p:cNvSpPr/>
            <p:nvPr/>
          </p:nvSpPr>
          <p:spPr>
            <a:xfrm>
              <a:off x="4822400" y="5165025"/>
              <a:ext cx="18575" cy="22850"/>
            </a:xfrm>
            <a:custGeom>
              <a:avLst/>
              <a:gdLst/>
              <a:ahLst/>
              <a:cxnLst/>
              <a:rect l="l" t="t" r="r" b="b"/>
              <a:pathLst>
                <a:path w="743" h="914" extrusionOk="0">
                  <a:moveTo>
                    <a:pt x="265" y="0"/>
                  </a:moveTo>
                  <a:cubicBezTo>
                    <a:pt x="245" y="0"/>
                    <a:pt x="224" y="3"/>
                    <a:pt x="205" y="10"/>
                  </a:cubicBezTo>
                  <a:cubicBezTo>
                    <a:pt x="189" y="10"/>
                    <a:pt x="176" y="23"/>
                    <a:pt x="150" y="23"/>
                  </a:cubicBezTo>
                  <a:cubicBezTo>
                    <a:pt x="137" y="39"/>
                    <a:pt x="124" y="52"/>
                    <a:pt x="108" y="65"/>
                  </a:cubicBezTo>
                  <a:cubicBezTo>
                    <a:pt x="82" y="91"/>
                    <a:pt x="56" y="120"/>
                    <a:pt x="43" y="146"/>
                  </a:cubicBezTo>
                  <a:cubicBezTo>
                    <a:pt x="27" y="185"/>
                    <a:pt x="14" y="227"/>
                    <a:pt x="14" y="253"/>
                  </a:cubicBezTo>
                  <a:cubicBezTo>
                    <a:pt x="1" y="334"/>
                    <a:pt x="14" y="402"/>
                    <a:pt x="43" y="470"/>
                  </a:cubicBezTo>
                  <a:cubicBezTo>
                    <a:pt x="27" y="402"/>
                    <a:pt x="27" y="334"/>
                    <a:pt x="43" y="266"/>
                  </a:cubicBezTo>
                  <a:cubicBezTo>
                    <a:pt x="43" y="227"/>
                    <a:pt x="56" y="201"/>
                    <a:pt x="69" y="172"/>
                  </a:cubicBezTo>
                  <a:cubicBezTo>
                    <a:pt x="82" y="133"/>
                    <a:pt x="108" y="104"/>
                    <a:pt x="137" y="91"/>
                  </a:cubicBezTo>
                  <a:cubicBezTo>
                    <a:pt x="170" y="66"/>
                    <a:pt x="205" y="51"/>
                    <a:pt x="244" y="51"/>
                  </a:cubicBezTo>
                  <a:cubicBezTo>
                    <a:pt x="265" y="51"/>
                    <a:pt x="288" y="56"/>
                    <a:pt x="312" y="65"/>
                  </a:cubicBezTo>
                  <a:cubicBezTo>
                    <a:pt x="380" y="78"/>
                    <a:pt x="432" y="104"/>
                    <a:pt x="487" y="159"/>
                  </a:cubicBezTo>
                  <a:cubicBezTo>
                    <a:pt x="529" y="201"/>
                    <a:pt x="581" y="253"/>
                    <a:pt x="610" y="321"/>
                  </a:cubicBezTo>
                  <a:cubicBezTo>
                    <a:pt x="636" y="347"/>
                    <a:pt x="636" y="376"/>
                    <a:pt x="649" y="402"/>
                  </a:cubicBezTo>
                  <a:cubicBezTo>
                    <a:pt x="662" y="444"/>
                    <a:pt x="675" y="470"/>
                    <a:pt x="691" y="509"/>
                  </a:cubicBezTo>
                  <a:cubicBezTo>
                    <a:pt x="728" y="625"/>
                    <a:pt x="730" y="766"/>
                    <a:pt x="719" y="893"/>
                  </a:cubicBezTo>
                  <a:lnTo>
                    <a:pt x="719" y="893"/>
                  </a:lnTo>
                  <a:cubicBezTo>
                    <a:pt x="722" y="870"/>
                    <a:pt x="730" y="842"/>
                    <a:pt x="730" y="820"/>
                  </a:cubicBezTo>
                  <a:cubicBezTo>
                    <a:pt x="743" y="781"/>
                    <a:pt x="743" y="739"/>
                    <a:pt x="743" y="713"/>
                  </a:cubicBezTo>
                  <a:lnTo>
                    <a:pt x="743" y="606"/>
                  </a:lnTo>
                  <a:cubicBezTo>
                    <a:pt x="743" y="564"/>
                    <a:pt x="730" y="538"/>
                    <a:pt x="730" y="496"/>
                  </a:cubicBezTo>
                  <a:cubicBezTo>
                    <a:pt x="704" y="347"/>
                    <a:pt x="636" y="214"/>
                    <a:pt x="513" y="120"/>
                  </a:cubicBezTo>
                  <a:cubicBezTo>
                    <a:pt x="461" y="65"/>
                    <a:pt x="393" y="23"/>
                    <a:pt x="325" y="10"/>
                  </a:cubicBezTo>
                  <a:cubicBezTo>
                    <a:pt x="305" y="3"/>
                    <a:pt x="285" y="0"/>
                    <a:pt x="265" y="0"/>
                  </a:cubicBezTo>
                  <a:close/>
                  <a:moveTo>
                    <a:pt x="719" y="893"/>
                  </a:moveTo>
                  <a:lnTo>
                    <a:pt x="719" y="893"/>
                  </a:lnTo>
                  <a:cubicBezTo>
                    <a:pt x="717" y="900"/>
                    <a:pt x="717" y="907"/>
                    <a:pt x="717" y="914"/>
                  </a:cubicBezTo>
                  <a:cubicBezTo>
                    <a:pt x="717" y="907"/>
                    <a:pt x="718" y="900"/>
                    <a:pt x="719" y="893"/>
                  </a:cubicBezTo>
                  <a:close/>
                </a:path>
              </a:pathLst>
            </a:custGeom>
            <a:solidFill>
              <a:srgbClr val="FF8F6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09" name="Google Shape;1409;p42"/>
            <p:cNvSpPr/>
            <p:nvPr/>
          </p:nvSpPr>
          <p:spPr>
            <a:xfrm>
              <a:off x="4830825" y="5173325"/>
              <a:ext cx="8125" cy="15275"/>
            </a:xfrm>
            <a:custGeom>
              <a:avLst/>
              <a:gdLst/>
              <a:ahLst/>
              <a:cxnLst/>
              <a:rect l="l" t="t" r="r" b="b"/>
              <a:pathLst>
                <a:path w="325" h="611" extrusionOk="0">
                  <a:moveTo>
                    <a:pt x="189" y="1"/>
                  </a:moveTo>
                  <a:cubicBezTo>
                    <a:pt x="162" y="1"/>
                    <a:pt x="135" y="5"/>
                    <a:pt x="111" y="15"/>
                  </a:cubicBezTo>
                  <a:cubicBezTo>
                    <a:pt x="69" y="31"/>
                    <a:pt x="43" y="57"/>
                    <a:pt x="14" y="96"/>
                  </a:cubicBezTo>
                  <a:cubicBezTo>
                    <a:pt x="1" y="138"/>
                    <a:pt x="1" y="177"/>
                    <a:pt x="1" y="206"/>
                  </a:cubicBezTo>
                  <a:cubicBezTo>
                    <a:pt x="1" y="287"/>
                    <a:pt x="30" y="355"/>
                    <a:pt x="56" y="420"/>
                  </a:cubicBezTo>
                  <a:cubicBezTo>
                    <a:pt x="82" y="488"/>
                    <a:pt x="124" y="556"/>
                    <a:pt x="163" y="611"/>
                  </a:cubicBezTo>
                  <a:cubicBezTo>
                    <a:pt x="137" y="543"/>
                    <a:pt x="111" y="475"/>
                    <a:pt x="95" y="407"/>
                  </a:cubicBezTo>
                  <a:cubicBezTo>
                    <a:pt x="69" y="339"/>
                    <a:pt x="56" y="274"/>
                    <a:pt x="56" y="206"/>
                  </a:cubicBezTo>
                  <a:cubicBezTo>
                    <a:pt x="56" y="151"/>
                    <a:pt x="69" y="83"/>
                    <a:pt x="124" y="57"/>
                  </a:cubicBezTo>
                  <a:cubicBezTo>
                    <a:pt x="176" y="31"/>
                    <a:pt x="257" y="31"/>
                    <a:pt x="325" y="31"/>
                  </a:cubicBezTo>
                  <a:cubicBezTo>
                    <a:pt x="282" y="13"/>
                    <a:pt x="234" y="1"/>
                    <a:pt x="189" y="1"/>
                  </a:cubicBezTo>
                  <a:close/>
                </a:path>
              </a:pathLst>
            </a:custGeom>
            <a:solidFill>
              <a:srgbClr val="FF8F6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10" name="Google Shape;1410;p42"/>
            <p:cNvSpPr/>
            <p:nvPr/>
          </p:nvSpPr>
          <p:spPr>
            <a:xfrm>
              <a:off x="4965850" y="5165025"/>
              <a:ext cx="18575" cy="22850"/>
            </a:xfrm>
            <a:custGeom>
              <a:avLst/>
              <a:gdLst/>
              <a:ahLst/>
              <a:cxnLst/>
              <a:rect l="l" t="t" r="r" b="b"/>
              <a:pathLst>
                <a:path w="743" h="914" extrusionOk="0">
                  <a:moveTo>
                    <a:pt x="480" y="0"/>
                  </a:moveTo>
                  <a:cubicBezTo>
                    <a:pt x="460" y="0"/>
                    <a:pt x="440" y="3"/>
                    <a:pt x="419" y="10"/>
                  </a:cubicBezTo>
                  <a:cubicBezTo>
                    <a:pt x="351" y="23"/>
                    <a:pt x="283" y="65"/>
                    <a:pt x="231" y="120"/>
                  </a:cubicBezTo>
                  <a:cubicBezTo>
                    <a:pt x="121" y="214"/>
                    <a:pt x="56" y="347"/>
                    <a:pt x="14" y="496"/>
                  </a:cubicBezTo>
                  <a:cubicBezTo>
                    <a:pt x="14" y="538"/>
                    <a:pt x="14" y="564"/>
                    <a:pt x="1" y="606"/>
                  </a:cubicBezTo>
                  <a:lnTo>
                    <a:pt x="1" y="713"/>
                  </a:lnTo>
                  <a:cubicBezTo>
                    <a:pt x="1" y="739"/>
                    <a:pt x="14" y="781"/>
                    <a:pt x="14" y="820"/>
                  </a:cubicBezTo>
                  <a:cubicBezTo>
                    <a:pt x="14" y="849"/>
                    <a:pt x="27" y="888"/>
                    <a:pt x="40" y="914"/>
                  </a:cubicBezTo>
                  <a:cubicBezTo>
                    <a:pt x="27" y="781"/>
                    <a:pt x="27" y="632"/>
                    <a:pt x="56" y="509"/>
                  </a:cubicBezTo>
                  <a:cubicBezTo>
                    <a:pt x="69" y="470"/>
                    <a:pt x="82" y="444"/>
                    <a:pt x="95" y="402"/>
                  </a:cubicBezTo>
                  <a:cubicBezTo>
                    <a:pt x="108" y="376"/>
                    <a:pt x="121" y="347"/>
                    <a:pt x="137" y="321"/>
                  </a:cubicBezTo>
                  <a:cubicBezTo>
                    <a:pt x="176" y="253"/>
                    <a:pt x="218" y="201"/>
                    <a:pt x="270" y="159"/>
                  </a:cubicBezTo>
                  <a:cubicBezTo>
                    <a:pt x="312" y="104"/>
                    <a:pt x="380" y="78"/>
                    <a:pt x="432" y="65"/>
                  </a:cubicBezTo>
                  <a:cubicBezTo>
                    <a:pt x="456" y="56"/>
                    <a:pt x="480" y="51"/>
                    <a:pt x="503" y="51"/>
                  </a:cubicBezTo>
                  <a:cubicBezTo>
                    <a:pt x="546" y="51"/>
                    <a:pt x="587" y="66"/>
                    <a:pt x="623" y="91"/>
                  </a:cubicBezTo>
                  <a:cubicBezTo>
                    <a:pt x="649" y="104"/>
                    <a:pt x="662" y="133"/>
                    <a:pt x="675" y="172"/>
                  </a:cubicBezTo>
                  <a:cubicBezTo>
                    <a:pt x="688" y="201"/>
                    <a:pt x="704" y="227"/>
                    <a:pt x="717" y="266"/>
                  </a:cubicBezTo>
                  <a:cubicBezTo>
                    <a:pt x="730" y="334"/>
                    <a:pt x="717" y="402"/>
                    <a:pt x="717" y="470"/>
                  </a:cubicBezTo>
                  <a:cubicBezTo>
                    <a:pt x="730" y="402"/>
                    <a:pt x="743" y="334"/>
                    <a:pt x="743" y="253"/>
                  </a:cubicBezTo>
                  <a:cubicBezTo>
                    <a:pt x="730" y="227"/>
                    <a:pt x="730" y="185"/>
                    <a:pt x="717" y="146"/>
                  </a:cubicBezTo>
                  <a:cubicBezTo>
                    <a:pt x="688" y="120"/>
                    <a:pt x="675" y="91"/>
                    <a:pt x="649" y="65"/>
                  </a:cubicBezTo>
                  <a:cubicBezTo>
                    <a:pt x="623" y="52"/>
                    <a:pt x="607" y="39"/>
                    <a:pt x="594" y="23"/>
                  </a:cubicBezTo>
                  <a:cubicBezTo>
                    <a:pt x="581" y="23"/>
                    <a:pt x="555" y="10"/>
                    <a:pt x="542" y="10"/>
                  </a:cubicBezTo>
                  <a:cubicBezTo>
                    <a:pt x="521" y="3"/>
                    <a:pt x="500" y="0"/>
                    <a:pt x="480" y="0"/>
                  </a:cubicBezTo>
                  <a:close/>
                </a:path>
              </a:pathLst>
            </a:custGeom>
            <a:solidFill>
              <a:srgbClr val="FF8F6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11" name="Google Shape;1411;p42"/>
            <p:cNvSpPr/>
            <p:nvPr/>
          </p:nvSpPr>
          <p:spPr>
            <a:xfrm>
              <a:off x="4968200" y="5173325"/>
              <a:ext cx="7800" cy="15275"/>
            </a:xfrm>
            <a:custGeom>
              <a:avLst/>
              <a:gdLst/>
              <a:ahLst/>
              <a:cxnLst/>
              <a:rect l="l" t="t" r="r" b="b"/>
              <a:pathLst>
                <a:path w="312" h="611" extrusionOk="0">
                  <a:moveTo>
                    <a:pt x="125" y="1"/>
                  </a:moveTo>
                  <a:cubicBezTo>
                    <a:pt x="80" y="1"/>
                    <a:pt x="35" y="13"/>
                    <a:pt x="1" y="31"/>
                  </a:cubicBezTo>
                  <a:cubicBezTo>
                    <a:pt x="69" y="31"/>
                    <a:pt x="137" y="31"/>
                    <a:pt x="189" y="57"/>
                  </a:cubicBezTo>
                  <a:cubicBezTo>
                    <a:pt x="244" y="83"/>
                    <a:pt x="270" y="151"/>
                    <a:pt x="257" y="206"/>
                  </a:cubicBezTo>
                  <a:cubicBezTo>
                    <a:pt x="257" y="274"/>
                    <a:pt x="244" y="339"/>
                    <a:pt x="218" y="407"/>
                  </a:cubicBezTo>
                  <a:cubicBezTo>
                    <a:pt x="205" y="475"/>
                    <a:pt x="176" y="543"/>
                    <a:pt x="163" y="611"/>
                  </a:cubicBezTo>
                  <a:cubicBezTo>
                    <a:pt x="205" y="556"/>
                    <a:pt x="231" y="488"/>
                    <a:pt x="257" y="420"/>
                  </a:cubicBezTo>
                  <a:cubicBezTo>
                    <a:pt x="286" y="355"/>
                    <a:pt x="312" y="287"/>
                    <a:pt x="312" y="206"/>
                  </a:cubicBezTo>
                  <a:cubicBezTo>
                    <a:pt x="312" y="177"/>
                    <a:pt x="312" y="138"/>
                    <a:pt x="299" y="96"/>
                  </a:cubicBezTo>
                  <a:cubicBezTo>
                    <a:pt x="286" y="57"/>
                    <a:pt x="244" y="31"/>
                    <a:pt x="205" y="15"/>
                  </a:cubicBezTo>
                  <a:cubicBezTo>
                    <a:pt x="179" y="5"/>
                    <a:pt x="152" y="1"/>
                    <a:pt x="125" y="1"/>
                  </a:cubicBezTo>
                  <a:close/>
                </a:path>
              </a:pathLst>
            </a:custGeom>
            <a:solidFill>
              <a:srgbClr val="FF8F6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12" name="Google Shape;1412;p42"/>
            <p:cNvSpPr/>
            <p:nvPr/>
          </p:nvSpPr>
          <p:spPr>
            <a:xfrm>
              <a:off x="4888250" y="5193275"/>
              <a:ext cx="30400" cy="5450"/>
            </a:xfrm>
            <a:custGeom>
              <a:avLst/>
              <a:gdLst/>
              <a:ahLst/>
              <a:cxnLst/>
              <a:rect l="l" t="t" r="r" b="b"/>
              <a:pathLst>
                <a:path w="1216" h="218" extrusionOk="0">
                  <a:moveTo>
                    <a:pt x="1216" y="1"/>
                  </a:moveTo>
                  <a:lnTo>
                    <a:pt x="1216" y="1"/>
                  </a:lnTo>
                  <a:cubicBezTo>
                    <a:pt x="1119" y="56"/>
                    <a:pt x="1025" y="95"/>
                    <a:pt x="918" y="124"/>
                  </a:cubicBezTo>
                  <a:cubicBezTo>
                    <a:pt x="876" y="137"/>
                    <a:pt x="824" y="137"/>
                    <a:pt x="769" y="150"/>
                  </a:cubicBezTo>
                  <a:cubicBezTo>
                    <a:pt x="714" y="150"/>
                    <a:pt x="662" y="163"/>
                    <a:pt x="607" y="163"/>
                  </a:cubicBezTo>
                  <a:cubicBezTo>
                    <a:pt x="513" y="163"/>
                    <a:pt x="406" y="137"/>
                    <a:pt x="296" y="108"/>
                  </a:cubicBezTo>
                  <a:cubicBezTo>
                    <a:pt x="202" y="82"/>
                    <a:pt x="95" y="56"/>
                    <a:pt x="1" y="1"/>
                  </a:cubicBezTo>
                  <a:lnTo>
                    <a:pt x="1" y="1"/>
                  </a:lnTo>
                  <a:cubicBezTo>
                    <a:pt x="82" y="69"/>
                    <a:pt x="189" y="124"/>
                    <a:pt x="283" y="150"/>
                  </a:cubicBezTo>
                  <a:cubicBezTo>
                    <a:pt x="390" y="189"/>
                    <a:pt x="500" y="205"/>
                    <a:pt x="607" y="218"/>
                  </a:cubicBezTo>
                  <a:cubicBezTo>
                    <a:pt x="662" y="218"/>
                    <a:pt x="714" y="205"/>
                    <a:pt x="769" y="205"/>
                  </a:cubicBezTo>
                  <a:cubicBezTo>
                    <a:pt x="824" y="189"/>
                    <a:pt x="892" y="189"/>
                    <a:pt x="931" y="163"/>
                  </a:cubicBezTo>
                  <a:cubicBezTo>
                    <a:pt x="1038" y="137"/>
                    <a:pt x="1135" y="69"/>
                    <a:pt x="1216" y="1"/>
                  </a:cubicBezTo>
                  <a:close/>
                </a:path>
              </a:pathLst>
            </a:custGeom>
            <a:solidFill>
              <a:srgbClr val="8E20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13" name="Google Shape;1413;p42"/>
            <p:cNvSpPr/>
            <p:nvPr/>
          </p:nvSpPr>
          <p:spPr>
            <a:xfrm>
              <a:off x="4897975" y="5201700"/>
              <a:ext cx="10150" cy="1725"/>
            </a:xfrm>
            <a:custGeom>
              <a:avLst/>
              <a:gdLst/>
              <a:ahLst/>
              <a:cxnLst/>
              <a:rect l="l" t="t" r="r" b="b"/>
              <a:pathLst>
                <a:path w="406" h="69" extrusionOk="0">
                  <a:moveTo>
                    <a:pt x="406" y="1"/>
                  </a:moveTo>
                  <a:lnTo>
                    <a:pt x="406" y="1"/>
                  </a:lnTo>
                  <a:cubicBezTo>
                    <a:pt x="367" y="14"/>
                    <a:pt x="341" y="14"/>
                    <a:pt x="299" y="14"/>
                  </a:cubicBezTo>
                  <a:lnTo>
                    <a:pt x="98" y="14"/>
                  </a:lnTo>
                  <a:cubicBezTo>
                    <a:pt x="69" y="14"/>
                    <a:pt x="30" y="14"/>
                    <a:pt x="1" y="1"/>
                  </a:cubicBezTo>
                  <a:lnTo>
                    <a:pt x="1" y="1"/>
                  </a:lnTo>
                  <a:cubicBezTo>
                    <a:pt x="30" y="30"/>
                    <a:pt x="56" y="43"/>
                    <a:pt x="98" y="56"/>
                  </a:cubicBezTo>
                  <a:cubicBezTo>
                    <a:pt x="124" y="69"/>
                    <a:pt x="163" y="69"/>
                    <a:pt x="205" y="69"/>
                  </a:cubicBezTo>
                  <a:cubicBezTo>
                    <a:pt x="273" y="69"/>
                    <a:pt x="354" y="56"/>
                    <a:pt x="406" y="1"/>
                  </a:cubicBezTo>
                  <a:close/>
                </a:path>
              </a:pathLst>
            </a:custGeom>
            <a:solidFill>
              <a:srgbClr val="8E20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14" name="Google Shape;1414;p42"/>
            <p:cNvSpPr/>
            <p:nvPr/>
          </p:nvSpPr>
          <p:spPr>
            <a:xfrm>
              <a:off x="4825475" y="5078725"/>
              <a:ext cx="153925" cy="98375"/>
            </a:xfrm>
            <a:custGeom>
              <a:avLst/>
              <a:gdLst/>
              <a:ahLst/>
              <a:cxnLst/>
              <a:rect l="l" t="t" r="r" b="b"/>
              <a:pathLst>
                <a:path w="6157" h="3935" extrusionOk="0">
                  <a:moveTo>
                    <a:pt x="3058" y="0"/>
                  </a:moveTo>
                  <a:cubicBezTo>
                    <a:pt x="2984" y="0"/>
                    <a:pt x="2910" y="3"/>
                    <a:pt x="2836" y="8"/>
                  </a:cubicBezTo>
                  <a:cubicBezTo>
                    <a:pt x="2415" y="47"/>
                    <a:pt x="2010" y="170"/>
                    <a:pt x="1673" y="413"/>
                  </a:cubicBezTo>
                  <a:cubicBezTo>
                    <a:pt x="1566" y="478"/>
                    <a:pt x="1472" y="575"/>
                    <a:pt x="1391" y="682"/>
                  </a:cubicBezTo>
                  <a:cubicBezTo>
                    <a:pt x="1391" y="682"/>
                    <a:pt x="1378" y="682"/>
                    <a:pt x="1378" y="695"/>
                  </a:cubicBezTo>
                  <a:cubicBezTo>
                    <a:pt x="1281" y="721"/>
                    <a:pt x="1200" y="750"/>
                    <a:pt x="1148" y="776"/>
                  </a:cubicBezTo>
                  <a:cubicBezTo>
                    <a:pt x="688" y="1006"/>
                    <a:pt x="202" y="1612"/>
                    <a:pt x="66" y="2033"/>
                  </a:cubicBezTo>
                  <a:cubicBezTo>
                    <a:pt x="53" y="2085"/>
                    <a:pt x="40" y="2127"/>
                    <a:pt x="40" y="2166"/>
                  </a:cubicBezTo>
                  <a:cubicBezTo>
                    <a:pt x="1" y="2409"/>
                    <a:pt x="121" y="2843"/>
                    <a:pt x="215" y="3151"/>
                  </a:cubicBezTo>
                  <a:cubicBezTo>
                    <a:pt x="283" y="3151"/>
                    <a:pt x="351" y="3180"/>
                    <a:pt x="419" y="3219"/>
                  </a:cubicBezTo>
                  <a:cubicBezTo>
                    <a:pt x="419" y="3232"/>
                    <a:pt x="432" y="3232"/>
                    <a:pt x="445" y="3248"/>
                  </a:cubicBezTo>
                  <a:cubicBezTo>
                    <a:pt x="594" y="3543"/>
                    <a:pt x="811" y="3935"/>
                    <a:pt x="811" y="3935"/>
                  </a:cubicBezTo>
                  <a:lnTo>
                    <a:pt x="905" y="3504"/>
                  </a:lnTo>
                  <a:lnTo>
                    <a:pt x="905" y="3475"/>
                  </a:lnTo>
                  <a:cubicBezTo>
                    <a:pt x="1297" y="3112"/>
                    <a:pt x="1378" y="2613"/>
                    <a:pt x="1391" y="2247"/>
                  </a:cubicBezTo>
                  <a:cubicBezTo>
                    <a:pt x="1737" y="2333"/>
                    <a:pt x="2147" y="2369"/>
                    <a:pt x="2562" y="2369"/>
                  </a:cubicBezTo>
                  <a:cubicBezTo>
                    <a:pt x="3066" y="2369"/>
                    <a:pt x="3575" y="2316"/>
                    <a:pt x="3983" y="2234"/>
                  </a:cubicBezTo>
                  <a:cubicBezTo>
                    <a:pt x="4294" y="2179"/>
                    <a:pt x="4602" y="2085"/>
                    <a:pt x="4900" y="1936"/>
                  </a:cubicBezTo>
                  <a:lnTo>
                    <a:pt x="4900" y="1936"/>
                  </a:lnTo>
                  <a:cubicBezTo>
                    <a:pt x="4861" y="2276"/>
                    <a:pt x="4861" y="2989"/>
                    <a:pt x="5373" y="3475"/>
                  </a:cubicBezTo>
                  <a:lnTo>
                    <a:pt x="5467" y="3935"/>
                  </a:lnTo>
                  <a:cubicBezTo>
                    <a:pt x="5467" y="3935"/>
                    <a:pt x="5655" y="3598"/>
                    <a:pt x="5791" y="3313"/>
                  </a:cubicBezTo>
                  <a:cubicBezTo>
                    <a:pt x="5804" y="3287"/>
                    <a:pt x="5817" y="3248"/>
                    <a:pt x="5833" y="3219"/>
                  </a:cubicBezTo>
                  <a:cubicBezTo>
                    <a:pt x="5885" y="3193"/>
                    <a:pt x="5940" y="3167"/>
                    <a:pt x="5995" y="3151"/>
                  </a:cubicBezTo>
                  <a:cubicBezTo>
                    <a:pt x="6021" y="3099"/>
                    <a:pt x="6034" y="3057"/>
                    <a:pt x="6047" y="3005"/>
                  </a:cubicBezTo>
                  <a:cubicBezTo>
                    <a:pt x="6076" y="2924"/>
                    <a:pt x="6089" y="2843"/>
                    <a:pt x="6102" y="2762"/>
                  </a:cubicBezTo>
                  <a:cubicBezTo>
                    <a:pt x="6157" y="2396"/>
                    <a:pt x="6089" y="1965"/>
                    <a:pt x="5804" y="1492"/>
                  </a:cubicBezTo>
                  <a:cubicBezTo>
                    <a:pt x="5791" y="1479"/>
                    <a:pt x="5791" y="1479"/>
                    <a:pt x="5791" y="1466"/>
                  </a:cubicBezTo>
                  <a:cubicBezTo>
                    <a:pt x="5765" y="1424"/>
                    <a:pt x="5736" y="1385"/>
                    <a:pt x="5697" y="1343"/>
                  </a:cubicBezTo>
                  <a:cubicBezTo>
                    <a:pt x="5697" y="1330"/>
                    <a:pt x="5684" y="1317"/>
                    <a:pt x="5671" y="1304"/>
                  </a:cubicBezTo>
                  <a:cubicBezTo>
                    <a:pt x="5710" y="1236"/>
                    <a:pt x="5752" y="1168"/>
                    <a:pt x="5791" y="1100"/>
                  </a:cubicBezTo>
                  <a:cubicBezTo>
                    <a:pt x="5817" y="1045"/>
                    <a:pt x="5833" y="993"/>
                    <a:pt x="5859" y="951"/>
                  </a:cubicBezTo>
                  <a:lnTo>
                    <a:pt x="5859" y="951"/>
                  </a:lnTo>
                  <a:cubicBezTo>
                    <a:pt x="5723" y="1019"/>
                    <a:pt x="5590" y="1061"/>
                    <a:pt x="5454" y="1100"/>
                  </a:cubicBezTo>
                  <a:cubicBezTo>
                    <a:pt x="5441" y="1087"/>
                    <a:pt x="5441" y="1087"/>
                    <a:pt x="5428" y="1074"/>
                  </a:cubicBezTo>
                  <a:cubicBezTo>
                    <a:pt x="5412" y="1074"/>
                    <a:pt x="5412" y="1061"/>
                    <a:pt x="5399" y="1045"/>
                  </a:cubicBezTo>
                  <a:cubicBezTo>
                    <a:pt x="5454" y="993"/>
                    <a:pt x="5493" y="925"/>
                    <a:pt x="5548" y="857"/>
                  </a:cubicBezTo>
                  <a:cubicBezTo>
                    <a:pt x="5561" y="844"/>
                    <a:pt x="5561" y="818"/>
                    <a:pt x="5574" y="802"/>
                  </a:cubicBezTo>
                  <a:cubicBezTo>
                    <a:pt x="5642" y="721"/>
                    <a:pt x="5697" y="614"/>
                    <a:pt x="5736" y="520"/>
                  </a:cubicBezTo>
                  <a:cubicBezTo>
                    <a:pt x="5752" y="478"/>
                    <a:pt x="5765" y="452"/>
                    <a:pt x="5791" y="413"/>
                  </a:cubicBezTo>
                  <a:lnTo>
                    <a:pt x="5791" y="413"/>
                  </a:lnTo>
                  <a:cubicBezTo>
                    <a:pt x="5710" y="439"/>
                    <a:pt x="5629" y="452"/>
                    <a:pt x="5548" y="452"/>
                  </a:cubicBezTo>
                  <a:cubicBezTo>
                    <a:pt x="5509" y="455"/>
                    <a:pt x="5470" y="457"/>
                    <a:pt x="5431" y="457"/>
                  </a:cubicBezTo>
                  <a:cubicBezTo>
                    <a:pt x="4971" y="457"/>
                    <a:pt x="4512" y="241"/>
                    <a:pt x="4064" y="128"/>
                  </a:cubicBezTo>
                  <a:cubicBezTo>
                    <a:pt x="3732" y="51"/>
                    <a:pt x="3393" y="0"/>
                    <a:pt x="3058" y="0"/>
                  </a:cubicBezTo>
                  <a:close/>
                </a:path>
              </a:pathLst>
            </a:custGeom>
            <a:solidFill>
              <a:srgbClr val="8841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15" name="Google Shape;1415;p42"/>
            <p:cNvSpPr/>
            <p:nvPr/>
          </p:nvSpPr>
          <p:spPr>
            <a:xfrm>
              <a:off x="4857150" y="5103850"/>
              <a:ext cx="350" cy="350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8290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16" name="Google Shape;1416;p42"/>
            <p:cNvSpPr/>
            <p:nvPr/>
          </p:nvSpPr>
          <p:spPr>
            <a:xfrm>
              <a:off x="4826125" y="5104175"/>
              <a:ext cx="144125" cy="72925"/>
            </a:xfrm>
            <a:custGeom>
              <a:avLst/>
              <a:gdLst/>
              <a:ahLst/>
              <a:cxnLst/>
              <a:rect l="l" t="t" r="r" b="b"/>
              <a:pathLst>
                <a:path w="5765" h="2917" extrusionOk="0">
                  <a:moveTo>
                    <a:pt x="40" y="1015"/>
                  </a:moveTo>
                  <a:cubicBezTo>
                    <a:pt x="27" y="1067"/>
                    <a:pt x="14" y="1109"/>
                    <a:pt x="14" y="1148"/>
                  </a:cubicBezTo>
                  <a:cubicBezTo>
                    <a:pt x="14" y="1177"/>
                    <a:pt x="1" y="1216"/>
                    <a:pt x="1" y="1242"/>
                  </a:cubicBezTo>
                  <a:cubicBezTo>
                    <a:pt x="1" y="1501"/>
                    <a:pt x="108" y="1864"/>
                    <a:pt x="189" y="2133"/>
                  </a:cubicBezTo>
                  <a:cubicBezTo>
                    <a:pt x="257" y="2133"/>
                    <a:pt x="325" y="2162"/>
                    <a:pt x="393" y="2201"/>
                  </a:cubicBezTo>
                  <a:cubicBezTo>
                    <a:pt x="380" y="2039"/>
                    <a:pt x="364" y="1877"/>
                    <a:pt x="364" y="1715"/>
                  </a:cubicBezTo>
                  <a:cubicBezTo>
                    <a:pt x="283" y="1647"/>
                    <a:pt x="231" y="1566"/>
                    <a:pt x="189" y="1472"/>
                  </a:cubicBezTo>
                  <a:cubicBezTo>
                    <a:pt x="108" y="1323"/>
                    <a:pt x="69" y="1177"/>
                    <a:pt x="40" y="1015"/>
                  </a:cubicBezTo>
                  <a:close/>
                  <a:moveTo>
                    <a:pt x="1255" y="1"/>
                  </a:moveTo>
                  <a:cubicBezTo>
                    <a:pt x="1255" y="1"/>
                    <a:pt x="1242" y="14"/>
                    <a:pt x="1242" y="27"/>
                  </a:cubicBezTo>
                  <a:cubicBezTo>
                    <a:pt x="1203" y="461"/>
                    <a:pt x="1122" y="905"/>
                    <a:pt x="986" y="1323"/>
                  </a:cubicBezTo>
                  <a:cubicBezTo>
                    <a:pt x="960" y="1433"/>
                    <a:pt x="918" y="1540"/>
                    <a:pt x="850" y="1634"/>
                  </a:cubicBezTo>
                  <a:cubicBezTo>
                    <a:pt x="811" y="1676"/>
                    <a:pt x="769" y="1715"/>
                    <a:pt x="717" y="1757"/>
                  </a:cubicBezTo>
                  <a:cubicBezTo>
                    <a:pt x="743" y="2000"/>
                    <a:pt x="785" y="2256"/>
                    <a:pt x="879" y="2486"/>
                  </a:cubicBezTo>
                  <a:lnTo>
                    <a:pt x="879" y="2457"/>
                  </a:lnTo>
                  <a:cubicBezTo>
                    <a:pt x="1271" y="2094"/>
                    <a:pt x="1352" y="1595"/>
                    <a:pt x="1365" y="1229"/>
                  </a:cubicBezTo>
                  <a:cubicBezTo>
                    <a:pt x="1715" y="1310"/>
                    <a:pt x="2120" y="1352"/>
                    <a:pt x="2538" y="1352"/>
                  </a:cubicBezTo>
                  <a:cubicBezTo>
                    <a:pt x="3053" y="1352"/>
                    <a:pt x="3552" y="1297"/>
                    <a:pt x="3957" y="1216"/>
                  </a:cubicBezTo>
                  <a:cubicBezTo>
                    <a:pt x="4268" y="1161"/>
                    <a:pt x="4576" y="1067"/>
                    <a:pt x="4874" y="918"/>
                  </a:cubicBezTo>
                  <a:lnTo>
                    <a:pt x="4874" y="918"/>
                  </a:lnTo>
                  <a:cubicBezTo>
                    <a:pt x="4861" y="999"/>
                    <a:pt x="4861" y="1080"/>
                    <a:pt x="4861" y="1190"/>
                  </a:cubicBezTo>
                  <a:cubicBezTo>
                    <a:pt x="4861" y="1553"/>
                    <a:pt x="4942" y="2081"/>
                    <a:pt x="5347" y="2457"/>
                  </a:cubicBezTo>
                  <a:lnTo>
                    <a:pt x="5441" y="2917"/>
                  </a:lnTo>
                  <a:cubicBezTo>
                    <a:pt x="5441" y="2917"/>
                    <a:pt x="5629" y="2580"/>
                    <a:pt x="5765" y="2295"/>
                  </a:cubicBezTo>
                  <a:cubicBezTo>
                    <a:pt x="5752" y="2149"/>
                    <a:pt x="5726" y="2000"/>
                    <a:pt x="5697" y="1851"/>
                  </a:cubicBezTo>
                  <a:cubicBezTo>
                    <a:pt x="5577" y="1757"/>
                    <a:pt x="5496" y="1608"/>
                    <a:pt x="5483" y="1446"/>
                  </a:cubicBezTo>
                  <a:cubicBezTo>
                    <a:pt x="5483" y="1391"/>
                    <a:pt x="5483" y="1323"/>
                    <a:pt x="5496" y="1271"/>
                  </a:cubicBezTo>
                  <a:cubicBezTo>
                    <a:pt x="5415" y="1080"/>
                    <a:pt x="5321" y="905"/>
                    <a:pt x="5211" y="743"/>
                  </a:cubicBezTo>
                  <a:lnTo>
                    <a:pt x="5211" y="743"/>
                  </a:lnTo>
                  <a:cubicBezTo>
                    <a:pt x="5334" y="837"/>
                    <a:pt x="5441" y="947"/>
                    <a:pt x="5548" y="1054"/>
                  </a:cubicBezTo>
                  <a:cubicBezTo>
                    <a:pt x="5603" y="837"/>
                    <a:pt x="5684" y="636"/>
                    <a:pt x="5765" y="448"/>
                  </a:cubicBezTo>
                  <a:cubicBezTo>
                    <a:pt x="5739" y="406"/>
                    <a:pt x="5710" y="367"/>
                    <a:pt x="5671" y="325"/>
                  </a:cubicBezTo>
                  <a:cubicBezTo>
                    <a:pt x="5629" y="393"/>
                    <a:pt x="5577" y="448"/>
                    <a:pt x="5509" y="500"/>
                  </a:cubicBezTo>
                  <a:cubicBezTo>
                    <a:pt x="5321" y="649"/>
                    <a:pt x="5091" y="704"/>
                    <a:pt x="4861" y="756"/>
                  </a:cubicBezTo>
                  <a:cubicBezTo>
                    <a:pt x="4495" y="837"/>
                    <a:pt x="4119" y="905"/>
                    <a:pt x="3740" y="905"/>
                  </a:cubicBezTo>
                  <a:cubicBezTo>
                    <a:pt x="3646" y="905"/>
                    <a:pt x="3539" y="892"/>
                    <a:pt x="3442" y="892"/>
                  </a:cubicBezTo>
                  <a:cubicBezTo>
                    <a:pt x="3228" y="866"/>
                    <a:pt x="3024" y="824"/>
                    <a:pt x="2823" y="756"/>
                  </a:cubicBezTo>
                  <a:cubicBezTo>
                    <a:pt x="2295" y="704"/>
                    <a:pt x="1838" y="461"/>
                    <a:pt x="1417" y="124"/>
                  </a:cubicBezTo>
                  <a:cubicBezTo>
                    <a:pt x="1378" y="108"/>
                    <a:pt x="1352" y="95"/>
                    <a:pt x="1323" y="69"/>
                  </a:cubicBezTo>
                  <a:lnTo>
                    <a:pt x="1352" y="69"/>
                  </a:lnTo>
                  <a:cubicBezTo>
                    <a:pt x="1323" y="56"/>
                    <a:pt x="1284" y="27"/>
                    <a:pt x="1255" y="1"/>
                  </a:cubicBezTo>
                  <a:close/>
                </a:path>
              </a:pathLst>
            </a:custGeom>
            <a:solidFill>
              <a:srgbClr val="68290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17" name="Google Shape;1417;p42"/>
            <p:cNvSpPr/>
            <p:nvPr/>
          </p:nvSpPr>
          <p:spPr>
            <a:xfrm>
              <a:off x="4858525" y="5091700"/>
              <a:ext cx="110350" cy="17200"/>
            </a:xfrm>
            <a:custGeom>
              <a:avLst/>
              <a:gdLst/>
              <a:ahLst/>
              <a:cxnLst/>
              <a:rect l="l" t="t" r="r" b="b"/>
              <a:pathLst>
                <a:path w="4414" h="688" extrusionOk="0">
                  <a:moveTo>
                    <a:pt x="4414" y="1"/>
                  </a:moveTo>
                  <a:lnTo>
                    <a:pt x="4414" y="1"/>
                  </a:lnTo>
                  <a:cubicBezTo>
                    <a:pt x="4333" y="56"/>
                    <a:pt x="4252" y="95"/>
                    <a:pt x="4158" y="137"/>
                  </a:cubicBezTo>
                  <a:cubicBezTo>
                    <a:pt x="3714" y="325"/>
                    <a:pt x="3241" y="380"/>
                    <a:pt x="2755" y="380"/>
                  </a:cubicBezTo>
                  <a:lnTo>
                    <a:pt x="2363" y="380"/>
                  </a:lnTo>
                  <a:cubicBezTo>
                    <a:pt x="1757" y="338"/>
                    <a:pt x="1148" y="231"/>
                    <a:pt x="542" y="218"/>
                  </a:cubicBezTo>
                  <a:lnTo>
                    <a:pt x="445" y="218"/>
                  </a:lnTo>
                  <a:cubicBezTo>
                    <a:pt x="380" y="218"/>
                    <a:pt x="299" y="218"/>
                    <a:pt x="218" y="244"/>
                  </a:cubicBezTo>
                  <a:cubicBezTo>
                    <a:pt x="121" y="270"/>
                    <a:pt x="27" y="351"/>
                    <a:pt x="1" y="461"/>
                  </a:cubicBezTo>
                  <a:cubicBezTo>
                    <a:pt x="27" y="406"/>
                    <a:pt x="108" y="364"/>
                    <a:pt x="163" y="364"/>
                  </a:cubicBezTo>
                  <a:cubicBezTo>
                    <a:pt x="163" y="364"/>
                    <a:pt x="176" y="364"/>
                    <a:pt x="176" y="380"/>
                  </a:cubicBezTo>
                  <a:cubicBezTo>
                    <a:pt x="730" y="406"/>
                    <a:pt x="1255" y="607"/>
                    <a:pt x="1809" y="662"/>
                  </a:cubicBezTo>
                  <a:cubicBezTo>
                    <a:pt x="1984" y="675"/>
                    <a:pt x="2175" y="688"/>
                    <a:pt x="2350" y="688"/>
                  </a:cubicBezTo>
                  <a:cubicBezTo>
                    <a:pt x="2875" y="688"/>
                    <a:pt x="3416" y="607"/>
                    <a:pt x="3915" y="445"/>
                  </a:cubicBezTo>
                  <a:cubicBezTo>
                    <a:pt x="4009" y="419"/>
                    <a:pt x="4119" y="380"/>
                    <a:pt x="4226" y="338"/>
                  </a:cubicBezTo>
                  <a:cubicBezTo>
                    <a:pt x="4239" y="325"/>
                    <a:pt x="4239" y="299"/>
                    <a:pt x="4252" y="283"/>
                  </a:cubicBezTo>
                  <a:cubicBezTo>
                    <a:pt x="4320" y="202"/>
                    <a:pt x="4375" y="95"/>
                    <a:pt x="4414" y="1"/>
                  </a:cubicBezTo>
                  <a:close/>
                </a:path>
              </a:pathLst>
            </a:custGeom>
            <a:solidFill>
              <a:srgbClr val="A859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18" name="Google Shape;1418;p42"/>
            <p:cNvSpPr/>
            <p:nvPr/>
          </p:nvSpPr>
          <p:spPr>
            <a:xfrm>
              <a:off x="4859900" y="5102475"/>
              <a:ext cx="112050" cy="21000"/>
            </a:xfrm>
            <a:custGeom>
              <a:avLst/>
              <a:gdLst/>
              <a:ahLst/>
              <a:cxnLst/>
              <a:rect l="l" t="t" r="r" b="b"/>
              <a:pathLst>
                <a:path w="4482" h="840" extrusionOk="0">
                  <a:moveTo>
                    <a:pt x="4482" y="1"/>
                  </a:moveTo>
                  <a:lnTo>
                    <a:pt x="4482" y="1"/>
                  </a:lnTo>
                  <a:cubicBezTo>
                    <a:pt x="4346" y="69"/>
                    <a:pt x="4213" y="111"/>
                    <a:pt x="4077" y="150"/>
                  </a:cubicBezTo>
                  <a:cubicBezTo>
                    <a:pt x="4064" y="137"/>
                    <a:pt x="4064" y="137"/>
                    <a:pt x="4051" y="124"/>
                  </a:cubicBezTo>
                  <a:cubicBezTo>
                    <a:pt x="3565" y="419"/>
                    <a:pt x="2998" y="581"/>
                    <a:pt x="2431" y="581"/>
                  </a:cubicBezTo>
                  <a:cubicBezTo>
                    <a:pt x="2295" y="581"/>
                    <a:pt x="2146" y="568"/>
                    <a:pt x="2010" y="542"/>
                  </a:cubicBezTo>
                  <a:cubicBezTo>
                    <a:pt x="1349" y="448"/>
                    <a:pt x="714" y="137"/>
                    <a:pt x="53" y="137"/>
                  </a:cubicBezTo>
                  <a:lnTo>
                    <a:pt x="1" y="137"/>
                  </a:lnTo>
                  <a:cubicBezTo>
                    <a:pt x="14" y="163"/>
                    <a:pt x="40" y="176"/>
                    <a:pt x="66" y="192"/>
                  </a:cubicBezTo>
                  <a:cubicBezTo>
                    <a:pt x="513" y="448"/>
                    <a:pt x="973" y="691"/>
                    <a:pt x="1472" y="824"/>
                  </a:cubicBezTo>
                  <a:cubicBezTo>
                    <a:pt x="1524" y="840"/>
                    <a:pt x="1579" y="840"/>
                    <a:pt x="1647" y="840"/>
                  </a:cubicBezTo>
                  <a:lnTo>
                    <a:pt x="1715" y="840"/>
                  </a:lnTo>
                  <a:cubicBezTo>
                    <a:pt x="1971" y="840"/>
                    <a:pt x="2214" y="798"/>
                    <a:pt x="2457" y="759"/>
                  </a:cubicBezTo>
                  <a:cubicBezTo>
                    <a:pt x="3131" y="636"/>
                    <a:pt x="3847" y="516"/>
                    <a:pt x="4414" y="150"/>
                  </a:cubicBezTo>
                  <a:cubicBezTo>
                    <a:pt x="4440" y="95"/>
                    <a:pt x="4456" y="43"/>
                    <a:pt x="4482" y="1"/>
                  </a:cubicBezTo>
                  <a:close/>
                </a:path>
              </a:pathLst>
            </a:custGeom>
            <a:solidFill>
              <a:srgbClr val="A859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19" name="Google Shape;1419;p42"/>
            <p:cNvSpPr/>
            <p:nvPr/>
          </p:nvSpPr>
          <p:spPr>
            <a:xfrm>
              <a:off x="4859175" y="5105875"/>
              <a:ext cx="2375" cy="1400"/>
            </a:xfrm>
            <a:custGeom>
              <a:avLst/>
              <a:gdLst/>
              <a:ahLst/>
              <a:cxnLst/>
              <a:rect l="l" t="t" r="r" b="b"/>
              <a:pathLst>
                <a:path w="95" h="56" extrusionOk="0">
                  <a:moveTo>
                    <a:pt x="1" y="1"/>
                  </a:moveTo>
                  <a:cubicBezTo>
                    <a:pt x="30" y="27"/>
                    <a:pt x="56" y="40"/>
                    <a:pt x="95" y="56"/>
                  </a:cubicBezTo>
                  <a:cubicBezTo>
                    <a:pt x="69" y="40"/>
                    <a:pt x="43" y="27"/>
                    <a:pt x="30" y="1"/>
                  </a:cubicBezTo>
                  <a:close/>
                </a:path>
              </a:pathLst>
            </a:custGeom>
            <a:solidFill>
              <a:srgbClr val="9145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20" name="Google Shape;1420;p42"/>
            <p:cNvSpPr/>
            <p:nvPr/>
          </p:nvSpPr>
          <p:spPr>
            <a:xfrm>
              <a:off x="4896675" y="5106200"/>
              <a:ext cx="73575" cy="20600"/>
            </a:xfrm>
            <a:custGeom>
              <a:avLst/>
              <a:gdLst/>
              <a:ahLst/>
              <a:cxnLst/>
              <a:rect l="l" t="t" r="r" b="b"/>
              <a:pathLst>
                <a:path w="2943" h="824" extrusionOk="0">
                  <a:moveTo>
                    <a:pt x="2943" y="1"/>
                  </a:moveTo>
                  <a:cubicBezTo>
                    <a:pt x="2376" y="367"/>
                    <a:pt x="1660" y="487"/>
                    <a:pt x="986" y="610"/>
                  </a:cubicBezTo>
                  <a:cubicBezTo>
                    <a:pt x="743" y="649"/>
                    <a:pt x="500" y="691"/>
                    <a:pt x="244" y="691"/>
                  </a:cubicBezTo>
                  <a:lnTo>
                    <a:pt x="176" y="691"/>
                  </a:lnTo>
                  <a:cubicBezTo>
                    <a:pt x="108" y="691"/>
                    <a:pt x="53" y="691"/>
                    <a:pt x="1" y="675"/>
                  </a:cubicBezTo>
                  <a:lnTo>
                    <a:pt x="1" y="675"/>
                  </a:lnTo>
                  <a:cubicBezTo>
                    <a:pt x="202" y="743"/>
                    <a:pt x="406" y="785"/>
                    <a:pt x="620" y="811"/>
                  </a:cubicBezTo>
                  <a:cubicBezTo>
                    <a:pt x="717" y="811"/>
                    <a:pt x="824" y="824"/>
                    <a:pt x="918" y="824"/>
                  </a:cubicBezTo>
                  <a:cubicBezTo>
                    <a:pt x="1297" y="824"/>
                    <a:pt x="1673" y="756"/>
                    <a:pt x="2039" y="675"/>
                  </a:cubicBezTo>
                  <a:cubicBezTo>
                    <a:pt x="2269" y="623"/>
                    <a:pt x="2499" y="568"/>
                    <a:pt x="2687" y="419"/>
                  </a:cubicBezTo>
                  <a:cubicBezTo>
                    <a:pt x="2755" y="367"/>
                    <a:pt x="2807" y="312"/>
                    <a:pt x="2849" y="244"/>
                  </a:cubicBezTo>
                  <a:cubicBezTo>
                    <a:pt x="2849" y="231"/>
                    <a:pt x="2836" y="218"/>
                    <a:pt x="2823" y="205"/>
                  </a:cubicBezTo>
                  <a:cubicBezTo>
                    <a:pt x="2862" y="137"/>
                    <a:pt x="2904" y="69"/>
                    <a:pt x="2943" y="1"/>
                  </a:cubicBezTo>
                  <a:close/>
                </a:path>
              </a:pathLst>
            </a:custGeom>
            <a:solidFill>
              <a:srgbClr val="9145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21" name="Google Shape;1421;p42"/>
            <p:cNvSpPr/>
            <p:nvPr/>
          </p:nvSpPr>
          <p:spPr>
            <a:xfrm>
              <a:off x="4834875" y="5103850"/>
              <a:ext cx="23025" cy="45225"/>
            </a:xfrm>
            <a:custGeom>
              <a:avLst/>
              <a:gdLst/>
              <a:ahLst/>
              <a:cxnLst/>
              <a:rect l="l" t="t" r="r" b="b"/>
              <a:pathLst>
                <a:path w="921" h="1809" extrusionOk="0">
                  <a:moveTo>
                    <a:pt x="921" y="1"/>
                  </a:moveTo>
                  <a:cubicBezTo>
                    <a:pt x="921" y="1"/>
                    <a:pt x="905" y="1"/>
                    <a:pt x="905" y="14"/>
                  </a:cubicBezTo>
                  <a:lnTo>
                    <a:pt x="921" y="1"/>
                  </a:lnTo>
                  <a:close/>
                  <a:moveTo>
                    <a:pt x="892" y="14"/>
                  </a:moveTo>
                  <a:cubicBezTo>
                    <a:pt x="636" y="218"/>
                    <a:pt x="380" y="393"/>
                    <a:pt x="218" y="675"/>
                  </a:cubicBezTo>
                  <a:cubicBezTo>
                    <a:pt x="43" y="986"/>
                    <a:pt x="1" y="1352"/>
                    <a:pt x="14" y="1728"/>
                  </a:cubicBezTo>
                  <a:cubicBezTo>
                    <a:pt x="69" y="1770"/>
                    <a:pt x="137" y="1809"/>
                    <a:pt x="218" y="1809"/>
                  </a:cubicBezTo>
                  <a:cubicBezTo>
                    <a:pt x="273" y="1809"/>
                    <a:pt x="325" y="1796"/>
                    <a:pt x="367" y="1770"/>
                  </a:cubicBezTo>
                  <a:lnTo>
                    <a:pt x="367" y="1689"/>
                  </a:lnTo>
                  <a:cubicBezTo>
                    <a:pt x="354" y="1540"/>
                    <a:pt x="354" y="1391"/>
                    <a:pt x="367" y="1255"/>
                  </a:cubicBezTo>
                  <a:cubicBezTo>
                    <a:pt x="406" y="798"/>
                    <a:pt x="597" y="364"/>
                    <a:pt x="892" y="40"/>
                  </a:cubicBezTo>
                  <a:lnTo>
                    <a:pt x="892" y="14"/>
                  </a:lnTo>
                  <a:close/>
                </a:path>
              </a:pathLst>
            </a:custGeom>
            <a:solidFill>
              <a:srgbClr val="A859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22" name="Google Shape;1422;p42"/>
            <p:cNvSpPr/>
            <p:nvPr/>
          </p:nvSpPr>
          <p:spPr>
            <a:xfrm>
              <a:off x="4835200" y="5104175"/>
              <a:ext cx="22300" cy="72925"/>
            </a:xfrm>
            <a:custGeom>
              <a:avLst/>
              <a:gdLst/>
              <a:ahLst/>
              <a:cxnLst/>
              <a:rect l="l" t="t" r="r" b="b"/>
              <a:pathLst>
                <a:path w="892" h="2917" extrusionOk="0">
                  <a:moveTo>
                    <a:pt x="879" y="1"/>
                  </a:moveTo>
                  <a:lnTo>
                    <a:pt x="879" y="27"/>
                  </a:lnTo>
                  <a:cubicBezTo>
                    <a:pt x="879" y="14"/>
                    <a:pt x="892" y="1"/>
                    <a:pt x="892" y="1"/>
                  </a:cubicBezTo>
                  <a:close/>
                  <a:moveTo>
                    <a:pt x="1" y="1715"/>
                  </a:moveTo>
                  <a:cubicBezTo>
                    <a:pt x="1" y="1877"/>
                    <a:pt x="17" y="2039"/>
                    <a:pt x="30" y="2201"/>
                  </a:cubicBezTo>
                  <a:cubicBezTo>
                    <a:pt x="30" y="2214"/>
                    <a:pt x="43" y="2214"/>
                    <a:pt x="56" y="2230"/>
                  </a:cubicBezTo>
                  <a:cubicBezTo>
                    <a:pt x="205" y="2525"/>
                    <a:pt x="422" y="2917"/>
                    <a:pt x="422" y="2917"/>
                  </a:cubicBezTo>
                  <a:lnTo>
                    <a:pt x="516" y="2486"/>
                  </a:lnTo>
                  <a:cubicBezTo>
                    <a:pt x="422" y="2256"/>
                    <a:pt x="380" y="2000"/>
                    <a:pt x="354" y="1757"/>
                  </a:cubicBezTo>
                  <a:cubicBezTo>
                    <a:pt x="312" y="1783"/>
                    <a:pt x="260" y="1796"/>
                    <a:pt x="205" y="1796"/>
                  </a:cubicBezTo>
                  <a:cubicBezTo>
                    <a:pt x="124" y="1796"/>
                    <a:pt x="56" y="1757"/>
                    <a:pt x="1" y="1715"/>
                  </a:cubicBezTo>
                  <a:close/>
                </a:path>
              </a:pathLst>
            </a:custGeom>
            <a:solidFill>
              <a:srgbClr val="9145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23" name="Google Shape;1423;p42"/>
            <p:cNvSpPr/>
            <p:nvPr/>
          </p:nvSpPr>
          <p:spPr>
            <a:xfrm>
              <a:off x="4963500" y="5130500"/>
              <a:ext cx="14525" cy="23350"/>
            </a:xfrm>
            <a:custGeom>
              <a:avLst/>
              <a:gdLst/>
              <a:ahLst/>
              <a:cxnLst/>
              <a:rect l="l" t="t" r="r" b="b"/>
              <a:pathLst>
                <a:path w="581" h="934" extrusionOk="0">
                  <a:moveTo>
                    <a:pt x="53" y="1"/>
                  </a:moveTo>
                  <a:cubicBezTo>
                    <a:pt x="40" y="43"/>
                    <a:pt x="27" y="82"/>
                    <a:pt x="27" y="124"/>
                  </a:cubicBezTo>
                  <a:cubicBezTo>
                    <a:pt x="14" y="150"/>
                    <a:pt x="14" y="176"/>
                    <a:pt x="1" y="218"/>
                  </a:cubicBezTo>
                  <a:cubicBezTo>
                    <a:pt x="82" y="406"/>
                    <a:pt x="150" y="594"/>
                    <a:pt x="202" y="798"/>
                  </a:cubicBezTo>
                  <a:cubicBezTo>
                    <a:pt x="231" y="824"/>
                    <a:pt x="270" y="853"/>
                    <a:pt x="312" y="866"/>
                  </a:cubicBezTo>
                  <a:cubicBezTo>
                    <a:pt x="377" y="905"/>
                    <a:pt x="445" y="934"/>
                    <a:pt x="526" y="934"/>
                  </a:cubicBezTo>
                  <a:cubicBezTo>
                    <a:pt x="555" y="853"/>
                    <a:pt x="568" y="772"/>
                    <a:pt x="581" y="691"/>
                  </a:cubicBezTo>
                  <a:cubicBezTo>
                    <a:pt x="432" y="448"/>
                    <a:pt x="257" y="205"/>
                    <a:pt x="53" y="1"/>
                  </a:cubicBezTo>
                  <a:close/>
                </a:path>
              </a:pathLst>
            </a:custGeom>
            <a:solidFill>
              <a:srgbClr val="A859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24" name="Google Shape;1424;p42"/>
            <p:cNvSpPr/>
            <p:nvPr/>
          </p:nvSpPr>
          <p:spPr>
            <a:xfrm>
              <a:off x="4956375" y="5122725"/>
              <a:ext cx="20275" cy="38825"/>
            </a:xfrm>
            <a:custGeom>
              <a:avLst/>
              <a:gdLst/>
              <a:ahLst/>
              <a:cxnLst/>
              <a:rect l="l" t="t" r="r" b="b"/>
              <a:pathLst>
                <a:path w="811" h="1553" extrusionOk="0">
                  <a:moveTo>
                    <a:pt x="1" y="1"/>
                  </a:moveTo>
                  <a:lnTo>
                    <a:pt x="1" y="1"/>
                  </a:lnTo>
                  <a:cubicBezTo>
                    <a:pt x="111" y="163"/>
                    <a:pt x="205" y="338"/>
                    <a:pt x="286" y="529"/>
                  </a:cubicBezTo>
                  <a:cubicBezTo>
                    <a:pt x="299" y="487"/>
                    <a:pt x="299" y="461"/>
                    <a:pt x="312" y="435"/>
                  </a:cubicBezTo>
                  <a:cubicBezTo>
                    <a:pt x="312" y="393"/>
                    <a:pt x="325" y="354"/>
                    <a:pt x="338" y="312"/>
                  </a:cubicBezTo>
                  <a:cubicBezTo>
                    <a:pt x="231" y="205"/>
                    <a:pt x="124" y="95"/>
                    <a:pt x="1" y="1"/>
                  </a:cubicBezTo>
                  <a:close/>
                  <a:moveTo>
                    <a:pt x="487" y="1109"/>
                  </a:moveTo>
                  <a:lnTo>
                    <a:pt x="487" y="1109"/>
                  </a:lnTo>
                  <a:cubicBezTo>
                    <a:pt x="516" y="1258"/>
                    <a:pt x="542" y="1407"/>
                    <a:pt x="555" y="1553"/>
                  </a:cubicBezTo>
                  <a:cubicBezTo>
                    <a:pt x="568" y="1527"/>
                    <a:pt x="581" y="1488"/>
                    <a:pt x="597" y="1459"/>
                  </a:cubicBezTo>
                  <a:cubicBezTo>
                    <a:pt x="649" y="1433"/>
                    <a:pt x="704" y="1407"/>
                    <a:pt x="759" y="1391"/>
                  </a:cubicBezTo>
                  <a:cubicBezTo>
                    <a:pt x="785" y="1339"/>
                    <a:pt x="798" y="1297"/>
                    <a:pt x="811" y="1245"/>
                  </a:cubicBezTo>
                  <a:cubicBezTo>
                    <a:pt x="730" y="1245"/>
                    <a:pt x="662" y="1216"/>
                    <a:pt x="597" y="1177"/>
                  </a:cubicBezTo>
                  <a:cubicBezTo>
                    <a:pt x="555" y="1164"/>
                    <a:pt x="516" y="1135"/>
                    <a:pt x="487" y="1109"/>
                  </a:cubicBezTo>
                  <a:close/>
                </a:path>
              </a:pathLst>
            </a:custGeom>
            <a:solidFill>
              <a:srgbClr val="91451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25" name="Google Shape;1425;p42"/>
            <p:cNvSpPr/>
            <p:nvPr/>
          </p:nvSpPr>
          <p:spPr>
            <a:xfrm>
              <a:off x="4860225" y="5078500"/>
              <a:ext cx="103950" cy="17600"/>
            </a:xfrm>
            <a:custGeom>
              <a:avLst/>
              <a:gdLst/>
              <a:ahLst/>
              <a:cxnLst/>
              <a:rect l="l" t="t" r="r" b="b"/>
              <a:pathLst>
                <a:path w="4158" h="704" extrusionOk="0">
                  <a:moveTo>
                    <a:pt x="1689" y="1"/>
                  </a:moveTo>
                  <a:cubicBezTo>
                    <a:pt x="1608" y="1"/>
                    <a:pt x="1527" y="17"/>
                    <a:pt x="1446" y="17"/>
                  </a:cubicBezTo>
                  <a:cubicBezTo>
                    <a:pt x="1025" y="56"/>
                    <a:pt x="620" y="179"/>
                    <a:pt x="283" y="422"/>
                  </a:cubicBezTo>
                  <a:cubicBezTo>
                    <a:pt x="176" y="487"/>
                    <a:pt x="82" y="584"/>
                    <a:pt x="1" y="691"/>
                  </a:cubicBezTo>
                  <a:lnTo>
                    <a:pt x="14" y="704"/>
                  </a:lnTo>
                  <a:cubicBezTo>
                    <a:pt x="189" y="474"/>
                    <a:pt x="500" y="422"/>
                    <a:pt x="769" y="380"/>
                  </a:cubicBezTo>
                  <a:cubicBezTo>
                    <a:pt x="918" y="367"/>
                    <a:pt x="1067" y="354"/>
                    <a:pt x="1203" y="354"/>
                  </a:cubicBezTo>
                  <a:lnTo>
                    <a:pt x="1365" y="354"/>
                  </a:lnTo>
                  <a:cubicBezTo>
                    <a:pt x="1553" y="380"/>
                    <a:pt x="1741" y="435"/>
                    <a:pt x="1916" y="487"/>
                  </a:cubicBezTo>
                  <a:cubicBezTo>
                    <a:pt x="2094" y="529"/>
                    <a:pt x="2269" y="568"/>
                    <a:pt x="2444" y="610"/>
                  </a:cubicBezTo>
                  <a:cubicBezTo>
                    <a:pt x="2700" y="649"/>
                    <a:pt x="2956" y="691"/>
                    <a:pt x="3212" y="691"/>
                  </a:cubicBezTo>
                  <a:cubicBezTo>
                    <a:pt x="3322" y="691"/>
                    <a:pt x="3429" y="691"/>
                    <a:pt x="3536" y="678"/>
                  </a:cubicBezTo>
                  <a:cubicBezTo>
                    <a:pt x="3753" y="636"/>
                    <a:pt x="3970" y="568"/>
                    <a:pt x="4158" y="461"/>
                  </a:cubicBezTo>
                  <a:cubicBezTo>
                    <a:pt x="4119" y="461"/>
                    <a:pt x="4090" y="474"/>
                    <a:pt x="4051" y="474"/>
                  </a:cubicBezTo>
                  <a:cubicBezTo>
                    <a:pt x="3591" y="474"/>
                    <a:pt x="3131" y="260"/>
                    <a:pt x="2674" y="137"/>
                  </a:cubicBezTo>
                  <a:cubicBezTo>
                    <a:pt x="2350" y="56"/>
                    <a:pt x="2013" y="1"/>
                    <a:pt x="1689" y="1"/>
                  </a:cubicBezTo>
                  <a:close/>
                </a:path>
              </a:pathLst>
            </a:custGeom>
            <a:solidFill>
              <a:srgbClr val="A8592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26" name="Google Shape;1426;p42"/>
            <p:cNvSpPr/>
            <p:nvPr/>
          </p:nvSpPr>
          <p:spPr>
            <a:xfrm>
              <a:off x="4856500" y="5099150"/>
              <a:ext cx="2700" cy="33400"/>
            </a:xfrm>
            <a:custGeom>
              <a:avLst/>
              <a:gdLst/>
              <a:ahLst/>
              <a:cxnLst/>
              <a:rect l="l" t="t" r="r" b="b"/>
              <a:pathLst>
                <a:path w="108" h="1336" extrusionOk="0">
                  <a:moveTo>
                    <a:pt x="108" y="1"/>
                  </a:moveTo>
                  <a:lnTo>
                    <a:pt x="108" y="1"/>
                  </a:lnTo>
                  <a:cubicBezTo>
                    <a:pt x="82" y="108"/>
                    <a:pt x="56" y="215"/>
                    <a:pt x="40" y="338"/>
                  </a:cubicBezTo>
                  <a:cubicBezTo>
                    <a:pt x="27" y="445"/>
                    <a:pt x="14" y="552"/>
                    <a:pt x="1" y="675"/>
                  </a:cubicBezTo>
                  <a:lnTo>
                    <a:pt x="1" y="1012"/>
                  </a:lnTo>
                  <a:cubicBezTo>
                    <a:pt x="14" y="1080"/>
                    <a:pt x="14" y="1135"/>
                    <a:pt x="40" y="1187"/>
                  </a:cubicBezTo>
                  <a:cubicBezTo>
                    <a:pt x="56" y="1242"/>
                    <a:pt x="69" y="1297"/>
                    <a:pt x="108" y="1336"/>
                  </a:cubicBezTo>
                  <a:cubicBezTo>
                    <a:pt x="82" y="1297"/>
                    <a:pt x="69" y="1242"/>
                    <a:pt x="56" y="1187"/>
                  </a:cubicBezTo>
                  <a:cubicBezTo>
                    <a:pt x="56" y="1119"/>
                    <a:pt x="56" y="1067"/>
                    <a:pt x="40" y="1012"/>
                  </a:cubicBezTo>
                  <a:cubicBezTo>
                    <a:pt x="40" y="905"/>
                    <a:pt x="56" y="795"/>
                    <a:pt x="56" y="675"/>
                  </a:cubicBezTo>
                  <a:cubicBezTo>
                    <a:pt x="69" y="568"/>
                    <a:pt x="69" y="445"/>
                    <a:pt x="82" y="338"/>
                  </a:cubicBezTo>
                  <a:lnTo>
                    <a:pt x="95" y="176"/>
                  </a:lnTo>
                  <a:lnTo>
                    <a:pt x="108" y="1"/>
                  </a:lnTo>
                  <a:close/>
                </a:path>
              </a:pathLst>
            </a:custGeom>
            <a:solidFill>
              <a:srgbClr val="41180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27" name="Google Shape;1427;p42"/>
            <p:cNvSpPr/>
            <p:nvPr/>
          </p:nvSpPr>
          <p:spPr>
            <a:xfrm>
              <a:off x="4880150" y="5285625"/>
              <a:ext cx="42150" cy="22625"/>
            </a:xfrm>
            <a:custGeom>
              <a:avLst/>
              <a:gdLst/>
              <a:ahLst/>
              <a:cxnLst/>
              <a:rect l="l" t="t" r="r" b="b"/>
              <a:pathLst>
                <a:path w="1686" h="905" extrusionOk="0">
                  <a:moveTo>
                    <a:pt x="846" y="1"/>
                  </a:moveTo>
                  <a:cubicBezTo>
                    <a:pt x="726" y="1"/>
                    <a:pt x="608" y="52"/>
                    <a:pt x="526" y="156"/>
                  </a:cubicBezTo>
                  <a:lnTo>
                    <a:pt x="500" y="182"/>
                  </a:lnTo>
                  <a:lnTo>
                    <a:pt x="27" y="182"/>
                  </a:lnTo>
                  <a:lnTo>
                    <a:pt x="1" y="804"/>
                  </a:lnTo>
                  <a:lnTo>
                    <a:pt x="1" y="804"/>
                  </a:lnTo>
                  <a:lnTo>
                    <a:pt x="526" y="762"/>
                  </a:lnTo>
                  <a:lnTo>
                    <a:pt x="539" y="775"/>
                  </a:lnTo>
                  <a:cubicBezTo>
                    <a:pt x="625" y="861"/>
                    <a:pt x="737" y="904"/>
                    <a:pt x="848" y="904"/>
                  </a:cubicBezTo>
                  <a:cubicBezTo>
                    <a:pt x="964" y="904"/>
                    <a:pt x="1078" y="857"/>
                    <a:pt x="1161" y="762"/>
                  </a:cubicBezTo>
                  <a:lnTo>
                    <a:pt x="1686" y="762"/>
                  </a:lnTo>
                  <a:lnTo>
                    <a:pt x="1686" y="182"/>
                  </a:lnTo>
                  <a:lnTo>
                    <a:pt x="1187" y="182"/>
                  </a:lnTo>
                  <a:lnTo>
                    <a:pt x="1161" y="140"/>
                  </a:lnTo>
                  <a:cubicBezTo>
                    <a:pt x="1075" y="48"/>
                    <a:pt x="960" y="1"/>
                    <a:pt x="846" y="1"/>
                  </a:cubicBezTo>
                  <a:close/>
                </a:path>
              </a:pathLst>
            </a:custGeom>
            <a:solidFill>
              <a:srgbClr val="AA6E2D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28" name="Google Shape;1428;p42"/>
            <p:cNvSpPr/>
            <p:nvPr/>
          </p:nvSpPr>
          <p:spPr>
            <a:xfrm>
              <a:off x="4853425" y="5325225"/>
              <a:ext cx="96575" cy="78875"/>
            </a:xfrm>
            <a:custGeom>
              <a:avLst/>
              <a:gdLst/>
              <a:ahLst/>
              <a:cxnLst/>
              <a:rect l="l" t="t" r="r" b="b"/>
              <a:pathLst>
                <a:path w="3863" h="3155" extrusionOk="0">
                  <a:moveTo>
                    <a:pt x="542" y="1"/>
                  </a:moveTo>
                  <a:cubicBezTo>
                    <a:pt x="542" y="1"/>
                    <a:pt x="516" y="759"/>
                    <a:pt x="435" y="1054"/>
                  </a:cubicBezTo>
                  <a:cubicBezTo>
                    <a:pt x="354" y="1365"/>
                    <a:pt x="1" y="2324"/>
                    <a:pt x="1" y="2904"/>
                  </a:cubicBezTo>
                  <a:cubicBezTo>
                    <a:pt x="1" y="2904"/>
                    <a:pt x="404" y="3155"/>
                    <a:pt x="1208" y="3155"/>
                  </a:cubicBezTo>
                  <a:cubicBezTo>
                    <a:pt x="1335" y="3155"/>
                    <a:pt x="1473" y="3148"/>
                    <a:pt x="1621" y="3134"/>
                  </a:cubicBezTo>
                  <a:lnTo>
                    <a:pt x="1757" y="2000"/>
                  </a:lnTo>
                  <a:cubicBezTo>
                    <a:pt x="1757" y="1945"/>
                    <a:pt x="1799" y="1919"/>
                    <a:pt x="1851" y="1919"/>
                  </a:cubicBezTo>
                  <a:lnTo>
                    <a:pt x="2013" y="1919"/>
                  </a:lnTo>
                  <a:cubicBezTo>
                    <a:pt x="2068" y="1919"/>
                    <a:pt x="2094" y="1945"/>
                    <a:pt x="2107" y="2000"/>
                  </a:cubicBezTo>
                  <a:lnTo>
                    <a:pt x="2230" y="3134"/>
                  </a:lnTo>
                  <a:cubicBezTo>
                    <a:pt x="2377" y="3148"/>
                    <a:pt x="2515" y="3155"/>
                    <a:pt x="2643" y="3155"/>
                  </a:cubicBezTo>
                  <a:cubicBezTo>
                    <a:pt x="3450" y="3155"/>
                    <a:pt x="3863" y="2904"/>
                    <a:pt x="3863" y="2904"/>
                  </a:cubicBezTo>
                  <a:cubicBezTo>
                    <a:pt x="3863" y="2324"/>
                    <a:pt x="3513" y="1365"/>
                    <a:pt x="3419" y="1054"/>
                  </a:cubicBezTo>
                  <a:cubicBezTo>
                    <a:pt x="3338" y="759"/>
                    <a:pt x="3309" y="1"/>
                    <a:pt x="3309" y="1"/>
                  </a:cubicBezTo>
                  <a:close/>
                </a:path>
              </a:pathLst>
            </a:custGeom>
            <a:solidFill>
              <a:srgbClr val="3D7D4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29" name="Google Shape;1429;p42"/>
            <p:cNvSpPr/>
            <p:nvPr/>
          </p:nvSpPr>
          <p:spPr>
            <a:xfrm>
              <a:off x="4880150" y="5287650"/>
              <a:ext cx="42150" cy="20100"/>
            </a:xfrm>
            <a:custGeom>
              <a:avLst/>
              <a:gdLst/>
              <a:ahLst/>
              <a:cxnLst/>
              <a:rect l="l" t="t" r="r" b="b"/>
              <a:pathLst>
                <a:path w="1686" h="804" extrusionOk="0">
                  <a:moveTo>
                    <a:pt x="846" y="1"/>
                  </a:moveTo>
                  <a:cubicBezTo>
                    <a:pt x="726" y="1"/>
                    <a:pt x="608" y="52"/>
                    <a:pt x="526" y="156"/>
                  </a:cubicBezTo>
                  <a:lnTo>
                    <a:pt x="500" y="182"/>
                  </a:lnTo>
                  <a:lnTo>
                    <a:pt x="27" y="182"/>
                  </a:lnTo>
                  <a:lnTo>
                    <a:pt x="1" y="804"/>
                  </a:lnTo>
                  <a:lnTo>
                    <a:pt x="14" y="804"/>
                  </a:lnTo>
                  <a:lnTo>
                    <a:pt x="27" y="237"/>
                  </a:lnTo>
                  <a:lnTo>
                    <a:pt x="500" y="237"/>
                  </a:lnTo>
                  <a:lnTo>
                    <a:pt x="526" y="208"/>
                  </a:lnTo>
                  <a:cubicBezTo>
                    <a:pt x="608" y="106"/>
                    <a:pt x="726" y="55"/>
                    <a:pt x="844" y="55"/>
                  </a:cubicBezTo>
                  <a:cubicBezTo>
                    <a:pt x="959" y="55"/>
                    <a:pt x="1075" y="102"/>
                    <a:pt x="1161" y="195"/>
                  </a:cubicBezTo>
                  <a:lnTo>
                    <a:pt x="1187" y="237"/>
                  </a:lnTo>
                  <a:lnTo>
                    <a:pt x="1686" y="237"/>
                  </a:lnTo>
                  <a:lnTo>
                    <a:pt x="1686" y="182"/>
                  </a:lnTo>
                  <a:lnTo>
                    <a:pt x="1187" y="182"/>
                  </a:lnTo>
                  <a:lnTo>
                    <a:pt x="1161" y="140"/>
                  </a:lnTo>
                  <a:cubicBezTo>
                    <a:pt x="1075" y="48"/>
                    <a:pt x="960" y="1"/>
                    <a:pt x="846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30" name="Google Shape;1430;p42"/>
            <p:cNvSpPr/>
            <p:nvPr/>
          </p:nvSpPr>
          <p:spPr>
            <a:xfrm>
              <a:off x="4880150" y="5285450"/>
              <a:ext cx="42150" cy="20175"/>
            </a:xfrm>
            <a:custGeom>
              <a:avLst/>
              <a:gdLst/>
              <a:ahLst/>
              <a:cxnLst/>
              <a:rect l="l" t="t" r="r" b="b"/>
              <a:pathLst>
                <a:path w="1686" h="807" extrusionOk="0">
                  <a:moveTo>
                    <a:pt x="1" y="1"/>
                  </a:moveTo>
                  <a:lnTo>
                    <a:pt x="27" y="620"/>
                  </a:lnTo>
                  <a:lnTo>
                    <a:pt x="500" y="620"/>
                  </a:lnTo>
                  <a:lnTo>
                    <a:pt x="526" y="649"/>
                  </a:lnTo>
                  <a:cubicBezTo>
                    <a:pt x="609" y="753"/>
                    <a:pt x="729" y="806"/>
                    <a:pt x="850" y="806"/>
                  </a:cubicBezTo>
                  <a:cubicBezTo>
                    <a:pt x="963" y="806"/>
                    <a:pt x="1076" y="759"/>
                    <a:pt x="1161" y="662"/>
                  </a:cubicBezTo>
                  <a:lnTo>
                    <a:pt x="1187" y="620"/>
                  </a:lnTo>
                  <a:lnTo>
                    <a:pt x="1686" y="620"/>
                  </a:lnTo>
                  <a:lnTo>
                    <a:pt x="1686" y="568"/>
                  </a:lnTo>
                  <a:lnTo>
                    <a:pt x="1187" y="568"/>
                  </a:lnTo>
                  <a:lnTo>
                    <a:pt x="1161" y="607"/>
                  </a:lnTo>
                  <a:cubicBezTo>
                    <a:pt x="1075" y="699"/>
                    <a:pt x="959" y="746"/>
                    <a:pt x="844" y="746"/>
                  </a:cubicBezTo>
                  <a:cubicBezTo>
                    <a:pt x="726" y="746"/>
                    <a:pt x="608" y="696"/>
                    <a:pt x="526" y="594"/>
                  </a:cubicBezTo>
                  <a:lnTo>
                    <a:pt x="500" y="568"/>
                  </a:lnTo>
                  <a:lnTo>
                    <a:pt x="27" y="568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31" name="Google Shape;1431;p42"/>
            <p:cNvSpPr/>
            <p:nvPr/>
          </p:nvSpPr>
          <p:spPr>
            <a:xfrm>
              <a:off x="4929400" y="5325225"/>
              <a:ext cx="20600" cy="76975"/>
            </a:xfrm>
            <a:custGeom>
              <a:avLst/>
              <a:gdLst/>
              <a:ahLst/>
              <a:cxnLst/>
              <a:rect l="l" t="t" r="r" b="b"/>
              <a:pathLst>
                <a:path w="824" h="3079" extrusionOk="0">
                  <a:moveTo>
                    <a:pt x="1" y="1"/>
                  </a:moveTo>
                  <a:cubicBezTo>
                    <a:pt x="1" y="1"/>
                    <a:pt x="1" y="759"/>
                    <a:pt x="82" y="1054"/>
                  </a:cubicBezTo>
                  <a:cubicBezTo>
                    <a:pt x="163" y="1365"/>
                    <a:pt x="325" y="2499"/>
                    <a:pt x="325" y="3079"/>
                  </a:cubicBezTo>
                  <a:lnTo>
                    <a:pt x="824" y="2904"/>
                  </a:lnTo>
                  <a:cubicBezTo>
                    <a:pt x="824" y="2324"/>
                    <a:pt x="474" y="1365"/>
                    <a:pt x="380" y="1054"/>
                  </a:cubicBezTo>
                  <a:cubicBezTo>
                    <a:pt x="299" y="759"/>
                    <a:pt x="270" y="1"/>
                    <a:pt x="270" y="1"/>
                  </a:cubicBezTo>
                  <a:close/>
                </a:path>
              </a:pathLst>
            </a:custGeom>
            <a:solidFill>
              <a:srgbClr val="37743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32" name="Google Shape;1432;p42"/>
            <p:cNvSpPr/>
            <p:nvPr/>
          </p:nvSpPr>
          <p:spPr>
            <a:xfrm>
              <a:off x="4853425" y="5325225"/>
              <a:ext cx="20675" cy="76975"/>
            </a:xfrm>
            <a:custGeom>
              <a:avLst/>
              <a:gdLst/>
              <a:ahLst/>
              <a:cxnLst/>
              <a:rect l="l" t="t" r="r" b="b"/>
              <a:pathLst>
                <a:path w="827" h="3079" extrusionOk="0">
                  <a:moveTo>
                    <a:pt x="542" y="1"/>
                  </a:moveTo>
                  <a:cubicBezTo>
                    <a:pt x="542" y="1"/>
                    <a:pt x="516" y="759"/>
                    <a:pt x="435" y="1054"/>
                  </a:cubicBezTo>
                  <a:cubicBezTo>
                    <a:pt x="354" y="1365"/>
                    <a:pt x="1" y="2324"/>
                    <a:pt x="1" y="2904"/>
                  </a:cubicBezTo>
                  <a:lnTo>
                    <a:pt x="487" y="3079"/>
                  </a:lnTo>
                  <a:cubicBezTo>
                    <a:pt x="487" y="2499"/>
                    <a:pt x="665" y="1365"/>
                    <a:pt x="746" y="1054"/>
                  </a:cubicBezTo>
                  <a:cubicBezTo>
                    <a:pt x="827" y="759"/>
                    <a:pt x="827" y="1"/>
                    <a:pt x="827" y="1"/>
                  </a:cubicBezTo>
                  <a:close/>
                </a:path>
              </a:pathLst>
            </a:custGeom>
            <a:solidFill>
              <a:srgbClr val="37743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33" name="Google Shape;1433;p42"/>
            <p:cNvSpPr/>
            <p:nvPr/>
          </p:nvSpPr>
          <p:spPr>
            <a:xfrm>
              <a:off x="4870025" y="5244550"/>
              <a:ext cx="17850" cy="104350"/>
            </a:xfrm>
            <a:custGeom>
              <a:avLst/>
              <a:gdLst/>
              <a:ahLst/>
              <a:cxnLst/>
              <a:rect l="l" t="t" r="r" b="b"/>
              <a:pathLst>
                <a:path w="714" h="4174" extrusionOk="0">
                  <a:moveTo>
                    <a:pt x="1" y="1"/>
                  </a:moveTo>
                  <a:cubicBezTo>
                    <a:pt x="1" y="1"/>
                    <a:pt x="244" y="367"/>
                    <a:pt x="325" y="1083"/>
                  </a:cubicBezTo>
                  <a:cubicBezTo>
                    <a:pt x="432" y="1961"/>
                    <a:pt x="432" y="4174"/>
                    <a:pt x="432" y="4174"/>
                  </a:cubicBezTo>
                  <a:lnTo>
                    <a:pt x="633" y="4174"/>
                  </a:lnTo>
                  <a:cubicBezTo>
                    <a:pt x="633" y="4174"/>
                    <a:pt x="649" y="3458"/>
                    <a:pt x="633" y="2985"/>
                  </a:cubicBezTo>
                  <a:cubicBezTo>
                    <a:pt x="607" y="2350"/>
                    <a:pt x="714" y="30"/>
                    <a:pt x="1" y="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34" name="Google Shape;1434;p42"/>
            <p:cNvSpPr/>
            <p:nvPr/>
          </p:nvSpPr>
          <p:spPr>
            <a:xfrm>
              <a:off x="4915225" y="5244550"/>
              <a:ext cx="17925" cy="104350"/>
            </a:xfrm>
            <a:custGeom>
              <a:avLst/>
              <a:gdLst/>
              <a:ahLst/>
              <a:cxnLst/>
              <a:rect l="l" t="t" r="r" b="b"/>
              <a:pathLst>
                <a:path w="717" h="4174" extrusionOk="0">
                  <a:moveTo>
                    <a:pt x="717" y="1"/>
                  </a:moveTo>
                  <a:cubicBezTo>
                    <a:pt x="1" y="30"/>
                    <a:pt x="108" y="2350"/>
                    <a:pt x="82" y="2985"/>
                  </a:cubicBezTo>
                  <a:cubicBezTo>
                    <a:pt x="69" y="3458"/>
                    <a:pt x="82" y="4174"/>
                    <a:pt x="82" y="4174"/>
                  </a:cubicBezTo>
                  <a:lnTo>
                    <a:pt x="283" y="4174"/>
                  </a:lnTo>
                  <a:cubicBezTo>
                    <a:pt x="283" y="4174"/>
                    <a:pt x="283" y="1961"/>
                    <a:pt x="393" y="1083"/>
                  </a:cubicBezTo>
                  <a:cubicBezTo>
                    <a:pt x="487" y="367"/>
                    <a:pt x="717" y="1"/>
                    <a:pt x="717" y="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35" name="Google Shape;1435;p42"/>
            <p:cNvSpPr/>
            <p:nvPr/>
          </p:nvSpPr>
          <p:spPr>
            <a:xfrm>
              <a:off x="4880800" y="5342475"/>
              <a:ext cx="41500" cy="12500"/>
            </a:xfrm>
            <a:custGeom>
              <a:avLst/>
              <a:gdLst/>
              <a:ahLst/>
              <a:cxnLst/>
              <a:rect l="l" t="t" r="r" b="b"/>
              <a:pathLst>
                <a:path w="1660" h="500" extrusionOk="0">
                  <a:moveTo>
                    <a:pt x="1" y="1"/>
                  </a:moveTo>
                  <a:lnTo>
                    <a:pt x="1" y="257"/>
                  </a:lnTo>
                  <a:lnTo>
                    <a:pt x="837" y="500"/>
                  </a:lnTo>
                  <a:lnTo>
                    <a:pt x="1660" y="257"/>
                  </a:lnTo>
                  <a:lnTo>
                    <a:pt x="1660" y="1"/>
                  </a:lnTo>
                  <a:lnTo>
                    <a:pt x="837" y="25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36" name="Google Shape;1436;p42"/>
            <p:cNvSpPr/>
            <p:nvPr/>
          </p:nvSpPr>
          <p:spPr>
            <a:xfrm>
              <a:off x="4918025" y="5327425"/>
              <a:ext cx="3525" cy="2775"/>
            </a:xfrm>
            <a:custGeom>
              <a:avLst/>
              <a:gdLst/>
              <a:ahLst/>
              <a:cxnLst/>
              <a:rect l="l" t="t" r="r" b="b"/>
              <a:pathLst>
                <a:path w="141" h="111" extrusionOk="0">
                  <a:moveTo>
                    <a:pt x="63" y="0"/>
                  </a:moveTo>
                  <a:cubicBezTo>
                    <a:pt x="25" y="0"/>
                    <a:pt x="1" y="45"/>
                    <a:pt x="25" y="88"/>
                  </a:cubicBezTo>
                  <a:cubicBezTo>
                    <a:pt x="25" y="88"/>
                    <a:pt x="25" y="104"/>
                    <a:pt x="38" y="104"/>
                  </a:cubicBezTo>
                  <a:cubicBezTo>
                    <a:pt x="47" y="108"/>
                    <a:pt x="56" y="111"/>
                    <a:pt x="65" y="111"/>
                  </a:cubicBezTo>
                  <a:cubicBezTo>
                    <a:pt x="106" y="111"/>
                    <a:pt x="140" y="66"/>
                    <a:pt x="119" y="23"/>
                  </a:cubicBezTo>
                  <a:cubicBezTo>
                    <a:pt x="106" y="23"/>
                    <a:pt x="106" y="7"/>
                    <a:pt x="90" y="7"/>
                  </a:cubicBezTo>
                  <a:cubicBezTo>
                    <a:pt x="80" y="2"/>
                    <a:pt x="72" y="0"/>
                    <a:pt x="63" y="0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37" name="Google Shape;1437;p42"/>
            <p:cNvSpPr/>
            <p:nvPr/>
          </p:nvSpPr>
          <p:spPr>
            <a:xfrm>
              <a:off x="4918025" y="5332825"/>
              <a:ext cx="3475" cy="2800"/>
            </a:xfrm>
            <a:custGeom>
              <a:avLst/>
              <a:gdLst/>
              <a:ahLst/>
              <a:cxnLst/>
              <a:rect l="l" t="t" r="r" b="b"/>
              <a:pathLst>
                <a:path w="139" h="112" extrusionOk="0">
                  <a:moveTo>
                    <a:pt x="63" y="1"/>
                  </a:moveTo>
                  <a:cubicBezTo>
                    <a:pt x="25" y="1"/>
                    <a:pt x="1" y="44"/>
                    <a:pt x="25" y="89"/>
                  </a:cubicBezTo>
                  <a:cubicBezTo>
                    <a:pt x="25" y="102"/>
                    <a:pt x="25" y="102"/>
                    <a:pt x="38" y="102"/>
                  </a:cubicBezTo>
                  <a:cubicBezTo>
                    <a:pt x="49" y="108"/>
                    <a:pt x="61" y="111"/>
                    <a:pt x="72" y="111"/>
                  </a:cubicBezTo>
                  <a:cubicBezTo>
                    <a:pt x="110" y="111"/>
                    <a:pt x="139" y="76"/>
                    <a:pt x="119" y="34"/>
                  </a:cubicBezTo>
                  <a:cubicBezTo>
                    <a:pt x="106" y="21"/>
                    <a:pt x="106" y="21"/>
                    <a:pt x="90" y="8"/>
                  </a:cubicBezTo>
                  <a:cubicBezTo>
                    <a:pt x="80" y="3"/>
                    <a:pt x="71" y="1"/>
                    <a:pt x="63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38" name="Google Shape;1438;p42"/>
            <p:cNvSpPr/>
            <p:nvPr/>
          </p:nvSpPr>
          <p:spPr>
            <a:xfrm>
              <a:off x="4918050" y="5338575"/>
              <a:ext cx="3475" cy="2725"/>
            </a:xfrm>
            <a:custGeom>
              <a:avLst/>
              <a:gdLst/>
              <a:ahLst/>
              <a:cxnLst/>
              <a:rect l="l" t="t" r="r" b="b"/>
              <a:pathLst>
                <a:path w="139" h="109" extrusionOk="0">
                  <a:moveTo>
                    <a:pt x="61" y="1"/>
                  </a:moveTo>
                  <a:cubicBezTo>
                    <a:pt x="24" y="1"/>
                    <a:pt x="0" y="42"/>
                    <a:pt x="24" y="76"/>
                  </a:cubicBezTo>
                  <a:cubicBezTo>
                    <a:pt x="24" y="89"/>
                    <a:pt x="24" y="102"/>
                    <a:pt x="37" y="102"/>
                  </a:cubicBezTo>
                  <a:cubicBezTo>
                    <a:pt x="46" y="107"/>
                    <a:pt x="56" y="109"/>
                    <a:pt x="65" y="109"/>
                  </a:cubicBezTo>
                  <a:cubicBezTo>
                    <a:pt x="106" y="109"/>
                    <a:pt x="139" y="66"/>
                    <a:pt x="118" y="21"/>
                  </a:cubicBezTo>
                  <a:cubicBezTo>
                    <a:pt x="105" y="21"/>
                    <a:pt x="105" y="8"/>
                    <a:pt x="89" y="8"/>
                  </a:cubicBezTo>
                  <a:cubicBezTo>
                    <a:pt x="79" y="3"/>
                    <a:pt x="70" y="1"/>
                    <a:pt x="61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39" name="Google Shape;1439;p42"/>
            <p:cNvSpPr/>
            <p:nvPr/>
          </p:nvSpPr>
          <p:spPr>
            <a:xfrm>
              <a:off x="4881250" y="5327425"/>
              <a:ext cx="3525" cy="2775"/>
            </a:xfrm>
            <a:custGeom>
              <a:avLst/>
              <a:gdLst/>
              <a:ahLst/>
              <a:cxnLst/>
              <a:rect l="l" t="t" r="r" b="b"/>
              <a:pathLst>
                <a:path w="141" h="111" extrusionOk="0">
                  <a:moveTo>
                    <a:pt x="75" y="0"/>
                  </a:moveTo>
                  <a:cubicBezTo>
                    <a:pt x="34" y="0"/>
                    <a:pt x="0" y="45"/>
                    <a:pt x="22" y="88"/>
                  </a:cubicBezTo>
                  <a:lnTo>
                    <a:pt x="38" y="104"/>
                  </a:lnTo>
                  <a:cubicBezTo>
                    <a:pt x="47" y="108"/>
                    <a:pt x="56" y="111"/>
                    <a:pt x="65" y="111"/>
                  </a:cubicBezTo>
                  <a:cubicBezTo>
                    <a:pt x="107" y="111"/>
                    <a:pt x="140" y="66"/>
                    <a:pt x="119" y="23"/>
                  </a:cubicBezTo>
                  <a:lnTo>
                    <a:pt x="103" y="7"/>
                  </a:lnTo>
                  <a:cubicBezTo>
                    <a:pt x="93" y="2"/>
                    <a:pt x="84" y="0"/>
                    <a:pt x="75" y="0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40" name="Google Shape;1440;p42"/>
            <p:cNvSpPr/>
            <p:nvPr/>
          </p:nvSpPr>
          <p:spPr>
            <a:xfrm>
              <a:off x="4881250" y="5332825"/>
              <a:ext cx="3475" cy="2800"/>
            </a:xfrm>
            <a:custGeom>
              <a:avLst/>
              <a:gdLst/>
              <a:ahLst/>
              <a:cxnLst/>
              <a:rect l="l" t="t" r="r" b="b"/>
              <a:pathLst>
                <a:path w="139" h="112" extrusionOk="0">
                  <a:moveTo>
                    <a:pt x="74" y="1"/>
                  </a:moveTo>
                  <a:cubicBezTo>
                    <a:pt x="33" y="1"/>
                    <a:pt x="0" y="44"/>
                    <a:pt x="22" y="89"/>
                  </a:cubicBezTo>
                  <a:cubicBezTo>
                    <a:pt x="22" y="102"/>
                    <a:pt x="38" y="102"/>
                    <a:pt x="38" y="102"/>
                  </a:cubicBezTo>
                  <a:cubicBezTo>
                    <a:pt x="49" y="108"/>
                    <a:pt x="61" y="111"/>
                    <a:pt x="72" y="111"/>
                  </a:cubicBezTo>
                  <a:cubicBezTo>
                    <a:pt x="110" y="111"/>
                    <a:pt x="139" y="76"/>
                    <a:pt x="119" y="34"/>
                  </a:cubicBezTo>
                  <a:cubicBezTo>
                    <a:pt x="119" y="21"/>
                    <a:pt x="103" y="21"/>
                    <a:pt x="103" y="8"/>
                  </a:cubicBezTo>
                  <a:cubicBezTo>
                    <a:pt x="93" y="3"/>
                    <a:pt x="84" y="1"/>
                    <a:pt x="74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41" name="Google Shape;1441;p42"/>
            <p:cNvSpPr/>
            <p:nvPr/>
          </p:nvSpPr>
          <p:spPr>
            <a:xfrm>
              <a:off x="4881250" y="5338575"/>
              <a:ext cx="3500" cy="2725"/>
            </a:xfrm>
            <a:custGeom>
              <a:avLst/>
              <a:gdLst/>
              <a:ahLst/>
              <a:cxnLst/>
              <a:rect l="l" t="t" r="r" b="b"/>
              <a:pathLst>
                <a:path w="140" h="109" extrusionOk="0">
                  <a:moveTo>
                    <a:pt x="74" y="1"/>
                  </a:moveTo>
                  <a:cubicBezTo>
                    <a:pt x="33" y="1"/>
                    <a:pt x="1" y="42"/>
                    <a:pt x="22" y="76"/>
                  </a:cubicBezTo>
                  <a:cubicBezTo>
                    <a:pt x="22" y="89"/>
                    <a:pt x="38" y="102"/>
                    <a:pt x="38" y="102"/>
                  </a:cubicBezTo>
                  <a:cubicBezTo>
                    <a:pt x="47" y="107"/>
                    <a:pt x="57" y="109"/>
                    <a:pt x="66" y="109"/>
                  </a:cubicBezTo>
                  <a:cubicBezTo>
                    <a:pt x="107" y="109"/>
                    <a:pt x="140" y="66"/>
                    <a:pt x="119" y="21"/>
                  </a:cubicBezTo>
                  <a:lnTo>
                    <a:pt x="103" y="8"/>
                  </a:lnTo>
                  <a:cubicBezTo>
                    <a:pt x="93" y="3"/>
                    <a:pt x="83" y="1"/>
                    <a:pt x="74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42" name="Google Shape;1442;p42"/>
            <p:cNvSpPr/>
            <p:nvPr/>
          </p:nvSpPr>
          <p:spPr>
            <a:xfrm>
              <a:off x="4853425" y="5395125"/>
              <a:ext cx="40525" cy="8975"/>
            </a:xfrm>
            <a:custGeom>
              <a:avLst/>
              <a:gdLst/>
              <a:ahLst/>
              <a:cxnLst/>
              <a:rect l="l" t="t" r="r" b="b"/>
              <a:pathLst>
                <a:path w="1621" h="359" extrusionOk="0">
                  <a:moveTo>
                    <a:pt x="1" y="1"/>
                  </a:moveTo>
                  <a:lnTo>
                    <a:pt x="1" y="108"/>
                  </a:lnTo>
                  <a:cubicBezTo>
                    <a:pt x="1" y="108"/>
                    <a:pt x="404" y="359"/>
                    <a:pt x="1199" y="359"/>
                  </a:cubicBezTo>
                  <a:cubicBezTo>
                    <a:pt x="1326" y="359"/>
                    <a:pt x="1462" y="352"/>
                    <a:pt x="1608" y="338"/>
                  </a:cubicBezTo>
                  <a:lnTo>
                    <a:pt x="1621" y="215"/>
                  </a:lnTo>
                  <a:lnTo>
                    <a:pt x="1621" y="215"/>
                  </a:lnTo>
                  <a:cubicBezTo>
                    <a:pt x="1462" y="232"/>
                    <a:pt x="1315" y="239"/>
                    <a:pt x="1179" y="239"/>
                  </a:cubicBezTo>
                  <a:cubicBezTo>
                    <a:pt x="437" y="239"/>
                    <a:pt x="36" y="23"/>
                    <a:pt x="1" y="1"/>
                  </a:cubicBez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43" name="Google Shape;1443;p42"/>
            <p:cNvSpPr/>
            <p:nvPr/>
          </p:nvSpPr>
          <p:spPr>
            <a:xfrm>
              <a:off x="4908825" y="5395125"/>
              <a:ext cx="41175" cy="8975"/>
            </a:xfrm>
            <a:custGeom>
              <a:avLst/>
              <a:gdLst/>
              <a:ahLst/>
              <a:cxnLst/>
              <a:rect l="l" t="t" r="r" b="b"/>
              <a:pathLst>
                <a:path w="1647" h="359" extrusionOk="0">
                  <a:moveTo>
                    <a:pt x="1647" y="1"/>
                  </a:moveTo>
                  <a:cubicBezTo>
                    <a:pt x="1600" y="23"/>
                    <a:pt x="1209" y="239"/>
                    <a:pt x="461" y="239"/>
                  </a:cubicBezTo>
                  <a:cubicBezTo>
                    <a:pt x="324" y="239"/>
                    <a:pt x="175" y="232"/>
                    <a:pt x="14" y="215"/>
                  </a:cubicBezTo>
                  <a:lnTo>
                    <a:pt x="1" y="215"/>
                  </a:lnTo>
                  <a:lnTo>
                    <a:pt x="14" y="338"/>
                  </a:lnTo>
                  <a:cubicBezTo>
                    <a:pt x="161" y="352"/>
                    <a:pt x="299" y="359"/>
                    <a:pt x="427" y="359"/>
                  </a:cubicBezTo>
                  <a:cubicBezTo>
                    <a:pt x="1234" y="359"/>
                    <a:pt x="1647" y="108"/>
                    <a:pt x="1647" y="108"/>
                  </a:cubicBezTo>
                  <a:lnTo>
                    <a:pt x="1647" y="1"/>
                  </a:lnTo>
                  <a:close/>
                </a:path>
              </a:pathLst>
            </a:custGeom>
            <a:solidFill>
              <a:srgbClr val="FFC6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AEB3C356-1E81-DE43-E6BC-F831E94558F1}"/>
              </a:ext>
            </a:extLst>
          </p:cNvPr>
          <p:cNvGrpSpPr/>
          <p:nvPr/>
        </p:nvGrpSpPr>
        <p:grpSpPr>
          <a:xfrm>
            <a:off x="501614" y="1289197"/>
            <a:ext cx="10800112" cy="4524315"/>
            <a:chOff x="6840065" y="6637154"/>
            <a:chExt cx="8864411" cy="4524315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xmlns="" id="{B5C98609-115E-4336-AD42-B80BB908E8AA}"/>
                </a:ext>
              </a:extLst>
            </p:cNvPr>
            <p:cNvSpPr txBox="1"/>
            <p:nvPr/>
          </p:nvSpPr>
          <p:spPr>
            <a:xfrm>
              <a:off x="6887308" y="6640451"/>
              <a:ext cx="8769924" cy="30469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1" i="0" u="none" strike="noStrike" kern="1200" cap="none" spc="-150" normalizeH="0" baseline="0" noProof="0" dirty="0">
                  <a:ln w="342900">
                    <a:solidFill>
                      <a:srgbClr val="CCFFFF"/>
                    </a:solidFill>
                    <a:prstDash val="solid"/>
                  </a:ln>
                  <a:solidFill>
                    <a:srgbClr val="FC6E51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HÀNG XÓM CỦA TÔI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xmlns="" id="{03C84CD2-E1F4-9094-8C13-4CC67CC4FAAD}"/>
                </a:ext>
              </a:extLst>
            </p:cNvPr>
            <p:cNvSpPr txBox="1"/>
            <p:nvPr/>
          </p:nvSpPr>
          <p:spPr>
            <a:xfrm>
              <a:off x="6840065" y="6637154"/>
              <a:ext cx="8864411" cy="45243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1" i="0" u="none" strike="noStrike" kern="1200" cap="none" spc="-150" normalizeH="0" baseline="0" noProof="0" dirty="0" err="1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Giới</a:t>
              </a:r>
              <a:r>
                <a:rPr kumimoji="0" lang="en-US" sz="9600" b="1" i="0" u="none" strike="noStrike" kern="1200" cap="none" spc="-150" normalizeH="0" baseline="0" noProof="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 </a:t>
              </a:r>
              <a:r>
                <a:rPr kumimoji="0" lang="en-US" sz="9600" b="1" i="0" u="none" strike="noStrike" kern="1200" cap="none" spc="-150" normalizeH="0" baseline="0" noProof="0" dirty="0" err="1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thiệu</a:t>
              </a:r>
              <a:r>
                <a:rPr kumimoji="0" lang="en-US" sz="9600" b="1" i="0" u="none" strike="noStrike" kern="1200" cap="none" spc="-150" normalizeH="0" baseline="0" noProof="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 </a:t>
              </a:r>
              <a:r>
                <a:rPr kumimoji="0" lang="en-US" sz="9600" b="1" i="0" u="none" strike="noStrike" kern="1200" cap="none" spc="-150" normalizeH="0" baseline="0" noProof="0" dirty="0" err="1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với</a:t>
              </a:r>
              <a:r>
                <a:rPr kumimoji="0" lang="en-US" sz="9600" b="1" i="0" u="none" strike="noStrike" kern="1200" cap="none" spc="-150" normalizeH="0" baseline="0" noProof="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 </a:t>
              </a:r>
              <a:r>
                <a:rPr kumimoji="0" lang="en-US" sz="9600" b="1" i="0" u="none" strike="noStrike" kern="1200" cap="none" spc="-150" normalizeH="0" baseline="0" noProof="0" dirty="0" err="1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bạn</a:t>
              </a:r>
              <a:r>
                <a:rPr kumimoji="0" lang="en-US" sz="9600" b="1" i="0" u="none" strike="noStrike" kern="1200" cap="none" spc="-150" normalizeH="0" baseline="0" noProof="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 </a:t>
              </a:r>
              <a:r>
                <a:rPr kumimoji="0" lang="en-US" sz="9600" b="1" i="0" u="none" strike="noStrike" kern="1200" cap="none" spc="-150" normalizeH="0" baseline="0" noProof="0" dirty="0" err="1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về</a:t>
              </a:r>
              <a:r>
                <a:rPr kumimoji="0" lang="en-US" sz="9600" b="1" i="0" u="none" strike="noStrike" kern="1200" cap="none" spc="-150" normalizeH="0" baseline="0" noProof="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 </a:t>
              </a:r>
              <a:r>
                <a:rPr kumimoji="0" lang="en-US" sz="9600" b="1" i="0" u="none" strike="noStrike" kern="1200" cap="none" spc="-150" normalizeH="0" baseline="0" noProof="0" dirty="0" err="1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hàng</a:t>
              </a:r>
              <a:r>
                <a:rPr kumimoji="0" lang="en-US" sz="9600" b="1" i="0" u="none" strike="noStrike" kern="1200" cap="none" spc="-150" normalizeH="0" baseline="0" noProof="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 </a:t>
              </a:r>
              <a:r>
                <a:rPr kumimoji="0" lang="en-US" sz="9600" b="1" i="0" u="none" strike="noStrike" kern="1200" cap="none" spc="-150" normalizeH="0" baseline="0" noProof="0" dirty="0" err="1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xóm</a:t>
              </a:r>
              <a:r>
                <a:rPr kumimoji="0" lang="en-US" sz="9600" b="1" i="0" u="none" strike="noStrike" kern="1200" cap="none" spc="-150" normalizeH="0" baseline="0" noProof="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 </a:t>
              </a:r>
              <a:r>
                <a:rPr kumimoji="0" lang="en-US" sz="9600" b="1" i="0" u="none" strike="noStrike" kern="1200" cap="none" spc="-150" normalizeH="0" baseline="0" noProof="0" dirty="0" err="1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uLnTx/>
                  <a:uFillTx/>
                  <a:latin typeface="UTM Cookies" panose="02040603050506020204" pitchFamily="18" charset="0"/>
                  <a:ea typeface="+mn-ea"/>
                  <a:cs typeface="+mn-cs"/>
                </a:rPr>
                <a:t>của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 </a:t>
              </a:r>
              <a:r>
                <a:rPr lang="en-US" sz="9600" b="1" spc="-150" dirty="0" err="1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mình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 qua </a:t>
              </a:r>
              <a:r>
                <a:rPr lang="en-US" sz="9600" b="1" spc="-150" dirty="0" err="1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tranh</a:t>
              </a:r>
              <a:r>
                <a:rPr lang="en-US" sz="9600" b="1" spc="-150" dirty="0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 </a:t>
              </a:r>
              <a:r>
                <a:rPr lang="en-US" sz="9600" b="1" spc="-150" dirty="0" err="1">
                  <a:ln w="28575">
                    <a:solidFill>
                      <a:srgbClr val="002060"/>
                    </a:solidFill>
                    <a:prstDash val="solid"/>
                  </a:ln>
                  <a:solidFill>
                    <a:srgbClr val="FFFF00"/>
                  </a:solidFill>
                  <a:effectLst>
                    <a:outerShdw blurRad="12700" dist="38100" dir="2700000" algn="tl" rotWithShape="0">
                      <a:srgbClr val="FC6E51">
                        <a:lumMod val="60000"/>
                        <a:lumOff val="40000"/>
                      </a:srgbClr>
                    </a:outerShdw>
                  </a:effectLst>
                  <a:latin typeface="UTM Cookies" panose="02040603050506020204" pitchFamily="18" charset="0"/>
                </a:rPr>
                <a:t>vẽ</a:t>
              </a:r>
              <a:endParaRPr kumimoji="0" lang="en-US" sz="9600" b="1" i="0" u="none" strike="noStrike" kern="1200" cap="none" spc="-150" normalizeH="0" baseline="0" noProof="0" dirty="0">
                <a:ln w="28575">
                  <a:solidFill>
                    <a:srgbClr val="002060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12700" dist="38100" dir="2700000" algn="tl" rotWithShape="0">
                    <a:srgbClr val="FC6E51">
                      <a:lumMod val="60000"/>
                      <a:lumOff val="40000"/>
                    </a:srgbClr>
                  </a:outerShdw>
                </a:effectLst>
                <a:uLnTx/>
                <a:uFillTx/>
                <a:latin typeface="UTM Cookies" panose="02040603050506020204" pitchFamily="18" charset="0"/>
                <a:ea typeface="+mn-ea"/>
                <a:cs typeface="+mn-cs"/>
              </a:endParaRPr>
            </a:p>
          </p:txBody>
        </p:sp>
      </p:grpSp>
      <p:pic>
        <p:nvPicPr>
          <p:cNvPr id="7" name="NHẠC DẠO NGẮN 10S">
            <a:hlinkClick r:id="" action="ppaction://media"/>
            <a:extLst>
              <a:ext uri="{FF2B5EF4-FFF2-40B4-BE49-F238E27FC236}">
                <a16:creationId xmlns:a16="http://schemas.microsoft.com/office/drawing/2014/main" xmlns="" id="{4652191A-1B09-B93F-F64A-C69338493B92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2220637" y="-28363"/>
            <a:ext cx="487363" cy="487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243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929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5C8BA7D-0BF8-0ECD-F68F-FBF794524A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380C472-50D5-CB95-AA59-0347D55F94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5235678" y="3976799"/>
            <a:ext cx="4395597" cy="172531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0475B27-AF0F-6A7A-D9A3-B35A2C0C44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6403" y="0"/>
            <a:ext cx="4395597" cy="172531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5B7FBD77-A658-D23B-623E-D63936FFA4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9" name="Rectangle: Rounded Corners 16">
            <a:extLst>
              <a:ext uri="{FF2B5EF4-FFF2-40B4-BE49-F238E27FC236}">
                <a16:creationId xmlns:a16="http://schemas.microsoft.com/office/drawing/2014/main" xmlns="" id="{37627C2D-706B-F505-F274-A2742F48CEAE}"/>
              </a:ext>
            </a:extLst>
          </p:cNvPr>
          <p:cNvSpPr/>
          <p:nvPr/>
        </p:nvSpPr>
        <p:spPr>
          <a:xfrm>
            <a:off x="540774" y="459000"/>
            <a:ext cx="11208774" cy="5961465"/>
          </a:xfrm>
          <a:custGeom>
            <a:avLst/>
            <a:gdLst>
              <a:gd name="connsiteX0" fmla="*/ 0 w 7661923"/>
              <a:gd name="connsiteY0" fmla="*/ 590674 h 3543972"/>
              <a:gd name="connsiteX1" fmla="*/ 590674 w 7661923"/>
              <a:gd name="connsiteY1" fmla="*/ 0 h 3543972"/>
              <a:gd name="connsiteX2" fmla="*/ 7071249 w 7661923"/>
              <a:gd name="connsiteY2" fmla="*/ 0 h 3543972"/>
              <a:gd name="connsiteX3" fmla="*/ 7661923 w 7661923"/>
              <a:gd name="connsiteY3" fmla="*/ 590674 h 3543972"/>
              <a:gd name="connsiteX4" fmla="*/ 7661923 w 7661923"/>
              <a:gd name="connsiteY4" fmla="*/ 2953298 h 3543972"/>
              <a:gd name="connsiteX5" fmla="*/ 7071249 w 7661923"/>
              <a:gd name="connsiteY5" fmla="*/ 3543972 h 3543972"/>
              <a:gd name="connsiteX6" fmla="*/ 590674 w 7661923"/>
              <a:gd name="connsiteY6" fmla="*/ 3543972 h 3543972"/>
              <a:gd name="connsiteX7" fmla="*/ 0 w 7661923"/>
              <a:gd name="connsiteY7" fmla="*/ 2953298 h 3543972"/>
              <a:gd name="connsiteX8" fmla="*/ 0 w 7661923"/>
              <a:gd name="connsiteY8" fmla="*/ 590674 h 354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61923" h="3543972" fill="none" extrusionOk="0">
                <a:moveTo>
                  <a:pt x="0" y="590674"/>
                </a:moveTo>
                <a:cubicBezTo>
                  <a:pt x="-3129" y="320218"/>
                  <a:pt x="266416" y="35318"/>
                  <a:pt x="590674" y="0"/>
                </a:cubicBezTo>
                <a:cubicBezTo>
                  <a:pt x="1794467" y="-123866"/>
                  <a:pt x="6042098" y="81108"/>
                  <a:pt x="7071249" y="0"/>
                </a:cubicBezTo>
                <a:cubicBezTo>
                  <a:pt x="7404141" y="-10251"/>
                  <a:pt x="7623705" y="267606"/>
                  <a:pt x="7661923" y="590674"/>
                </a:cubicBezTo>
                <a:cubicBezTo>
                  <a:pt x="7829640" y="866682"/>
                  <a:pt x="7532024" y="2657065"/>
                  <a:pt x="7661923" y="2953298"/>
                </a:cubicBezTo>
                <a:cubicBezTo>
                  <a:pt x="7682195" y="3225688"/>
                  <a:pt x="7408293" y="3563608"/>
                  <a:pt x="7071249" y="3543972"/>
                </a:cubicBezTo>
                <a:cubicBezTo>
                  <a:pt x="5427670" y="3526117"/>
                  <a:pt x="3047081" y="3434628"/>
                  <a:pt x="590674" y="3543972"/>
                </a:cubicBezTo>
                <a:cubicBezTo>
                  <a:pt x="279635" y="3506129"/>
                  <a:pt x="27738" y="3331312"/>
                  <a:pt x="0" y="2953298"/>
                </a:cubicBezTo>
                <a:cubicBezTo>
                  <a:pt x="118672" y="2050218"/>
                  <a:pt x="-34222" y="1755439"/>
                  <a:pt x="0" y="590674"/>
                </a:cubicBezTo>
                <a:close/>
              </a:path>
              <a:path w="7661923" h="3543972" stroke="0" extrusionOk="0">
                <a:moveTo>
                  <a:pt x="0" y="590674"/>
                </a:moveTo>
                <a:cubicBezTo>
                  <a:pt x="9589" y="265019"/>
                  <a:pt x="246261" y="36136"/>
                  <a:pt x="590674" y="0"/>
                </a:cubicBezTo>
                <a:cubicBezTo>
                  <a:pt x="2619233" y="96512"/>
                  <a:pt x="3878262" y="-165548"/>
                  <a:pt x="7071249" y="0"/>
                </a:cubicBezTo>
                <a:cubicBezTo>
                  <a:pt x="7459543" y="1557"/>
                  <a:pt x="7711327" y="272522"/>
                  <a:pt x="7661923" y="590674"/>
                </a:cubicBezTo>
                <a:cubicBezTo>
                  <a:pt x="7531710" y="1385815"/>
                  <a:pt x="7786896" y="1901943"/>
                  <a:pt x="7661923" y="2953298"/>
                </a:cubicBezTo>
                <a:cubicBezTo>
                  <a:pt x="7670145" y="3235322"/>
                  <a:pt x="7423708" y="3532093"/>
                  <a:pt x="7071249" y="3543972"/>
                </a:cubicBezTo>
                <a:cubicBezTo>
                  <a:pt x="6392904" y="3705684"/>
                  <a:pt x="3771159" y="3687594"/>
                  <a:pt x="590674" y="3543972"/>
                </a:cubicBezTo>
                <a:cubicBezTo>
                  <a:pt x="308331" y="3520807"/>
                  <a:pt x="52007" y="3257170"/>
                  <a:pt x="0" y="2953298"/>
                </a:cubicBezTo>
                <a:cubicBezTo>
                  <a:pt x="128997" y="2318506"/>
                  <a:pt x="-102252" y="1067692"/>
                  <a:pt x="0" y="590674"/>
                </a:cubicBezTo>
                <a:close/>
              </a:path>
            </a:pathLst>
          </a:custGeom>
          <a:solidFill>
            <a:srgbClr val="FFFF99">
              <a:alpha val="96000"/>
            </a:srgbClr>
          </a:solidFill>
          <a:ln w="38100">
            <a:solidFill>
              <a:srgbClr val="795C4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1413C7E7-8BFB-1114-8280-CDCB9D30224D}"/>
              </a:ext>
            </a:extLst>
          </p:cNvPr>
          <p:cNvGrpSpPr/>
          <p:nvPr/>
        </p:nvGrpSpPr>
        <p:grpSpPr>
          <a:xfrm>
            <a:off x="1040135" y="769400"/>
            <a:ext cx="8044872" cy="4154786"/>
            <a:chOff x="76504" y="514663"/>
            <a:chExt cx="7485060" cy="5687287"/>
          </a:xfrm>
          <a:solidFill>
            <a:schemeClr val="bg1"/>
          </a:solidFill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xmlns="" id="{88D9C5F0-5205-0C30-387F-EF8DCA068641}"/>
                </a:ext>
              </a:extLst>
            </p:cNvPr>
            <p:cNvSpPr/>
            <p:nvPr/>
          </p:nvSpPr>
          <p:spPr>
            <a:xfrm>
              <a:off x="139597" y="564703"/>
              <a:ext cx="7364501" cy="5587207"/>
            </a:xfrm>
            <a:custGeom>
              <a:avLst/>
              <a:gdLst>
                <a:gd name="connsiteX0" fmla="*/ 0 w 7364501"/>
                <a:gd name="connsiteY0" fmla="*/ 726505 h 5587207"/>
                <a:gd name="connsiteX1" fmla="*/ 726505 w 7364501"/>
                <a:gd name="connsiteY1" fmla="*/ 0 h 5587207"/>
                <a:gd name="connsiteX2" fmla="*/ 1376769 w 7364501"/>
                <a:gd name="connsiteY2" fmla="*/ 0 h 5587207"/>
                <a:gd name="connsiteX3" fmla="*/ 1849688 w 7364501"/>
                <a:gd name="connsiteY3" fmla="*/ 0 h 5587207"/>
                <a:gd name="connsiteX4" fmla="*/ 2322608 w 7364501"/>
                <a:gd name="connsiteY4" fmla="*/ 0 h 5587207"/>
                <a:gd name="connsiteX5" fmla="*/ 2972872 w 7364501"/>
                <a:gd name="connsiteY5" fmla="*/ 0 h 5587207"/>
                <a:gd name="connsiteX6" fmla="*/ 3623136 w 7364501"/>
                <a:gd name="connsiteY6" fmla="*/ 0 h 5587207"/>
                <a:gd name="connsiteX7" fmla="*/ 4096055 w 7364501"/>
                <a:gd name="connsiteY7" fmla="*/ 0 h 5587207"/>
                <a:gd name="connsiteX8" fmla="*/ 4568974 w 7364501"/>
                <a:gd name="connsiteY8" fmla="*/ 0 h 5587207"/>
                <a:gd name="connsiteX9" fmla="*/ 5278353 w 7364501"/>
                <a:gd name="connsiteY9" fmla="*/ 0 h 5587207"/>
                <a:gd name="connsiteX10" fmla="*/ 5869502 w 7364501"/>
                <a:gd name="connsiteY10" fmla="*/ 0 h 5587207"/>
                <a:gd name="connsiteX11" fmla="*/ 6637996 w 7364501"/>
                <a:gd name="connsiteY11" fmla="*/ 0 h 5587207"/>
                <a:gd name="connsiteX12" fmla="*/ 7364501 w 7364501"/>
                <a:gd name="connsiteY12" fmla="*/ 726505 h 5587207"/>
                <a:gd name="connsiteX13" fmla="*/ 7364501 w 7364501"/>
                <a:gd name="connsiteY13" fmla="*/ 1317105 h 5587207"/>
                <a:gd name="connsiteX14" fmla="*/ 7364501 w 7364501"/>
                <a:gd name="connsiteY14" fmla="*/ 1949046 h 5587207"/>
                <a:gd name="connsiteX15" fmla="*/ 7364501 w 7364501"/>
                <a:gd name="connsiteY15" fmla="*/ 2456962 h 5587207"/>
                <a:gd name="connsiteX16" fmla="*/ 7364501 w 7364501"/>
                <a:gd name="connsiteY16" fmla="*/ 3047561 h 5587207"/>
                <a:gd name="connsiteX17" fmla="*/ 7364501 w 7364501"/>
                <a:gd name="connsiteY17" fmla="*/ 3638161 h 5587207"/>
                <a:gd name="connsiteX18" fmla="*/ 7364501 w 7364501"/>
                <a:gd name="connsiteY18" fmla="*/ 4146077 h 5587207"/>
                <a:gd name="connsiteX19" fmla="*/ 7364501 w 7364501"/>
                <a:gd name="connsiteY19" fmla="*/ 4860702 h 5587207"/>
                <a:gd name="connsiteX20" fmla="*/ 6637996 w 7364501"/>
                <a:gd name="connsiteY20" fmla="*/ 5587207 h 5587207"/>
                <a:gd name="connsiteX21" fmla="*/ 5928617 w 7364501"/>
                <a:gd name="connsiteY21" fmla="*/ 5587207 h 5587207"/>
                <a:gd name="connsiteX22" fmla="*/ 5396583 w 7364501"/>
                <a:gd name="connsiteY22" fmla="*/ 5587207 h 5587207"/>
                <a:gd name="connsiteX23" fmla="*/ 4923664 w 7364501"/>
                <a:gd name="connsiteY23" fmla="*/ 5587207 h 5587207"/>
                <a:gd name="connsiteX24" fmla="*/ 4214285 w 7364501"/>
                <a:gd name="connsiteY24" fmla="*/ 5587207 h 5587207"/>
                <a:gd name="connsiteX25" fmla="*/ 3800480 w 7364501"/>
                <a:gd name="connsiteY25" fmla="*/ 5587207 h 5587207"/>
                <a:gd name="connsiteX26" fmla="*/ 3091101 w 7364501"/>
                <a:gd name="connsiteY26" fmla="*/ 5587207 h 5587207"/>
                <a:gd name="connsiteX27" fmla="*/ 2381722 w 7364501"/>
                <a:gd name="connsiteY27" fmla="*/ 5587207 h 5587207"/>
                <a:gd name="connsiteX28" fmla="*/ 1908803 w 7364501"/>
                <a:gd name="connsiteY28" fmla="*/ 5587207 h 5587207"/>
                <a:gd name="connsiteX29" fmla="*/ 1494999 w 7364501"/>
                <a:gd name="connsiteY29" fmla="*/ 5587207 h 5587207"/>
                <a:gd name="connsiteX30" fmla="*/ 726505 w 7364501"/>
                <a:gd name="connsiteY30" fmla="*/ 5587207 h 5587207"/>
                <a:gd name="connsiteX31" fmla="*/ 0 w 7364501"/>
                <a:gd name="connsiteY31" fmla="*/ 4860702 h 5587207"/>
                <a:gd name="connsiteX32" fmla="*/ 0 w 7364501"/>
                <a:gd name="connsiteY32" fmla="*/ 4228760 h 5587207"/>
                <a:gd name="connsiteX33" fmla="*/ 0 w 7364501"/>
                <a:gd name="connsiteY33" fmla="*/ 3638161 h 5587207"/>
                <a:gd name="connsiteX34" fmla="*/ 0 w 7364501"/>
                <a:gd name="connsiteY34" fmla="*/ 3088903 h 5587207"/>
                <a:gd name="connsiteX35" fmla="*/ 0 w 7364501"/>
                <a:gd name="connsiteY35" fmla="*/ 2456962 h 5587207"/>
                <a:gd name="connsiteX36" fmla="*/ 0 w 7364501"/>
                <a:gd name="connsiteY36" fmla="*/ 1783678 h 5587207"/>
                <a:gd name="connsiteX37" fmla="*/ 0 w 7364501"/>
                <a:gd name="connsiteY37" fmla="*/ 1317105 h 5587207"/>
                <a:gd name="connsiteX38" fmla="*/ 0 w 7364501"/>
                <a:gd name="connsiteY38" fmla="*/ 726505 h 558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364501" h="5587207" fill="none" extrusionOk="0">
                  <a:moveTo>
                    <a:pt x="0" y="726505"/>
                  </a:moveTo>
                  <a:cubicBezTo>
                    <a:pt x="-110588" y="367109"/>
                    <a:pt x="358231" y="16355"/>
                    <a:pt x="726505" y="0"/>
                  </a:cubicBezTo>
                  <a:cubicBezTo>
                    <a:pt x="860252" y="-59428"/>
                    <a:pt x="1075883" y="6738"/>
                    <a:pt x="1376769" y="0"/>
                  </a:cubicBezTo>
                  <a:cubicBezTo>
                    <a:pt x="1677655" y="-6738"/>
                    <a:pt x="1651362" y="43582"/>
                    <a:pt x="1849688" y="0"/>
                  </a:cubicBezTo>
                  <a:cubicBezTo>
                    <a:pt x="2048014" y="-43582"/>
                    <a:pt x="2223606" y="53000"/>
                    <a:pt x="2322608" y="0"/>
                  </a:cubicBezTo>
                  <a:cubicBezTo>
                    <a:pt x="2421610" y="-53000"/>
                    <a:pt x="2807215" y="67713"/>
                    <a:pt x="2972872" y="0"/>
                  </a:cubicBezTo>
                  <a:cubicBezTo>
                    <a:pt x="3138529" y="-67713"/>
                    <a:pt x="3359941" y="16340"/>
                    <a:pt x="3623136" y="0"/>
                  </a:cubicBezTo>
                  <a:cubicBezTo>
                    <a:pt x="3886331" y="-16340"/>
                    <a:pt x="3970313" y="12431"/>
                    <a:pt x="4096055" y="0"/>
                  </a:cubicBezTo>
                  <a:cubicBezTo>
                    <a:pt x="4221797" y="-12431"/>
                    <a:pt x="4420851" y="32464"/>
                    <a:pt x="4568974" y="0"/>
                  </a:cubicBezTo>
                  <a:cubicBezTo>
                    <a:pt x="4717097" y="-32464"/>
                    <a:pt x="5102729" y="53769"/>
                    <a:pt x="5278353" y="0"/>
                  </a:cubicBezTo>
                  <a:cubicBezTo>
                    <a:pt x="5453977" y="-53769"/>
                    <a:pt x="5616006" y="46606"/>
                    <a:pt x="5869502" y="0"/>
                  </a:cubicBezTo>
                  <a:cubicBezTo>
                    <a:pt x="6122998" y="-46606"/>
                    <a:pt x="6368667" y="16358"/>
                    <a:pt x="6637996" y="0"/>
                  </a:cubicBezTo>
                  <a:cubicBezTo>
                    <a:pt x="6992659" y="89387"/>
                    <a:pt x="7350147" y="257864"/>
                    <a:pt x="7364501" y="726505"/>
                  </a:cubicBezTo>
                  <a:cubicBezTo>
                    <a:pt x="7420485" y="894972"/>
                    <a:pt x="7311067" y="1135432"/>
                    <a:pt x="7364501" y="1317105"/>
                  </a:cubicBezTo>
                  <a:cubicBezTo>
                    <a:pt x="7417935" y="1498778"/>
                    <a:pt x="7311750" y="1812992"/>
                    <a:pt x="7364501" y="1949046"/>
                  </a:cubicBezTo>
                  <a:cubicBezTo>
                    <a:pt x="7417252" y="2085100"/>
                    <a:pt x="7327506" y="2289094"/>
                    <a:pt x="7364501" y="2456962"/>
                  </a:cubicBezTo>
                  <a:cubicBezTo>
                    <a:pt x="7401496" y="2624830"/>
                    <a:pt x="7346830" y="2826145"/>
                    <a:pt x="7364501" y="3047561"/>
                  </a:cubicBezTo>
                  <a:cubicBezTo>
                    <a:pt x="7382172" y="3268977"/>
                    <a:pt x="7303739" y="3452484"/>
                    <a:pt x="7364501" y="3638161"/>
                  </a:cubicBezTo>
                  <a:cubicBezTo>
                    <a:pt x="7425263" y="3823838"/>
                    <a:pt x="7361581" y="3894244"/>
                    <a:pt x="7364501" y="4146077"/>
                  </a:cubicBezTo>
                  <a:cubicBezTo>
                    <a:pt x="7367421" y="4397910"/>
                    <a:pt x="7319318" y="4505011"/>
                    <a:pt x="7364501" y="4860702"/>
                  </a:cubicBezTo>
                  <a:cubicBezTo>
                    <a:pt x="7376562" y="5255480"/>
                    <a:pt x="7011666" y="5686005"/>
                    <a:pt x="6637996" y="5587207"/>
                  </a:cubicBezTo>
                  <a:cubicBezTo>
                    <a:pt x="6399708" y="5601709"/>
                    <a:pt x="6263945" y="5518091"/>
                    <a:pt x="5928617" y="5587207"/>
                  </a:cubicBezTo>
                  <a:cubicBezTo>
                    <a:pt x="5593289" y="5656323"/>
                    <a:pt x="5577941" y="5535150"/>
                    <a:pt x="5396583" y="5587207"/>
                  </a:cubicBezTo>
                  <a:cubicBezTo>
                    <a:pt x="5215225" y="5639264"/>
                    <a:pt x="5029183" y="5550419"/>
                    <a:pt x="4923664" y="5587207"/>
                  </a:cubicBezTo>
                  <a:cubicBezTo>
                    <a:pt x="4818145" y="5623995"/>
                    <a:pt x="4534116" y="5515615"/>
                    <a:pt x="4214285" y="5587207"/>
                  </a:cubicBezTo>
                  <a:cubicBezTo>
                    <a:pt x="3894454" y="5658799"/>
                    <a:pt x="3964110" y="5586338"/>
                    <a:pt x="3800480" y="5587207"/>
                  </a:cubicBezTo>
                  <a:cubicBezTo>
                    <a:pt x="3636850" y="5588076"/>
                    <a:pt x="3426162" y="5582306"/>
                    <a:pt x="3091101" y="5587207"/>
                  </a:cubicBezTo>
                  <a:cubicBezTo>
                    <a:pt x="2756040" y="5592108"/>
                    <a:pt x="2657646" y="5557464"/>
                    <a:pt x="2381722" y="5587207"/>
                  </a:cubicBezTo>
                  <a:cubicBezTo>
                    <a:pt x="2105798" y="5616950"/>
                    <a:pt x="2123665" y="5583928"/>
                    <a:pt x="1908803" y="5587207"/>
                  </a:cubicBezTo>
                  <a:cubicBezTo>
                    <a:pt x="1693941" y="5590486"/>
                    <a:pt x="1631795" y="5548624"/>
                    <a:pt x="1494999" y="5587207"/>
                  </a:cubicBezTo>
                  <a:cubicBezTo>
                    <a:pt x="1358203" y="5625790"/>
                    <a:pt x="961255" y="5558879"/>
                    <a:pt x="726505" y="5587207"/>
                  </a:cubicBezTo>
                  <a:cubicBezTo>
                    <a:pt x="290069" y="5627253"/>
                    <a:pt x="-62891" y="5273233"/>
                    <a:pt x="0" y="4860702"/>
                  </a:cubicBezTo>
                  <a:cubicBezTo>
                    <a:pt x="-46103" y="4663726"/>
                    <a:pt x="73495" y="4538742"/>
                    <a:pt x="0" y="4228760"/>
                  </a:cubicBezTo>
                  <a:cubicBezTo>
                    <a:pt x="-73495" y="3918778"/>
                    <a:pt x="57179" y="3799508"/>
                    <a:pt x="0" y="3638161"/>
                  </a:cubicBezTo>
                  <a:cubicBezTo>
                    <a:pt x="-57179" y="3476814"/>
                    <a:pt x="62886" y="3320804"/>
                    <a:pt x="0" y="3088903"/>
                  </a:cubicBezTo>
                  <a:cubicBezTo>
                    <a:pt x="-62886" y="2857002"/>
                    <a:pt x="52575" y="2635666"/>
                    <a:pt x="0" y="2456962"/>
                  </a:cubicBezTo>
                  <a:cubicBezTo>
                    <a:pt x="-52575" y="2278258"/>
                    <a:pt x="2431" y="2093986"/>
                    <a:pt x="0" y="1783678"/>
                  </a:cubicBezTo>
                  <a:cubicBezTo>
                    <a:pt x="-2431" y="1473370"/>
                    <a:pt x="52364" y="1477421"/>
                    <a:pt x="0" y="1317105"/>
                  </a:cubicBezTo>
                  <a:cubicBezTo>
                    <a:pt x="-52364" y="1156789"/>
                    <a:pt x="51560" y="975503"/>
                    <a:pt x="0" y="726505"/>
                  </a:cubicBezTo>
                  <a:close/>
                </a:path>
                <a:path w="7364501" h="5587207" stroke="0" extrusionOk="0">
                  <a:moveTo>
                    <a:pt x="0" y="726505"/>
                  </a:moveTo>
                  <a:cubicBezTo>
                    <a:pt x="-43097" y="364073"/>
                    <a:pt x="304611" y="107321"/>
                    <a:pt x="726505" y="0"/>
                  </a:cubicBezTo>
                  <a:cubicBezTo>
                    <a:pt x="983268" y="-24756"/>
                    <a:pt x="1178202" y="12737"/>
                    <a:pt x="1435884" y="0"/>
                  </a:cubicBezTo>
                  <a:cubicBezTo>
                    <a:pt x="1693566" y="-12737"/>
                    <a:pt x="1889391" y="49013"/>
                    <a:pt x="2027033" y="0"/>
                  </a:cubicBezTo>
                  <a:cubicBezTo>
                    <a:pt x="2164675" y="-49013"/>
                    <a:pt x="2337773" y="33326"/>
                    <a:pt x="2499952" y="0"/>
                  </a:cubicBezTo>
                  <a:cubicBezTo>
                    <a:pt x="2662131" y="-33326"/>
                    <a:pt x="2839773" y="47405"/>
                    <a:pt x="3091101" y="0"/>
                  </a:cubicBezTo>
                  <a:cubicBezTo>
                    <a:pt x="3342429" y="-47405"/>
                    <a:pt x="3334179" y="35528"/>
                    <a:pt x="3504906" y="0"/>
                  </a:cubicBezTo>
                  <a:cubicBezTo>
                    <a:pt x="3675634" y="-35528"/>
                    <a:pt x="3830761" y="6644"/>
                    <a:pt x="4036940" y="0"/>
                  </a:cubicBezTo>
                  <a:cubicBezTo>
                    <a:pt x="4243119" y="-6644"/>
                    <a:pt x="4344995" y="51907"/>
                    <a:pt x="4628089" y="0"/>
                  </a:cubicBezTo>
                  <a:cubicBezTo>
                    <a:pt x="4911183" y="-51907"/>
                    <a:pt x="5060299" y="18305"/>
                    <a:pt x="5219238" y="0"/>
                  </a:cubicBezTo>
                  <a:cubicBezTo>
                    <a:pt x="5378177" y="-18305"/>
                    <a:pt x="5638816" y="66643"/>
                    <a:pt x="5869502" y="0"/>
                  </a:cubicBezTo>
                  <a:cubicBezTo>
                    <a:pt x="6100188" y="-66643"/>
                    <a:pt x="6299235" y="59178"/>
                    <a:pt x="6637996" y="0"/>
                  </a:cubicBezTo>
                  <a:cubicBezTo>
                    <a:pt x="7049580" y="2384"/>
                    <a:pt x="7380798" y="389133"/>
                    <a:pt x="7364501" y="726505"/>
                  </a:cubicBezTo>
                  <a:cubicBezTo>
                    <a:pt x="7382375" y="949320"/>
                    <a:pt x="7354714" y="1048890"/>
                    <a:pt x="7364501" y="1358447"/>
                  </a:cubicBezTo>
                  <a:cubicBezTo>
                    <a:pt x="7374288" y="1668004"/>
                    <a:pt x="7355485" y="1641634"/>
                    <a:pt x="7364501" y="1907704"/>
                  </a:cubicBezTo>
                  <a:cubicBezTo>
                    <a:pt x="7373517" y="2173774"/>
                    <a:pt x="7318480" y="2400752"/>
                    <a:pt x="7364501" y="2580988"/>
                  </a:cubicBezTo>
                  <a:cubicBezTo>
                    <a:pt x="7410522" y="2761224"/>
                    <a:pt x="7338142" y="2962443"/>
                    <a:pt x="7364501" y="3254271"/>
                  </a:cubicBezTo>
                  <a:cubicBezTo>
                    <a:pt x="7390860" y="3546099"/>
                    <a:pt x="7364435" y="3619632"/>
                    <a:pt x="7364501" y="3927555"/>
                  </a:cubicBezTo>
                  <a:cubicBezTo>
                    <a:pt x="7364567" y="4235478"/>
                    <a:pt x="7354871" y="4471806"/>
                    <a:pt x="7364501" y="4860702"/>
                  </a:cubicBezTo>
                  <a:cubicBezTo>
                    <a:pt x="7437249" y="5218350"/>
                    <a:pt x="6960077" y="5673814"/>
                    <a:pt x="6637996" y="5587207"/>
                  </a:cubicBezTo>
                  <a:cubicBezTo>
                    <a:pt x="6451693" y="5634276"/>
                    <a:pt x="6293250" y="5517763"/>
                    <a:pt x="6046847" y="5587207"/>
                  </a:cubicBezTo>
                  <a:cubicBezTo>
                    <a:pt x="5800444" y="5656651"/>
                    <a:pt x="5695054" y="5577560"/>
                    <a:pt x="5455698" y="5587207"/>
                  </a:cubicBezTo>
                  <a:cubicBezTo>
                    <a:pt x="5216342" y="5596854"/>
                    <a:pt x="5003655" y="5571335"/>
                    <a:pt x="4805434" y="5587207"/>
                  </a:cubicBezTo>
                  <a:cubicBezTo>
                    <a:pt x="4607213" y="5603079"/>
                    <a:pt x="4357663" y="5555779"/>
                    <a:pt x="4155170" y="5587207"/>
                  </a:cubicBezTo>
                  <a:cubicBezTo>
                    <a:pt x="3952677" y="5618635"/>
                    <a:pt x="3800077" y="5586075"/>
                    <a:pt x="3623136" y="5587207"/>
                  </a:cubicBezTo>
                  <a:cubicBezTo>
                    <a:pt x="3446195" y="5588339"/>
                    <a:pt x="3414495" y="5561246"/>
                    <a:pt x="3209331" y="5587207"/>
                  </a:cubicBezTo>
                  <a:cubicBezTo>
                    <a:pt x="3004167" y="5613168"/>
                    <a:pt x="2957298" y="5570907"/>
                    <a:pt x="2795527" y="5587207"/>
                  </a:cubicBezTo>
                  <a:cubicBezTo>
                    <a:pt x="2633756" y="5603507"/>
                    <a:pt x="2492264" y="5568618"/>
                    <a:pt x="2322608" y="5587207"/>
                  </a:cubicBezTo>
                  <a:cubicBezTo>
                    <a:pt x="2152952" y="5605796"/>
                    <a:pt x="2073286" y="5564969"/>
                    <a:pt x="1908803" y="5587207"/>
                  </a:cubicBezTo>
                  <a:cubicBezTo>
                    <a:pt x="1744321" y="5609445"/>
                    <a:pt x="1077822" y="5470843"/>
                    <a:pt x="726505" y="5587207"/>
                  </a:cubicBezTo>
                  <a:cubicBezTo>
                    <a:pt x="282893" y="5670425"/>
                    <a:pt x="-9108" y="5276105"/>
                    <a:pt x="0" y="4860702"/>
                  </a:cubicBezTo>
                  <a:cubicBezTo>
                    <a:pt x="-31361" y="4557373"/>
                    <a:pt x="17741" y="4410292"/>
                    <a:pt x="0" y="4228760"/>
                  </a:cubicBezTo>
                  <a:cubicBezTo>
                    <a:pt x="-17741" y="4047228"/>
                    <a:pt x="42534" y="3889152"/>
                    <a:pt x="0" y="3638161"/>
                  </a:cubicBezTo>
                  <a:cubicBezTo>
                    <a:pt x="-42534" y="3387170"/>
                    <a:pt x="62552" y="3157236"/>
                    <a:pt x="0" y="3006219"/>
                  </a:cubicBezTo>
                  <a:cubicBezTo>
                    <a:pt x="-62552" y="2855202"/>
                    <a:pt x="61759" y="2603880"/>
                    <a:pt x="0" y="2415620"/>
                  </a:cubicBezTo>
                  <a:cubicBezTo>
                    <a:pt x="-61759" y="2227360"/>
                    <a:pt x="25277" y="2036802"/>
                    <a:pt x="0" y="1825020"/>
                  </a:cubicBezTo>
                  <a:cubicBezTo>
                    <a:pt x="-25277" y="1613238"/>
                    <a:pt x="76492" y="1220165"/>
                    <a:pt x="0" y="726505"/>
                  </a:cubicBezTo>
                  <a:close/>
                </a:path>
              </a:pathLst>
            </a:custGeom>
            <a:grpFill/>
            <a:ln w="28575" cap="flat">
              <a:solidFill>
                <a:schemeClr val="accent6"/>
              </a:solidFill>
              <a:extLst>
                <a:ext uri="{C807C97D-BFC1-408E-A445-0C87EB9F89A2}">
                  <ask:lineSketchStyleProps xmlns:ask="http://schemas.microsoft.com/office/drawing/2018/sketchyshapes" xmlns="" sd="3439500498">
                    <a:prstGeom prst="roundRect">
                      <a:avLst>
                        <a:gd name="adj" fmla="val 13003"/>
                      </a:avLst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xmlns="" id="{9FE6D1B3-B2E1-364B-739C-2B81B8217DEF}"/>
                </a:ext>
              </a:extLst>
            </p:cNvPr>
            <p:cNvSpPr/>
            <p:nvPr/>
          </p:nvSpPr>
          <p:spPr>
            <a:xfrm>
              <a:off x="112903" y="514663"/>
              <a:ext cx="7364501" cy="5587207"/>
            </a:xfrm>
            <a:custGeom>
              <a:avLst/>
              <a:gdLst>
                <a:gd name="connsiteX0" fmla="*/ 0 w 7364501"/>
                <a:gd name="connsiteY0" fmla="*/ 726505 h 5587207"/>
                <a:gd name="connsiteX1" fmla="*/ 726505 w 7364501"/>
                <a:gd name="connsiteY1" fmla="*/ 0 h 5587207"/>
                <a:gd name="connsiteX2" fmla="*/ 1376769 w 7364501"/>
                <a:gd name="connsiteY2" fmla="*/ 0 h 5587207"/>
                <a:gd name="connsiteX3" fmla="*/ 1849688 w 7364501"/>
                <a:gd name="connsiteY3" fmla="*/ 0 h 5587207"/>
                <a:gd name="connsiteX4" fmla="*/ 2322608 w 7364501"/>
                <a:gd name="connsiteY4" fmla="*/ 0 h 5587207"/>
                <a:gd name="connsiteX5" fmla="*/ 2972872 w 7364501"/>
                <a:gd name="connsiteY5" fmla="*/ 0 h 5587207"/>
                <a:gd name="connsiteX6" fmla="*/ 3623136 w 7364501"/>
                <a:gd name="connsiteY6" fmla="*/ 0 h 5587207"/>
                <a:gd name="connsiteX7" fmla="*/ 4096055 w 7364501"/>
                <a:gd name="connsiteY7" fmla="*/ 0 h 5587207"/>
                <a:gd name="connsiteX8" fmla="*/ 4568974 w 7364501"/>
                <a:gd name="connsiteY8" fmla="*/ 0 h 5587207"/>
                <a:gd name="connsiteX9" fmla="*/ 5278353 w 7364501"/>
                <a:gd name="connsiteY9" fmla="*/ 0 h 5587207"/>
                <a:gd name="connsiteX10" fmla="*/ 5869502 w 7364501"/>
                <a:gd name="connsiteY10" fmla="*/ 0 h 5587207"/>
                <a:gd name="connsiteX11" fmla="*/ 6637996 w 7364501"/>
                <a:gd name="connsiteY11" fmla="*/ 0 h 5587207"/>
                <a:gd name="connsiteX12" fmla="*/ 7364501 w 7364501"/>
                <a:gd name="connsiteY12" fmla="*/ 726505 h 5587207"/>
                <a:gd name="connsiteX13" fmla="*/ 7364501 w 7364501"/>
                <a:gd name="connsiteY13" fmla="*/ 1317105 h 5587207"/>
                <a:gd name="connsiteX14" fmla="*/ 7364501 w 7364501"/>
                <a:gd name="connsiteY14" fmla="*/ 1949046 h 5587207"/>
                <a:gd name="connsiteX15" fmla="*/ 7364501 w 7364501"/>
                <a:gd name="connsiteY15" fmla="*/ 2456962 h 5587207"/>
                <a:gd name="connsiteX16" fmla="*/ 7364501 w 7364501"/>
                <a:gd name="connsiteY16" fmla="*/ 3047561 h 5587207"/>
                <a:gd name="connsiteX17" fmla="*/ 7364501 w 7364501"/>
                <a:gd name="connsiteY17" fmla="*/ 3638161 h 5587207"/>
                <a:gd name="connsiteX18" fmla="*/ 7364501 w 7364501"/>
                <a:gd name="connsiteY18" fmla="*/ 4146077 h 5587207"/>
                <a:gd name="connsiteX19" fmla="*/ 7364501 w 7364501"/>
                <a:gd name="connsiteY19" fmla="*/ 4860702 h 5587207"/>
                <a:gd name="connsiteX20" fmla="*/ 6637996 w 7364501"/>
                <a:gd name="connsiteY20" fmla="*/ 5587207 h 5587207"/>
                <a:gd name="connsiteX21" fmla="*/ 5928617 w 7364501"/>
                <a:gd name="connsiteY21" fmla="*/ 5587207 h 5587207"/>
                <a:gd name="connsiteX22" fmla="*/ 5396583 w 7364501"/>
                <a:gd name="connsiteY22" fmla="*/ 5587207 h 5587207"/>
                <a:gd name="connsiteX23" fmla="*/ 4923664 w 7364501"/>
                <a:gd name="connsiteY23" fmla="*/ 5587207 h 5587207"/>
                <a:gd name="connsiteX24" fmla="*/ 4214285 w 7364501"/>
                <a:gd name="connsiteY24" fmla="*/ 5587207 h 5587207"/>
                <a:gd name="connsiteX25" fmla="*/ 3800480 w 7364501"/>
                <a:gd name="connsiteY25" fmla="*/ 5587207 h 5587207"/>
                <a:gd name="connsiteX26" fmla="*/ 3091101 w 7364501"/>
                <a:gd name="connsiteY26" fmla="*/ 5587207 h 5587207"/>
                <a:gd name="connsiteX27" fmla="*/ 2381722 w 7364501"/>
                <a:gd name="connsiteY27" fmla="*/ 5587207 h 5587207"/>
                <a:gd name="connsiteX28" fmla="*/ 1908803 w 7364501"/>
                <a:gd name="connsiteY28" fmla="*/ 5587207 h 5587207"/>
                <a:gd name="connsiteX29" fmla="*/ 1494999 w 7364501"/>
                <a:gd name="connsiteY29" fmla="*/ 5587207 h 5587207"/>
                <a:gd name="connsiteX30" fmla="*/ 726505 w 7364501"/>
                <a:gd name="connsiteY30" fmla="*/ 5587207 h 5587207"/>
                <a:gd name="connsiteX31" fmla="*/ 0 w 7364501"/>
                <a:gd name="connsiteY31" fmla="*/ 4860702 h 5587207"/>
                <a:gd name="connsiteX32" fmla="*/ 0 w 7364501"/>
                <a:gd name="connsiteY32" fmla="*/ 4228760 h 5587207"/>
                <a:gd name="connsiteX33" fmla="*/ 0 w 7364501"/>
                <a:gd name="connsiteY33" fmla="*/ 3638161 h 5587207"/>
                <a:gd name="connsiteX34" fmla="*/ 0 w 7364501"/>
                <a:gd name="connsiteY34" fmla="*/ 3088903 h 5587207"/>
                <a:gd name="connsiteX35" fmla="*/ 0 w 7364501"/>
                <a:gd name="connsiteY35" fmla="*/ 2456962 h 5587207"/>
                <a:gd name="connsiteX36" fmla="*/ 0 w 7364501"/>
                <a:gd name="connsiteY36" fmla="*/ 1783678 h 5587207"/>
                <a:gd name="connsiteX37" fmla="*/ 0 w 7364501"/>
                <a:gd name="connsiteY37" fmla="*/ 1317105 h 5587207"/>
                <a:gd name="connsiteX38" fmla="*/ 0 w 7364501"/>
                <a:gd name="connsiteY38" fmla="*/ 726505 h 558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364501" h="5587207" fill="none" extrusionOk="0">
                  <a:moveTo>
                    <a:pt x="0" y="726505"/>
                  </a:moveTo>
                  <a:cubicBezTo>
                    <a:pt x="-110588" y="367109"/>
                    <a:pt x="358231" y="16355"/>
                    <a:pt x="726505" y="0"/>
                  </a:cubicBezTo>
                  <a:cubicBezTo>
                    <a:pt x="860252" y="-59428"/>
                    <a:pt x="1075883" y="6738"/>
                    <a:pt x="1376769" y="0"/>
                  </a:cubicBezTo>
                  <a:cubicBezTo>
                    <a:pt x="1677655" y="-6738"/>
                    <a:pt x="1651362" y="43582"/>
                    <a:pt x="1849688" y="0"/>
                  </a:cubicBezTo>
                  <a:cubicBezTo>
                    <a:pt x="2048014" y="-43582"/>
                    <a:pt x="2223606" y="53000"/>
                    <a:pt x="2322608" y="0"/>
                  </a:cubicBezTo>
                  <a:cubicBezTo>
                    <a:pt x="2421610" y="-53000"/>
                    <a:pt x="2807215" y="67713"/>
                    <a:pt x="2972872" y="0"/>
                  </a:cubicBezTo>
                  <a:cubicBezTo>
                    <a:pt x="3138529" y="-67713"/>
                    <a:pt x="3359941" y="16340"/>
                    <a:pt x="3623136" y="0"/>
                  </a:cubicBezTo>
                  <a:cubicBezTo>
                    <a:pt x="3886331" y="-16340"/>
                    <a:pt x="3970313" y="12431"/>
                    <a:pt x="4096055" y="0"/>
                  </a:cubicBezTo>
                  <a:cubicBezTo>
                    <a:pt x="4221797" y="-12431"/>
                    <a:pt x="4420851" y="32464"/>
                    <a:pt x="4568974" y="0"/>
                  </a:cubicBezTo>
                  <a:cubicBezTo>
                    <a:pt x="4717097" y="-32464"/>
                    <a:pt x="5102729" y="53769"/>
                    <a:pt x="5278353" y="0"/>
                  </a:cubicBezTo>
                  <a:cubicBezTo>
                    <a:pt x="5453977" y="-53769"/>
                    <a:pt x="5616006" y="46606"/>
                    <a:pt x="5869502" y="0"/>
                  </a:cubicBezTo>
                  <a:cubicBezTo>
                    <a:pt x="6122998" y="-46606"/>
                    <a:pt x="6368667" y="16358"/>
                    <a:pt x="6637996" y="0"/>
                  </a:cubicBezTo>
                  <a:cubicBezTo>
                    <a:pt x="6992659" y="89387"/>
                    <a:pt x="7350147" y="257864"/>
                    <a:pt x="7364501" y="726505"/>
                  </a:cubicBezTo>
                  <a:cubicBezTo>
                    <a:pt x="7420485" y="894972"/>
                    <a:pt x="7311067" y="1135432"/>
                    <a:pt x="7364501" y="1317105"/>
                  </a:cubicBezTo>
                  <a:cubicBezTo>
                    <a:pt x="7417935" y="1498778"/>
                    <a:pt x="7311750" y="1812992"/>
                    <a:pt x="7364501" y="1949046"/>
                  </a:cubicBezTo>
                  <a:cubicBezTo>
                    <a:pt x="7417252" y="2085100"/>
                    <a:pt x="7327506" y="2289094"/>
                    <a:pt x="7364501" y="2456962"/>
                  </a:cubicBezTo>
                  <a:cubicBezTo>
                    <a:pt x="7401496" y="2624830"/>
                    <a:pt x="7346830" y="2826145"/>
                    <a:pt x="7364501" y="3047561"/>
                  </a:cubicBezTo>
                  <a:cubicBezTo>
                    <a:pt x="7382172" y="3268977"/>
                    <a:pt x="7303739" y="3452484"/>
                    <a:pt x="7364501" y="3638161"/>
                  </a:cubicBezTo>
                  <a:cubicBezTo>
                    <a:pt x="7425263" y="3823838"/>
                    <a:pt x="7361581" y="3894244"/>
                    <a:pt x="7364501" y="4146077"/>
                  </a:cubicBezTo>
                  <a:cubicBezTo>
                    <a:pt x="7367421" y="4397910"/>
                    <a:pt x="7319318" y="4505011"/>
                    <a:pt x="7364501" y="4860702"/>
                  </a:cubicBezTo>
                  <a:cubicBezTo>
                    <a:pt x="7376562" y="5255480"/>
                    <a:pt x="7011666" y="5686005"/>
                    <a:pt x="6637996" y="5587207"/>
                  </a:cubicBezTo>
                  <a:cubicBezTo>
                    <a:pt x="6399708" y="5601709"/>
                    <a:pt x="6263945" y="5518091"/>
                    <a:pt x="5928617" y="5587207"/>
                  </a:cubicBezTo>
                  <a:cubicBezTo>
                    <a:pt x="5593289" y="5656323"/>
                    <a:pt x="5577941" y="5535150"/>
                    <a:pt x="5396583" y="5587207"/>
                  </a:cubicBezTo>
                  <a:cubicBezTo>
                    <a:pt x="5215225" y="5639264"/>
                    <a:pt x="5029183" y="5550419"/>
                    <a:pt x="4923664" y="5587207"/>
                  </a:cubicBezTo>
                  <a:cubicBezTo>
                    <a:pt x="4818145" y="5623995"/>
                    <a:pt x="4534116" y="5515615"/>
                    <a:pt x="4214285" y="5587207"/>
                  </a:cubicBezTo>
                  <a:cubicBezTo>
                    <a:pt x="3894454" y="5658799"/>
                    <a:pt x="3964110" y="5586338"/>
                    <a:pt x="3800480" y="5587207"/>
                  </a:cubicBezTo>
                  <a:cubicBezTo>
                    <a:pt x="3636850" y="5588076"/>
                    <a:pt x="3426162" y="5582306"/>
                    <a:pt x="3091101" y="5587207"/>
                  </a:cubicBezTo>
                  <a:cubicBezTo>
                    <a:pt x="2756040" y="5592108"/>
                    <a:pt x="2657646" y="5557464"/>
                    <a:pt x="2381722" y="5587207"/>
                  </a:cubicBezTo>
                  <a:cubicBezTo>
                    <a:pt x="2105798" y="5616950"/>
                    <a:pt x="2123665" y="5583928"/>
                    <a:pt x="1908803" y="5587207"/>
                  </a:cubicBezTo>
                  <a:cubicBezTo>
                    <a:pt x="1693941" y="5590486"/>
                    <a:pt x="1631795" y="5548624"/>
                    <a:pt x="1494999" y="5587207"/>
                  </a:cubicBezTo>
                  <a:cubicBezTo>
                    <a:pt x="1358203" y="5625790"/>
                    <a:pt x="961255" y="5558879"/>
                    <a:pt x="726505" y="5587207"/>
                  </a:cubicBezTo>
                  <a:cubicBezTo>
                    <a:pt x="290069" y="5627253"/>
                    <a:pt x="-62891" y="5273233"/>
                    <a:pt x="0" y="4860702"/>
                  </a:cubicBezTo>
                  <a:cubicBezTo>
                    <a:pt x="-46103" y="4663726"/>
                    <a:pt x="73495" y="4538742"/>
                    <a:pt x="0" y="4228760"/>
                  </a:cubicBezTo>
                  <a:cubicBezTo>
                    <a:pt x="-73495" y="3918778"/>
                    <a:pt x="57179" y="3799508"/>
                    <a:pt x="0" y="3638161"/>
                  </a:cubicBezTo>
                  <a:cubicBezTo>
                    <a:pt x="-57179" y="3476814"/>
                    <a:pt x="62886" y="3320804"/>
                    <a:pt x="0" y="3088903"/>
                  </a:cubicBezTo>
                  <a:cubicBezTo>
                    <a:pt x="-62886" y="2857002"/>
                    <a:pt x="52575" y="2635666"/>
                    <a:pt x="0" y="2456962"/>
                  </a:cubicBezTo>
                  <a:cubicBezTo>
                    <a:pt x="-52575" y="2278258"/>
                    <a:pt x="2431" y="2093986"/>
                    <a:pt x="0" y="1783678"/>
                  </a:cubicBezTo>
                  <a:cubicBezTo>
                    <a:pt x="-2431" y="1473370"/>
                    <a:pt x="52364" y="1477421"/>
                    <a:pt x="0" y="1317105"/>
                  </a:cubicBezTo>
                  <a:cubicBezTo>
                    <a:pt x="-52364" y="1156789"/>
                    <a:pt x="51560" y="975503"/>
                    <a:pt x="0" y="726505"/>
                  </a:cubicBezTo>
                  <a:close/>
                </a:path>
                <a:path w="7364501" h="5587207" stroke="0" extrusionOk="0">
                  <a:moveTo>
                    <a:pt x="0" y="726505"/>
                  </a:moveTo>
                  <a:cubicBezTo>
                    <a:pt x="-43097" y="364073"/>
                    <a:pt x="304611" y="107321"/>
                    <a:pt x="726505" y="0"/>
                  </a:cubicBezTo>
                  <a:cubicBezTo>
                    <a:pt x="983268" y="-24756"/>
                    <a:pt x="1178202" y="12737"/>
                    <a:pt x="1435884" y="0"/>
                  </a:cubicBezTo>
                  <a:cubicBezTo>
                    <a:pt x="1693566" y="-12737"/>
                    <a:pt x="1889391" y="49013"/>
                    <a:pt x="2027033" y="0"/>
                  </a:cubicBezTo>
                  <a:cubicBezTo>
                    <a:pt x="2164675" y="-49013"/>
                    <a:pt x="2337773" y="33326"/>
                    <a:pt x="2499952" y="0"/>
                  </a:cubicBezTo>
                  <a:cubicBezTo>
                    <a:pt x="2662131" y="-33326"/>
                    <a:pt x="2839773" y="47405"/>
                    <a:pt x="3091101" y="0"/>
                  </a:cubicBezTo>
                  <a:cubicBezTo>
                    <a:pt x="3342429" y="-47405"/>
                    <a:pt x="3334179" y="35528"/>
                    <a:pt x="3504906" y="0"/>
                  </a:cubicBezTo>
                  <a:cubicBezTo>
                    <a:pt x="3675634" y="-35528"/>
                    <a:pt x="3830761" y="6644"/>
                    <a:pt x="4036940" y="0"/>
                  </a:cubicBezTo>
                  <a:cubicBezTo>
                    <a:pt x="4243119" y="-6644"/>
                    <a:pt x="4344995" y="51907"/>
                    <a:pt x="4628089" y="0"/>
                  </a:cubicBezTo>
                  <a:cubicBezTo>
                    <a:pt x="4911183" y="-51907"/>
                    <a:pt x="5060299" y="18305"/>
                    <a:pt x="5219238" y="0"/>
                  </a:cubicBezTo>
                  <a:cubicBezTo>
                    <a:pt x="5378177" y="-18305"/>
                    <a:pt x="5638816" y="66643"/>
                    <a:pt x="5869502" y="0"/>
                  </a:cubicBezTo>
                  <a:cubicBezTo>
                    <a:pt x="6100188" y="-66643"/>
                    <a:pt x="6299235" y="59178"/>
                    <a:pt x="6637996" y="0"/>
                  </a:cubicBezTo>
                  <a:cubicBezTo>
                    <a:pt x="7049580" y="2384"/>
                    <a:pt x="7380798" y="389133"/>
                    <a:pt x="7364501" y="726505"/>
                  </a:cubicBezTo>
                  <a:cubicBezTo>
                    <a:pt x="7382375" y="949320"/>
                    <a:pt x="7354714" y="1048890"/>
                    <a:pt x="7364501" y="1358447"/>
                  </a:cubicBezTo>
                  <a:cubicBezTo>
                    <a:pt x="7374288" y="1668004"/>
                    <a:pt x="7355485" y="1641634"/>
                    <a:pt x="7364501" y="1907704"/>
                  </a:cubicBezTo>
                  <a:cubicBezTo>
                    <a:pt x="7373517" y="2173774"/>
                    <a:pt x="7318480" y="2400752"/>
                    <a:pt x="7364501" y="2580988"/>
                  </a:cubicBezTo>
                  <a:cubicBezTo>
                    <a:pt x="7410522" y="2761224"/>
                    <a:pt x="7338142" y="2962443"/>
                    <a:pt x="7364501" y="3254271"/>
                  </a:cubicBezTo>
                  <a:cubicBezTo>
                    <a:pt x="7390860" y="3546099"/>
                    <a:pt x="7364435" y="3619632"/>
                    <a:pt x="7364501" y="3927555"/>
                  </a:cubicBezTo>
                  <a:cubicBezTo>
                    <a:pt x="7364567" y="4235478"/>
                    <a:pt x="7354871" y="4471806"/>
                    <a:pt x="7364501" y="4860702"/>
                  </a:cubicBezTo>
                  <a:cubicBezTo>
                    <a:pt x="7437249" y="5218350"/>
                    <a:pt x="6960077" y="5673814"/>
                    <a:pt x="6637996" y="5587207"/>
                  </a:cubicBezTo>
                  <a:cubicBezTo>
                    <a:pt x="6451693" y="5634276"/>
                    <a:pt x="6293250" y="5517763"/>
                    <a:pt x="6046847" y="5587207"/>
                  </a:cubicBezTo>
                  <a:cubicBezTo>
                    <a:pt x="5800444" y="5656651"/>
                    <a:pt x="5695054" y="5577560"/>
                    <a:pt x="5455698" y="5587207"/>
                  </a:cubicBezTo>
                  <a:cubicBezTo>
                    <a:pt x="5216342" y="5596854"/>
                    <a:pt x="5003655" y="5571335"/>
                    <a:pt x="4805434" y="5587207"/>
                  </a:cubicBezTo>
                  <a:cubicBezTo>
                    <a:pt x="4607213" y="5603079"/>
                    <a:pt x="4357663" y="5555779"/>
                    <a:pt x="4155170" y="5587207"/>
                  </a:cubicBezTo>
                  <a:cubicBezTo>
                    <a:pt x="3952677" y="5618635"/>
                    <a:pt x="3800077" y="5586075"/>
                    <a:pt x="3623136" y="5587207"/>
                  </a:cubicBezTo>
                  <a:cubicBezTo>
                    <a:pt x="3446195" y="5588339"/>
                    <a:pt x="3414495" y="5561246"/>
                    <a:pt x="3209331" y="5587207"/>
                  </a:cubicBezTo>
                  <a:cubicBezTo>
                    <a:pt x="3004167" y="5613168"/>
                    <a:pt x="2957298" y="5570907"/>
                    <a:pt x="2795527" y="5587207"/>
                  </a:cubicBezTo>
                  <a:cubicBezTo>
                    <a:pt x="2633756" y="5603507"/>
                    <a:pt x="2492264" y="5568618"/>
                    <a:pt x="2322608" y="5587207"/>
                  </a:cubicBezTo>
                  <a:cubicBezTo>
                    <a:pt x="2152952" y="5605796"/>
                    <a:pt x="2073286" y="5564969"/>
                    <a:pt x="1908803" y="5587207"/>
                  </a:cubicBezTo>
                  <a:cubicBezTo>
                    <a:pt x="1744321" y="5609445"/>
                    <a:pt x="1077822" y="5470843"/>
                    <a:pt x="726505" y="5587207"/>
                  </a:cubicBezTo>
                  <a:cubicBezTo>
                    <a:pt x="282893" y="5670425"/>
                    <a:pt x="-9108" y="5276105"/>
                    <a:pt x="0" y="4860702"/>
                  </a:cubicBezTo>
                  <a:cubicBezTo>
                    <a:pt x="-31361" y="4557373"/>
                    <a:pt x="17741" y="4410292"/>
                    <a:pt x="0" y="4228760"/>
                  </a:cubicBezTo>
                  <a:cubicBezTo>
                    <a:pt x="-17741" y="4047228"/>
                    <a:pt x="42534" y="3889152"/>
                    <a:pt x="0" y="3638161"/>
                  </a:cubicBezTo>
                  <a:cubicBezTo>
                    <a:pt x="-42534" y="3387170"/>
                    <a:pt x="62552" y="3157236"/>
                    <a:pt x="0" y="3006219"/>
                  </a:cubicBezTo>
                  <a:cubicBezTo>
                    <a:pt x="-62552" y="2855202"/>
                    <a:pt x="61759" y="2603880"/>
                    <a:pt x="0" y="2415620"/>
                  </a:cubicBezTo>
                  <a:cubicBezTo>
                    <a:pt x="-61759" y="2227360"/>
                    <a:pt x="25277" y="2036802"/>
                    <a:pt x="0" y="1825020"/>
                  </a:cubicBezTo>
                  <a:cubicBezTo>
                    <a:pt x="-25277" y="1613238"/>
                    <a:pt x="76492" y="1220165"/>
                    <a:pt x="0" y="726505"/>
                  </a:cubicBezTo>
                  <a:close/>
                </a:path>
              </a:pathLst>
            </a:custGeom>
            <a:grpFill/>
            <a:ln w="28575" cap="flat">
              <a:solidFill>
                <a:schemeClr val="accent6"/>
              </a:solidFill>
              <a:extLst>
                <a:ext uri="{C807C97D-BFC1-408E-A445-0C87EB9F89A2}">
                  <ask:lineSketchStyleProps xmlns:ask="http://schemas.microsoft.com/office/drawing/2018/sketchyshapes" xmlns="" sd="3439500498">
                    <a:prstGeom prst="roundRect">
                      <a:avLst>
                        <a:gd name="adj" fmla="val 13003"/>
                      </a:avLst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xmlns="" id="{35B9FC8B-BCA7-2097-0E0F-3E4D2BDF8A6D}"/>
                </a:ext>
              </a:extLst>
            </p:cNvPr>
            <p:cNvSpPr/>
            <p:nvPr/>
          </p:nvSpPr>
          <p:spPr>
            <a:xfrm>
              <a:off x="197063" y="557879"/>
              <a:ext cx="7364501" cy="5587207"/>
            </a:xfrm>
            <a:custGeom>
              <a:avLst/>
              <a:gdLst>
                <a:gd name="connsiteX0" fmla="*/ 0 w 7364501"/>
                <a:gd name="connsiteY0" fmla="*/ 726505 h 5587207"/>
                <a:gd name="connsiteX1" fmla="*/ 726505 w 7364501"/>
                <a:gd name="connsiteY1" fmla="*/ 0 h 5587207"/>
                <a:gd name="connsiteX2" fmla="*/ 1376769 w 7364501"/>
                <a:gd name="connsiteY2" fmla="*/ 0 h 5587207"/>
                <a:gd name="connsiteX3" fmla="*/ 1849688 w 7364501"/>
                <a:gd name="connsiteY3" fmla="*/ 0 h 5587207"/>
                <a:gd name="connsiteX4" fmla="*/ 2322608 w 7364501"/>
                <a:gd name="connsiteY4" fmla="*/ 0 h 5587207"/>
                <a:gd name="connsiteX5" fmla="*/ 2972872 w 7364501"/>
                <a:gd name="connsiteY5" fmla="*/ 0 h 5587207"/>
                <a:gd name="connsiteX6" fmla="*/ 3623136 w 7364501"/>
                <a:gd name="connsiteY6" fmla="*/ 0 h 5587207"/>
                <a:gd name="connsiteX7" fmla="*/ 4096055 w 7364501"/>
                <a:gd name="connsiteY7" fmla="*/ 0 h 5587207"/>
                <a:gd name="connsiteX8" fmla="*/ 4568974 w 7364501"/>
                <a:gd name="connsiteY8" fmla="*/ 0 h 5587207"/>
                <a:gd name="connsiteX9" fmla="*/ 5278353 w 7364501"/>
                <a:gd name="connsiteY9" fmla="*/ 0 h 5587207"/>
                <a:gd name="connsiteX10" fmla="*/ 5869502 w 7364501"/>
                <a:gd name="connsiteY10" fmla="*/ 0 h 5587207"/>
                <a:gd name="connsiteX11" fmla="*/ 6637996 w 7364501"/>
                <a:gd name="connsiteY11" fmla="*/ 0 h 5587207"/>
                <a:gd name="connsiteX12" fmla="*/ 7364501 w 7364501"/>
                <a:gd name="connsiteY12" fmla="*/ 726505 h 5587207"/>
                <a:gd name="connsiteX13" fmla="*/ 7364501 w 7364501"/>
                <a:gd name="connsiteY13" fmla="*/ 1317105 h 5587207"/>
                <a:gd name="connsiteX14" fmla="*/ 7364501 w 7364501"/>
                <a:gd name="connsiteY14" fmla="*/ 1949046 h 5587207"/>
                <a:gd name="connsiteX15" fmla="*/ 7364501 w 7364501"/>
                <a:gd name="connsiteY15" fmla="*/ 2456962 h 5587207"/>
                <a:gd name="connsiteX16" fmla="*/ 7364501 w 7364501"/>
                <a:gd name="connsiteY16" fmla="*/ 3047561 h 5587207"/>
                <a:gd name="connsiteX17" fmla="*/ 7364501 w 7364501"/>
                <a:gd name="connsiteY17" fmla="*/ 3638161 h 5587207"/>
                <a:gd name="connsiteX18" fmla="*/ 7364501 w 7364501"/>
                <a:gd name="connsiteY18" fmla="*/ 4146077 h 5587207"/>
                <a:gd name="connsiteX19" fmla="*/ 7364501 w 7364501"/>
                <a:gd name="connsiteY19" fmla="*/ 4860702 h 5587207"/>
                <a:gd name="connsiteX20" fmla="*/ 6637996 w 7364501"/>
                <a:gd name="connsiteY20" fmla="*/ 5587207 h 5587207"/>
                <a:gd name="connsiteX21" fmla="*/ 5928617 w 7364501"/>
                <a:gd name="connsiteY21" fmla="*/ 5587207 h 5587207"/>
                <a:gd name="connsiteX22" fmla="*/ 5396583 w 7364501"/>
                <a:gd name="connsiteY22" fmla="*/ 5587207 h 5587207"/>
                <a:gd name="connsiteX23" fmla="*/ 4923664 w 7364501"/>
                <a:gd name="connsiteY23" fmla="*/ 5587207 h 5587207"/>
                <a:gd name="connsiteX24" fmla="*/ 4214285 w 7364501"/>
                <a:gd name="connsiteY24" fmla="*/ 5587207 h 5587207"/>
                <a:gd name="connsiteX25" fmla="*/ 3800480 w 7364501"/>
                <a:gd name="connsiteY25" fmla="*/ 5587207 h 5587207"/>
                <a:gd name="connsiteX26" fmla="*/ 3091101 w 7364501"/>
                <a:gd name="connsiteY26" fmla="*/ 5587207 h 5587207"/>
                <a:gd name="connsiteX27" fmla="*/ 2381722 w 7364501"/>
                <a:gd name="connsiteY27" fmla="*/ 5587207 h 5587207"/>
                <a:gd name="connsiteX28" fmla="*/ 1908803 w 7364501"/>
                <a:gd name="connsiteY28" fmla="*/ 5587207 h 5587207"/>
                <a:gd name="connsiteX29" fmla="*/ 1494999 w 7364501"/>
                <a:gd name="connsiteY29" fmla="*/ 5587207 h 5587207"/>
                <a:gd name="connsiteX30" fmla="*/ 726505 w 7364501"/>
                <a:gd name="connsiteY30" fmla="*/ 5587207 h 5587207"/>
                <a:gd name="connsiteX31" fmla="*/ 0 w 7364501"/>
                <a:gd name="connsiteY31" fmla="*/ 4860702 h 5587207"/>
                <a:gd name="connsiteX32" fmla="*/ 0 w 7364501"/>
                <a:gd name="connsiteY32" fmla="*/ 4228760 h 5587207"/>
                <a:gd name="connsiteX33" fmla="*/ 0 w 7364501"/>
                <a:gd name="connsiteY33" fmla="*/ 3638161 h 5587207"/>
                <a:gd name="connsiteX34" fmla="*/ 0 w 7364501"/>
                <a:gd name="connsiteY34" fmla="*/ 3088903 h 5587207"/>
                <a:gd name="connsiteX35" fmla="*/ 0 w 7364501"/>
                <a:gd name="connsiteY35" fmla="*/ 2456962 h 5587207"/>
                <a:gd name="connsiteX36" fmla="*/ 0 w 7364501"/>
                <a:gd name="connsiteY36" fmla="*/ 1783678 h 5587207"/>
                <a:gd name="connsiteX37" fmla="*/ 0 w 7364501"/>
                <a:gd name="connsiteY37" fmla="*/ 1317105 h 5587207"/>
                <a:gd name="connsiteX38" fmla="*/ 0 w 7364501"/>
                <a:gd name="connsiteY38" fmla="*/ 726505 h 558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364501" h="5587207" fill="none" extrusionOk="0">
                  <a:moveTo>
                    <a:pt x="0" y="726505"/>
                  </a:moveTo>
                  <a:cubicBezTo>
                    <a:pt x="-110588" y="367109"/>
                    <a:pt x="358231" y="16355"/>
                    <a:pt x="726505" y="0"/>
                  </a:cubicBezTo>
                  <a:cubicBezTo>
                    <a:pt x="860252" y="-59428"/>
                    <a:pt x="1075883" y="6738"/>
                    <a:pt x="1376769" y="0"/>
                  </a:cubicBezTo>
                  <a:cubicBezTo>
                    <a:pt x="1677655" y="-6738"/>
                    <a:pt x="1651362" y="43582"/>
                    <a:pt x="1849688" y="0"/>
                  </a:cubicBezTo>
                  <a:cubicBezTo>
                    <a:pt x="2048014" y="-43582"/>
                    <a:pt x="2223606" y="53000"/>
                    <a:pt x="2322608" y="0"/>
                  </a:cubicBezTo>
                  <a:cubicBezTo>
                    <a:pt x="2421610" y="-53000"/>
                    <a:pt x="2807215" y="67713"/>
                    <a:pt x="2972872" y="0"/>
                  </a:cubicBezTo>
                  <a:cubicBezTo>
                    <a:pt x="3138529" y="-67713"/>
                    <a:pt x="3359941" y="16340"/>
                    <a:pt x="3623136" y="0"/>
                  </a:cubicBezTo>
                  <a:cubicBezTo>
                    <a:pt x="3886331" y="-16340"/>
                    <a:pt x="3970313" y="12431"/>
                    <a:pt x="4096055" y="0"/>
                  </a:cubicBezTo>
                  <a:cubicBezTo>
                    <a:pt x="4221797" y="-12431"/>
                    <a:pt x="4420851" y="32464"/>
                    <a:pt x="4568974" y="0"/>
                  </a:cubicBezTo>
                  <a:cubicBezTo>
                    <a:pt x="4717097" y="-32464"/>
                    <a:pt x="5102729" y="53769"/>
                    <a:pt x="5278353" y="0"/>
                  </a:cubicBezTo>
                  <a:cubicBezTo>
                    <a:pt x="5453977" y="-53769"/>
                    <a:pt x="5616006" y="46606"/>
                    <a:pt x="5869502" y="0"/>
                  </a:cubicBezTo>
                  <a:cubicBezTo>
                    <a:pt x="6122998" y="-46606"/>
                    <a:pt x="6368667" y="16358"/>
                    <a:pt x="6637996" y="0"/>
                  </a:cubicBezTo>
                  <a:cubicBezTo>
                    <a:pt x="6992659" y="89387"/>
                    <a:pt x="7350147" y="257864"/>
                    <a:pt x="7364501" y="726505"/>
                  </a:cubicBezTo>
                  <a:cubicBezTo>
                    <a:pt x="7420485" y="894972"/>
                    <a:pt x="7311067" y="1135432"/>
                    <a:pt x="7364501" y="1317105"/>
                  </a:cubicBezTo>
                  <a:cubicBezTo>
                    <a:pt x="7417935" y="1498778"/>
                    <a:pt x="7311750" y="1812992"/>
                    <a:pt x="7364501" y="1949046"/>
                  </a:cubicBezTo>
                  <a:cubicBezTo>
                    <a:pt x="7417252" y="2085100"/>
                    <a:pt x="7327506" y="2289094"/>
                    <a:pt x="7364501" y="2456962"/>
                  </a:cubicBezTo>
                  <a:cubicBezTo>
                    <a:pt x="7401496" y="2624830"/>
                    <a:pt x="7346830" y="2826145"/>
                    <a:pt x="7364501" y="3047561"/>
                  </a:cubicBezTo>
                  <a:cubicBezTo>
                    <a:pt x="7382172" y="3268977"/>
                    <a:pt x="7303739" y="3452484"/>
                    <a:pt x="7364501" y="3638161"/>
                  </a:cubicBezTo>
                  <a:cubicBezTo>
                    <a:pt x="7425263" y="3823838"/>
                    <a:pt x="7361581" y="3894244"/>
                    <a:pt x="7364501" y="4146077"/>
                  </a:cubicBezTo>
                  <a:cubicBezTo>
                    <a:pt x="7367421" y="4397910"/>
                    <a:pt x="7319318" y="4505011"/>
                    <a:pt x="7364501" y="4860702"/>
                  </a:cubicBezTo>
                  <a:cubicBezTo>
                    <a:pt x="7376562" y="5255480"/>
                    <a:pt x="7011666" y="5686005"/>
                    <a:pt x="6637996" y="5587207"/>
                  </a:cubicBezTo>
                  <a:cubicBezTo>
                    <a:pt x="6399708" y="5601709"/>
                    <a:pt x="6263945" y="5518091"/>
                    <a:pt x="5928617" y="5587207"/>
                  </a:cubicBezTo>
                  <a:cubicBezTo>
                    <a:pt x="5593289" y="5656323"/>
                    <a:pt x="5577941" y="5535150"/>
                    <a:pt x="5396583" y="5587207"/>
                  </a:cubicBezTo>
                  <a:cubicBezTo>
                    <a:pt x="5215225" y="5639264"/>
                    <a:pt x="5029183" y="5550419"/>
                    <a:pt x="4923664" y="5587207"/>
                  </a:cubicBezTo>
                  <a:cubicBezTo>
                    <a:pt x="4818145" y="5623995"/>
                    <a:pt x="4534116" y="5515615"/>
                    <a:pt x="4214285" y="5587207"/>
                  </a:cubicBezTo>
                  <a:cubicBezTo>
                    <a:pt x="3894454" y="5658799"/>
                    <a:pt x="3964110" y="5586338"/>
                    <a:pt x="3800480" y="5587207"/>
                  </a:cubicBezTo>
                  <a:cubicBezTo>
                    <a:pt x="3636850" y="5588076"/>
                    <a:pt x="3426162" y="5582306"/>
                    <a:pt x="3091101" y="5587207"/>
                  </a:cubicBezTo>
                  <a:cubicBezTo>
                    <a:pt x="2756040" y="5592108"/>
                    <a:pt x="2657646" y="5557464"/>
                    <a:pt x="2381722" y="5587207"/>
                  </a:cubicBezTo>
                  <a:cubicBezTo>
                    <a:pt x="2105798" y="5616950"/>
                    <a:pt x="2123665" y="5583928"/>
                    <a:pt x="1908803" y="5587207"/>
                  </a:cubicBezTo>
                  <a:cubicBezTo>
                    <a:pt x="1693941" y="5590486"/>
                    <a:pt x="1631795" y="5548624"/>
                    <a:pt x="1494999" y="5587207"/>
                  </a:cubicBezTo>
                  <a:cubicBezTo>
                    <a:pt x="1358203" y="5625790"/>
                    <a:pt x="961255" y="5558879"/>
                    <a:pt x="726505" y="5587207"/>
                  </a:cubicBezTo>
                  <a:cubicBezTo>
                    <a:pt x="290069" y="5627253"/>
                    <a:pt x="-62891" y="5273233"/>
                    <a:pt x="0" y="4860702"/>
                  </a:cubicBezTo>
                  <a:cubicBezTo>
                    <a:pt x="-46103" y="4663726"/>
                    <a:pt x="73495" y="4538742"/>
                    <a:pt x="0" y="4228760"/>
                  </a:cubicBezTo>
                  <a:cubicBezTo>
                    <a:pt x="-73495" y="3918778"/>
                    <a:pt x="57179" y="3799508"/>
                    <a:pt x="0" y="3638161"/>
                  </a:cubicBezTo>
                  <a:cubicBezTo>
                    <a:pt x="-57179" y="3476814"/>
                    <a:pt x="62886" y="3320804"/>
                    <a:pt x="0" y="3088903"/>
                  </a:cubicBezTo>
                  <a:cubicBezTo>
                    <a:pt x="-62886" y="2857002"/>
                    <a:pt x="52575" y="2635666"/>
                    <a:pt x="0" y="2456962"/>
                  </a:cubicBezTo>
                  <a:cubicBezTo>
                    <a:pt x="-52575" y="2278258"/>
                    <a:pt x="2431" y="2093986"/>
                    <a:pt x="0" y="1783678"/>
                  </a:cubicBezTo>
                  <a:cubicBezTo>
                    <a:pt x="-2431" y="1473370"/>
                    <a:pt x="52364" y="1477421"/>
                    <a:pt x="0" y="1317105"/>
                  </a:cubicBezTo>
                  <a:cubicBezTo>
                    <a:pt x="-52364" y="1156789"/>
                    <a:pt x="51560" y="975503"/>
                    <a:pt x="0" y="726505"/>
                  </a:cubicBezTo>
                  <a:close/>
                </a:path>
                <a:path w="7364501" h="5587207" stroke="0" extrusionOk="0">
                  <a:moveTo>
                    <a:pt x="0" y="726505"/>
                  </a:moveTo>
                  <a:cubicBezTo>
                    <a:pt x="-43097" y="364073"/>
                    <a:pt x="304611" y="107321"/>
                    <a:pt x="726505" y="0"/>
                  </a:cubicBezTo>
                  <a:cubicBezTo>
                    <a:pt x="983268" y="-24756"/>
                    <a:pt x="1178202" y="12737"/>
                    <a:pt x="1435884" y="0"/>
                  </a:cubicBezTo>
                  <a:cubicBezTo>
                    <a:pt x="1693566" y="-12737"/>
                    <a:pt x="1889391" y="49013"/>
                    <a:pt x="2027033" y="0"/>
                  </a:cubicBezTo>
                  <a:cubicBezTo>
                    <a:pt x="2164675" y="-49013"/>
                    <a:pt x="2337773" y="33326"/>
                    <a:pt x="2499952" y="0"/>
                  </a:cubicBezTo>
                  <a:cubicBezTo>
                    <a:pt x="2662131" y="-33326"/>
                    <a:pt x="2839773" y="47405"/>
                    <a:pt x="3091101" y="0"/>
                  </a:cubicBezTo>
                  <a:cubicBezTo>
                    <a:pt x="3342429" y="-47405"/>
                    <a:pt x="3334179" y="35528"/>
                    <a:pt x="3504906" y="0"/>
                  </a:cubicBezTo>
                  <a:cubicBezTo>
                    <a:pt x="3675634" y="-35528"/>
                    <a:pt x="3830761" y="6644"/>
                    <a:pt x="4036940" y="0"/>
                  </a:cubicBezTo>
                  <a:cubicBezTo>
                    <a:pt x="4243119" y="-6644"/>
                    <a:pt x="4344995" y="51907"/>
                    <a:pt x="4628089" y="0"/>
                  </a:cubicBezTo>
                  <a:cubicBezTo>
                    <a:pt x="4911183" y="-51907"/>
                    <a:pt x="5060299" y="18305"/>
                    <a:pt x="5219238" y="0"/>
                  </a:cubicBezTo>
                  <a:cubicBezTo>
                    <a:pt x="5378177" y="-18305"/>
                    <a:pt x="5638816" y="66643"/>
                    <a:pt x="5869502" y="0"/>
                  </a:cubicBezTo>
                  <a:cubicBezTo>
                    <a:pt x="6100188" y="-66643"/>
                    <a:pt x="6299235" y="59178"/>
                    <a:pt x="6637996" y="0"/>
                  </a:cubicBezTo>
                  <a:cubicBezTo>
                    <a:pt x="7049580" y="2384"/>
                    <a:pt x="7380798" y="389133"/>
                    <a:pt x="7364501" y="726505"/>
                  </a:cubicBezTo>
                  <a:cubicBezTo>
                    <a:pt x="7382375" y="949320"/>
                    <a:pt x="7354714" y="1048890"/>
                    <a:pt x="7364501" y="1358447"/>
                  </a:cubicBezTo>
                  <a:cubicBezTo>
                    <a:pt x="7374288" y="1668004"/>
                    <a:pt x="7355485" y="1641634"/>
                    <a:pt x="7364501" y="1907704"/>
                  </a:cubicBezTo>
                  <a:cubicBezTo>
                    <a:pt x="7373517" y="2173774"/>
                    <a:pt x="7318480" y="2400752"/>
                    <a:pt x="7364501" y="2580988"/>
                  </a:cubicBezTo>
                  <a:cubicBezTo>
                    <a:pt x="7410522" y="2761224"/>
                    <a:pt x="7338142" y="2962443"/>
                    <a:pt x="7364501" y="3254271"/>
                  </a:cubicBezTo>
                  <a:cubicBezTo>
                    <a:pt x="7390860" y="3546099"/>
                    <a:pt x="7364435" y="3619632"/>
                    <a:pt x="7364501" y="3927555"/>
                  </a:cubicBezTo>
                  <a:cubicBezTo>
                    <a:pt x="7364567" y="4235478"/>
                    <a:pt x="7354871" y="4471806"/>
                    <a:pt x="7364501" y="4860702"/>
                  </a:cubicBezTo>
                  <a:cubicBezTo>
                    <a:pt x="7437249" y="5218350"/>
                    <a:pt x="6960077" y="5673814"/>
                    <a:pt x="6637996" y="5587207"/>
                  </a:cubicBezTo>
                  <a:cubicBezTo>
                    <a:pt x="6451693" y="5634276"/>
                    <a:pt x="6293250" y="5517763"/>
                    <a:pt x="6046847" y="5587207"/>
                  </a:cubicBezTo>
                  <a:cubicBezTo>
                    <a:pt x="5800444" y="5656651"/>
                    <a:pt x="5695054" y="5577560"/>
                    <a:pt x="5455698" y="5587207"/>
                  </a:cubicBezTo>
                  <a:cubicBezTo>
                    <a:pt x="5216342" y="5596854"/>
                    <a:pt x="5003655" y="5571335"/>
                    <a:pt x="4805434" y="5587207"/>
                  </a:cubicBezTo>
                  <a:cubicBezTo>
                    <a:pt x="4607213" y="5603079"/>
                    <a:pt x="4357663" y="5555779"/>
                    <a:pt x="4155170" y="5587207"/>
                  </a:cubicBezTo>
                  <a:cubicBezTo>
                    <a:pt x="3952677" y="5618635"/>
                    <a:pt x="3800077" y="5586075"/>
                    <a:pt x="3623136" y="5587207"/>
                  </a:cubicBezTo>
                  <a:cubicBezTo>
                    <a:pt x="3446195" y="5588339"/>
                    <a:pt x="3414495" y="5561246"/>
                    <a:pt x="3209331" y="5587207"/>
                  </a:cubicBezTo>
                  <a:cubicBezTo>
                    <a:pt x="3004167" y="5613168"/>
                    <a:pt x="2957298" y="5570907"/>
                    <a:pt x="2795527" y="5587207"/>
                  </a:cubicBezTo>
                  <a:cubicBezTo>
                    <a:pt x="2633756" y="5603507"/>
                    <a:pt x="2492264" y="5568618"/>
                    <a:pt x="2322608" y="5587207"/>
                  </a:cubicBezTo>
                  <a:cubicBezTo>
                    <a:pt x="2152952" y="5605796"/>
                    <a:pt x="2073286" y="5564969"/>
                    <a:pt x="1908803" y="5587207"/>
                  </a:cubicBezTo>
                  <a:cubicBezTo>
                    <a:pt x="1744321" y="5609445"/>
                    <a:pt x="1077822" y="5470843"/>
                    <a:pt x="726505" y="5587207"/>
                  </a:cubicBezTo>
                  <a:cubicBezTo>
                    <a:pt x="282893" y="5670425"/>
                    <a:pt x="-9108" y="5276105"/>
                    <a:pt x="0" y="4860702"/>
                  </a:cubicBezTo>
                  <a:cubicBezTo>
                    <a:pt x="-31361" y="4557373"/>
                    <a:pt x="17741" y="4410292"/>
                    <a:pt x="0" y="4228760"/>
                  </a:cubicBezTo>
                  <a:cubicBezTo>
                    <a:pt x="-17741" y="4047228"/>
                    <a:pt x="42534" y="3889152"/>
                    <a:pt x="0" y="3638161"/>
                  </a:cubicBezTo>
                  <a:cubicBezTo>
                    <a:pt x="-42534" y="3387170"/>
                    <a:pt x="62552" y="3157236"/>
                    <a:pt x="0" y="3006219"/>
                  </a:cubicBezTo>
                  <a:cubicBezTo>
                    <a:pt x="-62552" y="2855202"/>
                    <a:pt x="61759" y="2603880"/>
                    <a:pt x="0" y="2415620"/>
                  </a:cubicBezTo>
                  <a:cubicBezTo>
                    <a:pt x="-61759" y="2227360"/>
                    <a:pt x="25277" y="2036802"/>
                    <a:pt x="0" y="1825020"/>
                  </a:cubicBezTo>
                  <a:cubicBezTo>
                    <a:pt x="-25277" y="1613238"/>
                    <a:pt x="76492" y="1220165"/>
                    <a:pt x="0" y="726505"/>
                  </a:cubicBezTo>
                  <a:close/>
                </a:path>
              </a:pathLst>
            </a:custGeom>
            <a:grpFill/>
            <a:ln w="28575" cap="flat">
              <a:solidFill>
                <a:schemeClr val="accent6"/>
              </a:solidFill>
              <a:extLst>
                <a:ext uri="{C807C97D-BFC1-408E-A445-0C87EB9F89A2}">
                  <ask:lineSketchStyleProps xmlns:ask="http://schemas.microsoft.com/office/drawing/2018/sketchyshapes" xmlns="" sd="3439500498">
                    <a:prstGeom prst="roundRect">
                      <a:avLst>
                        <a:gd name="adj" fmla="val 13003"/>
                      </a:avLst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xmlns="" id="{82CFD11D-27D1-602D-AFC7-B89D6082C542}"/>
                </a:ext>
              </a:extLst>
            </p:cNvPr>
            <p:cNvSpPr/>
            <p:nvPr/>
          </p:nvSpPr>
          <p:spPr>
            <a:xfrm>
              <a:off x="76504" y="614743"/>
              <a:ext cx="7364501" cy="5587207"/>
            </a:xfrm>
            <a:custGeom>
              <a:avLst/>
              <a:gdLst>
                <a:gd name="connsiteX0" fmla="*/ 0 w 7364501"/>
                <a:gd name="connsiteY0" fmla="*/ 726505 h 5587207"/>
                <a:gd name="connsiteX1" fmla="*/ 726505 w 7364501"/>
                <a:gd name="connsiteY1" fmla="*/ 0 h 5587207"/>
                <a:gd name="connsiteX2" fmla="*/ 1435884 w 7364501"/>
                <a:gd name="connsiteY2" fmla="*/ 0 h 5587207"/>
                <a:gd name="connsiteX3" fmla="*/ 2027033 w 7364501"/>
                <a:gd name="connsiteY3" fmla="*/ 0 h 5587207"/>
                <a:gd name="connsiteX4" fmla="*/ 2499952 w 7364501"/>
                <a:gd name="connsiteY4" fmla="*/ 0 h 5587207"/>
                <a:gd name="connsiteX5" fmla="*/ 3091101 w 7364501"/>
                <a:gd name="connsiteY5" fmla="*/ 0 h 5587207"/>
                <a:gd name="connsiteX6" fmla="*/ 3504906 w 7364501"/>
                <a:gd name="connsiteY6" fmla="*/ 0 h 5587207"/>
                <a:gd name="connsiteX7" fmla="*/ 4036940 w 7364501"/>
                <a:gd name="connsiteY7" fmla="*/ 0 h 5587207"/>
                <a:gd name="connsiteX8" fmla="*/ 4628089 w 7364501"/>
                <a:gd name="connsiteY8" fmla="*/ 0 h 5587207"/>
                <a:gd name="connsiteX9" fmla="*/ 5219238 w 7364501"/>
                <a:gd name="connsiteY9" fmla="*/ 0 h 5587207"/>
                <a:gd name="connsiteX10" fmla="*/ 5869502 w 7364501"/>
                <a:gd name="connsiteY10" fmla="*/ 0 h 5587207"/>
                <a:gd name="connsiteX11" fmla="*/ 6637996 w 7364501"/>
                <a:gd name="connsiteY11" fmla="*/ 0 h 5587207"/>
                <a:gd name="connsiteX12" fmla="*/ 7364501 w 7364501"/>
                <a:gd name="connsiteY12" fmla="*/ 726505 h 5587207"/>
                <a:gd name="connsiteX13" fmla="*/ 7364501 w 7364501"/>
                <a:gd name="connsiteY13" fmla="*/ 1358447 h 5587207"/>
                <a:gd name="connsiteX14" fmla="*/ 7364501 w 7364501"/>
                <a:gd name="connsiteY14" fmla="*/ 1907704 h 5587207"/>
                <a:gd name="connsiteX15" fmla="*/ 7364501 w 7364501"/>
                <a:gd name="connsiteY15" fmla="*/ 2580988 h 5587207"/>
                <a:gd name="connsiteX16" fmla="*/ 7364501 w 7364501"/>
                <a:gd name="connsiteY16" fmla="*/ 3254271 h 5587207"/>
                <a:gd name="connsiteX17" fmla="*/ 7364501 w 7364501"/>
                <a:gd name="connsiteY17" fmla="*/ 3927555 h 5587207"/>
                <a:gd name="connsiteX18" fmla="*/ 7364501 w 7364501"/>
                <a:gd name="connsiteY18" fmla="*/ 4860702 h 5587207"/>
                <a:gd name="connsiteX19" fmla="*/ 6637996 w 7364501"/>
                <a:gd name="connsiteY19" fmla="*/ 5587207 h 5587207"/>
                <a:gd name="connsiteX20" fmla="*/ 6046847 w 7364501"/>
                <a:gd name="connsiteY20" fmla="*/ 5587207 h 5587207"/>
                <a:gd name="connsiteX21" fmla="*/ 5455698 w 7364501"/>
                <a:gd name="connsiteY21" fmla="*/ 5587207 h 5587207"/>
                <a:gd name="connsiteX22" fmla="*/ 4805434 w 7364501"/>
                <a:gd name="connsiteY22" fmla="*/ 5587207 h 5587207"/>
                <a:gd name="connsiteX23" fmla="*/ 4155170 w 7364501"/>
                <a:gd name="connsiteY23" fmla="*/ 5587207 h 5587207"/>
                <a:gd name="connsiteX24" fmla="*/ 3623136 w 7364501"/>
                <a:gd name="connsiteY24" fmla="*/ 5587207 h 5587207"/>
                <a:gd name="connsiteX25" fmla="*/ 3209331 w 7364501"/>
                <a:gd name="connsiteY25" fmla="*/ 5587207 h 5587207"/>
                <a:gd name="connsiteX26" fmla="*/ 2795527 w 7364501"/>
                <a:gd name="connsiteY26" fmla="*/ 5587207 h 5587207"/>
                <a:gd name="connsiteX27" fmla="*/ 2322608 w 7364501"/>
                <a:gd name="connsiteY27" fmla="*/ 5587207 h 5587207"/>
                <a:gd name="connsiteX28" fmla="*/ 1908803 w 7364501"/>
                <a:gd name="connsiteY28" fmla="*/ 5587207 h 5587207"/>
                <a:gd name="connsiteX29" fmla="*/ 726505 w 7364501"/>
                <a:gd name="connsiteY29" fmla="*/ 5587207 h 5587207"/>
                <a:gd name="connsiteX30" fmla="*/ 0 w 7364501"/>
                <a:gd name="connsiteY30" fmla="*/ 4860702 h 5587207"/>
                <a:gd name="connsiteX31" fmla="*/ 0 w 7364501"/>
                <a:gd name="connsiteY31" fmla="*/ 4228760 h 5587207"/>
                <a:gd name="connsiteX32" fmla="*/ 0 w 7364501"/>
                <a:gd name="connsiteY32" fmla="*/ 3638161 h 5587207"/>
                <a:gd name="connsiteX33" fmla="*/ 0 w 7364501"/>
                <a:gd name="connsiteY33" fmla="*/ 3006219 h 5587207"/>
                <a:gd name="connsiteX34" fmla="*/ 0 w 7364501"/>
                <a:gd name="connsiteY34" fmla="*/ 2415620 h 5587207"/>
                <a:gd name="connsiteX35" fmla="*/ 0 w 7364501"/>
                <a:gd name="connsiteY35" fmla="*/ 1825020 h 5587207"/>
                <a:gd name="connsiteX36" fmla="*/ 0 w 7364501"/>
                <a:gd name="connsiteY36" fmla="*/ 726505 h 558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7364501" h="5587207" extrusionOk="0">
                  <a:moveTo>
                    <a:pt x="0" y="726505"/>
                  </a:moveTo>
                  <a:cubicBezTo>
                    <a:pt x="-43097" y="364073"/>
                    <a:pt x="304611" y="107321"/>
                    <a:pt x="726505" y="0"/>
                  </a:cubicBezTo>
                  <a:cubicBezTo>
                    <a:pt x="983268" y="-24756"/>
                    <a:pt x="1178202" y="12737"/>
                    <a:pt x="1435884" y="0"/>
                  </a:cubicBezTo>
                  <a:cubicBezTo>
                    <a:pt x="1693566" y="-12737"/>
                    <a:pt x="1889391" y="49013"/>
                    <a:pt x="2027033" y="0"/>
                  </a:cubicBezTo>
                  <a:cubicBezTo>
                    <a:pt x="2164675" y="-49013"/>
                    <a:pt x="2337773" y="33326"/>
                    <a:pt x="2499952" y="0"/>
                  </a:cubicBezTo>
                  <a:cubicBezTo>
                    <a:pt x="2662131" y="-33326"/>
                    <a:pt x="2839773" y="47405"/>
                    <a:pt x="3091101" y="0"/>
                  </a:cubicBezTo>
                  <a:cubicBezTo>
                    <a:pt x="3342429" y="-47405"/>
                    <a:pt x="3334179" y="35528"/>
                    <a:pt x="3504906" y="0"/>
                  </a:cubicBezTo>
                  <a:cubicBezTo>
                    <a:pt x="3675634" y="-35528"/>
                    <a:pt x="3830761" y="6644"/>
                    <a:pt x="4036940" y="0"/>
                  </a:cubicBezTo>
                  <a:cubicBezTo>
                    <a:pt x="4243119" y="-6644"/>
                    <a:pt x="4344995" y="51907"/>
                    <a:pt x="4628089" y="0"/>
                  </a:cubicBezTo>
                  <a:cubicBezTo>
                    <a:pt x="4911183" y="-51907"/>
                    <a:pt x="5060299" y="18305"/>
                    <a:pt x="5219238" y="0"/>
                  </a:cubicBezTo>
                  <a:cubicBezTo>
                    <a:pt x="5378177" y="-18305"/>
                    <a:pt x="5638816" y="66643"/>
                    <a:pt x="5869502" y="0"/>
                  </a:cubicBezTo>
                  <a:cubicBezTo>
                    <a:pt x="6100188" y="-66643"/>
                    <a:pt x="6299235" y="59178"/>
                    <a:pt x="6637996" y="0"/>
                  </a:cubicBezTo>
                  <a:cubicBezTo>
                    <a:pt x="7049580" y="2384"/>
                    <a:pt x="7380798" y="389133"/>
                    <a:pt x="7364501" y="726505"/>
                  </a:cubicBezTo>
                  <a:cubicBezTo>
                    <a:pt x="7382375" y="949320"/>
                    <a:pt x="7354714" y="1048890"/>
                    <a:pt x="7364501" y="1358447"/>
                  </a:cubicBezTo>
                  <a:cubicBezTo>
                    <a:pt x="7374288" y="1668004"/>
                    <a:pt x="7355485" y="1641634"/>
                    <a:pt x="7364501" y="1907704"/>
                  </a:cubicBezTo>
                  <a:cubicBezTo>
                    <a:pt x="7373517" y="2173774"/>
                    <a:pt x="7318480" y="2400752"/>
                    <a:pt x="7364501" y="2580988"/>
                  </a:cubicBezTo>
                  <a:cubicBezTo>
                    <a:pt x="7410522" y="2761224"/>
                    <a:pt x="7338142" y="2962443"/>
                    <a:pt x="7364501" y="3254271"/>
                  </a:cubicBezTo>
                  <a:cubicBezTo>
                    <a:pt x="7390860" y="3546099"/>
                    <a:pt x="7364435" y="3619632"/>
                    <a:pt x="7364501" y="3927555"/>
                  </a:cubicBezTo>
                  <a:cubicBezTo>
                    <a:pt x="7364567" y="4235478"/>
                    <a:pt x="7354871" y="4471806"/>
                    <a:pt x="7364501" y="4860702"/>
                  </a:cubicBezTo>
                  <a:cubicBezTo>
                    <a:pt x="7437249" y="5218350"/>
                    <a:pt x="6960077" y="5673814"/>
                    <a:pt x="6637996" y="5587207"/>
                  </a:cubicBezTo>
                  <a:cubicBezTo>
                    <a:pt x="6451693" y="5634276"/>
                    <a:pt x="6293250" y="5517763"/>
                    <a:pt x="6046847" y="5587207"/>
                  </a:cubicBezTo>
                  <a:cubicBezTo>
                    <a:pt x="5800444" y="5656651"/>
                    <a:pt x="5695054" y="5577560"/>
                    <a:pt x="5455698" y="5587207"/>
                  </a:cubicBezTo>
                  <a:cubicBezTo>
                    <a:pt x="5216342" y="5596854"/>
                    <a:pt x="5003655" y="5571335"/>
                    <a:pt x="4805434" y="5587207"/>
                  </a:cubicBezTo>
                  <a:cubicBezTo>
                    <a:pt x="4607213" y="5603079"/>
                    <a:pt x="4357663" y="5555779"/>
                    <a:pt x="4155170" y="5587207"/>
                  </a:cubicBezTo>
                  <a:cubicBezTo>
                    <a:pt x="3952677" y="5618635"/>
                    <a:pt x="3800077" y="5586075"/>
                    <a:pt x="3623136" y="5587207"/>
                  </a:cubicBezTo>
                  <a:cubicBezTo>
                    <a:pt x="3446195" y="5588339"/>
                    <a:pt x="3414495" y="5561246"/>
                    <a:pt x="3209331" y="5587207"/>
                  </a:cubicBezTo>
                  <a:cubicBezTo>
                    <a:pt x="3004167" y="5613168"/>
                    <a:pt x="2957298" y="5570907"/>
                    <a:pt x="2795527" y="5587207"/>
                  </a:cubicBezTo>
                  <a:cubicBezTo>
                    <a:pt x="2633756" y="5603507"/>
                    <a:pt x="2492264" y="5568618"/>
                    <a:pt x="2322608" y="5587207"/>
                  </a:cubicBezTo>
                  <a:cubicBezTo>
                    <a:pt x="2152952" y="5605796"/>
                    <a:pt x="2073286" y="5564969"/>
                    <a:pt x="1908803" y="5587207"/>
                  </a:cubicBezTo>
                  <a:cubicBezTo>
                    <a:pt x="1744321" y="5609445"/>
                    <a:pt x="1077822" y="5470843"/>
                    <a:pt x="726505" y="5587207"/>
                  </a:cubicBezTo>
                  <a:cubicBezTo>
                    <a:pt x="282893" y="5670425"/>
                    <a:pt x="-9108" y="5276105"/>
                    <a:pt x="0" y="4860702"/>
                  </a:cubicBezTo>
                  <a:cubicBezTo>
                    <a:pt x="-31361" y="4557373"/>
                    <a:pt x="17741" y="4410292"/>
                    <a:pt x="0" y="4228760"/>
                  </a:cubicBezTo>
                  <a:cubicBezTo>
                    <a:pt x="-17741" y="4047228"/>
                    <a:pt x="42534" y="3889152"/>
                    <a:pt x="0" y="3638161"/>
                  </a:cubicBezTo>
                  <a:cubicBezTo>
                    <a:pt x="-42534" y="3387170"/>
                    <a:pt x="62552" y="3157236"/>
                    <a:pt x="0" y="3006219"/>
                  </a:cubicBezTo>
                  <a:cubicBezTo>
                    <a:pt x="-62552" y="2855202"/>
                    <a:pt x="61759" y="2603880"/>
                    <a:pt x="0" y="2415620"/>
                  </a:cubicBezTo>
                  <a:cubicBezTo>
                    <a:pt x="-61759" y="2227360"/>
                    <a:pt x="25277" y="2036802"/>
                    <a:pt x="0" y="1825020"/>
                  </a:cubicBezTo>
                  <a:cubicBezTo>
                    <a:pt x="-25277" y="1613238"/>
                    <a:pt x="76492" y="1220165"/>
                    <a:pt x="0" y="726505"/>
                  </a:cubicBezTo>
                  <a:close/>
                </a:path>
              </a:pathLst>
            </a:custGeom>
            <a:noFill/>
            <a:ln w="28575" cap="flat">
              <a:solidFill>
                <a:schemeClr val="accent6"/>
              </a:solidFill>
              <a:extLst>
                <a:ext uri="{C807C97D-BFC1-408E-A445-0C87EB9F89A2}">
                  <ask:lineSketchStyleProps xmlns:ask="http://schemas.microsoft.com/office/drawing/2018/sketchyshapes" xmlns="" sd="3439500498">
                    <a:prstGeom prst="roundRect">
                      <a:avLst>
                        <a:gd name="adj" fmla="val 13003"/>
                      </a:avLst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A0638FD-2B21-F581-E664-88F5EC863C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907024"/>
            <a:ext cx="12192000" cy="95097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88D32B6A-C461-D6A0-CF8C-1F5193C6BEAA}"/>
              </a:ext>
            </a:extLst>
          </p:cNvPr>
          <p:cNvGrpSpPr/>
          <p:nvPr/>
        </p:nvGrpSpPr>
        <p:grpSpPr>
          <a:xfrm>
            <a:off x="6291292" y="4557068"/>
            <a:ext cx="1061853" cy="1725318"/>
            <a:chOff x="973976" y="824585"/>
            <a:chExt cx="2046213" cy="39600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xmlns="" id="{B6E4CA77-71D4-3763-0249-0BA6C6F029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73976" y="824585"/>
              <a:ext cx="2016905" cy="396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190A6358-486C-974A-6987-B1EA8FDEC573}"/>
                </a:ext>
              </a:extLst>
            </p:cNvPr>
            <p:cNvSpPr txBox="1"/>
            <p:nvPr/>
          </p:nvSpPr>
          <p:spPr>
            <a:xfrm>
              <a:off x="1014694" y="2671446"/>
              <a:ext cx="2005495" cy="1059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C2F6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VN-Poky's" panose="020B0606040200020203" pitchFamily="34" charset="0"/>
                  <a:ea typeface="+mn-ea"/>
                  <a:cs typeface="+mn-cs"/>
                </a:rPr>
                <a:t>CÙNG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71B2D64B-8520-06C5-11E5-058396F3B890}"/>
              </a:ext>
            </a:extLst>
          </p:cNvPr>
          <p:cNvGrpSpPr/>
          <p:nvPr/>
        </p:nvGrpSpPr>
        <p:grpSpPr>
          <a:xfrm>
            <a:off x="10172050" y="4544843"/>
            <a:ext cx="1130629" cy="1725318"/>
            <a:chOff x="8932640" y="1947023"/>
            <a:chExt cx="2178746" cy="39600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xmlns="" id="{5E29980D-E1AD-D2C8-E477-3123C5B32B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932640" y="1947023"/>
              <a:ext cx="2055681" cy="396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CE6D5B7E-6512-637F-108E-61841A8FADCE}"/>
                </a:ext>
              </a:extLst>
            </p:cNvPr>
            <p:cNvSpPr txBox="1"/>
            <p:nvPr/>
          </p:nvSpPr>
          <p:spPr>
            <a:xfrm>
              <a:off x="8996569" y="3955082"/>
              <a:ext cx="2114817" cy="1059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9D5FC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VN-Poky's" panose="020B0606040200020203" pitchFamily="34" charset="0"/>
                  <a:ea typeface="+mn-ea"/>
                  <a:cs typeface="+mn-cs"/>
                </a:rPr>
                <a:t>NÀO!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E7CC212B-12A1-D499-6F38-ADE2268E2D03}"/>
              </a:ext>
            </a:extLst>
          </p:cNvPr>
          <p:cNvGrpSpPr/>
          <p:nvPr/>
        </p:nvGrpSpPr>
        <p:grpSpPr>
          <a:xfrm>
            <a:off x="7481345" y="4092706"/>
            <a:ext cx="1255409" cy="2195859"/>
            <a:chOff x="3560763" y="867023"/>
            <a:chExt cx="2419200" cy="50400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xmlns="" id="{6637EBAA-9DC2-ABA8-8F32-4387524963F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560763" y="867023"/>
              <a:ext cx="2419200" cy="504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E0B05FA0-63AC-7015-41B2-27B1469CB50B}"/>
                </a:ext>
              </a:extLst>
            </p:cNvPr>
            <p:cNvSpPr txBox="1"/>
            <p:nvPr/>
          </p:nvSpPr>
          <p:spPr>
            <a:xfrm>
              <a:off x="3748900" y="1007489"/>
              <a:ext cx="1979161" cy="12009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EA72E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VN-Poky's" panose="020B0606040200020203" pitchFamily="34" charset="0"/>
                  <a:ea typeface="+mn-ea"/>
                  <a:cs typeface="+mn-cs"/>
                </a:rPr>
                <a:t>CHIA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EA72E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VN-Poky's" panose="020B0606040200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6EEE8BC5-0667-9B66-58D8-D07159CE7FE0}"/>
              </a:ext>
            </a:extLst>
          </p:cNvPr>
          <p:cNvGrpSpPr/>
          <p:nvPr/>
        </p:nvGrpSpPr>
        <p:grpSpPr>
          <a:xfrm>
            <a:off x="8831375" y="4152725"/>
            <a:ext cx="1179188" cy="2117436"/>
            <a:chOff x="6322632" y="1184780"/>
            <a:chExt cx="2272320" cy="48600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xmlns="" id="{6FCB7876-9B93-BCB9-C465-6326B2B42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322632" y="1184780"/>
              <a:ext cx="2272320" cy="486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00384EC5-756E-E822-DE77-E5519BB1F1A2}"/>
                </a:ext>
              </a:extLst>
            </p:cNvPr>
            <p:cNvSpPr txBox="1"/>
            <p:nvPr/>
          </p:nvSpPr>
          <p:spPr>
            <a:xfrm>
              <a:off x="6544521" y="1275196"/>
              <a:ext cx="1756904" cy="12009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E97132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VN-Poky's" panose="020B0606040200020203" pitchFamily="34" charset="0"/>
                  <a:ea typeface="+mn-ea"/>
                  <a:cs typeface="+mn-cs"/>
                </a:rPr>
                <a:t>SẺ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510FA1C5-67B8-823D-A2C2-16B7A18C59FE}"/>
              </a:ext>
            </a:extLst>
          </p:cNvPr>
          <p:cNvSpPr txBox="1"/>
          <p:nvPr/>
        </p:nvSpPr>
        <p:spPr>
          <a:xfrm>
            <a:off x="1278585" y="1225187"/>
            <a:ext cx="7414987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31" marR="0" lvl="0" indent="-342831" algn="just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10"/>
              </a:buBlip>
              <a:tabLst/>
              <a:defRPr/>
            </a:pPr>
            <a:r>
              <a:rPr kumimoji="0" lang="vi-VN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gười hàng xóm đó tên là gì?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831" marR="0" lvl="0" indent="-342831" algn="just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10"/>
              </a:buBlip>
              <a:tabLst/>
              <a:defRPr/>
            </a:pPr>
            <a:r>
              <a:rPr kumimoji="0" lang="vi-VN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ì sao em yêu quý người hàng xóm đó?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831" lvl="0" indent="-342831" algn="just" defTabSz="914217">
              <a:buBlip>
                <a:blip r:embed="rId10"/>
              </a:buBlip>
            </a:pPr>
            <a:r>
              <a:rPr lang="vi-VN" sz="4000" b="1" dirty="0">
                <a:solidFill>
                  <a:srgbClr val="000000"/>
                </a:solidFill>
                <a:latin typeface="Calibri"/>
              </a:rPr>
              <a:t>Em đã quan tâm đến hàng xóm láng giềng như thế nào?</a:t>
            </a:r>
          </a:p>
        </p:txBody>
      </p:sp>
      <p:pic>
        <p:nvPicPr>
          <p:cNvPr id="26" name="Picture 10" descr="Mục này có hình ảnh của: ">
            <a:extLst>
              <a:ext uri="{FF2B5EF4-FFF2-40B4-BE49-F238E27FC236}">
                <a16:creationId xmlns:a16="http://schemas.microsoft.com/office/drawing/2014/main" xmlns="" id="{748FDE9B-98FB-FB33-F749-149A3DC0DE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6215" b="91525" l="9746" r="89831">
                        <a14:foregroundMark x1="19068" y1="75141" x2="75847" y2="60452"/>
                        <a14:foregroundMark x1="75847" y1="60452" x2="86017" y2="53107"/>
                        <a14:foregroundMark x1="75000" y1="73446" x2="80508" y2="62147"/>
                        <a14:foregroundMark x1="26695" y1="92655" x2="50424" y2="87006"/>
                        <a14:foregroundMark x1="50424" y1="87006" x2="50847" y2="87006"/>
                        <a14:foregroundMark x1="32627" y1="44068" x2="35169" y2="76836"/>
                        <a14:foregroundMark x1="35169" y1="76836" x2="45339" y2="42373"/>
                        <a14:foregroundMark x1="45339" y1="42373" x2="45339" y2="42373"/>
                        <a14:foregroundMark x1="36864" y1="39548" x2="55508" y2="38418"/>
                        <a14:foregroundMark x1="58898" y1="26554" x2="47881" y2="11864"/>
                        <a14:foregroundMark x1="67797" y1="32768" x2="59746" y2="7345"/>
                        <a14:foregroundMark x1="55508" y1="7345" x2="63136" y2="62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3834" y="-81073"/>
            <a:ext cx="1906316" cy="142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509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3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4" fill="hold">
                          <p:stCondLst>
                            <p:cond delay="indefinite"/>
                          </p:stCondLst>
                          <p:childTnLst>
                            <p:par>
                              <p:cTn id="1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6" presetID="2" presetClass="entr" presetSubtype="4" fill="hold" nodeType="clickEffect" p14:presetBounceEnd="53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000">
                                          <p:cBhvr additive="base">
                                            <p:cTn id="18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000">
                                          <p:cBhvr additive="base">
                                            <p:cTn id="19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16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2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0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21" presetID="2" presetClass="entr" presetSubtype="4" fill="hold" nodeType="afterEffect" p14:presetBounceEnd="53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000">
                                          <p:cBhvr additive="base">
                                            <p:cTn id="23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000">
                                          <p:cBhvr additive="base">
                                            <p:cTn id="24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21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2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6" presetID="2" presetClass="entr" presetSubtype="4" fill="hold" nodeType="afterEffect" p14:presetBounceEnd="53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000">
                                          <p:cBhvr additive="base">
                                            <p:cTn id="28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000">
                                          <p:cBhvr additive="base">
                                            <p:cTn id="29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26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2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31" presetID="2" presetClass="entr" presetSubtype="4" fill="hold" nodeType="afterEffect" p14:presetBounceEnd="53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000">
                                          <p:cBhvr additive="base">
                                            <p:cTn id="33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000">
                                          <p:cBhvr additive="base">
                                            <p:cTn id="34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31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2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53" presetClass="entr" presetSubtype="16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0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1" dur="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2" fill="hold">
                          <p:stCondLst>
                            <p:cond delay="indefinite"/>
                          </p:stCondLst>
                          <p:childTnLst>
                            <p:par>
                              <p:cTn id="4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4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6" dur="500"/>
                                            <p:tgtEl>
                                              <p:spTgt spid="2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7" fill="hold">
                          <p:stCondLst>
                            <p:cond delay="indefinite"/>
                          </p:stCondLst>
                          <p:childTnLst>
                            <p:par>
                              <p:cTn id="4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9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1" dur="500"/>
                                            <p:tgtEl>
                                              <p:spTgt spid="25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2" fill="hold">
                          <p:stCondLst>
                            <p:cond delay="indefinite"/>
                          </p:stCondLst>
                          <p:childTnLst>
                            <p:par>
                              <p:cTn id="5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4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6" dur="500"/>
                                            <p:tgtEl>
                                              <p:spTgt spid="25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 build="p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3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4" fill="hold">
                          <p:stCondLst>
                            <p:cond delay="indefinite"/>
                          </p:stCondLst>
                          <p:childTnLst>
                            <p:par>
                              <p:cTn id="1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6" presetID="2" presetClass="entr" presetSubtype="4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8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9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16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13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0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21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21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13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6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8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9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26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13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31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3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4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31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13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53" presetClass="entr" presetSubtype="16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0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1" dur="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2" fill="hold">
                          <p:stCondLst>
                            <p:cond delay="indefinite"/>
                          </p:stCondLst>
                          <p:childTnLst>
                            <p:par>
                              <p:cTn id="4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4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6" dur="500"/>
                                            <p:tgtEl>
                                              <p:spTgt spid="2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7" fill="hold">
                          <p:stCondLst>
                            <p:cond delay="indefinite"/>
                          </p:stCondLst>
                          <p:childTnLst>
                            <p:par>
                              <p:cTn id="4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9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1" dur="500"/>
                                            <p:tgtEl>
                                              <p:spTgt spid="25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2" fill="hold">
                          <p:stCondLst>
                            <p:cond delay="indefinite"/>
                          </p:stCondLst>
                          <p:childTnLst>
                            <p:par>
                              <p:cTn id="5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4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6" dur="500"/>
                                            <p:tgtEl>
                                              <p:spTgt spid="25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 build="p"/>
        </p:bldLst>
      </p:timing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">
            <a:extLst>
              <a:ext uri="{FF2B5EF4-FFF2-40B4-BE49-F238E27FC236}">
                <a16:creationId xmlns:a16="http://schemas.microsoft.com/office/drawing/2014/main" xmlns="" id="{023EE9CB-4193-F084-B371-98162DA98BA9}"/>
              </a:ext>
            </a:extLst>
          </p:cNvPr>
          <p:cNvSpPr/>
          <p:nvPr/>
        </p:nvSpPr>
        <p:spPr>
          <a:xfrm>
            <a:off x="1022555" y="756545"/>
            <a:ext cx="10146891" cy="5501148"/>
          </a:xfrm>
          <a:prstGeom prst="roundRect">
            <a:avLst/>
          </a:prstGeom>
          <a:solidFill>
            <a:srgbClr val="FFFFFF"/>
          </a:solidFill>
          <a:ln w="381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 descr="Pin on buongiorno">
            <a:extLst>
              <a:ext uri="{FF2B5EF4-FFF2-40B4-BE49-F238E27FC236}">
                <a16:creationId xmlns:a16="http://schemas.microsoft.com/office/drawing/2014/main" xmlns="" id="{AC8AC839-03C2-0D7C-0DC0-33A2A9A81CF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673" y="45743"/>
            <a:ext cx="1591847" cy="1639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4">
            <a:extLst>
              <a:ext uri="{FF2B5EF4-FFF2-40B4-BE49-F238E27FC236}">
                <a16:creationId xmlns:a16="http://schemas.microsoft.com/office/drawing/2014/main" xmlns="" id="{5C7685FE-4928-5115-B3B1-7BDAD00D24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31848" y="6014930"/>
            <a:ext cx="9951092" cy="1027507"/>
            <a:chOff x="175" y="1761"/>
            <a:chExt cx="7341" cy="758"/>
          </a:xfrm>
        </p:grpSpPr>
        <p:grpSp>
          <p:nvGrpSpPr>
            <p:cNvPr id="20" name="Group 205">
              <a:extLst>
                <a:ext uri="{FF2B5EF4-FFF2-40B4-BE49-F238E27FC236}">
                  <a16:creationId xmlns:a16="http://schemas.microsoft.com/office/drawing/2014/main" xmlns="" id="{A03B6ACC-62AE-1432-50FC-B2C0925692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5" y="1761"/>
              <a:ext cx="7125" cy="758"/>
              <a:chOff x="175" y="1761"/>
              <a:chExt cx="7125" cy="758"/>
            </a:xfrm>
          </p:grpSpPr>
          <p:sp>
            <p:nvSpPr>
              <p:cNvPr id="121" name="Freeform 5">
                <a:extLst>
                  <a:ext uri="{FF2B5EF4-FFF2-40B4-BE49-F238E27FC236}">
                    <a16:creationId xmlns:a16="http://schemas.microsoft.com/office/drawing/2014/main" xmlns="" id="{3EB8F691-D1E9-3BFB-75CB-1A2E35412A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" y="2057"/>
                <a:ext cx="161" cy="144"/>
              </a:xfrm>
              <a:custGeom>
                <a:avLst/>
                <a:gdLst>
                  <a:gd name="T0" fmla="*/ 20 w 70"/>
                  <a:gd name="T1" fmla="*/ 14 h 62"/>
                  <a:gd name="T2" fmla="*/ 70 w 70"/>
                  <a:gd name="T3" fmla="*/ 2 h 62"/>
                  <a:gd name="T4" fmla="*/ 45 w 70"/>
                  <a:gd name="T5" fmla="*/ 47 h 62"/>
                  <a:gd name="T6" fmla="*/ 6 w 70"/>
                  <a:gd name="T7" fmla="*/ 50 h 62"/>
                  <a:gd name="T8" fmla="*/ 20 w 70"/>
                  <a:gd name="T9" fmla="*/ 1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2">
                    <a:moveTo>
                      <a:pt x="20" y="14"/>
                    </a:moveTo>
                    <a:cubicBezTo>
                      <a:pt x="39" y="0"/>
                      <a:pt x="70" y="2"/>
                      <a:pt x="70" y="2"/>
                    </a:cubicBezTo>
                    <a:cubicBezTo>
                      <a:pt x="70" y="2"/>
                      <a:pt x="64" y="33"/>
                      <a:pt x="45" y="47"/>
                    </a:cubicBezTo>
                    <a:cubicBezTo>
                      <a:pt x="25" y="62"/>
                      <a:pt x="6" y="50"/>
                      <a:pt x="6" y="50"/>
                    </a:cubicBezTo>
                    <a:cubicBezTo>
                      <a:pt x="6" y="50"/>
                      <a:pt x="0" y="29"/>
                      <a:pt x="20" y="14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22" name="Freeform 6">
                <a:extLst>
                  <a:ext uri="{FF2B5EF4-FFF2-40B4-BE49-F238E27FC236}">
                    <a16:creationId xmlns:a16="http://schemas.microsoft.com/office/drawing/2014/main" xmlns="" id="{3EB1EA24-DA45-1513-C357-B399E020FA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" y="2112"/>
                <a:ext cx="129" cy="107"/>
              </a:xfrm>
              <a:custGeom>
                <a:avLst/>
                <a:gdLst>
                  <a:gd name="T0" fmla="*/ 40 w 56"/>
                  <a:gd name="T1" fmla="*/ 9 h 46"/>
                  <a:gd name="T2" fmla="*/ 55 w 56"/>
                  <a:gd name="T3" fmla="*/ 35 h 46"/>
                  <a:gd name="T4" fmla="*/ 25 w 56"/>
                  <a:gd name="T5" fmla="*/ 37 h 46"/>
                  <a:gd name="T6" fmla="*/ 0 w 56"/>
                  <a:gd name="T7" fmla="*/ 6 h 46"/>
                  <a:gd name="T8" fmla="*/ 40 w 56"/>
                  <a:gd name="T9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46">
                    <a:moveTo>
                      <a:pt x="40" y="9"/>
                    </a:moveTo>
                    <a:cubicBezTo>
                      <a:pt x="56" y="17"/>
                      <a:pt x="55" y="35"/>
                      <a:pt x="55" y="35"/>
                    </a:cubicBezTo>
                    <a:cubicBezTo>
                      <a:pt x="55" y="35"/>
                      <a:pt x="41" y="46"/>
                      <a:pt x="25" y="37"/>
                    </a:cubicBezTo>
                    <a:cubicBezTo>
                      <a:pt x="9" y="29"/>
                      <a:pt x="0" y="6"/>
                      <a:pt x="0" y="6"/>
                    </a:cubicBezTo>
                    <a:cubicBezTo>
                      <a:pt x="0" y="6"/>
                      <a:pt x="23" y="0"/>
                      <a:pt x="40" y="9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23" name="Rectangle 7">
                <a:extLst>
                  <a:ext uri="{FF2B5EF4-FFF2-40B4-BE49-F238E27FC236}">
                    <a16:creationId xmlns:a16="http://schemas.microsoft.com/office/drawing/2014/main" xmlns="" id="{88387055-B233-7C2D-9B27-6CD0E7E96A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4" y="1980"/>
                <a:ext cx="12" cy="446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24" name="Freeform 8">
                <a:extLst>
                  <a:ext uri="{FF2B5EF4-FFF2-40B4-BE49-F238E27FC236}">
                    <a16:creationId xmlns:a16="http://schemas.microsoft.com/office/drawing/2014/main" xmlns="" id="{AA1C54AA-3E20-56E1-7175-62F913FF0D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" y="1831"/>
                <a:ext cx="244" cy="237"/>
              </a:xfrm>
              <a:custGeom>
                <a:avLst/>
                <a:gdLst>
                  <a:gd name="T0" fmla="*/ 91 w 106"/>
                  <a:gd name="T1" fmla="*/ 18 h 102"/>
                  <a:gd name="T2" fmla="*/ 68 w 106"/>
                  <a:gd name="T3" fmla="*/ 13 h 102"/>
                  <a:gd name="T4" fmla="*/ 53 w 106"/>
                  <a:gd name="T5" fmla="*/ 0 h 102"/>
                  <a:gd name="T6" fmla="*/ 37 w 106"/>
                  <a:gd name="T7" fmla="*/ 13 h 102"/>
                  <a:gd name="T8" fmla="*/ 14 w 106"/>
                  <a:gd name="T9" fmla="*/ 18 h 102"/>
                  <a:gd name="T10" fmla="*/ 53 w 106"/>
                  <a:gd name="T11" fmla="*/ 102 h 102"/>
                  <a:gd name="T12" fmla="*/ 91 w 106"/>
                  <a:gd name="T13" fmla="*/ 1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" h="102">
                    <a:moveTo>
                      <a:pt x="91" y="18"/>
                    </a:moveTo>
                    <a:cubicBezTo>
                      <a:pt x="81" y="4"/>
                      <a:pt x="68" y="13"/>
                      <a:pt x="68" y="13"/>
                    </a:cubicBezTo>
                    <a:cubicBezTo>
                      <a:pt x="70" y="9"/>
                      <a:pt x="62" y="0"/>
                      <a:pt x="53" y="0"/>
                    </a:cubicBezTo>
                    <a:cubicBezTo>
                      <a:pt x="44" y="0"/>
                      <a:pt x="35" y="9"/>
                      <a:pt x="37" y="13"/>
                    </a:cubicBezTo>
                    <a:cubicBezTo>
                      <a:pt x="37" y="13"/>
                      <a:pt x="24" y="4"/>
                      <a:pt x="14" y="18"/>
                    </a:cubicBezTo>
                    <a:cubicBezTo>
                      <a:pt x="0" y="39"/>
                      <a:pt x="19" y="102"/>
                      <a:pt x="53" y="102"/>
                    </a:cubicBezTo>
                    <a:cubicBezTo>
                      <a:pt x="86" y="102"/>
                      <a:pt x="106" y="39"/>
                      <a:pt x="91" y="18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25" name="Freeform 9">
                <a:extLst>
                  <a:ext uri="{FF2B5EF4-FFF2-40B4-BE49-F238E27FC236}">
                    <a16:creationId xmlns:a16="http://schemas.microsoft.com/office/drawing/2014/main" xmlns="" id="{BA579FD9-65B8-F1F9-1B9E-1550580438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057"/>
                <a:ext cx="159" cy="144"/>
              </a:xfrm>
              <a:custGeom>
                <a:avLst/>
                <a:gdLst>
                  <a:gd name="T0" fmla="*/ 19 w 69"/>
                  <a:gd name="T1" fmla="*/ 14 h 62"/>
                  <a:gd name="T2" fmla="*/ 69 w 69"/>
                  <a:gd name="T3" fmla="*/ 2 h 62"/>
                  <a:gd name="T4" fmla="*/ 44 w 69"/>
                  <a:gd name="T5" fmla="*/ 47 h 62"/>
                  <a:gd name="T6" fmla="*/ 5 w 69"/>
                  <a:gd name="T7" fmla="*/ 50 h 62"/>
                  <a:gd name="T8" fmla="*/ 19 w 69"/>
                  <a:gd name="T9" fmla="*/ 1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2">
                    <a:moveTo>
                      <a:pt x="19" y="14"/>
                    </a:moveTo>
                    <a:cubicBezTo>
                      <a:pt x="38" y="0"/>
                      <a:pt x="69" y="2"/>
                      <a:pt x="69" y="2"/>
                    </a:cubicBezTo>
                    <a:cubicBezTo>
                      <a:pt x="69" y="2"/>
                      <a:pt x="63" y="33"/>
                      <a:pt x="44" y="47"/>
                    </a:cubicBezTo>
                    <a:cubicBezTo>
                      <a:pt x="25" y="62"/>
                      <a:pt x="5" y="50"/>
                      <a:pt x="5" y="50"/>
                    </a:cubicBezTo>
                    <a:cubicBezTo>
                      <a:pt x="5" y="50"/>
                      <a:pt x="0" y="29"/>
                      <a:pt x="19" y="14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26" name="Freeform 10">
                <a:extLst>
                  <a:ext uri="{FF2B5EF4-FFF2-40B4-BE49-F238E27FC236}">
                    <a16:creationId xmlns:a16="http://schemas.microsoft.com/office/drawing/2014/main" xmlns="" id="{7D94803D-3076-F406-21F7-9D3A81519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8" y="2112"/>
                <a:ext cx="127" cy="107"/>
              </a:xfrm>
              <a:custGeom>
                <a:avLst/>
                <a:gdLst>
                  <a:gd name="T0" fmla="*/ 39 w 55"/>
                  <a:gd name="T1" fmla="*/ 9 h 46"/>
                  <a:gd name="T2" fmla="*/ 54 w 55"/>
                  <a:gd name="T3" fmla="*/ 35 h 46"/>
                  <a:gd name="T4" fmla="*/ 24 w 55"/>
                  <a:gd name="T5" fmla="*/ 37 h 46"/>
                  <a:gd name="T6" fmla="*/ 0 w 55"/>
                  <a:gd name="T7" fmla="*/ 6 h 46"/>
                  <a:gd name="T8" fmla="*/ 39 w 55"/>
                  <a:gd name="T9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6">
                    <a:moveTo>
                      <a:pt x="39" y="9"/>
                    </a:moveTo>
                    <a:cubicBezTo>
                      <a:pt x="55" y="17"/>
                      <a:pt x="54" y="35"/>
                      <a:pt x="54" y="35"/>
                    </a:cubicBezTo>
                    <a:cubicBezTo>
                      <a:pt x="54" y="35"/>
                      <a:pt x="40" y="46"/>
                      <a:pt x="24" y="37"/>
                    </a:cubicBezTo>
                    <a:cubicBezTo>
                      <a:pt x="8" y="29"/>
                      <a:pt x="0" y="6"/>
                      <a:pt x="0" y="6"/>
                    </a:cubicBezTo>
                    <a:cubicBezTo>
                      <a:pt x="0" y="6"/>
                      <a:pt x="22" y="0"/>
                      <a:pt x="39" y="9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27" name="Rectangle 11">
                <a:extLst>
                  <a:ext uri="{FF2B5EF4-FFF2-40B4-BE49-F238E27FC236}">
                    <a16:creationId xmlns:a16="http://schemas.microsoft.com/office/drawing/2014/main" xmlns="" id="{F1D3961C-BAD0-22C1-7D25-4666C106CA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33" y="1980"/>
                <a:ext cx="14" cy="446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28" name="Freeform 12">
                <a:extLst>
                  <a:ext uri="{FF2B5EF4-FFF2-40B4-BE49-F238E27FC236}">
                    <a16:creationId xmlns:a16="http://schemas.microsoft.com/office/drawing/2014/main" xmlns="" id="{685633DA-574B-8374-ECA7-ED89A06A1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8" y="1831"/>
                <a:ext cx="244" cy="237"/>
              </a:xfrm>
              <a:custGeom>
                <a:avLst/>
                <a:gdLst>
                  <a:gd name="T0" fmla="*/ 91 w 106"/>
                  <a:gd name="T1" fmla="*/ 18 h 102"/>
                  <a:gd name="T2" fmla="*/ 68 w 106"/>
                  <a:gd name="T3" fmla="*/ 13 h 102"/>
                  <a:gd name="T4" fmla="*/ 53 w 106"/>
                  <a:gd name="T5" fmla="*/ 0 h 102"/>
                  <a:gd name="T6" fmla="*/ 37 w 106"/>
                  <a:gd name="T7" fmla="*/ 13 h 102"/>
                  <a:gd name="T8" fmla="*/ 14 w 106"/>
                  <a:gd name="T9" fmla="*/ 18 h 102"/>
                  <a:gd name="T10" fmla="*/ 53 w 106"/>
                  <a:gd name="T11" fmla="*/ 102 h 102"/>
                  <a:gd name="T12" fmla="*/ 91 w 106"/>
                  <a:gd name="T13" fmla="*/ 1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" h="102">
                    <a:moveTo>
                      <a:pt x="91" y="18"/>
                    </a:moveTo>
                    <a:cubicBezTo>
                      <a:pt x="81" y="4"/>
                      <a:pt x="68" y="13"/>
                      <a:pt x="68" y="13"/>
                    </a:cubicBezTo>
                    <a:cubicBezTo>
                      <a:pt x="70" y="9"/>
                      <a:pt x="62" y="0"/>
                      <a:pt x="53" y="0"/>
                    </a:cubicBezTo>
                    <a:cubicBezTo>
                      <a:pt x="44" y="0"/>
                      <a:pt x="36" y="9"/>
                      <a:pt x="37" y="13"/>
                    </a:cubicBezTo>
                    <a:cubicBezTo>
                      <a:pt x="37" y="13"/>
                      <a:pt x="24" y="4"/>
                      <a:pt x="14" y="18"/>
                    </a:cubicBezTo>
                    <a:cubicBezTo>
                      <a:pt x="0" y="39"/>
                      <a:pt x="19" y="102"/>
                      <a:pt x="53" y="102"/>
                    </a:cubicBezTo>
                    <a:cubicBezTo>
                      <a:pt x="87" y="102"/>
                      <a:pt x="106" y="39"/>
                      <a:pt x="91" y="18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29" name="Freeform 13">
                <a:extLst>
                  <a:ext uri="{FF2B5EF4-FFF2-40B4-BE49-F238E27FC236}">
                    <a16:creationId xmlns:a16="http://schemas.microsoft.com/office/drawing/2014/main" xmlns="" id="{FE57EFAA-4B3A-B3FF-EAA6-560C69DCA6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" y="2001"/>
                <a:ext cx="159" cy="146"/>
              </a:xfrm>
              <a:custGeom>
                <a:avLst/>
                <a:gdLst>
                  <a:gd name="T0" fmla="*/ 19 w 69"/>
                  <a:gd name="T1" fmla="*/ 15 h 63"/>
                  <a:gd name="T2" fmla="*/ 69 w 69"/>
                  <a:gd name="T3" fmla="*/ 3 h 63"/>
                  <a:gd name="T4" fmla="*/ 44 w 69"/>
                  <a:gd name="T5" fmla="*/ 48 h 63"/>
                  <a:gd name="T6" fmla="*/ 5 w 69"/>
                  <a:gd name="T7" fmla="*/ 51 h 63"/>
                  <a:gd name="T8" fmla="*/ 19 w 69"/>
                  <a:gd name="T9" fmla="*/ 15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3">
                    <a:moveTo>
                      <a:pt x="19" y="15"/>
                    </a:moveTo>
                    <a:cubicBezTo>
                      <a:pt x="38" y="0"/>
                      <a:pt x="69" y="3"/>
                      <a:pt x="69" y="3"/>
                    </a:cubicBezTo>
                    <a:cubicBezTo>
                      <a:pt x="69" y="3"/>
                      <a:pt x="63" y="34"/>
                      <a:pt x="44" y="48"/>
                    </a:cubicBezTo>
                    <a:cubicBezTo>
                      <a:pt x="25" y="63"/>
                      <a:pt x="5" y="51"/>
                      <a:pt x="5" y="51"/>
                    </a:cubicBezTo>
                    <a:cubicBezTo>
                      <a:pt x="5" y="51"/>
                      <a:pt x="0" y="29"/>
                      <a:pt x="19" y="15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30" name="Freeform 14">
                <a:extLst>
                  <a:ext uri="{FF2B5EF4-FFF2-40B4-BE49-F238E27FC236}">
                    <a16:creationId xmlns:a16="http://schemas.microsoft.com/office/drawing/2014/main" xmlns="" id="{5C76DC1F-C8EB-9D91-4D8C-38739648C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" y="2059"/>
                <a:ext cx="127" cy="104"/>
              </a:xfrm>
              <a:custGeom>
                <a:avLst/>
                <a:gdLst>
                  <a:gd name="T0" fmla="*/ 39 w 55"/>
                  <a:gd name="T1" fmla="*/ 9 h 45"/>
                  <a:gd name="T2" fmla="*/ 54 w 55"/>
                  <a:gd name="T3" fmla="*/ 34 h 45"/>
                  <a:gd name="T4" fmla="*/ 24 w 55"/>
                  <a:gd name="T5" fmla="*/ 37 h 45"/>
                  <a:gd name="T6" fmla="*/ 0 w 55"/>
                  <a:gd name="T7" fmla="*/ 6 h 45"/>
                  <a:gd name="T8" fmla="*/ 39 w 55"/>
                  <a:gd name="T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5">
                    <a:moveTo>
                      <a:pt x="39" y="9"/>
                    </a:moveTo>
                    <a:cubicBezTo>
                      <a:pt x="55" y="17"/>
                      <a:pt x="54" y="34"/>
                      <a:pt x="54" y="34"/>
                    </a:cubicBezTo>
                    <a:cubicBezTo>
                      <a:pt x="54" y="34"/>
                      <a:pt x="41" y="45"/>
                      <a:pt x="24" y="37"/>
                    </a:cubicBezTo>
                    <a:cubicBezTo>
                      <a:pt x="8" y="28"/>
                      <a:pt x="0" y="6"/>
                      <a:pt x="0" y="6"/>
                    </a:cubicBezTo>
                    <a:cubicBezTo>
                      <a:pt x="0" y="6"/>
                      <a:pt x="23" y="0"/>
                      <a:pt x="39" y="9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31" name="Rectangle 15">
                <a:extLst>
                  <a:ext uri="{FF2B5EF4-FFF2-40B4-BE49-F238E27FC236}">
                    <a16:creationId xmlns:a16="http://schemas.microsoft.com/office/drawing/2014/main" xmlns="" id="{BF6ABCCC-A2CF-9869-5B68-4785D30C9D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2" y="1926"/>
                <a:ext cx="14" cy="447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32" name="Freeform 16">
                <a:extLst>
                  <a:ext uri="{FF2B5EF4-FFF2-40B4-BE49-F238E27FC236}">
                    <a16:creationId xmlns:a16="http://schemas.microsoft.com/office/drawing/2014/main" xmlns="" id="{325D7DAE-B4E5-EBC8-ADB2-C7496A244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" y="1778"/>
                <a:ext cx="244" cy="237"/>
              </a:xfrm>
              <a:custGeom>
                <a:avLst/>
                <a:gdLst>
                  <a:gd name="T0" fmla="*/ 92 w 106"/>
                  <a:gd name="T1" fmla="*/ 18 h 102"/>
                  <a:gd name="T2" fmla="*/ 68 w 106"/>
                  <a:gd name="T3" fmla="*/ 12 h 102"/>
                  <a:gd name="T4" fmla="*/ 53 w 106"/>
                  <a:gd name="T5" fmla="*/ 0 h 102"/>
                  <a:gd name="T6" fmla="*/ 38 w 106"/>
                  <a:gd name="T7" fmla="*/ 12 h 102"/>
                  <a:gd name="T8" fmla="*/ 15 w 106"/>
                  <a:gd name="T9" fmla="*/ 18 h 102"/>
                  <a:gd name="T10" fmla="*/ 53 w 106"/>
                  <a:gd name="T11" fmla="*/ 102 h 102"/>
                  <a:gd name="T12" fmla="*/ 92 w 106"/>
                  <a:gd name="T13" fmla="*/ 1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" h="102">
                    <a:moveTo>
                      <a:pt x="92" y="18"/>
                    </a:moveTo>
                    <a:cubicBezTo>
                      <a:pt x="82" y="4"/>
                      <a:pt x="68" y="12"/>
                      <a:pt x="68" y="12"/>
                    </a:cubicBezTo>
                    <a:cubicBezTo>
                      <a:pt x="70" y="9"/>
                      <a:pt x="62" y="0"/>
                      <a:pt x="53" y="0"/>
                    </a:cubicBezTo>
                    <a:cubicBezTo>
                      <a:pt x="44" y="0"/>
                      <a:pt x="36" y="9"/>
                      <a:pt x="38" y="12"/>
                    </a:cubicBezTo>
                    <a:cubicBezTo>
                      <a:pt x="38" y="12"/>
                      <a:pt x="25" y="4"/>
                      <a:pt x="15" y="18"/>
                    </a:cubicBezTo>
                    <a:cubicBezTo>
                      <a:pt x="0" y="38"/>
                      <a:pt x="19" y="102"/>
                      <a:pt x="53" y="102"/>
                    </a:cubicBezTo>
                    <a:cubicBezTo>
                      <a:pt x="87" y="102"/>
                      <a:pt x="106" y="38"/>
                      <a:pt x="92" y="18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33" name="Freeform 17">
                <a:extLst>
                  <a:ext uri="{FF2B5EF4-FFF2-40B4-BE49-F238E27FC236}">
                    <a16:creationId xmlns:a16="http://schemas.microsoft.com/office/drawing/2014/main" xmlns="" id="{3982DC3F-FA98-0D30-06AD-37FBE5BADB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2" y="2087"/>
                <a:ext cx="145" cy="132"/>
              </a:xfrm>
              <a:custGeom>
                <a:avLst/>
                <a:gdLst>
                  <a:gd name="T0" fmla="*/ 45 w 63"/>
                  <a:gd name="T1" fmla="*/ 13 h 57"/>
                  <a:gd name="T2" fmla="*/ 0 w 63"/>
                  <a:gd name="T3" fmla="*/ 3 h 57"/>
                  <a:gd name="T4" fmla="*/ 23 w 63"/>
                  <a:gd name="T5" fmla="*/ 44 h 57"/>
                  <a:gd name="T6" fmla="*/ 58 w 63"/>
                  <a:gd name="T7" fmla="*/ 47 h 57"/>
                  <a:gd name="T8" fmla="*/ 45 w 63"/>
                  <a:gd name="T9" fmla="*/ 13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7">
                    <a:moveTo>
                      <a:pt x="45" y="13"/>
                    </a:moveTo>
                    <a:cubicBezTo>
                      <a:pt x="28" y="0"/>
                      <a:pt x="0" y="3"/>
                      <a:pt x="0" y="3"/>
                    </a:cubicBezTo>
                    <a:cubicBezTo>
                      <a:pt x="0" y="3"/>
                      <a:pt x="5" y="31"/>
                      <a:pt x="23" y="44"/>
                    </a:cubicBezTo>
                    <a:cubicBezTo>
                      <a:pt x="40" y="57"/>
                      <a:pt x="58" y="47"/>
                      <a:pt x="58" y="47"/>
                    </a:cubicBezTo>
                    <a:cubicBezTo>
                      <a:pt x="58" y="47"/>
                      <a:pt x="63" y="27"/>
                      <a:pt x="45" y="1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34" name="Freeform 18">
                <a:extLst>
                  <a:ext uri="{FF2B5EF4-FFF2-40B4-BE49-F238E27FC236}">
                    <a16:creationId xmlns:a16="http://schemas.microsoft.com/office/drawing/2014/main" xmlns="" id="{26A0B6D7-084B-803C-C1E9-7F588BB1C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3" y="2140"/>
                <a:ext cx="118" cy="96"/>
              </a:xfrm>
              <a:custGeom>
                <a:avLst/>
                <a:gdLst>
                  <a:gd name="T0" fmla="*/ 15 w 51"/>
                  <a:gd name="T1" fmla="*/ 8 h 41"/>
                  <a:gd name="T2" fmla="*/ 1 w 51"/>
                  <a:gd name="T3" fmla="*/ 31 h 41"/>
                  <a:gd name="T4" fmla="*/ 28 w 51"/>
                  <a:gd name="T5" fmla="*/ 33 h 41"/>
                  <a:gd name="T6" fmla="*/ 51 w 51"/>
                  <a:gd name="T7" fmla="*/ 5 h 41"/>
                  <a:gd name="T8" fmla="*/ 15 w 51"/>
                  <a:gd name="T9" fmla="*/ 8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41">
                    <a:moveTo>
                      <a:pt x="15" y="8"/>
                    </a:moveTo>
                    <a:cubicBezTo>
                      <a:pt x="0" y="15"/>
                      <a:pt x="1" y="31"/>
                      <a:pt x="1" y="31"/>
                    </a:cubicBezTo>
                    <a:cubicBezTo>
                      <a:pt x="1" y="31"/>
                      <a:pt x="14" y="41"/>
                      <a:pt x="28" y="33"/>
                    </a:cubicBezTo>
                    <a:cubicBezTo>
                      <a:pt x="43" y="26"/>
                      <a:pt x="51" y="5"/>
                      <a:pt x="51" y="5"/>
                    </a:cubicBezTo>
                    <a:cubicBezTo>
                      <a:pt x="51" y="5"/>
                      <a:pt x="30" y="0"/>
                      <a:pt x="15" y="8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35" name="Rectangle 19">
                <a:extLst>
                  <a:ext uri="{FF2B5EF4-FFF2-40B4-BE49-F238E27FC236}">
                    <a16:creationId xmlns:a16="http://schemas.microsoft.com/office/drawing/2014/main" xmlns="" id="{DD7DCA39-2E48-6269-BAEB-9A9C9E8B0E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3" y="2019"/>
                <a:ext cx="12" cy="407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36" name="Freeform 20">
                <a:extLst>
                  <a:ext uri="{FF2B5EF4-FFF2-40B4-BE49-F238E27FC236}">
                    <a16:creationId xmlns:a16="http://schemas.microsoft.com/office/drawing/2014/main" xmlns="" id="{33C6DCDF-781D-052A-E93B-EF5BEB152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3" y="1831"/>
                <a:ext cx="292" cy="228"/>
              </a:xfrm>
              <a:custGeom>
                <a:avLst/>
                <a:gdLst>
                  <a:gd name="T0" fmla="*/ 121 w 127"/>
                  <a:gd name="T1" fmla="*/ 27 h 98"/>
                  <a:gd name="T2" fmla="*/ 92 w 127"/>
                  <a:gd name="T3" fmla="*/ 42 h 98"/>
                  <a:gd name="T4" fmla="*/ 63 w 127"/>
                  <a:gd name="T5" fmla="*/ 0 h 98"/>
                  <a:gd name="T6" fmla="*/ 35 w 127"/>
                  <a:gd name="T7" fmla="*/ 42 h 98"/>
                  <a:gd name="T8" fmla="*/ 6 w 127"/>
                  <a:gd name="T9" fmla="*/ 27 h 98"/>
                  <a:gd name="T10" fmla="*/ 63 w 127"/>
                  <a:gd name="T11" fmla="*/ 98 h 98"/>
                  <a:gd name="T12" fmla="*/ 121 w 127"/>
                  <a:gd name="T13" fmla="*/ 27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98">
                    <a:moveTo>
                      <a:pt x="121" y="27"/>
                    </a:moveTo>
                    <a:cubicBezTo>
                      <a:pt x="92" y="42"/>
                      <a:pt x="92" y="42"/>
                      <a:pt x="92" y="42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35" y="42"/>
                      <a:pt x="35" y="42"/>
                      <a:pt x="35" y="42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6" y="27"/>
                      <a:pt x="0" y="98"/>
                      <a:pt x="63" y="98"/>
                    </a:cubicBezTo>
                    <a:cubicBezTo>
                      <a:pt x="127" y="98"/>
                      <a:pt x="121" y="27"/>
                      <a:pt x="121" y="27"/>
                    </a:cubicBezTo>
                  </a:path>
                </a:pathLst>
              </a:custGeom>
              <a:solidFill>
                <a:srgbClr val="FF70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37" name="Freeform 21">
                <a:extLst>
                  <a:ext uri="{FF2B5EF4-FFF2-40B4-BE49-F238E27FC236}">
                    <a16:creationId xmlns:a16="http://schemas.microsoft.com/office/drawing/2014/main" xmlns="" id="{872D58C6-3F78-8C94-BA95-A4C971E803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1" y="2108"/>
                <a:ext cx="136" cy="125"/>
              </a:xfrm>
              <a:custGeom>
                <a:avLst/>
                <a:gdLst>
                  <a:gd name="T0" fmla="*/ 43 w 59"/>
                  <a:gd name="T1" fmla="*/ 13 h 54"/>
                  <a:gd name="T2" fmla="*/ 0 w 59"/>
                  <a:gd name="T3" fmla="*/ 3 h 54"/>
                  <a:gd name="T4" fmla="*/ 21 w 59"/>
                  <a:gd name="T5" fmla="*/ 41 h 54"/>
                  <a:gd name="T6" fmla="*/ 55 w 59"/>
                  <a:gd name="T7" fmla="*/ 44 h 54"/>
                  <a:gd name="T8" fmla="*/ 43 w 59"/>
                  <a:gd name="T9" fmla="*/ 1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54">
                    <a:moveTo>
                      <a:pt x="43" y="13"/>
                    </a:moveTo>
                    <a:cubicBezTo>
                      <a:pt x="26" y="0"/>
                      <a:pt x="0" y="3"/>
                      <a:pt x="0" y="3"/>
                    </a:cubicBezTo>
                    <a:cubicBezTo>
                      <a:pt x="0" y="3"/>
                      <a:pt x="5" y="29"/>
                      <a:pt x="21" y="41"/>
                    </a:cubicBezTo>
                    <a:cubicBezTo>
                      <a:pt x="38" y="54"/>
                      <a:pt x="55" y="44"/>
                      <a:pt x="55" y="44"/>
                    </a:cubicBezTo>
                    <a:cubicBezTo>
                      <a:pt x="55" y="44"/>
                      <a:pt x="59" y="25"/>
                      <a:pt x="43" y="1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38" name="Freeform 22">
                <a:extLst>
                  <a:ext uri="{FF2B5EF4-FFF2-40B4-BE49-F238E27FC236}">
                    <a16:creationId xmlns:a16="http://schemas.microsoft.com/office/drawing/2014/main" xmlns="" id="{122D5D2D-DE2E-CAD6-71FB-4CE509BE6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5" y="2159"/>
                <a:ext cx="108" cy="88"/>
              </a:xfrm>
              <a:custGeom>
                <a:avLst/>
                <a:gdLst>
                  <a:gd name="T0" fmla="*/ 14 w 47"/>
                  <a:gd name="T1" fmla="*/ 7 h 38"/>
                  <a:gd name="T2" fmla="*/ 1 w 47"/>
                  <a:gd name="T3" fmla="*/ 29 h 38"/>
                  <a:gd name="T4" fmla="*/ 26 w 47"/>
                  <a:gd name="T5" fmla="*/ 31 h 38"/>
                  <a:gd name="T6" fmla="*/ 47 w 47"/>
                  <a:gd name="T7" fmla="*/ 5 h 38"/>
                  <a:gd name="T8" fmla="*/ 14 w 47"/>
                  <a:gd name="T9" fmla="*/ 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8">
                    <a:moveTo>
                      <a:pt x="14" y="7"/>
                    </a:moveTo>
                    <a:cubicBezTo>
                      <a:pt x="0" y="14"/>
                      <a:pt x="1" y="29"/>
                      <a:pt x="1" y="29"/>
                    </a:cubicBezTo>
                    <a:cubicBezTo>
                      <a:pt x="1" y="29"/>
                      <a:pt x="12" y="38"/>
                      <a:pt x="26" y="31"/>
                    </a:cubicBezTo>
                    <a:cubicBezTo>
                      <a:pt x="40" y="24"/>
                      <a:pt x="47" y="5"/>
                      <a:pt x="47" y="5"/>
                    </a:cubicBezTo>
                    <a:cubicBezTo>
                      <a:pt x="47" y="5"/>
                      <a:pt x="28" y="0"/>
                      <a:pt x="14" y="7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39" name="Rectangle 23">
                <a:extLst>
                  <a:ext uri="{FF2B5EF4-FFF2-40B4-BE49-F238E27FC236}">
                    <a16:creationId xmlns:a16="http://schemas.microsoft.com/office/drawing/2014/main" xmlns="" id="{9699421A-FC0D-E32A-4E57-E432BDDA54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3" y="2043"/>
                <a:ext cx="11" cy="383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40" name="Freeform 24">
                <a:extLst>
                  <a:ext uri="{FF2B5EF4-FFF2-40B4-BE49-F238E27FC236}">
                    <a16:creationId xmlns:a16="http://schemas.microsoft.com/office/drawing/2014/main" xmlns="" id="{4EEFEFCA-1847-29DE-853D-8E773E2D3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1" y="1868"/>
                <a:ext cx="277" cy="212"/>
              </a:xfrm>
              <a:custGeom>
                <a:avLst/>
                <a:gdLst>
                  <a:gd name="T0" fmla="*/ 113 w 120"/>
                  <a:gd name="T1" fmla="*/ 25 h 91"/>
                  <a:gd name="T2" fmla="*/ 87 w 120"/>
                  <a:gd name="T3" fmla="*/ 39 h 91"/>
                  <a:gd name="T4" fmla="*/ 60 w 120"/>
                  <a:gd name="T5" fmla="*/ 0 h 91"/>
                  <a:gd name="T6" fmla="*/ 33 w 120"/>
                  <a:gd name="T7" fmla="*/ 39 h 91"/>
                  <a:gd name="T8" fmla="*/ 6 w 120"/>
                  <a:gd name="T9" fmla="*/ 25 h 91"/>
                  <a:gd name="T10" fmla="*/ 60 w 120"/>
                  <a:gd name="T11" fmla="*/ 91 h 91"/>
                  <a:gd name="T12" fmla="*/ 113 w 120"/>
                  <a:gd name="T13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91">
                    <a:moveTo>
                      <a:pt x="113" y="25"/>
                    </a:moveTo>
                    <a:cubicBezTo>
                      <a:pt x="87" y="39"/>
                      <a:pt x="87" y="39"/>
                      <a:pt x="87" y="39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33" y="39"/>
                      <a:pt x="33" y="39"/>
                      <a:pt x="33" y="39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6" y="25"/>
                      <a:pt x="0" y="91"/>
                      <a:pt x="60" y="91"/>
                    </a:cubicBezTo>
                    <a:cubicBezTo>
                      <a:pt x="120" y="91"/>
                      <a:pt x="113" y="25"/>
                      <a:pt x="113" y="25"/>
                    </a:cubicBezTo>
                  </a:path>
                </a:pathLst>
              </a:custGeom>
              <a:solidFill>
                <a:srgbClr val="FF70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41" name="Rectangle 25">
                <a:extLst>
                  <a:ext uri="{FF2B5EF4-FFF2-40B4-BE49-F238E27FC236}">
                    <a16:creationId xmlns:a16="http://schemas.microsoft.com/office/drawing/2014/main" xmlns="" id="{E8FFF895-0369-5631-52B3-2AC50F31A1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4" y="2154"/>
                <a:ext cx="14" cy="298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42" name="Oval 26">
                <a:extLst>
                  <a:ext uri="{FF2B5EF4-FFF2-40B4-BE49-F238E27FC236}">
                    <a16:creationId xmlns:a16="http://schemas.microsoft.com/office/drawing/2014/main" xmlns="" id="{78606E71-2C75-DF80-D476-7FFB1012EE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2" y="1964"/>
                <a:ext cx="97" cy="190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43" name="Freeform 27">
                <a:extLst>
                  <a:ext uri="{FF2B5EF4-FFF2-40B4-BE49-F238E27FC236}">
                    <a16:creationId xmlns:a16="http://schemas.microsoft.com/office/drawing/2014/main" xmlns="" id="{7F35C9C1-6408-434C-942D-8654E4DC12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9" y="2061"/>
                <a:ext cx="163" cy="149"/>
              </a:xfrm>
              <a:custGeom>
                <a:avLst/>
                <a:gdLst>
                  <a:gd name="T0" fmla="*/ 0 w 71"/>
                  <a:gd name="T1" fmla="*/ 3 h 64"/>
                  <a:gd name="T2" fmla="*/ 25 w 71"/>
                  <a:gd name="T3" fmla="*/ 49 h 64"/>
                  <a:gd name="T4" fmla="*/ 65 w 71"/>
                  <a:gd name="T5" fmla="*/ 52 h 64"/>
                  <a:gd name="T6" fmla="*/ 51 w 71"/>
                  <a:gd name="T7" fmla="*/ 15 h 64"/>
                  <a:gd name="T8" fmla="*/ 0 w 71"/>
                  <a:gd name="T9" fmla="*/ 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64">
                    <a:moveTo>
                      <a:pt x="0" y="3"/>
                    </a:moveTo>
                    <a:cubicBezTo>
                      <a:pt x="0" y="3"/>
                      <a:pt x="6" y="34"/>
                      <a:pt x="25" y="49"/>
                    </a:cubicBezTo>
                    <a:cubicBezTo>
                      <a:pt x="45" y="64"/>
                      <a:pt x="65" y="52"/>
                      <a:pt x="65" y="52"/>
                    </a:cubicBezTo>
                    <a:cubicBezTo>
                      <a:pt x="65" y="52"/>
                      <a:pt x="71" y="30"/>
                      <a:pt x="51" y="15"/>
                    </a:cubicBezTo>
                    <a:cubicBezTo>
                      <a:pt x="31" y="0"/>
                      <a:pt x="0" y="3"/>
                      <a:pt x="0" y="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44" name="Freeform 28">
                <a:extLst>
                  <a:ext uri="{FF2B5EF4-FFF2-40B4-BE49-F238E27FC236}">
                    <a16:creationId xmlns:a16="http://schemas.microsoft.com/office/drawing/2014/main" xmlns="" id="{3661FAAE-C783-20D2-136C-E22CEF2F1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9" y="2061"/>
                <a:ext cx="164" cy="149"/>
              </a:xfrm>
              <a:custGeom>
                <a:avLst/>
                <a:gdLst>
                  <a:gd name="T0" fmla="*/ 71 w 71"/>
                  <a:gd name="T1" fmla="*/ 3 h 64"/>
                  <a:gd name="T2" fmla="*/ 46 w 71"/>
                  <a:gd name="T3" fmla="*/ 49 h 64"/>
                  <a:gd name="T4" fmla="*/ 6 w 71"/>
                  <a:gd name="T5" fmla="*/ 52 h 64"/>
                  <a:gd name="T6" fmla="*/ 20 w 71"/>
                  <a:gd name="T7" fmla="*/ 15 h 64"/>
                  <a:gd name="T8" fmla="*/ 71 w 71"/>
                  <a:gd name="T9" fmla="*/ 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64">
                    <a:moveTo>
                      <a:pt x="71" y="3"/>
                    </a:moveTo>
                    <a:cubicBezTo>
                      <a:pt x="71" y="3"/>
                      <a:pt x="65" y="34"/>
                      <a:pt x="46" y="49"/>
                    </a:cubicBezTo>
                    <a:cubicBezTo>
                      <a:pt x="26" y="64"/>
                      <a:pt x="6" y="52"/>
                      <a:pt x="6" y="52"/>
                    </a:cubicBezTo>
                    <a:cubicBezTo>
                      <a:pt x="6" y="52"/>
                      <a:pt x="0" y="30"/>
                      <a:pt x="20" y="15"/>
                    </a:cubicBezTo>
                    <a:cubicBezTo>
                      <a:pt x="40" y="0"/>
                      <a:pt x="71" y="3"/>
                      <a:pt x="71" y="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45" name="Rectangle 29">
                <a:extLst>
                  <a:ext uri="{FF2B5EF4-FFF2-40B4-BE49-F238E27FC236}">
                    <a16:creationId xmlns:a16="http://schemas.microsoft.com/office/drawing/2014/main" xmlns="" id="{186E6CDD-6763-3BF2-A680-DE76DA2093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48" y="2110"/>
                <a:ext cx="12" cy="314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46" name="Oval 30">
                <a:extLst>
                  <a:ext uri="{FF2B5EF4-FFF2-40B4-BE49-F238E27FC236}">
                    <a16:creationId xmlns:a16="http://schemas.microsoft.com/office/drawing/2014/main" xmlns="" id="{417C4597-1D0C-F603-B885-52B7FB5CB3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2" y="1908"/>
                <a:ext cx="104" cy="202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47" name="Freeform 31">
                <a:extLst>
                  <a:ext uri="{FF2B5EF4-FFF2-40B4-BE49-F238E27FC236}">
                    <a16:creationId xmlns:a16="http://schemas.microsoft.com/office/drawing/2014/main" xmlns="" id="{FC420224-E434-C91C-79D8-E76F0E645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" y="2012"/>
                <a:ext cx="173" cy="156"/>
              </a:xfrm>
              <a:custGeom>
                <a:avLst/>
                <a:gdLst>
                  <a:gd name="T0" fmla="*/ 0 w 75"/>
                  <a:gd name="T1" fmla="*/ 3 h 67"/>
                  <a:gd name="T2" fmla="*/ 28 w 75"/>
                  <a:gd name="T3" fmla="*/ 51 h 67"/>
                  <a:gd name="T4" fmla="*/ 70 w 75"/>
                  <a:gd name="T5" fmla="*/ 55 h 67"/>
                  <a:gd name="T6" fmla="*/ 55 w 75"/>
                  <a:gd name="T7" fmla="*/ 15 h 67"/>
                  <a:gd name="T8" fmla="*/ 0 w 75"/>
                  <a:gd name="T9" fmla="*/ 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67">
                    <a:moveTo>
                      <a:pt x="0" y="3"/>
                    </a:moveTo>
                    <a:cubicBezTo>
                      <a:pt x="0" y="3"/>
                      <a:pt x="7" y="36"/>
                      <a:pt x="28" y="51"/>
                    </a:cubicBezTo>
                    <a:cubicBezTo>
                      <a:pt x="48" y="67"/>
                      <a:pt x="70" y="55"/>
                      <a:pt x="70" y="55"/>
                    </a:cubicBezTo>
                    <a:cubicBezTo>
                      <a:pt x="70" y="55"/>
                      <a:pt x="75" y="31"/>
                      <a:pt x="55" y="15"/>
                    </a:cubicBezTo>
                    <a:cubicBezTo>
                      <a:pt x="34" y="0"/>
                      <a:pt x="0" y="3"/>
                      <a:pt x="0" y="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48" name="Freeform 32">
                <a:extLst>
                  <a:ext uri="{FF2B5EF4-FFF2-40B4-BE49-F238E27FC236}">
                    <a16:creationId xmlns:a16="http://schemas.microsoft.com/office/drawing/2014/main" xmlns="" id="{BB0C118A-E825-FC5E-8003-6FED3C1CDD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1" y="2012"/>
                <a:ext cx="175" cy="156"/>
              </a:xfrm>
              <a:custGeom>
                <a:avLst/>
                <a:gdLst>
                  <a:gd name="T0" fmla="*/ 76 w 76"/>
                  <a:gd name="T1" fmla="*/ 3 h 67"/>
                  <a:gd name="T2" fmla="*/ 48 w 76"/>
                  <a:gd name="T3" fmla="*/ 51 h 67"/>
                  <a:gd name="T4" fmla="*/ 6 w 76"/>
                  <a:gd name="T5" fmla="*/ 55 h 67"/>
                  <a:gd name="T6" fmla="*/ 21 w 76"/>
                  <a:gd name="T7" fmla="*/ 15 h 67"/>
                  <a:gd name="T8" fmla="*/ 76 w 76"/>
                  <a:gd name="T9" fmla="*/ 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7">
                    <a:moveTo>
                      <a:pt x="76" y="3"/>
                    </a:moveTo>
                    <a:cubicBezTo>
                      <a:pt x="76" y="3"/>
                      <a:pt x="69" y="36"/>
                      <a:pt x="48" y="51"/>
                    </a:cubicBezTo>
                    <a:cubicBezTo>
                      <a:pt x="27" y="67"/>
                      <a:pt x="6" y="55"/>
                      <a:pt x="6" y="55"/>
                    </a:cubicBezTo>
                    <a:cubicBezTo>
                      <a:pt x="6" y="55"/>
                      <a:pt x="0" y="31"/>
                      <a:pt x="21" y="15"/>
                    </a:cubicBezTo>
                    <a:cubicBezTo>
                      <a:pt x="42" y="0"/>
                      <a:pt x="76" y="3"/>
                      <a:pt x="76" y="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49" name="Rectangle 33">
                <a:extLst>
                  <a:ext uri="{FF2B5EF4-FFF2-40B4-BE49-F238E27FC236}">
                    <a16:creationId xmlns:a16="http://schemas.microsoft.com/office/drawing/2014/main" xmlns="" id="{81653E5C-6D43-798E-7E86-614B7785E7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6" y="2154"/>
                <a:ext cx="16" cy="365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50" name="Oval 34">
                <a:extLst>
                  <a:ext uri="{FF2B5EF4-FFF2-40B4-BE49-F238E27FC236}">
                    <a16:creationId xmlns:a16="http://schemas.microsoft.com/office/drawing/2014/main" xmlns="" id="{F0C138D0-F5FE-0E23-3367-3D8B3CBDB9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3" y="1922"/>
                <a:ext cx="120" cy="232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51" name="Freeform 35">
                <a:extLst>
                  <a:ext uri="{FF2B5EF4-FFF2-40B4-BE49-F238E27FC236}">
                    <a16:creationId xmlns:a16="http://schemas.microsoft.com/office/drawing/2014/main" xmlns="" id="{493D0495-EDC3-424F-C6E0-E9299F2F0D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6" y="2040"/>
                <a:ext cx="201" cy="182"/>
              </a:xfrm>
              <a:custGeom>
                <a:avLst/>
                <a:gdLst>
                  <a:gd name="T0" fmla="*/ 0 w 87"/>
                  <a:gd name="T1" fmla="*/ 4 h 78"/>
                  <a:gd name="T2" fmla="*/ 32 w 87"/>
                  <a:gd name="T3" fmla="*/ 60 h 78"/>
                  <a:gd name="T4" fmla="*/ 80 w 87"/>
                  <a:gd name="T5" fmla="*/ 64 h 78"/>
                  <a:gd name="T6" fmla="*/ 63 w 87"/>
                  <a:gd name="T7" fmla="*/ 18 h 78"/>
                  <a:gd name="T8" fmla="*/ 0 w 87"/>
                  <a:gd name="T9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78">
                    <a:moveTo>
                      <a:pt x="0" y="4"/>
                    </a:moveTo>
                    <a:cubicBezTo>
                      <a:pt x="0" y="4"/>
                      <a:pt x="7" y="42"/>
                      <a:pt x="32" y="60"/>
                    </a:cubicBezTo>
                    <a:cubicBezTo>
                      <a:pt x="56" y="78"/>
                      <a:pt x="80" y="64"/>
                      <a:pt x="80" y="64"/>
                    </a:cubicBezTo>
                    <a:cubicBezTo>
                      <a:pt x="80" y="64"/>
                      <a:pt x="87" y="37"/>
                      <a:pt x="63" y="18"/>
                    </a:cubicBezTo>
                    <a:cubicBezTo>
                      <a:pt x="39" y="0"/>
                      <a:pt x="0" y="4"/>
                      <a:pt x="0" y="4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52" name="Freeform 36">
                <a:extLst>
                  <a:ext uri="{FF2B5EF4-FFF2-40B4-BE49-F238E27FC236}">
                    <a16:creationId xmlns:a16="http://schemas.microsoft.com/office/drawing/2014/main" xmlns="" id="{50B742DB-1986-7792-45C3-E90EC31E2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9" y="2040"/>
                <a:ext cx="201" cy="182"/>
              </a:xfrm>
              <a:custGeom>
                <a:avLst/>
                <a:gdLst>
                  <a:gd name="T0" fmla="*/ 87 w 87"/>
                  <a:gd name="T1" fmla="*/ 4 h 78"/>
                  <a:gd name="T2" fmla="*/ 56 w 87"/>
                  <a:gd name="T3" fmla="*/ 60 h 78"/>
                  <a:gd name="T4" fmla="*/ 7 w 87"/>
                  <a:gd name="T5" fmla="*/ 64 h 78"/>
                  <a:gd name="T6" fmla="*/ 25 w 87"/>
                  <a:gd name="T7" fmla="*/ 18 h 78"/>
                  <a:gd name="T8" fmla="*/ 87 w 87"/>
                  <a:gd name="T9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78">
                    <a:moveTo>
                      <a:pt x="87" y="4"/>
                    </a:moveTo>
                    <a:cubicBezTo>
                      <a:pt x="87" y="4"/>
                      <a:pt x="80" y="42"/>
                      <a:pt x="56" y="60"/>
                    </a:cubicBezTo>
                    <a:cubicBezTo>
                      <a:pt x="32" y="78"/>
                      <a:pt x="7" y="64"/>
                      <a:pt x="7" y="64"/>
                    </a:cubicBezTo>
                    <a:cubicBezTo>
                      <a:pt x="7" y="64"/>
                      <a:pt x="0" y="37"/>
                      <a:pt x="25" y="18"/>
                    </a:cubicBezTo>
                    <a:cubicBezTo>
                      <a:pt x="49" y="0"/>
                      <a:pt x="87" y="4"/>
                      <a:pt x="87" y="4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53" name="Rectangle 37">
                <a:extLst>
                  <a:ext uri="{FF2B5EF4-FFF2-40B4-BE49-F238E27FC236}">
                    <a16:creationId xmlns:a16="http://schemas.microsoft.com/office/drawing/2014/main" xmlns="" id="{AB36DEB8-732C-8248-9BB2-80F2FA22C7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8" y="1971"/>
                <a:ext cx="14" cy="483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54" name="Oval 38">
                <a:extLst>
                  <a:ext uri="{FF2B5EF4-FFF2-40B4-BE49-F238E27FC236}">
                    <a16:creationId xmlns:a16="http://schemas.microsoft.com/office/drawing/2014/main" xmlns="" id="{BB6007A4-6407-BD7F-9030-A26034D49F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" y="1817"/>
                <a:ext cx="177" cy="202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55" name="Freeform 39">
                <a:extLst>
                  <a:ext uri="{FF2B5EF4-FFF2-40B4-BE49-F238E27FC236}">
                    <a16:creationId xmlns:a16="http://schemas.microsoft.com/office/drawing/2014/main" xmlns="" id="{5E741B14-9F3E-BB9C-9969-8890ADD32C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9" y="2043"/>
                <a:ext cx="90" cy="76"/>
              </a:xfrm>
              <a:custGeom>
                <a:avLst/>
                <a:gdLst>
                  <a:gd name="T0" fmla="*/ 90 w 90"/>
                  <a:gd name="T1" fmla="*/ 69 h 76"/>
                  <a:gd name="T2" fmla="*/ 83 w 90"/>
                  <a:gd name="T3" fmla="*/ 76 h 76"/>
                  <a:gd name="T4" fmla="*/ 0 w 90"/>
                  <a:gd name="T5" fmla="*/ 7 h 76"/>
                  <a:gd name="T6" fmla="*/ 7 w 90"/>
                  <a:gd name="T7" fmla="*/ 0 h 76"/>
                  <a:gd name="T8" fmla="*/ 90 w 90"/>
                  <a:gd name="T9" fmla="*/ 6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76">
                    <a:moveTo>
                      <a:pt x="90" y="69"/>
                    </a:moveTo>
                    <a:lnTo>
                      <a:pt x="83" y="7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90" y="69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56" name="Freeform 40">
                <a:extLst>
                  <a:ext uri="{FF2B5EF4-FFF2-40B4-BE49-F238E27FC236}">
                    <a16:creationId xmlns:a16="http://schemas.microsoft.com/office/drawing/2014/main" xmlns="" id="{FFE76B74-5719-E81D-468B-3D6BB0CC7D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" y="1982"/>
                <a:ext cx="111" cy="114"/>
              </a:xfrm>
              <a:custGeom>
                <a:avLst/>
                <a:gdLst>
                  <a:gd name="T0" fmla="*/ 2 w 48"/>
                  <a:gd name="T1" fmla="*/ 6 h 49"/>
                  <a:gd name="T2" fmla="*/ 12 w 48"/>
                  <a:gd name="T3" fmla="*/ 39 h 49"/>
                  <a:gd name="T4" fmla="*/ 39 w 48"/>
                  <a:gd name="T5" fmla="*/ 37 h 49"/>
                  <a:gd name="T6" fmla="*/ 36 w 48"/>
                  <a:gd name="T7" fmla="*/ 10 h 49"/>
                  <a:gd name="T8" fmla="*/ 2 w 48"/>
                  <a:gd name="T9" fmla="*/ 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2" y="6"/>
                    </a:moveTo>
                    <a:cubicBezTo>
                      <a:pt x="2" y="6"/>
                      <a:pt x="0" y="30"/>
                      <a:pt x="12" y="39"/>
                    </a:cubicBezTo>
                    <a:cubicBezTo>
                      <a:pt x="23" y="49"/>
                      <a:pt x="39" y="37"/>
                      <a:pt x="39" y="37"/>
                    </a:cubicBezTo>
                    <a:cubicBezTo>
                      <a:pt x="39" y="37"/>
                      <a:pt x="48" y="19"/>
                      <a:pt x="36" y="10"/>
                    </a:cubicBezTo>
                    <a:cubicBezTo>
                      <a:pt x="25" y="0"/>
                      <a:pt x="2" y="6"/>
                      <a:pt x="2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57" name="Freeform 41">
                <a:extLst>
                  <a:ext uri="{FF2B5EF4-FFF2-40B4-BE49-F238E27FC236}">
                    <a16:creationId xmlns:a16="http://schemas.microsoft.com/office/drawing/2014/main" xmlns="" id="{68948B90-34F8-06D9-2DDA-DD4D249DE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2043"/>
                <a:ext cx="90" cy="76"/>
              </a:xfrm>
              <a:custGeom>
                <a:avLst/>
                <a:gdLst>
                  <a:gd name="T0" fmla="*/ 0 w 90"/>
                  <a:gd name="T1" fmla="*/ 69 h 76"/>
                  <a:gd name="T2" fmla="*/ 7 w 90"/>
                  <a:gd name="T3" fmla="*/ 76 h 76"/>
                  <a:gd name="T4" fmla="*/ 90 w 90"/>
                  <a:gd name="T5" fmla="*/ 7 h 76"/>
                  <a:gd name="T6" fmla="*/ 83 w 90"/>
                  <a:gd name="T7" fmla="*/ 0 h 76"/>
                  <a:gd name="T8" fmla="*/ 0 w 90"/>
                  <a:gd name="T9" fmla="*/ 6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76">
                    <a:moveTo>
                      <a:pt x="0" y="69"/>
                    </a:moveTo>
                    <a:lnTo>
                      <a:pt x="7" y="76"/>
                    </a:lnTo>
                    <a:lnTo>
                      <a:pt x="90" y="7"/>
                    </a:lnTo>
                    <a:lnTo>
                      <a:pt x="83" y="0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58" name="Freeform 42">
                <a:extLst>
                  <a:ext uri="{FF2B5EF4-FFF2-40B4-BE49-F238E27FC236}">
                    <a16:creationId xmlns:a16="http://schemas.microsoft.com/office/drawing/2014/main" xmlns="" id="{0A778AF2-F0DB-7249-479F-753E44802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4" y="1982"/>
                <a:ext cx="110" cy="114"/>
              </a:xfrm>
              <a:custGeom>
                <a:avLst/>
                <a:gdLst>
                  <a:gd name="T0" fmla="*/ 46 w 48"/>
                  <a:gd name="T1" fmla="*/ 6 h 49"/>
                  <a:gd name="T2" fmla="*/ 36 w 48"/>
                  <a:gd name="T3" fmla="*/ 39 h 49"/>
                  <a:gd name="T4" fmla="*/ 8 w 48"/>
                  <a:gd name="T5" fmla="*/ 37 h 49"/>
                  <a:gd name="T6" fmla="*/ 11 w 48"/>
                  <a:gd name="T7" fmla="*/ 10 h 49"/>
                  <a:gd name="T8" fmla="*/ 46 w 48"/>
                  <a:gd name="T9" fmla="*/ 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46" y="6"/>
                    </a:moveTo>
                    <a:cubicBezTo>
                      <a:pt x="46" y="6"/>
                      <a:pt x="48" y="30"/>
                      <a:pt x="36" y="39"/>
                    </a:cubicBezTo>
                    <a:cubicBezTo>
                      <a:pt x="25" y="49"/>
                      <a:pt x="8" y="37"/>
                      <a:pt x="8" y="37"/>
                    </a:cubicBezTo>
                    <a:cubicBezTo>
                      <a:pt x="8" y="37"/>
                      <a:pt x="0" y="19"/>
                      <a:pt x="11" y="10"/>
                    </a:cubicBezTo>
                    <a:cubicBezTo>
                      <a:pt x="23" y="0"/>
                      <a:pt x="46" y="6"/>
                      <a:pt x="46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59" name="Freeform 43">
                <a:extLst>
                  <a:ext uri="{FF2B5EF4-FFF2-40B4-BE49-F238E27FC236}">
                    <a16:creationId xmlns:a16="http://schemas.microsoft.com/office/drawing/2014/main" xmlns="" id="{94ABEABD-A576-C8A4-DF41-C2BEFBAFB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9" y="2159"/>
                <a:ext cx="90" cy="79"/>
              </a:xfrm>
              <a:custGeom>
                <a:avLst/>
                <a:gdLst>
                  <a:gd name="T0" fmla="*/ 90 w 90"/>
                  <a:gd name="T1" fmla="*/ 70 h 79"/>
                  <a:gd name="T2" fmla="*/ 83 w 90"/>
                  <a:gd name="T3" fmla="*/ 79 h 79"/>
                  <a:gd name="T4" fmla="*/ 0 w 90"/>
                  <a:gd name="T5" fmla="*/ 9 h 79"/>
                  <a:gd name="T6" fmla="*/ 7 w 90"/>
                  <a:gd name="T7" fmla="*/ 0 h 79"/>
                  <a:gd name="T8" fmla="*/ 90 w 90"/>
                  <a:gd name="T9" fmla="*/ 7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79">
                    <a:moveTo>
                      <a:pt x="90" y="70"/>
                    </a:moveTo>
                    <a:lnTo>
                      <a:pt x="83" y="79"/>
                    </a:lnTo>
                    <a:lnTo>
                      <a:pt x="0" y="9"/>
                    </a:lnTo>
                    <a:lnTo>
                      <a:pt x="7" y="0"/>
                    </a:lnTo>
                    <a:lnTo>
                      <a:pt x="90" y="70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60" name="Freeform 44">
                <a:extLst>
                  <a:ext uri="{FF2B5EF4-FFF2-40B4-BE49-F238E27FC236}">
                    <a16:creationId xmlns:a16="http://schemas.microsoft.com/office/drawing/2014/main" xmlns="" id="{193562AB-C061-F763-13FF-1721E1108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" y="2101"/>
                <a:ext cx="111" cy="111"/>
              </a:xfrm>
              <a:custGeom>
                <a:avLst/>
                <a:gdLst>
                  <a:gd name="T0" fmla="*/ 2 w 48"/>
                  <a:gd name="T1" fmla="*/ 5 h 48"/>
                  <a:gd name="T2" fmla="*/ 12 w 48"/>
                  <a:gd name="T3" fmla="*/ 39 h 48"/>
                  <a:gd name="T4" fmla="*/ 39 w 48"/>
                  <a:gd name="T5" fmla="*/ 37 h 48"/>
                  <a:gd name="T6" fmla="*/ 36 w 48"/>
                  <a:gd name="T7" fmla="*/ 9 h 48"/>
                  <a:gd name="T8" fmla="*/ 2 w 48"/>
                  <a:gd name="T9" fmla="*/ 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2" y="5"/>
                    </a:moveTo>
                    <a:cubicBezTo>
                      <a:pt x="2" y="5"/>
                      <a:pt x="0" y="29"/>
                      <a:pt x="12" y="39"/>
                    </a:cubicBezTo>
                    <a:cubicBezTo>
                      <a:pt x="23" y="48"/>
                      <a:pt x="39" y="37"/>
                      <a:pt x="39" y="37"/>
                    </a:cubicBezTo>
                    <a:cubicBezTo>
                      <a:pt x="39" y="37"/>
                      <a:pt x="48" y="18"/>
                      <a:pt x="36" y="9"/>
                    </a:cubicBezTo>
                    <a:cubicBezTo>
                      <a:pt x="25" y="0"/>
                      <a:pt x="2" y="5"/>
                      <a:pt x="2" y="5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61" name="Freeform 45">
                <a:extLst>
                  <a:ext uri="{FF2B5EF4-FFF2-40B4-BE49-F238E27FC236}">
                    <a16:creationId xmlns:a16="http://schemas.microsoft.com/office/drawing/2014/main" xmlns="" id="{A5E0070D-F171-79D6-A7D3-BF3474E684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2159"/>
                <a:ext cx="90" cy="79"/>
              </a:xfrm>
              <a:custGeom>
                <a:avLst/>
                <a:gdLst>
                  <a:gd name="T0" fmla="*/ 0 w 90"/>
                  <a:gd name="T1" fmla="*/ 70 h 79"/>
                  <a:gd name="T2" fmla="*/ 7 w 90"/>
                  <a:gd name="T3" fmla="*/ 79 h 79"/>
                  <a:gd name="T4" fmla="*/ 90 w 90"/>
                  <a:gd name="T5" fmla="*/ 9 h 79"/>
                  <a:gd name="T6" fmla="*/ 83 w 90"/>
                  <a:gd name="T7" fmla="*/ 0 h 79"/>
                  <a:gd name="T8" fmla="*/ 0 w 90"/>
                  <a:gd name="T9" fmla="*/ 7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79">
                    <a:moveTo>
                      <a:pt x="0" y="70"/>
                    </a:moveTo>
                    <a:lnTo>
                      <a:pt x="7" y="79"/>
                    </a:lnTo>
                    <a:lnTo>
                      <a:pt x="90" y="9"/>
                    </a:lnTo>
                    <a:lnTo>
                      <a:pt x="83" y="0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62" name="Freeform 46">
                <a:extLst>
                  <a:ext uri="{FF2B5EF4-FFF2-40B4-BE49-F238E27FC236}">
                    <a16:creationId xmlns:a16="http://schemas.microsoft.com/office/drawing/2014/main" xmlns="" id="{B91D8E26-945D-9C5D-8F52-15864D2D8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4" y="2101"/>
                <a:ext cx="110" cy="111"/>
              </a:xfrm>
              <a:custGeom>
                <a:avLst/>
                <a:gdLst>
                  <a:gd name="T0" fmla="*/ 46 w 48"/>
                  <a:gd name="T1" fmla="*/ 5 h 48"/>
                  <a:gd name="T2" fmla="*/ 36 w 48"/>
                  <a:gd name="T3" fmla="*/ 39 h 48"/>
                  <a:gd name="T4" fmla="*/ 8 w 48"/>
                  <a:gd name="T5" fmla="*/ 37 h 48"/>
                  <a:gd name="T6" fmla="*/ 11 w 48"/>
                  <a:gd name="T7" fmla="*/ 9 h 48"/>
                  <a:gd name="T8" fmla="*/ 46 w 48"/>
                  <a:gd name="T9" fmla="*/ 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46" y="5"/>
                    </a:moveTo>
                    <a:cubicBezTo>
                      <a:pt x="46" y="5"/>
                      <a:pt x="48" y="29"/>
                      <a:pt x="36" y="39"/>
                    </a:cubicBezTo>
                    <a:cubicBezTo>
                      <a:pt x="25" y="48"/>
                      <a:pt x="8" y="37"/>
                      <a:pt x="8" y="37"/>
                    </a:cubicBezTo>
                    <a:cubicBezTo>
                      <a:pt x="8" y="37"/>
                      <a:pt x="0" y="18"/>
                      <a:pt x="11" y="9"/>
                    </a:cubicBezTo>
                    <a:cubicBezTo>
                      <a:pt x="23" y="0"/>
                      <a:pt x="46" y="5"/>
                      <a:pt x="46" y="5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63" name="Rectangle 47">
                <a:extLst>
                  <a:ext uri="{FF2B5EF4-FFF2-40B4-BE49-F238E27FC236}">
                    <a16:creationId xmlns:a16="http://schemas.microsoft.com/office/drawing/2014/main" xmlns="" id="{FDF39865-9E60-F042-A378-3F0FF8A737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07" y="1971"/>
                <a:ext cx="16" cy="483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64" name="Oval 48">
                <a:extLst>
                  <a:ext uri="{FF2B5EF4-FFF2-40B4-BE49-F238E27FC236}">
                    <a16:creationId xmlns:a16="http://schemas.microsoft.com/office/drawing/2014/main" xmlns="" id="{BE0C9D9C-03BA-B470-5233-3C9FF3C7C4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6" y="1817"/>
                <a:ext cx="178" cy="202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65" name="Freeform 49">
                <a:extLst>
                  <a:ext uri="{FF2B5EF4-FFF2-40B4-BE49-F238E27FC236}">
                    <a16:creationId xmlns:a16="http://schemas.microsoft.com/office/drawing/2014/main" xmlns="" id="{4D4F229E-940C-4774-F446-2BB2C9724A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9" y="2043"/>
                <a:ext cx="89" cy="76"/>
              </a:xfrm>
              <a:custGeom>
                <a:avLst/>
                <a:gdLst>
                  <a:gd name="T0" fmla="*/ 89 w 89"/>
                  <a:gd name="T1" fmla="*/ 69 h 76"/>
                  <a:gd name="T2" fmla="*/ 83 w 89"/>
                  <a:gd name="T3" fmla="*/ 76 h 76"/>
                  <a:gd name="T4" fmla="*/ 0 w 89"/>
                  <a:gd name="T5" fmla="*/ 7 h 76"/>
                  <a:gd name="T6" fmla="*/ 7 w 89"/>
                  <a:gd name="T7" fmla="*/ 0 h 76"/>
                  <a:gd name="T8" fmla="*/ 89 w 89"/>
                  <a:gd name="T9" fmla="*/ 6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89" y="69"/>
                    </a:moveTo>
                    <a:lnTo>
                      <a:pt x="83" y="7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89" y="69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66" name="Freeform 50">
                <a:extLst>
                  <a:ext uri="{FF2B5EF4-FFF2-40B4-BE49-F238E27FC236}">
                    <a16:creationId xmlns:a16="http://schemas.microsoft.com/office/drawing/2014/main" xmlns="" id="{0491FEA1-F54B-1EC6-3512-97C02C4E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6" y="1982"/>
                <a:ext cx="111" cy="114"/>
              </a:xfrm>
              <a:custGeom>
                <a:avLst/>
                <a:gdLst>
                  <a:gd name="T0" fmla="*/ 2 w 48"/>
                  <a:gd name="T1" fmla="*/ 6 h 49"/>
                  <a:gd name="T2" fmla="*/ 12 w 48"/>
                  <a:gd name="T3" fmla="*/ 39 h 49"/>
                  <a:gd name="T4" fmla="*/ 40 w 48"/>
                  <a:gd name="T5" fmla="*/ 37 h 49"/>
                  <a:gd name="T6" fmla="*/ 37 w 48"/>
                  <a:gd name="T7" fmla="*/ 10 h 49"/>
                  <a:gd name="T8" fmla="*/ 2 w 48"/>
                  <a:gd name="T9" fmla="*/ 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2" y="6"/>
                    </a:moveTo>
                    <a:cubicBezTo>
                      <a:pt x="2" y="6"/>
                      <a:pt x="0" y="30"/>
                      <a:pt x="12" y="39"/>
                    </a:cubicBezTo>
                    <a:cubicBezTo>
                      <a:pt x="23" y="49"/>
                      <a:pt x="40" y="37"/>
                      <a:pt x="40" y="37"/>
                    </a:cubicBezTo>
                    <a:cubicBezTo>
                      <a:pt x="40" y="37"/>
                      <a:pt x="48" y="19"/>
                      <a:pt x="37" y="10"/>
                    </a:cubicBezTo>
                    <a:cubicBezTo>
                      <a:pt x="25" y="0"/>
                      <a:pt x="2" y="6"/>
                      <a:pt x="2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67" name="Freeform 51">
                <a:extLst>
                  <a:ext uri="{FF2B5EF4-FFF2-40B4-BE49-F238E27FC236}">
                    <a16:creationId xmlns:a16="http://schemas.microsoft.com/office/drawing/2014/main" xmlns="" id="{AD0027CA-A572-EFD6-FB04-C1C165142F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2" y="2043"/>
                <a:ext cx="89" cy="76"/>
              </a:xfrm>
              <a:custGeom>
                <a:avLst/>
                <a:gdLst>
                  <a:gd name="T0" fmla="*/ 0 w 89"/>
                  <a:gd name="T1" fmla="*/ 69 h 76"/>
                  <a:gd name="T2" fmla="*/ 6 w 89"/>
                  <a:gd name="T3" fmla="*/ 76 h 76"/>
                  <a:gd name="T4" fmla="*/ 89 w 89"/>
                  <a:gd name="T5" fmla="*/ 7 h 76"/>
                  <a:gd name="T6" fmla="*/ 83 w 89"/>
                  <a:gd name="T7" fmla="*/ 0 h 76"/>
                  <a:gd name="T8" fmla="*/ 0 w 89"/>
                  <a:gd name="T9" fmla="*/ 6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69"/>
                    </a:moveTo>
                    <a:lnTo>
                      <a:pt x="6" y="76"/>
                    </a:lnTo>
                    <a:lnTo>
                      <a:pt x="89" y="7"/>
                    </a:lnTo>
                    <a:lnTo>
                      <a:pt x="83" y="0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68" name="Freeform 52">
                <a:extLst>
                  <a:ext uri="{FF2B5EF4-FFF2-40B4-BE49-F238E27FC236}">
                    <a16:creationId xmlns:a16="http://schemas.microsoft.com/office/drawing/2014/main" xmlns="" id="{F4BA9DB0-28B2-2250-B5E2-B82599AF26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3" y="1982"/>
                <a:ext cx="111" cy="114"/>
              </a:xfrm>
              <a:custGeom>
                <a:avLst/>
                <a:gdLst>
                  <a:gd name="T0" fmla="*/ 46 w 48"/>
                  <a:gd name="T1" fmla="*/ 6 h 49"/>
                  <a:gd name="T2" fmla="*/ 36 w 48"/>
                  <a:gd name="T3" fmla="*/ 39 h 49"/>
                  <a:gd name="T4" fmla="*/ 9 w 48"/>
                  <a:gd name="T5" fmla="*/ 37 h 49"/>
                  <a:gd name="T6" fmla="*/ 12 w 48"/>
                  <a:gd name="T7" fmla="*/ 10 h 49"/>
                  <a:gd name="T8" fmla="*/ 46 w 48"/>
                  <a:gd name="T9" fmla="*/ 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9">
                    <a:moveTo>
                      <a:pt x="46" y="6"/>
                    </a:moveTo>
                    <a:cubicBezTo>
                      <a:pt x="46" y="6"/>
                      <a:pt x="48" y="30"/>
                      <a:pt x="36" y="39"/>
                    </a:cubicBezTo>
                    <a:cubicBezTo>
                      <a:pt x="25" y="49"/>
                      <a:pt x="9" y="37"/>
                      <a:pt x="9" y="37"/>
                    </a:cubicBezTo>
                    <a:cubicBezTo>
                      <a:pt x="9" y="37"/>
                      <a:pt x="0" y="19"/>
                      <a:pt x="12" y="10"/>
                    </a:cubicBezTo>
                    <a:cubicBezTo>
                      <a:pt x="23" y="0"/>
                      <a:pt x="46" y="6"/>
                      <a:pt x="46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69" name="Freeform 53">
                <a:extLst>
                  <a:ext uri="{FF2B5EF4-FFF2-40B4-BE49-F238E27FC236}">
                    <a16:creationId xmlns:a16="http://schemas.microsoft.com/office/drawing/2014/main" xmlns="" id="{48CD8837-3E9F-3E27-9819-8CB88973EC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9" y="2159"/>
                <a:ext cx="89" cy="79"/>
              </a:xfrm>
              <a:custGeom>
                <a:avLst/>
                <a:gdLst>
                  <a:gd name="T0" fmla="*/ 89 w 89"/>
                  <a:gd name="T1" fmla="*/ 70 h 79"/>
                  <a:gd name="T2" fmla="*/ 83 w 89"/>
                  <a:gd name="T3" fmla="*/ 79 h 79"/>
                  <a:gd name="T4" fmla="*/ 0 w 89"/>
                  <a:gd name="T5" fmla="*/ 9 h 79"/>
                  <a:gd name="T6" fmla="*/ 7 w 89"/>
                  <a:gd name="T7" fmla="*/ 0 h 79"/>
                  <a:gd name="T8" fmla="*/ 89 w 89"/>
                  <a:gd name="T9" fmla="*/ 7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9">
                    <a:moveTo>
                      <a:pt x="89" y="70"/>
                    </a:moveTo>
                    <a:lnTo>
                      <a:pt x="83" y="79"/>
                    </a:lnTo>
                    <a:lnTo>
                      <a:pt x="0" y="9"/>
                    </a:lnTo>
                    <a:lnTo>
                      <a:pt x="7" y="0"/>
                    </a:lnTo>
                    <a:lnTo>
                      <a:pt x="89" y="70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0" name="Freeform 54">
                <a:extLst>
                  <a:ext uri="{FF2B5EF4-FFF2-40B4-BE49-F238E27FC236}">
                    <a16:creationId xmlns:a16="http://schemas.microsoft.com/office/drawing/2014/main" xmlns="" id="{6B08266F-975B-F694-C113-3BC567AEC9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6" y="2101"/>
                <a:ext cx="111" cy="111"/>
              </a:xfrm>
              <a:custGeom>
                <a:avLst/>
                <a:gdLst>
                  <a:gd name="T0" fmla="*/ 2 w 48"/>
                  <a:gd name="T1" fmla="*/ 5 h 48"/>
                  <a:gd name="T2" fmla="*/ 12 w 48"/>
                  <a:gd name="T3" fmla="*/ 39 h 48"/>
                  <a:gd name="T4" fmla="*/ 40 w 48"/>
                  <a:gd name="T5" fmla="*/ 37 h 48"/>
                  <a:gd name="T6" fmla="*/ 37 w 48"/>
                  <a:gd name="T7" fmla="*/ 9 h 48"/>
                  <a:gd name="T8" fmla="*/ 2 w 48"/>
                  <a:gd name="T9" fmla="*/ 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2" y="5"/>
                    </a:moveTo>
                    <a:cubicBezTo>
                      <a:pt x="2" y="5"/>
                      <a:pt x="0" y="29"/>
                      <a:pt x="12" y="39"/>
                    </a:cubicBezTo>
                    <a:cubicBezTo>
                      <a:pt x="23" y="48"/>
                      <a:pt x="40" y="37"/>
                      <a:pt x="40" y="37"/>
                    </a:cubicBezTo>
                    <a:cubicBezTo>
                      <a:pt x="40" y="37"/>
                      <a:pt x="48" y="18"/>
                      <a:pt x="37" y="9"/>
                    </a:cubicBezTo>
                    <a:cubicBezTo>
                      <a:pt x="25" y="0"/>
                      <a:pt x="2" y="5"/>
                      <a:pt x="2" y="5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1" name="Freeform 55">
                <a:extLst>
                  <a:ext uri="{FF2B5EF4-FFF2-40B4-BE49-F238E27FC236}">
                    <a16:creationId xmlns:a16="http://schemas.microsoft.com/office/drawing/2014/main" xmlns="" id="{2C64CF57-5083-E4E7-1045-7EE8F027FE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2" y="2159"/>
                <a:ext cx="89" cy="79"/>
              </a:xfrm>
              <a:custGeom>
                <a:avLst/>
                <a:gdLst>
                  <a:gd name="T0" fmla="*/ 0 w 89"/>
                  <a:gd name="T1" fmla="*/ 70 h 79"/>
                  <a:gd name="T2" fmla="*/ 6 w 89"/>
                  <a:gd name="T3" fmla="*/ 79 h 79"/>
                  <a:gd name="T4" fmla="*/ 89 w 89"/>
                  <a:gd name="T5" fmla="*/ 9 h 79"/>
                  <a:gd name="T6" fmla="*/ 83 w 89"/>
                  <a:gd name="T7" fmla="*/ 0 h 79"/>
                  <a:gd name="T8" fmla="*/ 0 w 89"/>
                  <a:gd name="T9" fmla="*/ 7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9">
                    <a:moveTo>
                      <a:pt x="0" y="70"/>
                    </a:moveTo>
                    <a:lnTo>
                      <a:pt x="6" y="79"/>
                    </a:lnTo>
                    <a:lnTo>
                      <a:pt x="89" y="9"/>
                    </a:lnTo>
                    <a:lnTo>
                      <a:pt x="83" y="0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2" name="Freeform 56">
                <a:extLst>
                  <a:ext uri="{FF2B5EF4-FFF2-40B4-BE49-F238E27FC236}">
                    <a16:creationId xmlns:a16="http://schemas.microsoft.com/office/drawing/2014/main" xmlns="" id="{60FC729D-33DA-3358-D8F2-E2BE12D66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3" y="2101"/>
                <a:ext cx="111" cy="111"/>
              </a:xfrm>
              <a:custGeom>
                <a:avLst/>
                <a:gdLst>
                  <a:gd name="T0" fmla="*/ 46 w 48"/>
                  <a:gd name="T1" fmla="*/ 5 h 48"/>
                  <a:gd name="T2" fmla="*/ 36 w 48"/>
                  <a:gd name="T3" fmla="*/ 39 h 48"/>
                  <a:gd name="T4" fmla="*/ 9 w 48"/>
                  <a:gd name="T5" fmla="*/ 37 h 48"/>
                  <a:gd name="T6" fmla="*/ 12 w 48"/>
                  <a:gd name="T7" fmla="*/ 9 h 48"/>
                  <a:gd name="T8" fmla="*/ 46 w 48"/>
                  <a:gd name="T9" fmla="*/ 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46" y="5"/>
                    </a:moveTo>
                    <a:cubicBezTo>
                      <a:pt x="46" y="5"/>
                      <a:pt x="48" y="29"/>
                      <a:pt x="36" y="39"/>
                    </a:cubicBezTo>
                    <a:cubicBezTo>
                      <a:pt x="25" y="48"/>
                      <a:pt x="9" y="37"/>
                      <a:pt x="9" y="37"/>
                    </a:cubicBezTo>
                    <a:cubicBezTo>
                      <a:pt x="9" y="37"/>
                      <a:pt x="0" y="18"/>
                      <a:pt x="12" y="9"/>
                    </a:cubicBezTo>
                    <a:cubicBezTo>
                      <a:pt x="23" y="0"/>
                      <a:pt x="46" y="5"/>
                      <a:pt x="46" y="5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3" name="Rectangle 57">
                <a:extLst>
                  <a:ext uri="{FF2B5EF4-FFF2-40B4-BE49-F238E27FC236}">
                    <a16:creationId xmlns:a16="http://schemas.microsoft.com/office/drawing/2014/main" xmlns="" id="{0A15BCE1-91FD-B4BB-BF0D-355FECEA2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53" y="1929"/>
                <a:ext cx="16" cy="523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4" name="Oval 58">
                <a:extLst>
                  <a:ext uri="{FF2B5EF4-FFF2-40B4-BE49-F238E27FC236}">
                    <a16:creationId xmlns:a16="http://schemas.microsoft.com/office/drawing/2014/main" xmlns="" id="{201B9FE8-41E7-7EB0-6D0E-B0DDE6F83E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65" y="1761"/>
                <a:ext cx="191" cy="219"/>
              </a:xfrm>
              <a:prstGeom prst="ellipse">
                <a:avLst/>
              </a:pr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5" name="Freeform 59">
                <a:extLst>
                  <a:ext uri="{FF2B5EF4-FFF2-40B4-BE49-F238E27FC236}">
                    <a16:creationId xmlns:a16="http://schemas.microsoft.com/office/drawing/2014/main" xmlns="" id="{37C42F04-C4D4-01C9-87F9-C7526516D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7" y="2005"/>
                <a:ext cx="99" cy="86"/>
              </a:xfrm>
              <a:custGeom>
                <a:avLst/>
                <a:gdLst>
                  <a:gd name="T0" fmla="*/ 99 w 99"/>
                  <a:gd name="T1" fmla="*/ 77 h 86"/>
                  <a:gd name="T2" fmla="*/ 90 w 99"/>
                  <a:gd name="T3" fmla="*/ 86 h 86"/>
                  <a:gd name="T4" fmla="*/ 0 w 99"/>
                  <a:gd name="T5" fmla="*/ 10 h 86"/>
                  <a:gd name="T6" fmla="*/ 7 w 99"/>
                  <a:gd name="T7" fmla="*/ 0 h 86"/>
                  <a:gd name="T8" fmla="*/ 99 w 99"/>
                  <a:gd name="T9" fmla="*/ 77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86">
                    <a:moveTo>
                      <a:pt x="99" y="77"/>
                    </a:moveTo>
                    <a:lnTo>
                      <a:pt x="90" y="86"/>
                    </a:lnTo>
                    <a:lnTo>
                      <a:pt x="0" y="10"/>
                    </a:lnTo>
                    <a:lnTo>
                      <a:pt x="7" y="0"/>
                    </a:lnTo>
                    <a:lnTo>
                      <a:pt x="99" y="77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6" name="Freeform 60">
                <a:extLst>
                  <a:ext uri="{FF2B5EF4-FFF2-40B4-BE49-F238E27FC236}">
                    <a16:creationId xmlns:a16="http://schemas.microsoft.com/office/drawing/2014/main" xmlns="" id="{5D4C8EEA-7AF9-0B22-3DEE-58F5F50B1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1" y="1940"/>
                <a:ext cx="119" cy="124"/>
              </a:xfrm>
              <a:custGeom>
                <a:avLst/>
                <a:gdLst>
                  <a:gd name="T0" fmla="*/ 2 w 52"/>
                  <a:gd name="T1" fmla="*/ 7 h 53"/>
                  <a:gd name="T2" fmla="*/ 13 w 52"/>
                  <a:gd name="T3" fmla="*/ 43 h 53"/>
                  <a:gd name="T4" fmla="*/ 43 w 52"/>
                  <a:gd name="T5" fmla="*/ 41 h 53"/>
                  <a:gd name="T6" fmla="*/ 40 w 52"/>
                  <a:gd name="T7" fmla="*/ 11 h 53"/>
                  <a:gd name="T8" fmla="*/ 2 w 52"/>
                  <a:gd name="T9" fmla="*/ 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3">
                    <a:moveTo>
                      <a:pt x="2" y="7"/>
                    </a:moveTo>
                    <a:cubicBezTo>
                      <a:pt x="2" y="7"/>
                      <a:pt x="0" y="33"/>
                      <a:pt x="13" y="43"/>
                    </a:cubicBezTo>
                    <a:cubicBezTo>
                      <a:pt x="25" y="53"/>
                      <a:pt x="43" y="41"/>
                      <a:pt x="43" y="41"/>
                    </a:cubicBezTo>
                    <a:cubicBezTo>
                      <a:pt x="43" y="41"/>
                      <a:pt x="52" y="21"/>
                      <a:pt x="40" y="11"/>
                    </a:cubicBezTo>
                    <a:cubicBezTo>
                      <a:pt x="27" y="0"/>
                      <a:pt x="2" y="7"/>
                      <a:pt x="2" y="7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7" name="Freeform 61">
                <a:extLst>
                  <a:ext uri="{FF2B5EF4-FFF2-40B4-BE49-F238E27FC236}">
                    <a16:creationId xmlns:a16="http://schemas.microsoft.com/office/drawing/2014/main" xmlns="" id="{7A1B4104-CF6B-891B-F7E9-0E4DDDF566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7" y="2005"/>
                <a:ext cx="99" cy="86"/>
              </a:xfrm>
              <a:custGeom>
                <a:avLst/>
                <a:gdLst>
                  <a:gd name="T0" fmla="*/ 0 w 99"/>
                  <a:gd name="T1" fmla="*/ 77 h 86"/>
                  <a:gd name="T2" fmla="*/ 7 w 99"/>
                  <a:gd name="T3" fmla="*/ 86 h 86"/>
                  <a:gd name="T4" fmla="*/ 99 w 99"/>
                  <a:gd name="T5" fmla="*/ 10 h 86"/>
                  <a:gd name="T6" fmla="*/ 92 w 99"/>
                  <a:gd name="T7" fmla="*/ 0 h 86"/>
                  <a:gd name="T8" fmla="*/ 0 w 99"/>
                  <a:gd name="T9" fmla="*/ 77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86">
                    <a:moveTo>
                      <a:pt x="0" y="77"/>
                    </a:moveTo>
                    <a:lnTo>
                      <a:pt x="7" y="86"/>
                    </a:lnTo>
                    <a:lnTo>
                      <a:pt x="99" y="10"/>
                    </a:lnTo>
                    <a:lnTo>
                      <a:pt x="92" y="0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8" name="Freeform 62">
                <a:extLst>
                  <a:ext uri="{FF2B5EF4-FFF2-40B4-BE49-F238E27FC236}">
                    <a16:creationId xmlns:a16="http://schemas.microsoft.com/office/drawing/2014/main" xmlns="" id="{009C94A9-E38B-6627-2432-D0EE4371F9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3" y="1940"/>
                <a:ext cx="118" cy="124"/>
              </a:xfrm>
              <a:custGeom>
                <a:avLst/>
                <a:gdLst>
                  <a:gd name="T0" fmla="*/ 49 w 51"/>
                  <a:gd name="T1" fmla="*/ 7 h 53"/>
                  <a:gd name="T2" fmla="*/ 39 w 51"/>
                  <a:gd name="T3" fmla="*/ 43 h 53"/>
                  <a:gd name="T4" fmla="*/ 9 w 51"/>
                  <a:gd name="T5" fmla="*/ 41 h 53"/>
                  <a:gd name="T6" fmla="*/ 12 w 51"/>
                  <a:gd name="T7" fmla="*/ 11 h 53"/>
                  <a:gd name="T8" fmla="*/ 49 w 51"/>
                  <a:gd name="T9" fmla="*/ 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3">
                    <a:moveTo>
                      <a:pt x="49" y="7"/>
                    </a:moveTo>
                    <a:cubicBezTo>
                      <a:pt x="49" y="7"/>
                      <a:pt x="51" y="33"/>
                      <a:pt x="39" y="43"/>
                    </a:cubicBezTo>
                    <a:cubicBezTo>
                      <a:pt x="27" y="53"/>
                      <a:pt x="9" y="41"/>
                      <a:pt x="9" y="41"/>
                    </a:cubicBezTo>
                    <a:cubicBezTo>
                      <a:pt x="9" y="41"/>
                      <a:pt x="0" y="21"/>
                      <a:pt x="12" y="11"/>
                    </a:cubicBezTo>
                    <a:cubicBezTo>
                      <a:pt x="24" y="0"/>
                      <a:pt x="49" y="7"/>
                      <a:pt x="49" y="7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9" name="Freeform 63">
                <a:extLst>
                  <a:ext uri="{FF2B5EF4-FFF2-40B4-BE49-F238E27FC236}">
                    <a16:creationId xmlns:a16="http://schemas.microsoft.com/office/drawing/2014/main" xmlns="" id="{E9BED88B-02D6-484A-EEFF-6835BD11E8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7" y="2133"/>
                <a:ext cx="99" cy="84"/>
              </a:xfrm>
              <a:custGeom>
                <a:avLst/>
                <a:gdLst>
                  <a:gd name="T0" fmla="*/ 99 w 99"/>
                  <a:gd name="T1" fmla="*/ 75 h 84"/>
                  <a:gd name="T2" fmla="*/ 90 w 99"/>
                  <a:gd name="T3" fmla="*/ 84 h 84"/>
                  <a:gd name="T4" fmla="*/ 0 w 99"/>
                  <a:gd name="T5" fmla="*/ 10 h 84"/>
                  <a:gd name="T6" fmla="*/ 7 w 99"/>
                  <a:gd name="T7" fmla="*/ 0 h 84"/>
                  <a:gd name="T8" fmla="*/ 99 w 99"/>
                  <a:gd name="T9" fmla="*/ 75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84">
                    <a:moveTo>
                      <a:pt x="99" y="75"/>
                    </a:moveTo>
                    <a:lnTo>
                      <a:pt x="90" y="84"/>
                    </a:lnTo>
                    <a:lnTo>
                      <a:pt x="0" y="10"/>
                    </a:lnTo>
                    <a:lnTo>
                      <a:pt x="7" y="0"/>
                    </a:lnTo>
                    <a:lnTo>
                      <a:pt x="99" y="75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80" name="Freeform 64">
                <a:extLst>
                  <a:ext uri="{FF2B5EF4-FFF2-40B4-BE49-F238E27FC236}">
                    <a16:creationId xmlns:a16="http://schemas.microsoft.com/office/drawing/2014/main" xmlns="" id="{15CDCF0B-7FD8-B948-FA36-349D4192DB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1" y="2068"/>
                <a:ext cx="119" cy="123"/>
              </a:xfrm>
              <a:custGeom>
                <a:avLst/>
                <a:gdLst>
                  <a:gd name="T0" fmla="*/ 2 w 52"/>
                  <a:gd name="T1" fmla="*/ 6 h 53"/>
                  <a:gd name="T2" fmla="*/ 13 w 52"/>
                  <a:gd name="T3" fmla="*/ 42 h 53"/>
                  <a:gd name="T4" fmla="*/ 43 w 52"/>
                  <a:gd name="T5" fmla="*/ 40 h 53"/>
                  <a:gd name="T6" fmla="*/ 40 w 52"/>
                  <a:gd name="T7" fmla="*/ 10 h 53"/>
                  <a:gd name="T8" fmla="*/ 2 w 52"/>
                  <a:gd name="T9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3">
                    <a:moveTo>
                      <a:pt x="2" y="6"/>
                    </a:moveTo>
                    <a:cubicBezTo>
                      <a:pt x="2" y="6"/>
                      <a:pt x="0" y="32"/>
                      <a:pt x="13" y="42"/>
                    </a:cubicBezTo>
                    <a:cubicBezTo>
                      <a:pt x="25" y="53"/>
                      <a:pt x="43" y="40"/>
                      <a:pt x="43" y="40"/>
                    </a:cubicBezTo>
                    <a:cubicBezTo>
                      <a:pt x="43" y="40"/>
                      <a:pt x="52" y="21"/>
                      <a:pt x="40" y="10"/>
                    </a:cubicBezTo>
                    <a:cubicBezTo>
                      <a:pt x="27" y="0"/>
                      <a:pt x="2" y="6"/>
                      <a:pt x="2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81" name="Freeform 65">
                <a:extLst>
                  <a:ext uri="{FF2B5EF4-FFF2-40B4-BE49-F238E27FC236}">
                    <a16:creationId xmlns:a16="http://schemas.microsoft.com/office/drawing/2014/main" xmlns="" id="{F409D9E3-62AE-BB2A-0478-35DBAA2D6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7" y="2133"/>
                <a:ext cx="99" cy="84"/>
              </a:xfrm>
              <a:custGeom>
                <a:avLst/>
                <a:gdLst>
                  <a:gd name="T0" fmla="*/ 0 w 99"/>
                  <a:gd name="T1" fmla="*/ 75 h 84"/>
                  <a:gd name="T2" fmla="*/ 7 w 99"/>
                  <a:gd name="T3" fmla="*/ 84 h 84"/>
                  <a:gd name="T4" fmla="*/ 99 w 99"/>
                  <a:gd name="T5" fmla="*/ 10 h 84"/>
                  <a:gd name="T6" fmla="*/ 92 w 99"/>
                  <a:gd name="T7" fmla="*/ 0 h 84"/>
                  <a:gd name="T8" fmla="*/ 0 w 99"/>
                  <a:gd name="T9" fmla="*/ 75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84">
                    <a:moveTo>
                      <a:pt x="0" y="75"/>
                    </a:moveTo>
                    <a:lnTo>
                      <a:pt x="7" y="84"/>
                    </a:lnTo>
                    <a:lnTo>
                      <a:pt x="99" y="10"/>
                    </a:lnTo>
                    <a:lnTo>
                      <a:pt x="92" y="0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82" name="Freeform 66">
                <a:extLst>
                  <a:ext uri="{FF2B5EF4-FFF2-40B4-BE49-F238E27FC236}">
                    <a16:creationId xmlns:a16="http://schemas.microsoft.com/office/drawing/2014/main" xmlns="" id="{83F4C453-B043-2431-53BE-904493B580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3" y="2068"/>
                <a:ext cx="118" cy="123"/>
              </a:xfrm>
              <a:custGeom>
                <a:avLst/>
                <a:gdLst>
                  <a:gd name="T0" fmla="*/ 49 w 51"/>
                  <a:gd name="T1" fmla="*/ 6 h 53"/>
                  <a:gd name="T2" fmla="*/ 39 w 51"/>
                  <a:gd name="T3" fmla="*/ 42 h 53"/>
                  <a:gd name="T4" fmla="*/ 9 w 51"/>
                  <a:gd name="T5" fmla="*/ 40 h 53"/>
                  <a:gd name="T6" fmla="*/ 12 w 51"/>
                  <a:gd name="T7" fmla="*/ 10 h 53"/>
                  <a:gd name="T8" fmla="*/ 49 w 51"/>
                  <a:gd name="T9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3">
                    <a:moveTo>
                      <a:pt x="49" y="6"/>
                    </a:moveTo>
                    <a:cubicBezTo>
                      <a:pt x="49" y="6"/>
                      <a:pt x="51" y="32"/>
                      <a:pt x="39" y="42"/>
                    </a:cubicBezTo>
                    <a:cubicBezTo>
                      <a:pt x="27" y="53"/>
                      <a:pt x="9" y="40"/>
                      <a:pt x="9" y="40"/>
                    </a:cubicBezTo>
                    <a:cubicBezTo>
                      <a:pt x="9" y="40"/>
                      <a:pt x="0" y="21"/>
                      <a:pt x="12" y="10"/>
                    </a:cubicBezTo>
                    <a:cubicBezTo>
                      <a:pt x="24" y="0"/>
                      <a:pt x="49" y="6"/>
                      <a:pt x="49" y="6"/>
                    </a:cubicBezTo>
                  </a:path>
                </a:pathLst>
              </a:custGeom>
              <a:solidFill>
                <a:srgbClr val="A0C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83" name="Freeform 67">
                <a:extLst>
                  <a:ext uri="{FF2B5EF4-FFF2-40B4-BE49-F238E27FC236}">
                    <a16:creationId xmlns:a16="http://schemas.microsoft.com/office/drawing/2014/main" xmlns="" id="{AD084A91-0D22-8230-DE88-482BC4421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108"/>
                <a:ext cx="138" cy="125"/>
              </a:xfrm>
              <a:custGeom>
                <a:avLst/>
                <a:gdLst>
                  <a:gd name="T0" fmla="*/ 43 w 60"/>
                  <a:gd name="T1" fmla="*/ 13 h 54"/>
                  <a:gd name="T2" fmla="*/ 0 w 60"/>
                  <a:gd name="T3" fmla="*/ 3 h 54"/>
                  <a:gd name="T4" fmla="*/ 22 w 60"/>
                  <a:gd name="T5" fmla="*/ 41 h 54"/>
                  <a:gd name="T6" fmla="*/ 55 w 60"/>
                  <a:gd name="T7" fmla="*/ 44 h 54"/>
                  <a:gd name="T8" fmla="*/ 43 w 60"/>
                  <a:gd name="T9" fmla="*/ 1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54">
                    <a:moveTo>
                      <a:pt x="43" y="13"/>
                    </a:moveTo>
                    <a:cubicBezTo>
                      <a:pt x="27" y="0"/>
                      <a:pt x="0" y="3"/>
                      <a:pt x="0" y="3"/>
                    </a:cubicBezTo>
                    <a:cubicBezTo>
                      <a:pt x="0" y="3"/>
                      <a:pt x="5" y="29"/>
                      <a:pt x="22" y="41"/>
                    </a:cubicBezTo>
                    <a:cubicBezTo>
                      <a:pt x="38" y="54"/>
                      <a:pt x="55" y="44"/>
                      <a:pt x="55" y="44"/>
                    </a:cubicBezTo>
                    <a:cubicBezTo>
                      <a:pt x="55" y="44"/>
                      <a:pt x="60" y="25"/>
                      <a:pt x="43" y="1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84" name="Freeform 68">
                <a:extLst>
                  <a:ext uri="{FF2B5EF4-FFF2-40B4-BE49-F238E27FC236}">
                    <a16:creationId xmlns:a16="http://schemas.microsoft.com/office/drawing/2014/main" xmlns="" id="{13439840-B13D-ECD7-4234-BABEAF1F18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5" y="2159"/>
                <a:ext cx="111" cy="88"/>
              </a:xfrm>
              <a:custGeom>
                <a:avLst/>
                <a:gdLst>
                  <a:gd name="T0" fmla="*/ 14 w 48"/>
                  <a:gd name="T1" fmla="*/ 7 h 38"/>
                  <a:gd name="T2" fmla="*/ 1 w 48"/>
                  <a:gd name="T3" fmla="*/ 29 h 38"/>
                  <a:gd name="T4" fmla="*/ 27 w 48"/>
                  <a:gd name="T5" fmla="*/ 31 h 38"/>
                  <a:gd name="T6" fmla="*/ 48 w 48"/>
                  <a:gd name="T7" fmla="*/ 5 h 38"/>
                  <a:gd name="T8" fmla="*/ 14 w 48"/>
                  <a:gd name="T9" fmla="*/ 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8">
                    <a:moveTo>
                      <a:pt x="14" y="7"/>
                    </a:moveTo>
                    <a:cubicBezTo>
                      <a:pt x="0" y="14"/>
                      <a:pt x="1" y="29"/>
                      <a:pt x="1" y="29"/>
                    </a:cubicBezTo>
                    <a:cubicBezTo>
                      <a:pt x="1" y="29"/>
                      <a:pt x="13" y="38"/>
                      <a:pt x="27" y="31"/>
                    </a:cubicBezTo>
                    <a:cubicBezTo>
                      <a:pt x="41" y="24"/>
                      <a:pt x="48" y="5"/>
                      <a:pt x="48" y="5"/>
                    </a:cubicBezTo>
                    <a:cubicBezTo>
                      <a:pt x="48" y="5"/>
                      <a:pt x="28" y="0"/>
                      <a:pt x="14" y="7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85" name="Rectangle 69">
                <a:extLst>
                  <a:ext uri="{FF2B5EF4-FFF2-40B4-BE49-F238E27FC236}">
                    <a16:creationId xmlns:a16="http://schemas.microsoft.com/office/drawing/2014/main" xmlns="" id="{F7A96A52-773D-44D3-4B69-39740B41A2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1" y="2043"/>
                <a:ext cx="11" cy="383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86" name="Freeform 70">
                <a:extLst>
                  <a:ext uri="{FF2B5EF4-FFF2-40B4-BE49-F238E27FC236}">
                    <a16:creationId xmlns:a16="http://schemas.microsoft.com/office/drawing/2014/main" xmlns="" id="{2E644DE8-80A5-004C-6343-2C28B222B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7" y="1822"/>
                <a:ext cx="64" cy="135"/>
              </a:xfrm>
              <a:custGeom>
                <a:avLst/>
                <a:gdLst>
                  <a:gd name="T0" fmla="*/ 25 w 28"/>
                  <a:gd name="T1" fmla="*/ 31 h 58"/>
                  <a:gd name="T2" fmla="*/ 9 w 28"/>
                  <a:gd name="T3" fmla="*/ 57 h 58"/>
                  <a:gd name="T4" fmla="*/ 4 w 28"/>
                  <a:gd name="T5" fmla="*/ 27 h 58"/>
                  <a:gd name="T6" fmla="*/ 20 w 28"/>
                  <a:gd name="T7" fmla="*/ 1 h 58"/>
                  <a:gd name="T8" fmla="*/ 25 w 28"/>
                  <a:gd name="T9" fmla="*/ 3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31"/>
                    </a:moveTo>
                    <a:cubicBezTo>
                      <a:pt x="22" y="47"/>
                      <a:pt x="14" y="58"/>
                      <a:pt x="9" y="57"/>
                    </a:cubicBezTo>
                    <a:cubicBezTo>
                      <a:pt x="3" y="56"/>
                      <a:pt x="0" y="42"/>
                      <a:pt x="4" y="27"/>
                    </a:cubicBezTo>
                    <a:cubicBezTo>
                      <a:pt x="7" y="12"/>
                      <a:pt x="14" y="0"/>
                      <a:pt x="20" y="1"/>
                    </a:cubicBezTo>
                    <a:cubicBezTo>
                      <a:pt x="26" y="3"/>
                      <a:pt x="28" y="16"/>
                      <a:pt x="25" y="3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87" name="Freeform 71">
                <a:extLst>
                  <a:ext uri="{FF2B5EF4-FFF2-40B4-BE49-F238E27FC236}">
                    <a16:creationId xmlns:a16="http://schemas.microsoft.com/office/drawing/2014/main" xmlns="" id="{1C169015-7D7E-A970-3C8A-2CFFE25A1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1952"/>
                <a:ext cx="65" cy="135"/>
              </a:xfrm>
              <a:custGeom>
                <a:avLst/>
                <a:gdLst>
                  <a:gd name="T0" fmla="*/ 24 w 28"/>
                  <a:gd name="T1" fmla="*/ 31 h 58"/>
                  <a:gd name="T2" fmla="*/ 8 w 28"/>
                  <a:gd name="T3" fmla="*/ 57 h 58"/>
                  <a:gd name="T4" fmla="*/ 3 w 28"/>
                  <a:gd name="T5" fmla="*/ 27 h 58"/>
                  <a:gd name="T6" fmla="*/ 20 w 28"/>
                  <a:gd name="T7" fmla="*/ 1 h 58"/>
                  <a:gd name="T8" fmla="*/ 24 w 28"/>
                  <a:gd name="T9" fmla="*/ 3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4" y="31"/>
                    </a:moveTo>
                    <a:cubicBezTo>
                      <a:pt x="21" y="46"/>
                      <a:pt x="14" y="58"/>
                      <a:pt x="8" y="57"/>
                    </a:cubicBezTo>
                    <a:cubicBezTo>
                      <a:pt x="2" y="55"/>
                      <a:pt x="0" y="42"/>
                      <a:pt x="3" y="27"/>
                    </a:cubicBezTo>
                    <a:cubicBezTo>
                      <a:pt x="6" y="11"/>
                      <a:pt x="14" y="0"/>
                      <a:pt x="20" y="1"/>
                    </a:cubicBezTo>
                    <a:cubicBezTo>
                      <a:pt x="25" y="2"/>
                      <a:pt x="28" y="16"/>
                      <a:pt x="24" y="3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88" name="Freeform 72">
                <a:extLst>
                  <a:ext uri="{FF2B5EF4-FFF2-40B4-BE49-F238E27FC236}">
                    <a16:creationId xmlns:a16="http://schemas.microsoft.com/office/drawing/2014/main" xmlns="" id="{FF41BBF4-BC2C-2CC0-80EE-D03AD7E9E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6" y="1908"/>
                <a:ext cx="134" cy="65"/>
              </a:xfrm>
              <a:custGeom>
                <a:avLst/>
                <a:gdLst>
                  <a:gd name="T0" fmla="*/ 31 w 58"/>
                  <a:gd name="T1" fmla="*/ 3 h 28"/>
                  <a:gd name="T2" fmla="*/ 57 w 58"/>
                  <a:gd name="T3" fmla="*/ 20 h 28"/>
                  <a:gd name="T4" fmla="*/ 26 w 58"/>
                  <a:gd name="T5" fmla="*/ 25 h 28"/>
                  <a:gd name="T6" fmla="*/ 1 w 58"/>
                  <a:gd name="T7" fmla="*/ 8 h 28"/>
                  <a:gd name="T8" fmla="*/ 31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1" y="3"/>
                    </a:moveTo>
                    <a:cubicBezTo>
                      <a:pt x="46" y="7"/>
                      <a:pt x="58" y="14"/>
                      <a:pt x="57" y="20"/>
                    </a:cubicBezTo>
                    <a:cubicBezTo>
                      <a:pt x="55" y="26"/>
                      <a:pt x="42" y="28"/>
                      <a:pt x="26" y="25"/>
                    </a:cubicBezTo>
                    <a:cubicBezTo>
                      <a:pt x="11" y="22"/>
                      <a:pt x="0" y="14"/>
                      <a:pt x="1" y="8"/>
                    </a:cubicBezTo>
                    <a:cubicBezTo>
                      <a:pt x="2" y="2"/>
                      <a:pt x="16" y="0"/>
                      <a:pt x="31" y="3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89" name="Freeform 73">
                <a:extLst>
                  <a:ext uri="{FF2B5EF4-FFF2-40B4-BE49-F238E27FC236}">
                    <a16:creationId xmlns:a16="http://schemas.microsoft.com/office/drawing/2014/main" xmlns="" id="{2F741589-8CF9-0E23-D0E0-CAB4174AF0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3" y="1936"/>
                <a:ext cx="133" cy="65"/>
              </a:xfrm>
              <a:custGeom>
                <a:avLst/>
                <a:gdLst>
                  <a:gd name="T0" fmla="*/ 32 w 58"/>
                  <a:gd name="T1" fmla="*/ 3 h 28"/>
                  <a:gd name="T2" fmla="*/ 57 w 58"/>
                  <a:gd name="T3" fmla="*/ 20 h 28"/>
                  <a:gd name="T4" fmla="*/ 27 w 58"/>
                  <a:gd name="T5" fmla="*/ 25 h 28"/>
                  <a:gd name="T6" fmla="*/ 2 w 58"/>
                  <a:gd name="T7" fmla="*/ 8 h 28"/>
                  <a:gd name="T8" fmla="*/ 32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2" y="3"/>
                    </a:moveTo>
                    <a:cubicBezTo>
                      <a:pt x="47" y="6"/>
                      <a:pt x="58" y="14"/>
                      <a:pt x="57" y="20"/>
                    </a:cubicBezTo>
                    <a:cubicBezTo>
                      <a:pt x="56" y="26"/>
                      <a:pt x="42" y="28"/>
                      <a:pt x="27" y="25"/>
                    </a:cubicBezTo>
                    <a:cubicBezTo>
                      <a:pt x="12" y="21"/>
                      <a:pt x="0" y="14"/>
                      <a:pt x="2" y="8"/>
                    </a:cubicBezTo>
                    <a:cubicBezTo>
                      <a:pt x="3" y="2"/>
                      <a:pt x="16" y="0"/>
                      <a:pt x="32" y="3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90" name="Freeform 74">
                <a:extLst>
                  <a:ext uri="{FF2B5EF4-FFF2-40B4-BE49-F238E27FC236}">
                    <a16:creationId xmlns:a16="http://schemas.microsoft.com/office/drawing/2014/main" xmlns="" id="{DDF8DAA2-AACB-8398-6B4E-FA8DD11599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2" y="1836"/>
                <a:ext cx="97" cy="125"/>
              </a:xfrm>
              <a:custGeom>
                <a:avLst/>
                <a:gdLst>
                  <a:gd name="T0" fmla="*/ 30 w 42"/>
                  <a:gd name="T1" fmla="*/ 21 h 54"/>
                  <a:gd name="T2" fmla="*/ 37 w 42"/>
                  <a:gd name="T3" fmla="*/ 51 h 54"/>
                  <a:gd name="T4" fmla="*/ 12 w 42"/>
                  <a:gd name="T5" fmla="*/ 33 h 54"/>
                  <a:gd name="T6" fmla="*/ 6 w 42"/>
                  <a:gd name="T7" fmla="*/ 3 h 54"/>
                  <a:gd name="T8" fmla="*/ 30 w 42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4">
                    <a:moveTo>
                      <a:pt x="30" y="21"/>
                    </a:moveTo>
                    <a:cubicBezTo>
                      <a:pt x="39" y="34"/>
                      <a:pt x="42" y="48"/>
                      <a:pt x="37" y="51"/>
                    </a:cubicBezTo>
                    <a:cubicBezTo>
                      <a:pt x="31" y="54"/>
                      <a:pt x="20" y="46"/>
                      <a:pt x="12" y="33"/>
                    </a:cubicBezTo>
                    <a:cubicBezTo>
                      <a:pt x="3" y="20"/>
                      <a:pt x="0" y="7"/>
                      <a:pt x="6" y="3"/>
                    </a:cubicBezTo>
                    <a:cubicBezTo>
                      <a:pt x="11" y="0"/>
                      <a:pt x="22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91" name="Freeform 75">
                <a:extLst>
                  <a:ext uri="{FF2B5EF4-FFF2-40B4-BE49-F238E27FC236}">
                    <a16:creationId xmlns:a16="http://schemas.microsoft.com/office/drawing/2014/main" xmlns="" id="{36AF2730-7579-BF8F-2D57-942B2308A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4" y="1947"/>
                <a:ext cx="96" cy="126"/>
              </a:xfrm>
              <a:custGeom>
                <a:avLst/>
                <a:gdLst>
                  <a:gd name="T0" fmla="*/ 30 w 42"/>
                  <a:gd name="T1" fmla="*/ 21 h 54"/>
                  <a:gd name="T2" fmla="*/ 37 w 42"/>
                  <a:gd name="T3" fmla="*/ 51 h 54"/>
                  <a:gd name="T4" fmla="*/ 12 w 42"/>
                  <a:gd name="T5" fmla="*/ 33 h 54"/>
                  <a:gd name="T6" fmla="*/ 6 w 42"/>
                  <a:gd name="T7" fmla="*/ 3 h 54"/>
                  <a:gd name="T8" fmla="*/ 30 w 42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4">
                    <a:moveTo>
                      <a:pt x="30" y="21"/>
                    </a:moveTo>
                    <a:cubicBezTo>
                      <a:pt x="39" y="34"/>
                      <a:pt x="42" y="47"/>
                      <a:pt x="37" y="51"/>
                    </a:cubicBezTo>
                    <a:cubicBezTo>
                      <a:pt x="31" y="54"/>
                      <a:pt x="20" y="46"/>
                      <a:pt x="12" y="33"/>
                    </a:cubicBezTo>
                    <a:cubicBezTo>
                      <a:pt x="3" y="20"/>
                      <a:pt x="0" y="6"/>
                      <a:pt x="6" y="3"/>
                    </a:cubicBezTo>
                    <a:cubicBezTo>
                      <a:pt x="11" y="0"/>
                      <a:pt x="22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92" name="Freeform 76">
                <a:extLst>
                  <a:ext uri="{FF2B5EF4-FFF2-40B4-BE49-F238E27FC236}">
                    <a16:creationId xmlns:a16="http://schemas.microsoft.com/office/drawing/2014/main" xmlns="" id="{686D87BB-12A9-67AA-97E1-F13084B502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" y="1943"/>
                <a:ext cx="124" cy="95"/>
              </a:xfrm>
              <a:custGeom>
                <a:avLst/>
                <a:gdLst>
                  <a:gd name="T0" fmla="*/ 21 w 54"/>
                  <a:gd name="T1" fmla="*/ 11 h 41"/>
                  <a:gd name="T2" fmla="*/ 51 w 54"/>
                  <a:gd name="T3" fmla="*/ 5 h 41"/>
                  <a:gd name="T4" fmla="*/ 33 w 54"/>
                  <a:gd name="T5" fmla="*/ 30 h 41"/>
                  <a:gd name="T6" fmla="*/ 3 w 54"/>
                  <a:gd name="T7" fmla="*/ 36 h 41"/>
                  <a:gd name="T8" fmla="*/ 21 w 54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21" y="11"/>
                    </a:moveTo>
                    <a:cubicBezTo>
                      <a:pt x="34" y="3"/>
                      <a:pt x="47" y="0"/>
                      <a:pt x="51" y="5"/>
                    </a:cubicBezTo>
                    <a:cubicBezTo>
                      <a:pt x="54" y="10"/>
                      <a:pt x="46" y="21"/>
                      <a:pt x="33" y="30"/>
                    </a:cubicBezTo>
                    <a:cubicBezTo>
                      <a:pt x="19" y="38"/>
                      <a:pt x="6" y="41"/>
                      <a:pt x="3" y="36"/>
                    </a:cubicBezTo>
                    <a:cubicBezTo>
                      <a:pt x="0" y="31"/>
                      <a:pt x="8" y="20"/>
                      <a:pt x="21" y="1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93" name="Freeform 77">
                <a:extLst>
                  <a:ext uri="{FF2B5EF4-FFF2-40B4-BE49-F238E27FC236}">
                    <a16:creationId xmlns:a16="http://schemas.microsoft.com/office/drawing/2014/main" xmlns="" id="{1F6D70D9-1A9A-AE81-9A15-CCEAF9C8B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8" y="1871"/>
                <a:ext cx="125" cy="95"/>
              </a:xfrm>
              <a:custGeom>
                <a:avLst/>
                <a:gdLst>
                  <a:gd name="T0" fmla="*/ 21 w 54"/>
                  <a:gd name="T1" fmla="*/ 11 h 41"/>
                  <a:gd name="T2" fmla="*/ 51 w 54"/>
                  <a:gd name="T3" fmla="*/ 5 h 41"/>
                  <a:gd name="T4" fmla="*/ 33 w 54"/>
                  <a:gd name="T5" fmla="*/ 30 h 41"/>
                  <a:gd name="T6" fmla="*/ 4 w 54"/>
                  <a:gd name="T7" fmla="*/ 36 h 41"/>
                  <a:gd name="T8" fmla="*/ 21 w 54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21" y="11"/>
                    </a:moveTo>
                    <a:cubicBezTo>
                      <a:pt x="35" y="3"/>
                      <a:pt x="48" y="0"/>
                      <a:pt x="51" y="5"/>
                    </a:cubicBezTo>
                    <a:cubicBezTo>
                      <a:pt x="54" y="10"/>
                      <a:pt x="46" y="21"/>
                      <a:pt x="33" y="30"/>
                    </a:cubicBezTo>
                    <a:cubicBezTo>
                      <a:pt x="20" y="38"/>
                      <a:pt x="7" y="41"/>
                      <a:pt x="4" y="36"/>
                    </a:cubicBezTo>
                    <a:cubicBezTo>
                      <a:pt x="0" y="31"/>
                      <a:pt x="8" y="20"/>
                      <a:pt x="21" y="1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94" name="Freeform 78">
                <a:extLst>
                  <a:ext uri="{FF2B5EF4-FFF2-40B4-BE49-F238E27FC236}">
                    <a16:creationId xmlns:a16="http://schemas.microsoft.com/office/drawing/2014/main" xmlns="" id="{A00D121E-518F-3400-D90E-89AC29B2F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1822"/>
                <a:ext cx="65" cy="135"/>
              </a:xfrm>
              <a:custGeom>
                <a:avLst/>
                <a:gdLst>
                  <a:gd name="T0" fmla="*/ 24 w 28"/>
                  <a:gd name="T1" fmla="*/ 27 h 58"/>
                  <a:gd name="T2" fmla="*/ 20 w 28"/>
                  <a:gd name="T3" fmla="*/ 57 h 58"/>
                  <a:gd name="T4" fmla="*/ 3 w 28"/>
                  <a:gd name="T5" fmla="*/ 32 h 58"/>
                  <a:gd name="T6" fmla="*/ 8 w 28"/>
                  <a:gd name="T7" fmla="*/ 1 h 58"/>
                  <a:gd name="T8" fmla="*/ 24 w 28"/>
                  <a:gd name="T9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4" y="27"/>
                    </a:moveTo>
                    <a:cubicBezTo>
                      <a:pt x="28" y="42"/>
                      <a:pt x="25" y="56"/>
                      <a:pt x="20" y="57"/>
                    </a:cubicBezTo>
                    <a:cubicBezTo>
                      <a:pt x="14" y="58"/>
                      <a:pt x="6" y="47"/>
                      <a:pt x="3" y="32"/>
                    </a:cubicBezTo>
                    <a:cubicBezTo>
                      <a:pt x="0" y="16"/>
                      <a:pt x="2" y="3"/>
                      <a:pt x="8" y="1"/>
                    </a:cubicBezTo>
                    <a:cubicBezTo>
                      <a:pt x="13" y="0"/>
                      <a:pt x="21" y="12"/>
                      <a:pt x="24" y="27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95" name="Freeform 79">
                <a:extLst>
                  <a:ext uri="{FF2B5EF4-FFF2-40B4-BE49-F238E27FC236}">
                    <a16:creationId xmlns:a16="http://schemas.microsoft.com/office/drawing/2014/main" xmlns="" id="{F78B92C2-637B-0471-D014-3E41D57F34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9" y="1952"/>
                <a:ext cx="65" cy="135"/>
              </a:xfrm>
              <a:custGeom>
                <a:avLst/>
                <a:gdLst>
                  <a:gd name="T0" fmla="*/ 24 w 28"/>
                  <a:gd name="T1" fmla="*/ 26 h 58"/>
                  <a:gd name="T2" fmla="*/ 20 w 28"/>
                  <a:gd name="T3" fmla="*/ 57 h 58"/>
                  <a:gd name="T4" fmla="*/ 3 w 28"/>
                  <a:gd name="T5" fmla="*/ 31 h 58"/>
                  <a:gd name="T6" fmla="*/ 8 w 28"/>
                  <a:gd name="T7" fmla="*/ 1 h 58"/>
                  <a:gd name="T8" fmla="*/ 24 w 28"/>
                  <a:gd name="T9" fmla="*/ 2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4" y="26"/>
                    </a:moveTo>
                    <a:cubicBezTo>
                      <a:pt x="28" y="42"/>
                      <a:pt x="25" y="55"/>
                      <a:pt x="20" y="57"/>
                    </a:cubicBezTo>
                    <a:cubicBezTo>
                      <a:pt x="14" y="58"/>
                      <a:pt x="6" y="46"/>
                      <a:pt x="3" y="31"/>
                    </a:cubicBezTo>
                    <a:cubicBezTo>
                      <a:pt x="0" y="16"/>
                      <a:pt x="2" y="2"/>
                      <a:pt x="8" y="1"/>
                    </a:cubicBezTo>
                    <a:cubicBezTo>
                      <a:pt x="13" y="0"/>
                      <a:pt x="21" y="11"/>
                      <a:pt x="24" y="26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96" name="Freeform 80">
                <a:extLst>
                  <a:ext uri="{FF2B5EF4-FFF2-40B4-BE49-F238E27FC236}">
                    <a16:creationId xmlns:a16="http://schemas.microsoft.com/office/drawing/2014/main" xmlns="" id="{30304098-B3BB-DF80-B65B-365B7AD26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6" y="1936"/>
                <a:ext cx="134" cy="65"/>
              </a:xfrm>
              <a:custGeom>
                <a:avLst/>
                <a:gdLst>
                  <a:gd name="T0" fmla="*/ 26 w 58"/>
                  <a:gd name="T1" fmla="*/ 3 h 28"/>
                  <a:gd name="T2" fmla="*/ 57 w 58"/>
                  <a:gd name="T3" fmla="*/ 8 h 28"/>
                  <a:gd name="T4" fmla="*/ 31 w 58"/>
                  <a:gd name="T5" fmla="*/ 25 h 28"/>
                  <a:gd name="T6" fmla="*/ 1 w 58"/>
                  <a:gd name="T7" fmla="*/ 20 h 28"/>
                  <a:gd name="T8" fmla="*/ 26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6" y="3"/>
                    </a:moveTo>
                    <a:cubicBezTo>
                      <a:pt x="42" y="0"/>
                      <a:pt x="55" y="2"/>
                      <a:pt x="57" y="8"/>
                    </a:cubicBezTo>
                    <a:cubicBezTo>
                      <a:pt x="58" y="14"/>
                      <a:pt x="46" y="21"/>
                      <a:pt x="31" y="25"/>
                    </a:cubicBezTo>
                    <a:cubicBezTo>
                      <a:pt x="16" y="28"/>
                      <a:pt x="2" y="26"/>
                      <a:pt x="1" y="20"/>
                    </a:cubicBezTo>
                    <a:cubicBezTo>
                      <a:pt x="0" y="14"/>
                      <a:pt x="11" y="7"/>
                      <a:pt x="26" y="3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97" name="Freeform 81">
                <a:extLst>
                  <a:ext uri="{FF2B5EF4-FFF2-40B4-BE49-F238E27FC236}">
                    <a16:creationId xmlns:a16="http://schemas.microsoft.com/office/drawing/2014/main" xmlns="" id="{8CC3D9B6-8A52-2C73-E183-CA26E3D39D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3" y="1908"/>
                <a:ext cx="133" cy="65"/>
              </a:xfrm>
              <a:custGeom>
                <a:avLst/>
                <a:gdLst>
                  <a:gd name="T0" fmla="*/ 27 w 58"/>
                  <a:gd name="T1" fmla="*/ 3 h 28"/>
                  <a:gd name="T2" fmla="*/ 57 w 58"/>
                  <a:gd name="T3" fmla="*/ 8 h 28"/>
                  <a:gd name="T4" fmla="*/ 32 w 58"/>
                  <a:gd name="T5" fmla="*/ 25 h 28"/>
                  <a:gd name="T6" fmla="*/ 2 w 58"/>
                  <a:gd name="T7" fmla="*/ 20 h 28"/>
                  <a:gd name="T8" fmla="*/ 27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7" y="3"/>
                    </a:moveTo>
                    <a:cubicBezTo>
                      <a:pt x="42" y="0"/>
                      <a:pt x="56" y="2"/>
                      <a:pt x="57" y="8"/>
                    </a:cubicBezTo>
                    <a:cubicBezTo>
                      <a:pt x="58" y="14"/>
                      <a:pt x="47" y="21"/>
                      <a:pt x="32" y="25"/>
                    </a:cubicBezTo>
                    <a:cubicBezTo>
                      <a:pt x="16" y="28"/>
                      <a:pt x="3" y="26"/>
                      <a:pt x="2" y="20"/>
                    </a:cubicBezTo>
                    <a:cubicBezTo>
                      <a:pt x="0" y="14"/>
                      <a:pt x="12" y="7"/>
                      <a:pt x="27" y="3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98" name="Freeform 82">
                <a:extLst>
                  <a:ext uri="{FF2B5EF4-FFF2-40B4-BE49-F238E27FC236}">
                    <a16:creationId xmlns:a16="http://schemas.microsoft.com/office/drawing/2014/main" xmlns="" id="{56C233C3-82F2-6412-48BF-2763BC286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8" y="1871"/>
                <a:ext cx="126" cy="95"/>
              </a:xfrm>
              <a:custGeom>
                <a:avLst/>
                <a:gdLst>
                  <a:gd name="T0" fmla="*/ 34 w 55"/>
                  <a:gd name="T1" fmla="*/ 11 h 41"/>
                  <a:gd name="T2" fmla="*/ 52 w 55"/>
                  <a:gd name="T3" fmla="*/ 36 h 41"/>
                  <a:gd name="T4" fmla="*/ 22 w 55"/>
                  <a:gd name="T5" fmla="*/ 30 h 41"/>
                  <a:gd name="T6" fmla="*/ 4 w 55"/>
                  <a:gd name="T7" fmla="*/ 5 h 41"/>
                  <a:gd name="T8" fmla="*/ 34 w 55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1">
                    <a:moveTo>
                      <a:pt x="34" y="11"/>
                    </a:moveTo>
                    <a:cubicBezTo>
                      <a:pt x="47" y="20"/>
                      <a:pt x="55" y="31"/>
                      <a:pt x="52" y="36"/>
                    </a:cubicBezTo>
                    <a:cubicBezTo>
                      <a:pt x="48" y="41"/>
                      <a:pt x="35" y="38"/>
                      <a:pt x="22" y="30"/>
                    </a:cubicBezTo>
                    <a:cubicBezTo>
                      <a:pt x="9" y="21"/>
                      <a:pt x="0" y="10"/>
                      <a:pt x="4" y="5"/>
                    </a:cubicBezTo>
                    <a:cubicBezTo>
                      <a:pt x="7" y="0"/>
                      <a:pt x="20" y="3"/>
                      <a:pt x="34" y="1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99" name="Freeform 83">
                <a:extLst>
                  <a:ext uri="{FF2B5EF4-FFF2-40B4-BE49-F238E27FC236}">
                    <a16:creationId xmlns:a16="http://schemas.microsoft.com/office/drawing/2014/main" xmlns="" id="{B8E074E3-B655-C394-5FD5-4ECD8D001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8" y="1943"/>
                <a:ext cx="127" cy="95"/>
              </a:xfrm>
              <a:custGeom>
                <a:avLst/>
                <a:gdLst>
                  <a:gd name="T0" fmla="*/ 33 w 55"/>
                  <a:gd name="T1" fmla="*/ 11 h 41"/>
                  <a:gd name="T2" fmla="*/ 51 w 55"/>
                  <a:gd name="T3" fmla="*/ 36 h 41"/>
                  <a:gd name="T4" fmla="*/ 22 w 55"/>
                  <a:gd name="T5" fmla="*/ 30 h 41"/>
                  <a:gd name="T6" fmla="*/ 4 w 55"/>
                  <a:gd name="T7" fmla="*/ 5 h 41"/>
                  <a:gd name="T8" fmla="*/ 33 w 55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1">
                    <a:moveTo>
                      <a:pt x="33" y="11"/>
                    </a:moveTo>
                    <a:cubicBezTo>
                      <a:pt x="47" y="20"/>
                      <a:pt x="55" y="31"/>
                      <a:pt x="51" y="36"/>
                    </a:cubicBezTo>
                    <a:cubicBezTo>
                      <a:pt x="48" y="41"/>
                      <a:pt x="35" y="38"/>
                      <a:pt x="22" y="30"/>
                    </a:cubicBezTo>
                    <a:cubicBezTo>
                      <a:pt x="8" y="21"/>
                      <a:pt x="0" y="10"/>
                      <a:pt x="4" y="5"/>
                    </a:cubicBezTo>
                    <a:cubicBezTo>
                      <a:pt x="7" y="0"/>
                      <a:pt x="20" y="3"/>
                      <a:pt x="33" y="1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00" name="Freeform 84">
                <a:extLst>
                  <a:ext uri="{FF2B5EF4-FFF2-40B4-BE49-F238E27FC236}">
                    <a16:creationId xmlns:a16="http://schemas.microsoft.com/office/drawing/2014/main" xmlns="" id="{EE0CD979-D907-397C-5656-8871F98BF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4" y="1947"/>
                <a:ext cx="95" cy="126"/>
              </a:xfrm>
              <a:custGeom>
                <a:avLst/>
                <a:gdLst>
                  <a:gd name="T0" fmla="*/ 11 w 41"/>
                  <a:gd name="T1" fmla="*/ 21 h 54"/>
                  <a:gd name="T2" fmla="*/ 36 w 41"/>
                  <a:gd name="T3" fmla="*/ 3 h 54"/>
                  <a:gd name="T4" fmla="*/ 29 w 41"/>
                  <a:gd name="T5" fmla="*/ 33 h 54"/>
                  <a:gd name="T6" fmla="*/ 5 w 41"/>
                  <a:gd name="T7" fmla="*/ 51 h 54"/>
                  <a:gd name="T8" fmla="*/ 11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11" y="21"/>
                    </a:moveTo>
                    <a:cubicBezTo>
                      <a:pt x="19" y="8"/>
                      <a:pt x="30" y="0"/>
                      <a:pt x="36" y="3"/>
                    </a:cubicBezTo>
                    <a:cubicBezTo>
                      <a:pt x="41" y="6"/>
                      <a:pt x="38" y="20"/>
                      <a:pt x="29" y="33"/>
                    </a:cubicBezTo>
                    <a:cubicBezTo>
                      <a:pt x="21" y="46"/>
                      <a:pt x="10" y="54"/>
                      <a:pt x="5" y="51"/>
                    </a:cubicBezTo>
                    <a:cubicBezTo>
                      <a:pt x="0" y="48"/>
                      <a:pt x="2" y="34"/>
                      <a:pt x="11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01" name="Freeform 85">
                <a:extLst>
                  <a:ext uri="{FF2B5EF4-FFF2-40B4-BE49-F238E27FC236}">
                    <a16:creationId xmlns:a16="http://schemas.microsoft.com/office/drawing/2014/main" xmlns="" id="{B29F8815-2CE7-C894-66D7-7A15ED1622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4" y="1836"/>
                <a:ext cx="94" cy="125"/>
              </a:xfrm>
              <a:custGeom>
                <a:avLst/>
                <a:gdLst>
                  <a:gd name="T0" fmla="*/ 12 w 41"/>
                  <a:gd name="T1" fmla="*/ 21 h 54"/>
                  <a:gd name="T2" fmla="*/ 36 w 41"/>
                  <a:gd name="T3" fmla="*/ 3 h 54"/>
                  <a:gd name="T4" fmla="*/ 30 w 41"/>
                  <a:gd name="T5" fmla="*/ 33 h 54"/>
                  <a:gd name="T6" fmla="*/ 6 w 41"/>
                  <a:gd name="T7" fmla="*/ 51 h 54"/>
                  <a:gd name="T8" fmla="*/ 12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12" y="21"/>
                    </a:moveTo>
                    <a:cubicBezTo>
                      <a:pt x="20" y="8"/>
                      <a:pt x="31" y="0"/>
                      <a:pt x="36" y="3"/>
                    </a:cubicBezTo>
                    <a:cubicBezTo>
                      <a:pt x="41" y="6"/>
                      <a:pt x="39" y="20"/>
                      <a:pt x="30" y="33"/>
                    </a:cubicBezTo>
                    <a:cubicBezTo>
                      <a:pt x="22" y="46"/>
                      <a:pt x="11" y="54"/>
                      <a:pt x="6" y="51"/>
                    </a:cubicBezTo>
                    <a:cubicBezTo>
                      <a:pt x="0" y="48"/>
                      <a:pt x="3" y="34"/>
                      <a:pt x="12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02" name="Freeform 86">
                <a:extLst>
                  <a:ext uri="{FF2B5EF4-FFF2-40B4-BE49-F238E27FC236}">
                    <a16:creationId xmlns:a16="http://schemas.microsoft.com/office/drawing/2014/main" xmlns="" id="{64ABE164-C2F6-DAB8-4154-3501768F36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1910"/>
                <a:ext cx="90" cy="88"/>
              </a:xfrm>
              <a:custGeom>
                <a:avLst/>
                <a:gdLst>
                  <a:gd name="T0" fmla="*/ 39 w 39"/>
                  <a:gd name="T1" fmla="*/ 22 h 38"/>
                  <a:gd name="T2" fmla="*/ 34 w 39"/>
                  <a:gd name="T3" fmla="*/ 18 h 38"/>
                  <a:gd name="T4" fmla="*/ 38 w 39"/>
                  <a:gd name="T5" fmla="*/ 14 h 38"/>
                  <a:gd name="T6" fmla="*/ 34 w 39"/>
                  <a:gd name="T7" fmla="*/ 12 h 38"/>
                  <a:gd name="T8" fmla="*/ 35 w 39"/>
                  <a:gd name="T9" fmla="*/ 8 h 38"/>
                  <a:gd name="T10" fmla="*/ 29 w 39"/>
                  <a:gd name="T11" fmla="*/ 8 h 38"/>
                  <a:gd name="T12" fmla="*/ 29 w 39"/>
                  <a:gd name="T13" fmla="*/ 2 h 38"/>
                  <a:gd name="T14" fmla="*/ 25 w 39"/>
                  <a:gd name="T15" fmla="*/ 4 h 38"/>
                  <a:gd name="T16" fmla="*/ 22 w 39"/>
                  <a:gd name="T17" fmla="*/ 0 h 38"/>
                  <a:gd name="T18" fmla="*/ 19 w 39"/>
                  <a:gd name="T19" fmla="*/ 4 h 38"/>
                  <a:gd name="T20" fmla="*/ 14 w 39"/>
                  <a:gd name="T21" fmla="*/ 1 h 38"/>
                  <a:gd name="T22" fmla="*/ 12 w 39"/>
                  <a:gd name="T23" fmla="*/ 5 h 38"/>
                  <a:gd name="T24" fmla="*/ 8 w 39"/>
                  <a:gd name="T25" fmla="*/ 4 h 38"/>
                  <a:gd name="T26" fmla="*/ 8 w 39"/>
                  <a:gd name="T27" fmla="*/ 9 h 38"/>
                  <a:gd name="T28" fmla="*/ 3 w 39"/>
                  <a:gd name="T29" fmla="*/ 10 h 38"/>
                  <a:gd name="T30" fmla="*/ 4 w 39"/>
                  <a:gd name="T31" fmla="*/ 14 h 38"/>
                  <a:gd name="T32" fmla="*/ 0 w 39"/>
                  <a:gd name="T33" fmla="*/ 16 h 38"/>
                  <a:gd name="T34" fmla="*/ 5 w 39"/>
                  <a:gd name="T35" fmla="*/ 20 h 38"/>
                  <a:gd name="T36" fmla="*/ 1 w 39"/>
                  <a:gd name="T37" fmla="*/ 24 h 38"/>
                  <a:gd name="T38" fmla="*/ 5 w 39"/>
                  <a:gd name="T39" fmla="*/ 26 h 38"/>
                  <a:gd name="T40" fmla="*/ 4 w 39"/>
                  <a:gd name="T41" fmla="*/ 31 h 38"/>
                  <a:gd name="T42" fmla="*/ 10 w 39"/>
                  <a:gd name="T43" fmla="*/ 30 h 38"/>
                  <a:gd name="T44" fmla="*/ 10 w 39"/>
                  <a:gd name="T45" fmla="*/ 36 h 38"/>
                  <a:gd name="T46" fmla="*/ 14 w 39"/>
                  <a:gd name="T47" fmla="*/ 34 h 38"/>
                  <a:gd name="T48" fmla="*/ 17 w 39"/>
                  <a:gd name="T49" fmla="*/ 38 h 38"/>
                  <a:gd name="T50" fmla="*/ 21 w 39"/>
                  <a:gd name="T51" fmla="*/ 34 h 38"/>
                  <a:gd name="T52" fmla="*/ 25 w 39"/>
                  <a:gd name="T53" fmla="*/ 38 h 38"/>
                  <a:gd name="T54" fmla="*/ 27 w 39"/>
                  <a:gd name="T55" fmla="*/ 33 h 38"/>
                  <a:gd name="T56" fmla="*/ 31 w 39"/>
                  <a:gd name="T57" fmla="*/ 34 h 38"/>
                  <a:gd name="T58" fmla="*/ 31 w 39"/>
                  <a:gd name="T59" fmla="*/ 29 h 38"/>
                  <a:gd name="T60" fmla="*/ 36 w 39"/>
                  <a:gd name="T61" fmla="*/ 28 h 38"/>
                  <a:gd name="T62" fmla="*/ 35 w 39"/>
                  <a:gd name="T63" fmla="*/ 24 h 38"/>
                  <a:gd name="T64" fmla="*/ 39 w 39"/>
                  <a:gd name="T6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9" h="38">
                    <a:moveTo>
                      <a:pt x="39" y="22"/>
                    </a:moveTo>
                    <a:cubicBezTo>
                      <a:pt x="39" y="20"/>
                      <a:pt x="37" y="19"/>
                      <a:pt x="34" y="18"/>
                    </a:cubicBezTo>
                    <a:cubicBezTo>
                      <a:pt x="37" y="17"/>
                      <a:pt x="38" y="15"/>
                      <a:pt x="38" y="14"/>
                    </a:cubicBezTo>
                    <a:cubicBezTo>
                      <a:pt x="38" y="13"/>
                      <a:pt x="36" y="12"/>
                      <a:pt x="34" y="12"/>
                    </a:cubicBezTo>
                    <a:cubicBezTo>
                      <a:pt x="35" y="10"/>
                      <a:pt x="36" y="8"/>
                      <a:pt x="35" y="8"/>
                    </a:cubicBezTo>
                    <a:cubicBezTo>
                      <a:pt x="34" y="6"/>
                      <a:pt x="32" y="7"/>
                      <a:pt x="29" y="8"/>
                    </a:cubicBezTo>
                    <a:cubicBezTo>
                      <a:pt x="30" y="5"/>
                      <a:pt x="30" y="3"/>
                      <a:pt x="29" y="2"/>
                    </a:cubicBezTo>
                    <a:cubicBezTo>
                      <a:pt x="28" y="2"/>
                      <a:pt x="26" y="2"/>
                      <a:pt x="25" y="4"/>
                    </a:cubicBezTo>
                    <a:cubicBezTo>
                      <a:pt x="24" y="2"/>
                      <a:pt x="23" y="0"/>
                      <a:pt x="22" y="0"/>
                    </a:cubicBezTo>
                    <a:cubicBezTo>
                      <a:pt x="21" y="0"/>
                      <a:pt x="20" y="1"/>
                      <a:pt x="19" y="4"/>
                    </a:cubicBezTo>
                    <a:cubicBezTo>
                      <a:pt x="17" y="2"/>
                      <a:pt x="16" y="0"/>
                      <a:pt x="14" y="1"/>
                    </a:cubicBezTo>
                    <a:cubicBezTo>
                      <a:pt x="13" y="1"/>
                      <a:pt x="13" y="2"/>
                      <a:pt x="12" y="5"/>
                    </a:cubicBezTo>
                    <a:cubicBezTo>
                      <a:pt x="11" y="3"/>
                      <a:pt x="9" y="3"/>
                      <a:pt x="8" y="4"/>
                    </a:cubicBezTo>
                    <a:cubicBezTo>
                      <a:pt x="7" y="4"/>
                      <a:pt x="7" y="7"/>
                      <a:pt x="8" y="9"/>
                    </a:cubicBezTo>
                    <a:cubicBezTo>
                      <a:pt x="6" y="8"/>
                      <a:pt x="3" y="8"/>
                      <a:pt x="3" y="10"/>
                    </a:cubicBezTo>
                    <a:cubicBezTo>
                      <a:pt x="2" y="11"/>
                      <a:pt x="3" y="12"/>
                      <a:pt x="4" y="14"/>
                    </a:cubicBezTo>
                    <a:cubicBezTo>
                      <a:pt x="2" y="14"/>
                      <a:pt x="1" y="15"/>
                      <a:pt x="0" y="16"/>
                    </a:cubicBezTo>
                    <a:cubicBezTo>
                      <a:pt x="0" y="18"/>
                      <a:pt x="2" y="19"/>
                      <a:pt x="5" y="20"/>
                    </a:cubicBezTo>
                    <a:cubicBezTo>
                      <a:pt x="2" y="21"/>
                      <a:pt x="1" y="23"/>
                      <a:pt x="1" y="24"/>
                    </a:cubicBezTo>
                    <a:cubicBezTo>
                      <a:pt x="1" y="25"/>
                      <a:pt x="3" y="26"/>
                      <a:pt x="5" y="26"/>
                    </a:cubicBezTo>
                    <a:cubicBezTo>
                      <a:pt x="4" y="28"/>
                      <a:pt x="3" y="30"/>
                      <a:pt x="4" y="31"/>
                    </a:cubicBezTo>
                    <a:cubicBezTo>
                      <a:pt x="5" y="32"/>
                      <a:pt x="7" y="31"/>
                      <a:pt x="10" y="30"/>
                    </a:cubicBezTo>
                    <a:cubicBezTo>
                      <a:pt x="9" y="33"/>
                      <a:pt x="9" y="35"/>
                      <a:pt x="10" y="36"/>
                    </a:cubicBezTo>
                    <a:cubicBezTo>
                      <a:pt x="11" y="36"/>
                      <a:pt x="13" y="36"/>
                      <a:pt x="14" y="34"/>
                    </a:cubicBezTo>
                    <a:cubicBezTo>
                      <a:pt x="15" y="36"/>
                      <a:pt x="16" y="38"/>
                      <a:pt x="17" y="38"/>
                    </a:cubicBezTo>
                    <a:cubicBezTo>
                      <a:pt x="18" y="38"/>
                      <a:pt x="19" y="37"/>
                      <a:pt x="21" y="34"/>
                    </a:cubicBezTo>
                    <a:cubicBezTo>
                      <a:pt x="22" y="36"/>
                      <a:pt x="24" y="38"/>
                      <a:pt x="25" y="38"/>
                    </a:cubicBezTo>
                    <a:cubicBezTo>
                      <a:pt x="26" y="37"/>
                      <a:pt x="27" y="36"/>
                      <a:pt x="27" y="33"/>
                    </a:cubicBezTo>
                    <a:cubicBezTo>
                      <a:pt x="28" y="35"/>
                      <a:pt x="30" y="35"/>
                      <a:pt x="31" y="34"/>
                    </a:cubicBezTo>
                    <a:cubicBezTo>
                      <a:pt x="32" y="34"/>
                      <a:pt x="32" y="31"/>
                      <a:pt x="31" y="29"/>
                    </a:cubicBezTo>
                    <a:cubicBezTo>
                      <a:pt x="34" y="30"/>
                      <a:pt x="36" y="30"/>
                      <a:pt x="36" y="28"/>
                    </a:cubicBezTo>
                    <a:cubicBezTo>
                      <a:pt x="37" y="27"/>
                      <a:pt x="36" y="26"/>
                      <a:pt x="35" y="24"/>
                    </a:cubicBezTo>
                    <a:cubicBezTo>
                      <a:pt x="37" y="24"/>
                      <a:pt x="38" y="23"/>
                      <a:pt x="39" y="22"/>
                    </a:cubicBezTo>
                  </a:path>
                </a:pathLst>
              </a:custGeom>
              <a:solidFill>
                <a:srgbClr val="FFD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03" name="Freeform 87">
                <a:extLst>
                  <a:ext uri="{FF2B5EF4-FFF2-40B4-BE49-F238E27FC236}">
                    <a16:creationId xmlns:a16="http://schemas.microsoft.com/office/drawing/2014/main" xmlns="" id="{38DAA43F-31D5-3B70-C9E3-5C61103F7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6" y="2115"/>
                <a:ext cx="136" cy="125"/>
              </a:xfrm>
              <a:custGeom>
                <a:avLst/>
                <a:gdLst>
                  <a:gd name="T0" fmla="*/ 43 w 59"/>
                  <a:gd name="T1" fmla="*/ 13 h 54"/>
                  <a:gd name="T2" fmla="*/ 0 w 59"/>
                  <a:gd name="T3" fmla="*/ 3 h 54"/>
                  <a:gd name="T4" fmla="*/ 21 w 59"/>
                  <a:gd name="T5" fmla="*/ 41 h 54"/>
                  <a:gd name="T6" fmla="*/ 55 w 59"/>
                  <a:gd name="T7" fmla="*/ 44 h 54"/>
                  <a:gd name="T8" fmla="*/ 43 w 59"/>
                  <a:gd name="T9" fmla="*/ 1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54">
                    <a:moveTo>
                      <a:pt x="43" y="13"/>
                    </a:moveTo>
                    <a:cubicBezTo>
                      <a:pt x="26" y="0"/>
                      <a:pt x="0" y="3"/>
                      <a:pt x="0" y="3"/>
                    </a:cubicBezTo>
                    <a:cubicBezTo>
                      <a:pt x="0" y="3"/>
                      <a:pt x="5" y="29"/>
                      <a:pt x="21" y="41"/>
                    </a:cubicBezTo>
                    <a:cubicBezTo>
                      <a:pt x="38" y="54"/>
                      <a:pt x="55" y="44"/>
                      <a:pt x="55" y="44"/>
                    </a:cubicBezTo>
                    <a:cubicBezTo>
                      <a:pt x="55" y="44"/>
                      <a:pt x="59" y="25"/>
                      <a:pt x="43" y="1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04" name="Freeform 88">
                <a:extLst>
                  <a:ext uri="{FF2B5EF4-FFF2-40B4-BE49-F238E27FC236}">
                    <a16:creationId xmlns:a16="http://schemas.microsoft.com/office/drawing/2014/main" xmlns="" id="{8F90C398-0B7D-2DA3-2DEE-E97781F8B3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1" y="2166"/>
                <a:ext cx="108" cy="88"/>
              </a:xfrm>
              <a:custGeom>
                <a:avLst/>
                <a:gdLst>
                  <a:gd name="T0" fmla="*/ 14 w 47"/>
                  <a:gd name="T1" fmla="*/ 7 h 38"/>
                  <a:gd name="T2" fmla="*/ 1 w 47"/>
                  <a:gd name="T3" fmla="*/ 29 h 38"/>
                  <a:gd name="T4" fmla="*/ 26 w 47"/>
                  <a:gd name="T5" fmla="*/ 31 h 38"/>
                  <a:gd name="T6" fmla="*/ 47 w 47"/>
                  <a:gd name="T7" fmla="*/ 5 h 38"/>
                  <a:gd name="T8" fmla="*/ 14 w 47"/>
                  <a:gd name="T9" fmla="*/ 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8">
                    <a:moveTo>
                      <a:pt x="14" y="7"/>
                    </a:moveTo>
                    <a:cubicBezTo>
                      <a:pt x="0" y="14"/>
                      <a:pt x="1" y="29"/>
                      <a:pt x="1" y="29"/>
                    </a:cubicBezTo>
                    <a:cubicBezTo>
                      <a:pt x="1" y="29"/>
                      <a:pt x="12" y="38"/>
                      <a:pt x="26" y="31"/>
                    </a:cubicBezTo>
                    <a:cubicBezTo>
                      <a:pt x="40" y="24"/>
                      <a:pt x="47" y="5"/>
                      <a:pt x="47" y="5"/>
                    </a:cubicBezTo>
                    <a:cubicBezTo>
                      <a:pt x="47" y="5"/>
                      <a:pt x="28" y="0"/>
                      <a:pt x="14" y="7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05" name="Rectangle 89">
                <a:extLst>
                  <a:ext uri="{FF2B5EF4-FFF2-40B4-BE49-F238E27FC236}">
                    <a16:creationId xmlns:a16="http://schemas.microsoft.com/office/drawing/2014/main" xmlns="" id="{7EF9BAD1-F126-0F9E-4BE8-50342EE1A8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6" y="2052"/>
                <a:ext cx="9" cy="381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06" name="Freeform 90">
                <a:extLst>
                  <a:ext uri="{FF2B5EF4-FFF2-40B4-BE49-F238E27FC236}">
                    <a16:creationId xmlns:a16="http://schemas.microsoft.com/office/drawing/2014/main" xmlns="" id="{9990FA99-9452-6DEE-A56F-15C6E7EAE3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2" y="1829"/>
                <a:ext cx="65" cy="137"/>
              </a:xfrm>
              <a:custGeom>
                <a:avLst/>
                <a:gdLst>
                  <a:gd name="T0" fmla="*/ 25 w 28"/>
                  <a:gd name="T1" fmla="*/ 32 h 59"/>
                  <a:gd name="T2" fmla="*/ 8 w 28"/>
                  <a:gd name="T3" fmla="*/ 57 h 59"/>
                  <a:gd name="T4" fmla="*/ 3 w 28"/>
                  <a:gd name="T5" fmla="*/ 27 h 59"/>
                  <a:gd name="T6" fmla="*/ 20 w 28"/>
                  <a:gd name="T7" fmla="*/ 2 h 59"/>
                  <a:gd name="T8" fmla="*/ 25 w 28"/>
                  <a:gd name="T9" fmla="*/ 3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9">
                    <a:moveTo>
                      <a:pt x="25" y="32"/>
                    </a:moveTo>
                    <a:cubicBezTo>
                      <a:pt x="21" y="47"/>
                      <a:pt x="14" y="59"/>
                      <a:pt x="8" y="57"/>
                    </a:cubicBezTo>
                    <a:cubicBezTo>
                      <a:pt x="2" y="56"/>
                      <a:pt x="0" y="43"/>
                      <a:pt x="3" y="27"/>
                    </a:cubicBezTo>
                    <a:cubicBezTo>
                      <a:pt x="7" y="12"/>
                      <a:pt x="14" y="0"/>
                      <a:pt x="20" y="2"/>
                    </a:cubicBezTo>
                    <a:cubicBezTo>
                      <a:pt x="26" y="3"/>
                      <a:pt x="28" y="16"/>
                      <a:pt x="25" y="32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07" name="Freeform 91">
                <a:extLst>
                  <a:ext uri="{FF2B5EF4-FFF2-40B4-BE49-F238E27FC236}">
                    <a16:creationId xmlns:a16="http://schemas.microsoft.com/office/drawing/2014/main" xmlns="" id="{BB554CD7-4340-9744-03EC-566ECEDC4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5" y="1959"/>
                <a:ext cx="64" cy="135"/>
              </a:xfrm>
              <a:custGeom>
                <a:avLst/>
                <a:gdLst>
                  <a:gd name="T0" fmla="*/ 25 w 28"/>
                  <a:gd name="T1" fmla="*/ 31 h 58"/>
                  <a:gd name="T2" fmla="*/ 8 w 28"/>
                  <a:gd name="T3" fmla="*/ 57 h 58"/>
                  <a:gd name="T4" fmla="*/ 3 w 28"/>
                  <a:gd name="T5" fmla="*/ 27 h 58"/>
                  <a:gd name="T6" fmla="*/ 20 w 28"/>
                  <a:gd name="T7" fmla="*/ 1 h 58"/>
                  <a:gd name="T8" fmla="*/ 25 w 28"/>
                  <a:gd name="T9" fmla="*/ 3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31"/>
                    </a:moveTo>
                    <a:cubicBezTo>
                      <a:pt x="22" y="47"/>
                      <a:pt x="14" y="58"/>
                      <a:pt x="8" y="57"/>
                    </a:cubicBezTo>
                    <a:cubicBezTo>
                      <a:pt x="2" y="56"/>
                      <a:pt x="0" y="42"/>
                      <a:pt x="3" y="27"/>
                    </a:cubicBezTo>
                    <a:cubicBezTo>
                      <a:pt x="7" y="11"/>
                      <a:pt x="14" y="0"/>
                      <a:pt x="20" y="1"/>
                    </a:cubicBezTo>
                    <a:cubicBezTo>
                      <a:pt x="26" y="3"/>
                      <a:pt x="28" y="16"/>
                      <a:pt x="25" y="3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08" name="Freeform 92">
                <a:extLst>
                  <a:ext uri="{FF2B5EF4-FFF2-40B4-BE49-F238E27FC236}">
                    <a16:creationId xmlns:a16="http://schemas.microsoft.com/office/drawing/2014/main" xmlns="" id="{81E96A26-1815-8D30-D457-B727A6537E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1915"/>
                <a:ext cx="133" cy="65"/>
              </a:xfrm>
              <a:custGeom>
                <a:avLst/>
                <a:gdLst>
                  <a:gd name="T0" fmla="*/ 31 w 58"/>
                  <a:gd name="T1" fmla="*/ 4 h 28"/>
                  <a:gd name="T2" fmla="*/ 57 w 58"/>
                  <a:gd name="T3" fmla="*/ 20 h 28"/>
                  <a:gd name="T4" fmla="*/ 27 w 58"/>
                  <a:gd name="T5" fmla="*/ 25 h 28"/>
                  <a:gd name="T6" fmla="*/ 1 w 58"/>
                  <a:gd name="T7" fmla="*/ 8 h 28"/>
                  <a:gd name="T8" fmla="*/ 31 w 58"/>
                  <a:gd name="T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1" y="4"/>
                    </a:moveTo>
                    <a:cubicBezTo>
                      <a:pt x="47" y="7"/>
                      <a:pt x="58" y="14"/>
                      <a:pt x="57" y="20"/>
                    </a:cubicBezTo>
                    <a:cubicBezTo>
                      <a:pt x="56" y="26"/>
                      <a:pt x="42" y="28"/>
                      <a:pt x="27" y="25"/>
                    </a:cubicBezTo>
                    <a:cubicBezTo>
                      <a:pt x="12" y="22"/>
                      <a:pt x="0" y="14"/>
                      <a:pt x="1" y="8"/>
                    </a:cubicBezTo>
                    <a:cubicBezTo>
                      <a:pt x="3" y="3"/>
                      <a:pt x="16" y="0"/>
                      <a:pt x="31" y="4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09" name="Freeform 93">
                <a:extLst>
                  <a:ext uri="{FF2B5EF4-FFF2-40B4-BE49-F238E27FC236}">
                    <a16:creationId xmlns:a16="http://schemas.microsoft.com/office/drawing/2014/main" xmlns="" id="{451C4634-4C64-A9F9-0891-079AB9F3E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" y="1943"/>
                <a:ext cx="133" cy="65"/>
              </a:xfrm>
              <a:custGeom>
                <a:avLst/>
                <a:gdLst>
                  <a:gd name="T0" fmla="*/ 31 w 58"/>
                  <a:gd name="T1" fmla="*/ 3 h 28"/>
                  <a:gd name="T2" fmla="*/ 57 w 58"/>
                  <a:gd name="T3" fmla="*/ 20 h 28"/>
                  <a:gd name="T4" fmla="*/ 27 w 58"/>
                  <a:gd name="T5" fmla="*/ 25 h 28"/>
                  <a:gd name="T6" fmla="*/ 1 w 58"/>
                  <a:gd name="T7" fmla="*/ 8 h 28"/>
                  <a:gd name="T8" fmla="*/ 31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1" y="3"/>
                    </a:moveTo>
                    <a:cubicBezTo>
                      <a:pt x="46" y="7"/>
                      <a:pt x="58" y="14"/>
                      <a:pt x="57" y="20"/>
                    </a:cubicBezTo>
                    <a:cubicBezTo>
                      <a:pt x="55" y="26"/>
                      <a:pt x="42" y="28"/>
                      <a:pt x="27" y="25"/>
                    </a:cubicBezTo>
                    <a:cubicBezTo>
                      <a:pt x="11" y="22"/>
                      <a:pt x="0" y="14"/>
                      <a:pt x="1" y="8"/>
                    </a:cubicBezTo>
                    <a:cubicBezTo>
                      <a:pt x="2" y="2"/>
                      <a:pt x="16" y="0"/>
                      <a:pt x="31" y="3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10" name="Freeform 94">
                <a:extLst>
                  <a:ext uri="{FF2B5EF4-FFF2-40B4-BE49-F238E27FC236}">
                    <a16:creationId xmlns:a16="http://schemas.microsoft.com/office/drawing/2014/main" xmlns="" id="{D51AC4A6-E3C9-D1CA-681A-DF61677E5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8" y="1843"/>
                <a:ext cx="94" cy="128"/>
              </a:xfrm>
              <a:custGeom>
                <a:avLst/>
                <a:gdLst>
                  <a:gd name="T0" fmla="*/ 30 w 41"/>
                  <a:gd name="T1" fmla="*/ 21 h 55"/>
                  <a:gd name="T2" fmla="*/ 36 w 41"/>
                  <a:gd name="T3" fmla="*/ 51 h 55"/>
                  <a:gd name="T4" fmla="*/ 11 w 41"/>
                  <a:gd name="T5" fmla="*/ 33 h 55"/>
                  <a:gd name="T6" fmla="*/ 5 w 41"/>
                  <a:gd name="T7" fmla="*/ 4 h 55"/>
                  <a:gd name="T8" fmla="*/ 30 w 41"/>
                  <a:gd name="T9" fmla="*/ 2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5">
                    <a:moveTo>
                      <a:pt x="30" y="21"/>
                    </a:moveTo>
                    <a:cubicBezTo>
                      <a:pt x="38" y="35"/>
                      <a:pt x="41" y="48"/>
                      <a:pt x="36" y="51"/>
                    </a:cubicBezTo>
                    <a:cubicBezTo>
                      <a:pt x="31" y="55"/>
                      <a:pt x="20" y="47"/>
                      <a:pt x="11" y="33"/>
                    </a:cubicBezTo>
                    <a:cubicBezTo>
                      <a:pt x="3" y="20"/>
                      <a:pt x="0" y="7"/>
                      <a:pt x="5" y="4"/>
                    </a:cubicBezTo>
                    <a:cubicBezTo>
                      <a:pt x="10" y="0"/>
                      <a:pt x="21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11" name="Freeform 95">
                <a:extLst>
                  <a:ext uri="{FF2B5EF4-FFF2-40B4-BE49-F238E27FC236}">
                    <a16:creationId xmlns:a16="http://schemas.microsoft.com/office/drawing/2014/main" xmlns="" id="{747DCDE7-6854-6271-CAD1-AE4858AA8C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9" y="1954"/>
                <a:ext cx="95" cy="126"/>
              </a:xfrm>
              <a:custGeom>
                <a:avLst/>
                <a:gdLst>
                  <a:gd name="T0" fmla="*/ 30 w 41"/>
                  <a:gd name="T1" fmla="*/ 21 h 54"/>
                  <a:gd name="T2" fmla="*/ 36 w 41"/>
                  <a:gd name="T3" fmla="*/ 51 h 54"/>
                  <a:gd name="T4" fmla="*/ 11 w 41"/>
                  <a:gd name="T5" fmla="*/ 33 h 54"/>
                  <a:gd name="T6" fmla="*/ 5 w 41"/>
                  <a:gd name="T7" fmla="*/ 3 h 54"/>
                  <a:gd name="T8" fmla="*/ 30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30" y="21"/>
                    </a:moveTo>
                    <a:cubicBezTo>
                      <a:pt x="38" y="34"/>
                      <a:pt x="41" y="48"/>
                      <a:pt x="36" y="51"/>
                    </a:cubicBezTo>
                    <a:cubicBezTo>
                      <a:pt x="31" y="54"/>
                      <a:pt x="20" y="46"/>
                      <a:pt x="11" y="33"/>
                    </a:cubicBezTo>
                    <a:cubicBezTo>
                      <a:pt x="3" y="20"/>
                      <a:pt x="0" y="7"/>
                      <a:pt x="5" y="3"/>
                    </a:cubicBezTo>
                    <a:cubicBezTo>
                      <a:pt x="10" y="0"/>
                      <a:pt x="21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12" name="Freeform 96">
                <a:extLst>
                  <a:ext uri="{FF2B5EF4-FFF2-40B4-BE49-F238E27FC236}">
                    <a16:creationId xmlns:a16="http://schemas.microsoft.com/office/drawing/2014/main" xmlns="" id="{747C3C03-C369-A87D-FF74-AE9022301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3" y="1950"/>
                <a:ext cx="125" cy="95"/>
              </a:xfrm>
              <a:custGeom>
                <a:avLst/>
                <a:gdLst>
                  <a:gd name="T0" fmla="*/ 21 w 54"/>
                  <a:gd name="T1" fmla="*/ 12 h 41"/>
                  <a:gd name="T2" fmla="*/ 51 w 54"/>
                  <a:gd name="T3" fmla="*/ 5 h 41"/>
                  <a:gd name="T4" fmla="*/ 33 w 54"/>
                  <a:gd name="T5" fmla="*/ 30 h 41"/>
                  <a:gd name="T6" fmla="*/ 3 w 54"/>
                  <a:gd name="T7" fmla="*/ 36 h 41"/>
                  <a:gd name="T8" fmla="*/ 21 w 54"/>
                  <a:gd name="T9" fmla="*/ 1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21" y="12"/>
                    </a:moveTo>
                    <a:cubicBezTo>
                      <a:pt x="34" y="3"/>
                      <a:pt x="48" y="0"/>
                      <a:pt x="51" y="5"/>
                    </a:cubicBezTo>
                    <a:cubicBezTo>
                      <a:pt x="54" y="10"/>
                      <a:pt x="46" y="21"/>
                      <a:pt x="33" y="30"/>
                    </a:cubicBezTo>
                    <a:cubicBezTo>
                      <a:pt x="20" y="38"/>
                      <a:pt x="7" y="41"/>
                      <a:pt x="3" y="36"/>
                    </a:cubicBezTo>
                    <a:cubicBezTo>
                      <a:pt x="0" y="31"/>
                      <a:pt x="8" y="20"/>
                      <a:pt x="21" y="12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13" name="Freeform 97">
                <a:extLst>
                  <a:ext uri="{FF2B5EF4-FFF2-40B4-BE49-F238E27FC236}">
                    <a16:creationId xmlns:a16="http://schemas.microsoft.com/office/drawing/2014/main" xmlns="" id="{50ECCBF1-D3E5-7AF5-BAEC-89FDF63EF3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4" y="1878"/>
                <a:ext cx="124" cy="95"/>
              </a:xfrm>
              <a:custGeom>
                <a:avLst/>
                <a:gdLst>
                  <a:gd name="T0" fmla="*/ 21 w 54"/>
                  <a:gd name="T1" fmla="*/ 12 h 41"/>
                  <a:gd name="T2" fmla="*/ 51 w 54"/>
                  <a:gd name="T3" fmla="*/ 5 h 41"/>
                  <a:gd name="T4" fmla="*/ 33 w 54"/>
                  <a:gd name="T5" fmla="*/ 30 h 41"/>
                  <a:gd name="T6" fmla="*/ 3 w 54"/>
                  <a:gd name="T7" fmla="*/ 36 h 41"/>
                  <a:gd name="T8" fmla="*/ 21 w 54"/>
                  <a:gd name="T9" fmla="*/ 1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21" y="12"/>
                    </a:moveTo>
                    <a:cubicBezTo>
                      <a:pt x="34" y="3"/>
                      <a:pt x="47" y="0"/>
                      <a:pt x="51" y="5"/>
                    </a:cubicBezTo>
                    <a:cubicBezTo>
                      <a:pt x="54" y="10"/>
                      <a:pt x="46" y="21"/>
                      <a:pt x="33" y="30"/>
                    </a:cubicBezTo>
                    <a:cubicBezTo>
                      <a:pt x="20" y="39"/>
                      <a:pt x="6" y="41"/>
                      <a:pt x="3" y="36"/>
                    </a:cubicBezTo>
                    <a:cubicBezTo>
                      <a:pt x="0" y="31"/>
                      <a:pt x="8" y="20"/>
                      <a:pt x="21" y="12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14" name="Freeform 98">
                <a:extLst>
                  <a:ext uri="{FF2B5EF4-FFF2-40B4-BE49-F238E27FC236}">
                    <a16:creationId xmlns:a16="http://schemas.microsoft.com/office/drawing/2014/main" xmlns="" id="{936681D6-72EB-9CA6-B56C-C1D942A2B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5" y="1829"/>
                <a:ext cx="64" cy="137"/>
              </a:xfrm>
              <a:custGeom>
                <a:avLst/>
                <a:gdLst>
                  <a:gd name="T0" fmla="*/ 25 w 28"/>
                  <a:gd name="T1" fmla="*/ 27 h 59"/>
                  <a:gd name="T2" fmla="*/ 20 w 28"/>
                  <a:gd name="T3" fmla="*/ 57 h 59"/>
                  <a:gd name="T4" fmla="*/ 3 w 28"/>
                  <a:gd name="T5" fmla="*/ 32 h 59"/>
                  <a:gd name="T6" fmla="*/ 8 w 28"/>
                  <a:gd name="T7" fmla="*/ 2 h 59"/>
                  <a:gd name="T8" fmla="*/ 25 w 28"/>
                  <a:gd name="T9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9">
                    <a:moveTo>
                      <a:pt x="25" y="27"/>
                    </a:moveTo>
                    <a:cubicBezTo>
                      <a:pt x="28" y="43"/>
                      <a:pt x="26" y="56"/>
                      <a:pt x="20" y="57"/>
                    </a:cubicBezTo>
                    <a:cubicBezTo>
                      <a:pt x="14" y="59"/>
                      <a:pt x="7" y="47"/>
                      <a:pt x="3" y="32"/>
                    </a:cubicBezTo>
                    <a:cubicBezTo>
                      <a:pt x="0" y="16"/>
                      <a:pt x="2" y="3"/>
                      <a:pt x="8" y="2"/>
                    </a:cubicBezTo>
                    <a:cubicBezTo>
                      <a:pt x="14" y="0"/>
                      <a:pt x="21" y="12"/>
                      <a:pt x="25" y="27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15" name="Freeform 99">
                <a:extLst>
                  <a:ext uri="{FF2B5EF4-FFF2-40B4-BE49-F238E27FC236}">
                    <a16:creationId xmlns:a16="http://schemas.microsoft.com/office/drawing/2014/main" xmlns="" id="{3AA790FF-F929-0D7A-CFD0-44755F2218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2" y="1959"/>
                <a:ext cx="65" cy="135"/>
              </a:xfrm>
              <a:custGeom>
                <a:avLst/>
                <a:gdLst>
                  <a:gd name="T0" fmla="*/ 25 w 28"/>
                  <a:gd name="T1" fmla="*/ 27 h 58"/>
                  <a:gd name="T2" fmla="*/ 20 w 28"/>
                  <a:gd name="T3" fmla="*/ 57 h 58"/>
                  <a:gd name="T4" fmla="*/ 3 w 28"/>
                  <a:gd name="T5" fmla="*/ 31 h 58"/>
                  <a:gd name="T6" fmla="*/ 8 w 28"/>
                  <a:gd name="T7" fmla="*/ 1 h 58"/>
                  <a:gd name="T8" fmla="*/ 25 w 28"/>
                  <a:gd name="T9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27"/>
                    </a:moveTo>
                    <a:cubicBezTo>
                      <a:pt x="28" y="42"/>
                      <a:pt x="26" y="56"/>
                      <a:pt x="20" y="57"/>
                    </a:cubicBezTo>
                    <a:cubicBezTo>
                      <a:pt x="14" y="58"/>
                      <a:pt x="7" y="47"/>
                      <a:pt x="3" y="31"/>
                    </a:cubicBezTo>
                    <a:cubicBezTo>
                      <a:pt x="0" y="16"/>
                      <a:pt x="2" y="3"/>
                      <a:pt x="8" y="1"/>
                    </a:cubicBezTo>
                    <a:cubicBezTo>
                      <a:pt x="14" y="0"/>
                      <a:pt x="21" y="11"/>
                      <a:pt x="25" y="27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16" name="Freeform 100">
                <a:extLst>
                  <a:ext uri="{FF2B5EF4-FFF2-40B4-BE49-F238E27FC236}">
                    <a16:creationId xmlns:a16="http://schemas.microsoft.com/office/drawing/2014/main" xmlns="" id="{5FD0CF64-5CDD-DA27-6F19-45B47B38FC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1943"/>
                <a:ext cx="133" cy="65"/>
              </a:xfrm>
              <a:custGeom>
                <a:avLst/>
                <a:gdLst>
                  <a:gd name="T0" fmla="*/ 27 w 58"/>
                  <a:gd name="T1" fmla="*/ 4 h 28"/>
                  <a:gd name="T2" fmla="*/ 57 w 58"/>
                  <a:gd name="T3" fmla="*/ 8 h 28"/>
                  <a:gd name="T4" fmla="*/ 32 w 58"/>
                  <a:gd name="T5" fmla="*/ 25 h 28"/>
                  <a:gd name="T6" fmla="*/ 1 w 58"/>
                  <a:gd name="T7" fmla="*/ 20 h 28"/>
                  <a:gd name="T8" fmla="*/ 27 w 58"/>
                  <a:gd name="T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7" y="4"/>
                    </a:moveTo>
                    <a:cubicBezTo>
                      <a:pt x="42" y="0"/>
                      <a:pt x="56" y="2"/>
                      <a:pt x="57" y="8"/>
                    </a:cubicBezTo>
                    <a:cubicBezTo>
                      <a:pt x="58" y="14"/>
                      <a:pt x="47" y="22"/>
                      <a:pt x="32" y="25"/>
                    </a:cubicBezTo>
                    <a:cubicBezTo>
                      <a:pt x="16" y="28"/>
                      <a:pt x="3" y="26"/>
                      <a:pt x="1" y="20"/>
                    </a:cubicBezTo>
                    <a:cubicBezTo>
                      <a:pt x="0" y="14"/>
                      <a:pt x="12" y="7"/>
                      <a:pt x="27" y="4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17" name="Freeform 101">
                <a:extLst>
                  <a:ext uri="{FF2B5EF4-FFF2-40B4-BE49-F238E27FC236}">
                    <a16:creationId xmlns:a16="http://schemas.microsoft.com/office/drawing/2014/main" xmlns="" id="{63F23FC9-4557-60BE-AA98-2CEAC049B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" y="1915"/>
                <a:ext cx="133" cy="65"/>
              </a:xfrm>
              <a:custGeom>
                <a:avLst/>
                <a:gdLst>
                  <a:gd name="T0" fmla="*/ 27 w 58"/>
                  <a:gd name="T1" fmla="*/ 4 h 28"/>
                  <a:gd name="T2" fmla="*/ 57 w 58"/>
                  <a:gd name="T3" fmla="*/ 8 h 28"/>
                  <a:gd name="T4" fmla="*/ 31 w 58"/>
                  <a:gd name="T5" fmla="*/ 25 h 28"/>
                  <a:gd name="T6" fmla="*/ 1 w 58"/>
                  <a:gd name="T7" fmla="*/ 20 h 28"/>
                  <a:gd name="T8" fmla="*/ 27 w 58"/>
                  <a:gd name="T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7" y="4"/>
                    </a:moveTo>
                    <a:cubicBezTo>
                      <a:pt x="42" y="0"/>
                      <a:pt x="55" y="2"/>
                      <a:pt x="57" y="8"/>
                    </a:cubicBezTo>
                    <a:cubicBezTo>
                      <a:pt x="58" y="14"/>
                      <a:pt x="46" y="22"/>
                      <a:pt x="31" y="25"/>
                    </a:cubicBezTo>
                    <a:cubicBezTo>
                      <a:pt x="16" y="28"/>
                      <a:pt x="2" y="26"/>
                      <a:pt x="1" y="20"/>
                    </a:cubicBezTo>
                    <a:cubicBezTo>
                      <a:pt x="0" y="14"/>
                      <a:pt x="11" y="7"/>
                      <a:pt x="27" y="4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18" name="Freeform 102">
                <a:extLst>
                  <a:ext uri="{FF2B5EF4-FFF2-40B4-BE49-F238E27FC236}">
                    <a16:creationId xmlns:a16="http://schemas.microsoft.com/office/drawing/2014/main" xmlns="" id="{6D7511D1-13E4-2E01-42AE-EECBD2FAEE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3" y="1878"/>
                <a:ext cx="125" cy="95"/>
              </a:xfrm>
              <a:custGeom>
                <a:avLst/>
                <a:gdLst>
                  <a:gd name="T0" fmla="*/ 33 w 54"/>
                  <a:gd name="T1" fmla="*/ 12 h 41"/>
                  <a:gd name="T2" fmla="*/ 51 w 54"/>
                  <a:gd name="T3" fmla="*/ 36 h 41"/>
                  <a:gd name="T4" fmla="*/ 21 w 54"/>
                  <a:gd name="T5" fmla="*/ 30 h 41"/>
                  <a:gd name="T6" fmla="*/ 3 w 54"/>
                  <a:gd name="T7" fmla="*/ 5 h 41"/>
                  <a:gd name="T8" fmla="*/ 33 w 54"/>
                  <a:gd name="T9" fmla="*/ 1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33" y="12"/>
                    </a:moveTo>
                    <a:cubicBezTo>
                      <a:pt x="46" y="20"/>
                      <a:pt x="54" y="31"/>
                      <a:pt x="51" y="36"/>
                    </a:cubicBezTo>
                    <a:cubicBezTo>
                      <a:pt x="48" y="41"/>
                      <a:pt x="34" y="39"/>
                      <a:pt x="21" y="30"/>
                    </a:cubicBezTo>
                    <a:cubicBezTo>
                      <a:pt x="8" y="22"/>
                      <a:pt x="0" y="11"/>
                      <a:pt x="3" y="5"/>
                    </a:cubicBezTo>
                    <a:cubicBezTo>
                      <a:pt x="6" y="0"/>
                      <a:pt x="20" y="3"/>
                      <a:pt x="33" y="12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19" name="Freeform 103">
                <a:extLst>
                  <a:ext uri="{FF2B5EF4-FFF2-40B4-BE49-F238E27FC236}">
                    <a16:creationId xmlns:a16="http://schemas.microsoft.com/office/drawing/2014/main" xmlns="" id="{0F05B1F7-FFE3-A42A-7676-907F47889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4" y="1950"/>
                <a:ext cx="124" cy="95"/>
              </a:xfrm>
              <a:custGeom>
                <a:avLst/>
                <a:gdLst>
                  <a:gd name="T0" fmla="*/ 33 w 54"/>
                  <a:gd name="T1" fmla="*/ 11 h 41"/>
                  <a:gd name="T2" fmla="*/ 51 w 54"/>
                  <a:gd name="T3" fmla="*/ 36 h 41"/>
                  <a:gd name="T4" fmla="*/ 21 w 54"/>
                  <a:gd name="T5" fmla="*/ 30 h 41"/>
                  <a:gd name="T6" fmla="*/ 3 w 54"/>
                  <a:gd name="T7" fmla="*/ 5 h 41"/>
                  <a:gd name="T8" fmla="*/ 33 w 54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33" y="11"/>
                    </a:moveTo>
                    <a:cubicBezTo>
                      <a:pt x="46" y="20"/>
                      <a:pt x="54" y="31"/>
                      <a:pt x="51" y="36"/>
                    </a:cubicBezTo>
                    <a:cubicBezTo>
                      <a:pt x="48" y="41"/>
                      <a:pt x="34" y="38"/>
                      <a:pt x="21" y="30"/>
                    </a:cubicBezTo>
                    <a:cubicBezTo>
                      <a:pt x="8" y="21"/>
                      <a:pt x="0" y="10"/>
                      <a:pt x="3" y="5"/>
                    </a:cubicBezTo>
                    <a:cubicBezTo>
                      <a:pt x="6" y="0"/>
                      <a:pt x="20" y="3"/>
                      <a:pt x="33" y="1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20" name="Freeform 104">
                <a:extLst>
                  <a:ext uri="{FF2B5EF4-FFF2-40B4-BE49-F238E27FC236}">
                    <a16:creationId xmlns:a16="http://schemas.microsoft.com/office/drawing/2014/main" xmlns="" id="{58DBB734-95EA-E353-DE82-39EA4D489A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8" y="1954"/>
                <a:ext cx="94" cy="126"/>
              </a:xfrm>
              <a:custGeom>
                <a:avLst/>
                <a:gdLst>
                  <a:gd name="T0" fmla="*/ 11 w 41"/>
                  <a:gd name="T1" fmla="*/ 21 h 54"/>
                  <a:gd name="T2" fmla="*/ 36 w 41"/>
                  <a:gd name="T3" fmla="*/ 3 h 54"/>
                  <a:gd name="T4" fmla="*/ 30 w 41"/>
                  <a:gd name="T5" fmla="*/ 33 h 54"/>
                  <a:gd name="T6" fmla="*/ 5 w 41"/>
                  <a:gd name="T7" fmla="*/ 51 h 54"/>
                  <a:gd name="T8" fmla="*/ 11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11" y="21"/>
                    </a:moveTo>
                    <a:cubicBezTo>
                      <a:pt x="20" y="8"/>
                      <a:pt x="31" y="0"/>
                      <a:pt x="36" y="3"/>
                    </a:cubicBezTo>
                    <a:cubicBezTo>
                      <a:pt x="41" y="7"/>
                      <a:pt x="38" y="20"/>
                      <a:pt x="30" y="33"/>
                    </a:cubicBezTo>
                    <a:cubicBezTo>
                      <a:pt x="21" y="46"/>
                      <a:pt x="10" y="54"/>
                      <a:pt x="5" y="51"/>
                    </a:cubicBezTo>
                    <a:cubicBezTo>
                      <a:pt x="0" y="48"/>
                      <a:pt x="3" y="34"/>
                      <a:pt x="11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21" name="Freeform 105">
                <a:extLst>
                  <a:ext uri="{FF2B5EF4-FFF2-40B4-BE49-F238E27FC236}">
                    <a16:creationId xmlns:a16="http://schemas.microsoft.com/office/drawing/2014/main" xmlns="" id="{E2C0DF46-1307-FCEC-BDB0-A50AF6C32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9" y="1843"/>
                <a:ext cx="95" cy="128"/>
              </a:xfrm>
              <a:custGeom>
                <a:avLst/>
                <a:gdLst>
                  <a:gd name="T0" fmla="*/ 11 w 41"/>
                  <a:gd name="T1" fmla="*/ 21 h 55"/>
                  <a:gd name="T2" fmla="*/ 36 w 41"/>
                  <a:gd name="T3" fmla="*/ 3 h 55"/>
                  <a:gd name="T4" fmla="*/ 30 w 41"/>
                  <a:gd name="T5" fmla="*/ 33 h 55"/>
                  <a:gd name="T6" fmla="*/ 5 w 41"/>
                  <a:gd name="T7" fmla="*/ 51 h 55"/>
                  <a:gd name="T8" fmla="*/ 11 w 41"/>
                  <a:gd name="T9" fmla="*/ 2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5">
                    <a:moveTo>
                      <a:pt x="11" y="21"/>
                    </a:moveTo>
                    <a:cubicBezTo>
                      <a:pt x="20" y="8"/>
                      <a:pt x="31" y="0"/>
                      <a:pt x="36" y="3"/>
                    </a:cubicBezTo>
                    <a:cubicBezTo>
                      <a:pt x="41" y="7"/>
                      <a:pt x="38" y="20"/>
                      <a:pt x="30" y="33"/>
                    </a:cubicBezTo>
                    <a:cubicBezTo>
                      <a:pt x="21" y="46"/>
                      <a:pt x="10" y="55"/>
                      <a:pt x="5" y="51"/>
                    </a:cubicBezTo>
                    <a:cubicBezTo>
                      <a:pt x="0" y="48"/>
                      <a:pt x="3" y="35"/>
                      <a:pt x="11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22" name="Freeform 106">
                <a:extLst>
                  <a:ext uri="{FF2B5EF4-FFF2-40B4-BE49-F238E27FC236}">
                    <a16:creationId xmlns:a16="http://schemas.microsoft.com/office/drawing/2014/main" xmlns="" id="{9098F24C-30D2-ED0F-A829-57E127A3DC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7" y="1917"/>
                <a:ext cx="88" cy="91"/>
              </a:xfrm>
              <a:custGeom>
                <a:avLst/>
                <a:gdLst>
                  <a:gd name="T0" fmla="*/ 38 w 38"/>
                  <a:gd name="T1" fmla="*/ 22 h 39"/>
                  <a:gd name="T2" fmla="*/ 34 w 38"/>
                  <a:gd name="T3" fmla="*/ 18 h 39"/>
                  <a:gd name="T4" fmla="*/ 38 w 38"/>
                  <a:gd name="T5" fmla="*/ 14 h 39"/>
                  <a:gd name="T6" fmla="*/ 33 w 38"/>
                  <a:gd name="T7" fmla="*/ 12 h 39"/>
                  <a:gd name="T8" fmla="*/ 34 w 38"/>
                  <a:gd name="T9" fmla="*/ 8 h 39"/>
                  <a:gd name="T10" fmla="*/ 29 w 38"/>
                  <a:gd name="T11" fmla="*/ 8 h 39"/>
                  <a:gd name="T12" fmla="*/ 28 w 38"/>
                  <a:gd name="T13" fmla="*/ 2 h 39"/>
                  <a:gd name="T14" fmla="*/ 24 w 38"/>
                  <a:gd name="T15" fmla="*/ 4 h 39"/>
                  <a:gd name="T16" fmla="*/ 22 w 38"/>
                  <a:gd name="T17" fmla="*/ 0 h 39"/>
                  <a:gd name="T18" fmla="*/ 18 w 38"/>
                  <a:gd name="T19" fmla="*/ 4 h 39"/>
                  <a:gd name="T20" fmla="*/ 14 w 38"/>
                  <a:gd name="T21" fmla="*/ 1 h 39"/>
                  <a:gd name="T22" fmla="*/ 12 w 38"/>
                  <a:gd name="T23" fmla="*/ 5 h 39"/>
                  <a:gd name="T24" fmla="*/ 8 w 38"/>
                  <a:gd name="T25" fmla="*/ 4 h 39"/>
                  <a:gd name="T26" fmla="*/ 8 w 38"/>
                  <a:gd name="T27" fmla="*/ 9 h 39"/>
                  <a:gd name="T28" fmla="*/ 2 w 38"/>
                  <a:gd name="T29" fmla="*/ 10 h 39"/>
                  <a:gd name="T30" fmla="*/ 4 w 38"/>
                  <a:gd name="T31" fmla="*/ 14 h 39"/>
                  <a:gd name="T32" fmla="*/ 0 w 38"/>
                  <a:gd name="T33" fmla="*/ 16 h 39"/>
                  <a:gd name="T34" fmla="*/ 4 w 38"/>
                  <a:gd name="T35" fmla="*/ 20 h 39"/>
                  <a:gd name="T36" fmla="*/ 1 w 38"/>
                  <a:gd name="T37" fmla="*/ 25 h 39"/>
                  <a:gd name="T38" fmla="*/ 5 w 38"/>
                  <a:gd name="T39" fmla="*/ 26 h 39"/>
                  <a:gd name="T40" fmla="*/ 4 w 38"/>
                  <a:gd name="T41" fmla="*/ 31 h 39"/>
                  <a:gd name="T42" fmla="*/ 9 w 38"/>
                  <a:gd name="T43" fmla="*/ 31 h 39"/>
                  <a:gd name="T44" fmla="*/ 10 w 38"/>
                  <a:gd name="T45" fmla="*/ 36 h 39"/>
                  <a:gd name="T46" fmla="*/ 14 w 38"/>
                  <a:gd name="T47" fmla="*/ 34 h 39"/>
                  <a:gd name="T48" fmla="*/ 16 w 38"/>
                  <a:gd name="T49" fmla="*/ 38 h 39"/>
                  <a:gd name="T50" fmla="*/ 20 w 38"/>
                  <a:gd name="T51" fmla="*/ 34 h 39"/>
                  <a:gd name="T52" fmla="*/ 24 w 38"/>
                  <a:gd name="T53" fmla="*/ 38 h 39"/>
                  <a:gd name="T54" fmla="*/ 26 w 38"/>
                  <a:gd name="T55" fmla="*/ 34 h 39"/>
                  <a:gd name="T56" fmla="*/ 31 w 38"/>
                  <a:gd name="T57" fmla="*/ 35 h 39"/>
                  <a:gd name="T58" fmla="*/ 30 w 38"/>
                  <a:gd name="T59" fmla="*/ 29 h 39"/>
                  <a:gd name="T60" fmla="*/ 36 w 38"/>
                  <a:gd name="T61" fmla="*/ 29 h 39"/>
                  <a:gd name="T62" fmla="*/ 34 w 38"/>
                  <a:gd name="T63" fmla="*/ 24 h 39"/>
                  <a:gd name="T64" fmla="*/ 38 w 38"/>
                  <a:gd name="T65" fmla="*/ 22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" h="39">
                    <a:moveTo>
                      <a:pt x="38" y="22"/>
                    </a:moveTo>
                    <a:cubicBezTo>
                      <a:pt x="38" y="21"/>
                      <a:pt x="37" y="19"/>
                      <a:pt x="34" y="18"/>
                    </a:cubicBezTo>
                    <a:cubicBezTo>
                      <a:pt x="36" y="17"/>
                      <a:pt x="38" y="15"/>
                      <a:pt x="38" y="14"/>
                    </a:cubicBezTo>
                    <a:cubicBezTo>
                      <a:pt x="37" y="13"/>
                      <a:pt x="36" y="12"/>
                      <a:pt x="33" y="12"/>
                    </a:cubicBezTo>
                    <a:cubicBezTo>
                      <a:pt x="35" y="10"/>
                      <a:pt x="35" y="9"/>
                      <a:pt x="34" y="8"/>
                    </a:cubicBezTo>
                    <a:cubicBezTo>
                      <a:pt x="34" y="7"/>
                      <a:pt x="31" y="7"/>
                      <a:pt x="29" y="8"/>
                    </a:cubicBezTo>
                    <a:cubicBezTo>
                      <a:pt x="30" y="5"/>
                      <a:pt x="30" y="3"/>
                      <a:pt x="28" y="2"/>
                    </a:cubicBezTo>
                    <a:cubicBezTo>
                      <a:pt x="27" y="2"/>
                      <a:pt x="26" y="3"/>
                      <a:pt x="24" y="4"/>
                    </a:cubicBezTo>
                    <a:cubicBezTo>
                      <a:pt x="24" y="2"/>
                      <a:pt x="23" y="0"/>
                      <a:pt x="22" y="0"/>
                    </a:cubicBezTo>
                    <a:cubicBezTo>
                      <a:pt x="20" y="0"/>
                      <a:pt x="19" y="2"/>
                      <a:pt x="18" y="4"/>
                    </a:cubicBezTo>
                    <a:cubicBezTo>
                      <a:pt x="17" y="2"/>
                      <a:pt x="15" y="0"/>
                      <a:pt x="14" y="1"/>
                    </a:cubicBezTo>
                    <a:cubicBezTo>
                      <a:pt x="13" y="1"/>
                      <a:pt x="12" y="3"/>
                      <a:pt x="12" y="5"/>
                    </a:cubicBezTo>
                    <a:cubicBezTo>
                      <a:pt x="10" y="4"/>
                      <a:pt x="8" y="3"/>
                      <a:pt x="8" y="4"/>
                    </a:cubicBezTo>
                    <a:cubicBezTo>
                      <a:pt x="6" y="5"/>
                      <a:pt x="7" y="7"/>
                      <a:pt x="8" y="9"/>
                    </a:cubicBezTo>
                    <a:cubicBezTo>
                      <a:pt x="5" y="9"/>
                      <a:pt x="3" y="9"/>
                      <a:pt x="2" y="10"/>
                    </a:cubicBezTo>
                    <a:cubicBezTo>
                      <a:pt x="2" y="11"/>
                      <a:pt x="2" y="13"/>
                      <a:pt x="4" y="14"/>
                    </a:cubicBezTo>
                    <a:cubicBezTo>
                      <a:pt x="2" y="15"/>
                      <a:pt x="0" y="15"/>
                      <a:pt x="0" y="16"/>
                    </a:cubicBezTo>
                    <a:cubicBezTo>
                      <a:pt x="0" y="18"/>
                      <a:pt x="1" y="19"/>
                      <a:pt x="4" y="20"/>
                    </a:cubicBezTo>
                    <a:cubicBezTo>
                      <a:pt x="2" y="22"/>
                      <a:pt x="0" y="23"/>
                      <a:pt x="1" y="25"/>
                    </a:cubicBezTo>
                    <a:cubicBezTo>
                      <a:pt x="1" y="26"/>
                      <a:pt x="3" y="26"/>
                      <a:pt x="5" y="26"/>
                    </a:cubicBezTo>
                    <a:cubicBezTo>
                      <a:pt x="3" y="28"/>
                      <a:pt x="3" y="30"/>
                      <a:pt x="4" y="31"/>
                    </a:cubicBezTo>
                    <a:cubicBezTo>
                      <a:pt x="4" y="32"/>
                      <a:pt x="7" y="32"/>
                      <a:pt x="9" y="31"/>
                    </a:cubicBezTo>
                    <a:cubicBezTo>
                      <a:pt x="8" y="33"/>
                      <a:pt x="9" y="35"/>
                      <a:pt x="10" y="36"/>
                    </a:cubicBezTo>
                    <a:cubicBezTo>
                      <a:pt x="11" y="37"/>
                      <a:pt x="12" y="36"/>
                      <a:pt x="14" y="34"/>
                    </a:cubicBezTo>
                    <a:cubicBezTo>
                      <a:pt x="14" y="37"/>
                      <a:pt x="15" y="38"/>
                      <a:pt x="16" y="38"/>
                    </a:cubicBezTo>
                    <a:cubicBezTo>
                      <a:pt x="18" y="39"/>
                      <a:pt x="19" y="37"/>
                      <a:pt x="20" y="34"/>
                    </a:cubicBezTo>
                    <a:cubicBezTo>
                      <a:pt x="21" y="37"/>
                      <a:pt x="23" y="38"/>
                      <a:pt x="24" y="38"/>
                    </a:cubicBezTo>
                    <a:cubicBezTo>
                      <a:pt x="25" y="37"/>
                      <a:pt x="26" y="36"/>
                      <a:pt x="26" y="34"/>
                    </a:cubicBezTo>
                    <a:cubicBezTo>
                      <a:pt x="28" y="35"/>
                      <a:pt x="30" y="35"/>
                      <a:pt x="31" y="35"/>
                    </a:cubicBezTo>
                    <a:cubicBezTo>
                      <a:pt x="32" y="34"/>
                      <a:pt x="31" y="32"/>
                      <a:pt x="30" y="29"/>
                    </a:cubicBezTo>
                    <a:cubicBezTo>
                      <a:pt x="33" y="30"/>
                      <a:pt x="35" y="30"/>
                      <a:pt x="36" y="29"/>
                    </a:cubicBezTo>
                    <a:cubicBezTo>
                      <a:pt x="36" y="28"/>
                      <a:pt x="36" y="26"/>
                      <a:pt x="34" y="24"/>
                    </a:cubicBezTo>
                    <a:cubicBezTo>
                      <a:pt x="36" y="24"/>
                      <a:pt x="38" y="23"/>
                      <a:pt x="38" y="22"/>
                    </a:cubicBezTo>
                  </a:path>
                </a:pathLst>
              </a:custGeom>
              <a:solidFill>
                <a:srgbClr val="FFD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23" name="Freeform 107">
                <a:extLst>
                  <a:ext uri="{FF2B5EF4-FFF2-40B4-BE49-F238E27FC236}">
                    <a16:creationId xmlns:a16="http://schemas.microsoft.com/office/drawing/2014/main" xmlns="" id="{1F958341-DCB9-488C-34DF-58A77972E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075"/>
                <a:ext cx="138" cy="126"/>
              </a:xfrm>
              <a:custGeom>
                <a:avLst/>
                <a:gdLst>
                  <a:gd name="T0" fmla="*/ 43 w 60"/>
                  <a:gd name="T1" fmla="*/ 13 h 54"/>
                  <a:gd name="T2" fmla="*/ 0 w 60"/>
                  <a:gd name="T3" fmla="*/ 3 h 54"/>
                  <a:gd name="T4" fmla="*/ 22 w 60"/>
                  <a:gd name="T5" fmla="*/ 41 h 54"/>
                  <a:gd name="T6" fmla="*/ 55 w 60"/>
                  <a:gd name="T7" fmla="*/ 44 h 54"/>
                  <a:gd name="T8" fmla="*/ 43 w 60"/>
                  <a:gd name="T9" fmla="*/ 1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54">
                    <a:moveTo>
                      <a:pt x="43" y="13"/>
                    </a:moveTo>
                    <a:cubicBezTo>
                      <a:pt x="27" y="0"/>
                      <a:pt x="0" y="3"/>
                      <a:pt x="0" y="3"/>
                    </a:cubicBezTo>
                    <a:cubicBezTo>
                      <a:pt x="0" y="3"/>
                      <a:pt x="5" y="29"/>
                      <a:pt x="22" y="41"/>
                    </a:cubicBezTo>
                    <a:cubicBezTo>
                      <a:pt x="38" y="54"/>
                      <a:pt x="55" y="44"/>
                      <a:pt x="55" y="44"/>
                    </a:cubicBezTo>
                    <a:cubicBezTo>
                      <a:pt x="55" y="44"/>
                      <a:pt x="60" y="25"/>
                      <a:pt x="43" y="13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24" name="Freeform 108">
                <a:extLst>
                  <a:ext uri="{FF2B5EF4-FFF2-40B4-BE49-F238E27FC236}">
                    <a16:creationId xmlns:a16="http://schemas.microsoft.com/office/drawing/2014/main" xmlns="" id="{E4A6F6B8-B759-9BFD-31D2-D9CF63AA63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8" y="2126"/>
                <a:ext cx="111" cy="89"/>
              </a:xfrm>
              <a:custGeom>
                <a:avLst/>
                <a:gdLst>
                  <a:gd name="T0" fmla="*/ 14 w 48"/>
                  <a:gd name="T1" fmla="*/ 7 h 38"/>
                  <a:gd name="T2" fmla="*/ 1 w 48"/>
                  <a:gd name="T3" fmla="*/ 29 h 38"/>
                  <a:gd name="T4" fmla="*/ 27 w 48"/>
                  <a:gd name="T5" fmla="*/ 31 h 38"/>
                  <a:gd name="T6" fmla="*/ 48 w 48"/>
                  <a:gd name="T7" fmla="*/ 5 h 38"/>
                  <a:gd name="T8" fmla="*/ 14 w 48"/>
                  <a:gd name="T9" fmla="*/ 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8">
                    <a:moveTo>
                      <a:pt x="14" y="7"/>
                    </a:moveTo>
                    <a:cubicBezTo>
                      <a:pt x="0" y="14"/>
                      <a:pt x="1" y="29"/>
                      <a:pt x="1" y="29"/>
                    </a:cubicBezTo>
                    <a:cubicBezTo>
                      <a:pt x="1" y="29"/>
                      <a:pt x="13" y="38"/>
                      <a:pt x="27" y="31"/>
                    </a:cubicBezTo>
                    <a:cubicBezTo>
                      <a:pt x="41" y="24"/>
                      <a:pt x="48" y="5"/>
                      <a:pt x="48" y="5"/>
                    </a:cubicBezTo>
                    <a:cubicBezTo>
                      <a:pt x="48" y="5"/>
                      <a:pt x="28" y="0"/>
                      <a:pt x="14" y="7"/>
                    </a:cubicBezTo>
                  </a:path>
                </a:pathLst>
              </a:custGeom>
              <a:solidFill>
                <a:srgbClr val="94B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25" name="Rectangle 109">
                <a:extLst>
                  <a:ext uri="{FF2B5EF4-FFF2-40B4-BE49-F238E27FC236}">
                    <a16:creationId xmlns:a16="http://schemas.microsoft.com/office/drawing/2014/main" xmlns="" id="{56EFE45E-9389-E7BC-A7B1-8F7CEEB52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3" y="2010"/>
                <a:ext cx="12" cy="384"/>
              </a:xfrm>
              <a:prstGeom prst="rect">
                <a:avLst/>
              </a:prstGeom>
              <a:solidFill>
                <a:srgbClr val="708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26" name="Freeform 110">
                <a:extLst>
                  <a:ext uri="{FF2B5EF4-FFF2-40B4-BE49-F238E27FC236}">
                    <a16:creationId xmlns:a16="http://schemas.microsoft.com/office/drawing/2014/main" xmlns="" id="{E981D231-90DB-C8BD-F70C-C43E432B86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" y="1789"/>
                <a:ext cx="64" cy="135"/>
              </a:xfrm>
              <a:custGeom>
                <a:avLst/>
                <a:gdLst>
                  <a:gd name="T0" fmla="*/ 25 w 28"/>
                  <a:gd name="T1" fmla="*/ 32 h 58"/>
                  <a:gd name="T2" fmla="*/ 8 w 28"/>
                  <a:gd name="T3" fmla="*/ 57 h 58"/>
                  <a:gd name="T4" fmla="*/ 4 w 28"/>
                  <a:gd name="T5" fmla="*/ 27 h 58"/>
                  <a:gd name="T6" fmla="*/ 20 w 28"/>
                  <a:gd name="T7" fmla="*/ 1 h 58"/>
                  <a:gd name="T8" fmla="*/ 25 w 28"/>
                  <a:gd name="T9" fmla="*/ 32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32"/>
                    </a:moveTo>
                    <a:cubicBezTo>
                      <a:pt x="22" y="47"/>
                      <a:pt x="14" y="58"/>
                      <a:pt x="8" y="57"/>
                    </a:cubicBezTo>
                    <a:cubicBezTo>
                      <a:pt x="3" y="56"/>
                      <a:pt x="0" y="42"/>
                      <a:pt x="4" y="27"/>
                    </a:cubicBezTo>
                    <a:cubicBezTo>
                      <a:pt x="7" y="12"/>
                      <a:pt x="14" y="0"/>
                      <a:pt x="20" y="1"/>
                    </a:cubicBezTo>
                    <a:cubicBezTo>
                      <a:pt x="26" y="3"/>
                      <a:pt x="28" y="16"/>
                      <a:pt x="25" y="32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27" name="Freeform 111">
                <a:extLst>
                  <a:ext uri="{FF2B5EF4-FFF2-40B4-BE49-F238E27FC236}">
                    <a16:creationId xmlns:a16="http://schemas.microsoft.com/office/drawing/2014/main" xmlns="" id="{3E2A1D59-5711-E708-223B-AC656B5F2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1919"/>
                <a:ext cx="62" cy="135"/>
              </a:xfrm>
              <a:custGeom>
                <a:avLst/>
                <a:gdLst>
                  <a:gd name="T0" fmla="*/ 24 w 27"/>
                  <a:gd name="T1" fmla="*/ 31 h 58"/>
                  <a:gd name="T2" fmla="*/ 8 w 27"/>
                  <a:gd name="T3" fmla="*/ 57 h 58"/>
                  <a:gd name="T4" fmla="*/ 3 w 27"/>
                  <a:gd name="T5" fmla="*/ 27 h 58"/>
                  <a:gd name="T6" fmla="*/ 19 w 27"/>
                  <a:gd name="T7" fmla="*/ 1 h 58"/>
                  <a:gd name="T8" fmla="*/ 24 w 27"/>
                  <a:gd name="T9" fmla="*/ 3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58">
                    <a:moveTo>
                      <a:pt x="24" y="31"/>
                    </a:moveTo>
                    <a:cubicBezTo>
                      <a:pt x="21" y="47"/>
                      <a:pt x="14" y="58"/>
                      <a:pt x="8" y="57"/>
                    </a:cubicBezTo>
                    <a:cubicBezTo>
                      <a:pt x="2" y="55"/>
                      <a:pt x="0" y="42"/>
                      <a:pt x="3" y="27"/>
                    </a:cubicBezTo>
                    <a:cubicBezTo>
                      <a:pt x="6" y="11"/>
                      <a:pt x="14" y="0"/>
                      <a:pt x="19" y="1"/>
                    </a:cubicBezTo>
                    <a:cubicBezTo>
                      <a:pt x="25" y="2"/>
                      <a:pt x="27" y="16"/>
                      <a:pt x="24" y="3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28" name="Freeform 112">
                <a:extLst>
                  <a:ext uri="{FF2B5EF4-FFF2-40B4-BE49-F238E27FC236}">
                    <a16:creationId xmlns:a16="http://schemas.microsoft.com/office/drawing/2014/main" xmlns="" id="{7A52903B-30B8-C7C5-B17B-F1FFC9E2C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9" y="1875"/>
                <a:ext cx="134" cy="65"/>
              </a:xfrm>
              <a:custGeom>
                <a:avLst/>
                <a:gdLst>
                  <a:gd name="T0" fmla="*/ 31 w 58"/>
                  <a:gd name="T1" fmla="*/ 3 h 28"/>
                  <a:gd name="T2" fmla="*/ 56 w 58"/>
                  <a:gd name="T3" fmla="*/ 20 h 28"/>
                  <a:gd name="T4" fmla="*/ 26 w 58"/>
                  <a:gd name="T5" fmla="*/ 25 h 28"/>
                  <a:gd name="T6" fmla="*/ 1 w 58"/>
                  <a:gd name="T7" fmla="*/ 8 h 28"/>
                  <a:gd name="T8" fmla="*/ 31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1" y="3"/>
                    </a:moveTo>
                    <a:cubicBezTo>
                      <a:pt x="46" y="7"/>
                      <a:pt x="58" y="14"/>
                      <a:pt x="56" y="20"/>
                    </a:cubicBezTo>
                    <a:cubicBezTo>
                      <a:pt x="55" y="26"/>
                      <a:pt x="42" y="28"/>
                      <a:pt x="26" y="25"/>
                    </a:cubicBezTo>
                    <a:cubicBezTo>
                      <a:pt x="11" y="22"/>
                      <a:pt x="0" y="14"/>
                      <a:pt x="1" y="8"/>
                    </a:cubicBezTo>
                    <a:cubicBezTo>
                      <a:pt x="2" y="2"/>
                      <a:pt x="16" y="0"/>
                      <a:pt x="31" y="3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29" name="Freeform 113">
                <a:extLst>
                  <a:ext uri="{FF2B5EF4-FFF2-40B4-BE49-F238E27FC236}">
                    <a16:creationId xmlns:a16="http://schemas.microsoft.com/office/drawing/2014/main" xmlns="" id="{CCD2C204-4FF6-B5DC-036B-F08937BA1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6" y="1903"/>
                <a:ext cx="133" cy="65"/>
              </a:xfrm>
              <a:custGeom>
                <a:avLst/>
                <a:gdLst>
                  <a:gd name="T0" fmla="*/ 31 w 58"/>
                  <a:gd name="T1" fmla="*/ 3 h 28"/>
                  <a:gd name="T2" fmla="*/ 57 w 58"/>
                  <a:gd name="T3" fmla="*/ 20 h 28"/>
                  <a:gd name="T4" fmla="*/ 27 w 58"/>
                  <a:gd name="T5" fmla="*/ 25 h 28"/>
                  <a:gd name="T6" fmla="*/ 1 w 58"/>
                  <a:gd name="T7" fmla="*/ 8 h 28"/>
                  <a:gd name="T8" fmla="*/ 31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31" y="3"/>
                    </a:moveTo>
                    <a:cubicBezTo>
                      <a:pt x="47" y="7"/>
                      <a:pt x="58" y="14"/>
                      <a:pt x="57" y="20"/>
                    </a:cubicBezTo>
                    <a:cubicBezTo>
                      <a:pt x="56" y="26"/>
                      <a:pt x="42" y="28"/>
                      <a:pt x="27" y="25"/>
                    </a:cubicBezTo>
                    <a:cubicBezTo>
                      <a:pt x="12" y="21"/>
                      <a:pt x="0" y="14"/>
                      <a:pt x="1" y="8"/>
                    </a:cubicBezTo>
                    <a:cubicBezTo>
                      <a:pt x="3" y="2"/>
                      <a:pt x="16" y="0"/>
                      <a:pt x="31" y="3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30" name="Freeform 114">
                <a:extLst>
                  <a:ext uri="{FF2B5EF4-FFF2-40B4-BE49-F238E27FC236}">
                    <a16:creationId xmlns:a16="http://schemas.microsoft.com/office/drawing/2014/main" xmlns="" id="{42989FBC-D16E-799B-D9C9-101826F40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1803"/>
                <a:ext cx="94" cy="126"/>
              </a:xfrm>
              <a:custGeom>
                <a:avLst/>
                <a:gdLst>
                  <a:gd name="T0" fmla="*/ 30 w 41"/>
                  <a:gd name="T1" fmla="*/ 21 h 54"/>
                  <a:gd name="T2" fmla="*/ 36 w 41"/>
                  <a:gd name="T3" fmla="*/ 51 h 54"/>
                  <a:gd name="T4" fmla="*/ 12 w 41"/>
                  <a:gd name="T5" fmla="*/ 33 h 54"/>
                  <a:gd name="T6" fmla="*/ 5 w 41"/>
                  <a:gd name="T7" fmla="*/ 3 h 54"/>
                  <a:gd name="T8" fmla="*/ 30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30" y="21"/>
                    </a:moveTo>
                    <a:cubicBezTo>
                      <a:pt x="39" y="34"/>
                      <a:pt x="41" y="48"/>
                      <a:pt x="36" y="51"/>
                    </a:cubicBezTo>
                    <a:cubicBezTo>
                      <a:pt x="31" y="54"/>
                      <a:pt x="20" y="46"/>
                      <a:pt x="12" y="33"/>
                    </a:cubicBezTo>
                    <a:cubicBezTo>
                      <a:pt x="3" y="20"/>
                      <a:pt x="0" y="7"/>
                      <a:pt x="5" y="3"/>
                    </a:cubicBezTo>
                    <a:cubicBezTo>
                      <a:pt x="10" y="0"/>
                      <a:pt x="22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31" name="Freeform 115">
                <a:extLst>
                  <a:ext uri="{FF2B5EF4-FFF2-40B4-BE49-F238E27FC236}">
                    <a16:creationId xmlns:a16="http://schemas.microsoft.com/office/drawing/2014/main" xmlns="" id="{8D215D8F-2895-E1B2-65F3-68FB95B189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1915"/>
                <a:ext cx="95" cy="125"/>
              </a:xfrm>
              <a:custGeom>
                <a:avLst/>
                <a:gdLst>
                  <a:gd name="T0" fmla="*/ 30 w 41"/>
                  <a:gd name="T1" fmla="*/ 21 h 54"/>
                  <a:gd name="T2" fmla="*/ 36 w 41"/>
                  <a:gd name="T3" fmla="*/ 51 h 54"/>
                  <a:gd name="T4" fmla="*/ 12 w 41"/>
                  <a:gd name="T5" fmla="*/ 33 h 54"/>
                  <a:gd name="T6" fmla="*/ 5 w 41"/>
                  <a:gd name="T7" fmla="*/ 3 h 54"/>
                  <a:gd name="T8" fmla="*/ 30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30" y="21"/>
                    </a:moveTo>
                    <a:cubicBezTo>
                      <a:pt x="39" y="34"/>
                      <a:pt x="41" y="47"/>
                      <a:pt x="36" y="51"/>
                    </a:cubicBezTo>
                    <a:cubicBezTo>
                      <a:pt x="31" y="54"/>
                      <a:pt x="20" y="46"/>
                      <a:pt x="12" y="33"/>
                    </a:cubicBezTo>
                    <a:cubicBezTo>
                      <a:pt x="3" y="20"/>
                      <a:pt x="0" y="6"/>
                      <a:pt x="5" y="3"/>
                    </a:cubicBezTo>
                    <a:cubicBezTo>
                      <a:pt x="10" y="0"/>
                      <a:pt x="22" y="8"/>
                      <a:pt x="30" y="2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32" name="Freeform 116">
                <a:extLst>
                  <a:ext uri="{FF2B5EF4-FFF2-40B4-BE49-F238E27FC236}">
                    <a16:creationId xmlns:a16="http://schemas.microsoft.com/office/drawing/2014/main" xmlns="" id="{F48634A3-6C1A-BD94-A272-8E72A16E2E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1910"/>
                <a:ext cx="127" cy="95"/>
              </a:xfrm>
              <a:custGeom>
                <a:avLst/>
                <a:gdLst>
                  <a:gd name="T0" fmla="*/ 22 w 55"/>
                  <a:gd name="T1" fmla="*/ 11 h 41"/>
                  <a:gd name="T2" fmla="*/ 51 w 55"/>
                  <a:gd name="T3" fmla="*/ 5 h 41"/>
                  <a:gd name="T4" fmla="*/ 34 w 55"/>
                  <a:gd name="T5" fmla="*/ 30 h 41"/>
                  <a:gd name="T6" fmla="*/ 4 w 55"/>
                  <a:gd name="T7" fmla="*/ 36 h 41"/>
                  <a:gd name="T8" fmla="*/ 22 w 55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1">
                    <a:moveTo>
                      <a:pt x="22" y="11"/>
                    </a:moveTo>
                    <a:cubicBezTo>
                      <a:pt x="35" y="3"/>
                      <a:pt x="48" y="0"/>
                      <a:pt x="51" y="5"/>
                    </a:cubicBezTo>
                    <a:cubicBezTo>
                      <a:pt x="55" y="10"/>
                      <a:pt x="47" y="21"/>
                      <a:pt x="34" y="30"/>
                    </a:cubicBezTo>
                    <a:cubicBezTo>
                      <a:pt x="20" y="38"/>
                      <a:pt x="7" y="41"/>
                      <a:pt x="4" y="36"/>
                    </a:cubicBezTo>
                    <a:cubicBezTo>
                      <a:pt x="0" y="31"/>
                      <a:pt x="8" y="20"/>
                      <a:pt x="22" y="1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33" name="Freeform 117">
                <a:extLst>
                  <a:ext uri="{FF2B5EF4-FFF2-40B4-BE49-F238E27FC236}">
                    <a16:creationId xmlns:a16="http://schemas.microsoft.com/office/drawing/2014/main" xmlns="" id="{3538274F-C95D-84DB-6D18-142A0DCF91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1" y="1838"/>
                <a:ext cx="124" cy="95"/>
              </a:xfrm>
              <a:custGeom>
                <a:avLst/>
                <a:gdLst>
                  <a:gd name="T0" fmla="*/ 21 w 54"/>
                  <a:gd name="T1" fmla="*/ 11 h 41"/>
                  <a:gd name="T2" fmla="*/ 51 w 54"/>
                  <a:gd name="T3" fmla="*/ 5 h 41"/>
                  <a:gd name="T4" fmla="*/ 33 w 54"/>
                  <a:gd name="T5" fmla="*/ 30 h 41"/>
                  <a:gd name="T6" fmla="*/ 3 w 54"/>
                  <a:gd name="T7" fmla="*/ 36 h 41"/>
                  <a:gd name="T8" fmla="*/ 21 w 54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21" y="11"/>
                    </a:moveTo>
                    <a:cubicBezTo>
                      <a:pt x="34" y="3"/>
                      <a:pt x="48" y="0"/>
                      <a:pt x="51" y="5"/>
                    </a:cubicBezTo>
                    <a:cubicBezTo>
                      <a:pt x="54" y="10"/>
                      <a:pt x="46" y="21"/>
                      <a:pt x="33" y="30"/>
                    </a:cubicBezTo>
                    <a:cubicBezTo>
                      <a:pt x="20" y="38"/>
                      <a:pt x="7" y="41"/>
                      <a:pt x="3" y="36"/>
                    </a:cubicBezTo>
                    <a:cubicBezTo>
                      <a:pt x="0" y="31"/>
                      <a:pt x="8" y="20"/>
                      <a:pt x="21" y="11"/>
                    </a:cubicBezTo>
                  </a:path>
                </a:pathLst>
              </a:custGeom>
              <a:solidFill>
                <a:srgbClr val="918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34" name="Freeform 118">
                <a:extLst>
                  <a:ext uri="{FF2B5EF4-FFF2-40B4-BE49-F238E27FC236}">
                    <a16:creationId xmlns:a16="http://schemas.microsoft.com/office/drawing/2014/main" xmlns="" id="{D3C91D18-1ED4-1E87-E1CB-75458F811D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2" y="1789"/>
                <a:ext cx="64" cy="135"/>
              </a:xfrm>
              <a:custGeom>
                <a:avLst/>
                <a:gdLst>
                  <a:gd name="T0" fmla="*/ 25 w 28"/>
                  <a:gd name="T1" fmla="*/ 27 h 58"/>
                  <a:gd name="T2" fmla="*/ 20 w 28"/>
                  <a:gd name="T3" fmla="*/ 57 h 58"/>
                  <a:gd name="T4" fmla="*/ 4 w 28"/>
                  <a:gd name="T5" fmla="*/ 32 h 58"/>
                  <a:gd name="T6" fmla="*/ 8 w 28"/>
                  <a:gd name="T7" fmla="*/ 1 h 58"/>
                  <a:gd name="T8" fmla="*/ 25 w 28"/>
                  <a:gd name="T9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27"/>
                    </a:moveTo>
                    <a:cubicBezTo>
                      <a:pt x="28" y="42"/>
                      <a:pt x="26" y="56"/>
                      <a:pt x="20" y="57"/>
                    </a:cubicBezTo>
                    <a:cubicBezTo>
                      <a:pt x="15" y="58"/>
                      <a:pt x="7" y="47"/>
                      <a:pt x="4" y="32"/>
                    </a:cubicBezTo>
                    <a:cubicBezTo>
                      <a:pt x="0" y="16"/>
                      <a:pt x="2" y="3"/>
                      <a:pt x="8" y="1"/>
                    </a:cubicBezTo>
                    <a:cubicBezTo>
                      <a:pt x="14" y="0"/>
                      <a:pt x="22" y="12"/>
                      <a:pt x="25" y="27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35" name="Freeform 119">
                <a:extLst>
                  <a:ext uri="{FF2B5EF4-FFF2-40B4-BE49-F238E27FC236}">
                    <a16:creationId xmlns:a16="http://schemas.microsoft.com/office/drawing/2014/main" xmlns="" id="{5463BD21-9A09-6C20-80F6-5CBA7B4EF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" y="1919"/>
                <a:ext cx="64" cy="135"/>
              </a:xfrm>
              <a:custGeom>
                <a:avLst/>
                <a:gdLst>
                  <a:gd name="T0" fmla="*/ 25 w 28"/>
                  <a:gd name="T1" fmla="*/ 27 h 58"/>
                  <a:gd name="T2" fmla="*/ 20 w 28"/>
                  <a:gd name="T3" fmla="*/ 57 h 58"/>
                  <a:gd name="T4" fmla="*/ 4 w 28"/>
                  <a:gd name="T5" fmla="*/ 31 h 58"/>
                  <a:gd name="T6" fmla="*/ 8 w 28"/>
                  <a:gd name="T7" fmla="*/ 1 h 58"/>
                  <a:gd name="T8" fmla="*/ 25 w 28"/>
                  <a:gd name="T9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8">
                    <a:moveTo>
                      <a:pt x="25" y="27"/>
                    </a:moveTo>
                    <a:cubicBezTo>
                      <a:pt x="28" y="42"/>
                      <a:pt x="26" y="55"/>
                      <a:pt x="20" y="57"/>
                    </a:cubicBezTo>
                    <a:cubicBezTo>
                      <a:pt x="15" y="58"/>
                      <a:pt x="7" y="47"/>
                      <a:pt x="4" y="31"/>
                    </a:cubicBezTo>
                    <a:cubicBezTo>
                      <a:pt x="0" y="16"/>
                      <a:pt x="3" y="2"/>
                      <a:pt x="8" y="1"/>
                    </a:cubicBezTo>
                    <a:cubicBezTo>
                      <a:pt x="14" y="0"/>
                      <a:pt x="22" y="11"/>
                      <a:pt x="25" y="27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36" name="Freeform 120">
                <a:extLst>
                  <a:ext uri="{FF2B5EF4-FFF2-40B4-BE49-F238E27FC236}">
                    <a16:creationId xmlns:a16="http://schemas.microsoft.com/office/drawing/2014/main" xmlns="" id="{5EA1A706-A88D-3272-0868-4BA9369C23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9" y="1903"/>
                <a:ext cx="134" cy="65"/>
              </a:xfrm>
              <a:custGeom>
                <a:avLst/>
                <a:gdLst>
                  <a:gd name="T0" fmla="*/ 26 w 58"/>
                  <a:gd name="T1" fmla="*/ 3 h 28"/>
                  <a:gd name="T2" fmla="*/ 56 w 58"/>
                  <a:gd name="T3" fmla="*/ 8 h 28"/>
                  <a:gd name="T4" fmla="*/ 31 w 58"/>
                  <a:gd name="T5" fmla="*/ 25 h 28"/>
                  <a:gd name="T6" fmla="*/ 1 w 58"/>
                  <a:gd name="T7" fmla="*/ 20 h 28"/>
                  <a:gd name="T8" fmla="*/ 26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6" y="3"/>
                    </a:moveTo>
                    <a:cubicBezTo>
                      <a:pt x="42" y="0"/>
                      <a:pt x="55" y="2"/>
                      <a:pt x="56" y="8"/>
                    </a:cubicBezTo>
                    <a:cubicBezTo>
                      <a:pt x="58" y="14"/>
                      <a:pt x="46" y="21"/>
                      <a:pt x="31" y="25"/>
                    </a:cubicBezTo>
                    <a:cubicBezTo>
                      <a:pt x="16" y="28"/>
                      <a:pt x="2" y="26"/>
                      <a:pt x="1" y="20"/>
                    </a:cubicBezTo>
                    <a:cubicBezTo>
                      <a:pt x="0" y="14"/>
                      <a:pt x="11" y="7"/>
                      <a:pt x="26" y="3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37" name="Freeform 121">
                <a:extLst>
                  <a:ext uri="{FF2B5EF4-FFF2-40B4-BE49-F238E27FC236}">
                    <a16:creationId xmlns:a16="http://schemas.microsoft.com/office/drawing/2014/main" xmlns="" id="{E685933B-E75C-4970-75F8-DC7169708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6" y="1875"/>
                <a:ext cx="133" cy="65"/>
              </a:xfrm>
              <a:custGeom>
                <a:avLst/>
                <a:gdLst>
                  <a:gd name="T0" fmla="*/ 27 w 58"/>
                  <a:gd name="T1" fmla="*/ 3 h 28"/>
                  <a:gd name="T2" fmla="*/ 57 w 58"/>
                  <a:gd name="T3" fmla="*/ 8 h 28"/>
                  <a:gd name="T4" fmla="*/ 32 w 58"/>
                  <a:gd name="T5" fmla="*/ 25 h 28"/>
                  <a:gd name="T6" fmla="*/ 1 w 58"/>
                  <a:gd name="T7" fmla="*/ 20 h 28"/>
                  <a:gd name="T8" fmla="*/ 27 w 58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8">
                    <a:moveTo>
                      <a:pt x="27" y="3"/>
                    </a:moveTo>
                    <a:cubicBezTo>
                      <a:pt x="42" y="0"/>
                      <a:pt x="56" y="2"/>
                      <a:pt x="57" y="8"/>
                    </a:cubicBezTo>
                    <a:cubicBezTo>
                      <a:pt x="58" y="14"/>
                      <a:pt x="47" y="21"/>
                      <a:pt x="32" y="25"/>
                    </a:cubicBezTo>
                    <a:cubicBezTo>
                      <a:pt x="16" y="28"/>
                      <a:pt x="3" y="26"/>
                      <a:pt x="1" y="20"/>
                    </a:cubicBezTo>
                    <a:cubicBezTo>
                      <a:pt x="0" y="14"/>
                      <a:pt x="12" y="7"/>
                      <a:pt x="27" y="3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38" name="Freeform 122">
                <a:extLst>
                  <a:ext uri="{FF2B5EF4-FFF2-40B4-BE49-F238E27FC236}">
                    <a16:creationId xmlns:a16="http://schemas.microsoft.com/office/drawing/2014/main" xmlns="" id="{3252473C-FA61-2C08-8FB2-2A38B382B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1838"/>
                <a:ext cx="127" cy="95"/>
              </a:xfrm>
              <a:custGeom>
                <a:avLst/>
                <a:gdLst>
                  <a:gd name="T0" fmla="*/ 33 w 55"/>
                  <a:gd name="T1" fmla="*/ 11 h 41"/>
                  <a:gd name="T2" fmla="*/ 51 w 55"/>
                  <a:gd name="T3" fmla="*/ 36 h 41"/>
                  <a:gd name="T4" fmla="*/ 22 w 55"/>
                  <a:gd name="T5" fmla="*/ 30 h 41"/>
                  <a:gd name="T6" fmla="*/ 4 w 55"/>
                  <a:gd name="T7" fmla="*/ 5 h 41"/>
                  <a:gd name="T8" fmla="*/ 33 w 55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1">
                    <a:moveTo>
                      <a:pt x="33" y="11"/>
                    </a:moveTo>
                    <a:cubicBezTo>
                      <a:pt x="47" y="20"/>
                      <a:pt x="55" y="31"/>
                      <a:pt x="51" y="36"/>
                    </a:cubicBezTo>
                    <a:cubicBezTo>
                      <a:pt x="48" y="41"/>
                      <a:pt x="35" y="38"/>
                      <a:pt x="22" y="30"/>
                    </a:cubicBezTo>
                    <a:cubicBezTo>
                      <a:pt x="8" y="21"/>
                      <a:pt x="0" y="10"/>
                      <a:pt x="4" y="5"/>
                    </a:cubicBezTo>
                    <a:cubicBezTo>
                      <a:pt x="7" y="0"/>
                      <a:pt x="20" y="3"/>
                      <a:pt x="33" y="1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39" name="Freeform 123">
                <a:extLst>
                  <a:ext uri="{FF2B5EF4-FFF2-40B4-BE49-F238E27FC236}">
                    <a16:creationId xmlns:a16="http://schemas.microsoft.com/office/drawing/2014/main" xmlns="" id="{BBB1BD84-97D3-4FF1-F376-BEDBE1E21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1" y="1910"/>
                <a:ext cx="124" cy="95"/>
              </a:xfrm>
              <a:custGeom>
                <a:avLst/>
                <a:gdLst>
                  <a:gd name="T0" fmla="*/ 33 w 54"/>
                  <a:gd name="T1" fmla="*/ 11 h 41"/>
                  <a:gd name="T2" fmla="*/ 51 w 54"/>
                  <a:gd name="T3" fmla="*/ 36 h 41"/>
                  <a:gd name="T4" fmla="*/ 21 w 54"/>
                  <a:gd name="T5" fmla="*/ 30 h 41"/>
                  <a:gd name="T6" fmla="*/ 3 w 54"/>
                  <a:gd name="T7" fmla="*/ 5 h 41"/>
                  <a:gd name="T8" fmla="*/ 33 w 54"/>
                  <a:gd name="T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41">
                    <a:moveTo>
                      <a:pt x="33" y="11"/>
                    </a:moveTo>
                    <a:cubicBezTo>
                      <a:pt x="46" y="20"/>
                      <a:pt x="54" y="31"/>
                      <a:pt x="51" y="36"/>
                    </a:cubicBezTo>
                    <a:cubicBezTo>
                      <a:pt x="48" y="41"/>
                      <a:pt x="35" y="38"/>
                      <a:pt x="21" y="30"/>
                    </a:cubicBezTo>
                    <a:cubicBezTo>
                      <a:pt x="8" y="21"/>
                      <a:pt x="0" y="10"/>
                      <a:pt x="3" y="5"/>
                    </a:cubicBezTo>
                    <a:cubicBezTo>
                      <a:pt x="7" y="0"/>
                      <a:pt x="20" y="3"/>
                      <a:pt x="33" y="1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40" name="Freeform 124">
                <a:extLst>
                  <a:ext uri="{FF2B5EF4-FFF2-40B4-BE49-F238E27FC236}">
                    <a16:creationId xmlns:a16="http://schemas.microsoft.com/office/drawing/2014/main" xmlns="" id="{D60C2CF1-BB2E-7ED3-BBA0-E7AB1A771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1915"/>
                <a:ext cx="92" cy="125"/>
              </a:xfrm>
              <a:custGeom>
                <a:avLst/>
                <a:gdLst>
                  <a:gd name="T0" fmla="*/ 11 w 40"/>
                  <a:gd name="T1" fmla="*/ 21 h 54"/>
                  <a:gd name="T2" fmla="*/ 35 w 40"/>
                  <a:gd name="T3" fmla="*/ 3 h 54"/>
                  <a:gd name="T4" fmla="*/ 29 w 40"/>
                  <a:gd name="T5" fmla="*/ 33 h 54"/>
                  <a:gd name="T6" fmla="*/ 5 w 40"/>
                  <a:gd name="T7" fmla="*/ 51 h 54"/>
                  <a:gd name="T8" fmla="*/ 11 w 40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54">
                    <a:moveTo>
                      <a:pt x="11" y="21"/>
                    </a:moveTo>
                    <a:cubicBezTo>
                      <a:pt x="19" y="8"/>
                      <a:pt x="30" y="0"/>
                      <a:pt x="35" y="3"/>
                    </a:cubicBezTo>
                    <a:cubicBezTo>
                      <a:pt x="40" y="6"/>
                      <a:pt x="38" y="20"/>
                      <a:pt x="29" y="33"/>
                    </a:cubicBezTo>
                    <a:cubicBezTo>
                      <a:pt x="21" y="46"/>
                      <a:pt x="10" y="54"/>
                      <a:pt x="5" y="51"/>
                    </a:cubicBezTo>
                    <a:cubicBezTo>
                      <a:pt x="0" y="48"/>
                      <a:pt x="2" y="34"/>
                      <a:pt x="11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41" name="Freeform 125">
                <a:extLst>
                  <a:ext uri="{FF2B5EF4-FFF2-40B4-BE49-F238E27FC236}">
                    <a16:creationId xmlns:a16="http://schemas.microsoft.com/office/drawing/2014/main" xmlns="" id="{39DCA6DF-6030-D92D-ED7A-5700F0781F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1803"/>
                <a:ext cx="95" cy="126"/>
              </a:xfrm>
              <a:custGeom>
                <a:avLst/>
                <a:gdLst>
                  <a:gd name="T0" fmla="*/ 12 w 41"/>
                  <a:gd name="T1" fmla="*/ 21 h 54"/>
                  <a:gd name="T2" fmla="*/ 36 w 41"/>
                  <a:gd name="T3" fmla="*/ 3 h 54"/>
                  <a:gd name="T4" fmla="*/ 30 w 41"/>
                  <a:gd name="T5" fmla="*/ 33 h 54"/>
                  <a:gd name="T6" fmla="*/ 5 w 41"/>
                  <a:gd name="T7" fmla="*/ 51 h 54"/>
                  <a:gd name="T8" fmla="*/ 12 w 41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4">
                    <a:moveTo>
                      <a:pt x="12" y="21"/>
                    </a:moveTo>
                    <a:cubicBezTo>
                      <a:pt x="20" y="8"/>
                      <a:pt x="31" y="0"/>
                      <a:pt x="36" y="3"/>
                    </a:cubicBezTo>
                    <a:cubicBezTo>
                      <a:pt x="41" y="7"/>
                      <a:pt x="39" y="20"/>
                      <a:pt x="30" y="33"/>
                    </a:cubicBezTo>
                    <a:cubicBezTo>
                      <a:pt x="21" y="46"/>
                      <a:pt x="10" y="54"/>
                      <a:pt x="5" y="51"/>
                    </a:cubicBezTo>
                    <a:cubicBezTo>
                      <a:pt x="0" y="48"/>
                      <a:pt x="3" y="34"/>
                      <a:pt x="12" y="21"/>
                    </a:cubicBezTo>
                  </a:path>
                </a:pathLst>
              </a:custGeom>
              <a:solidFill>
                <a:srgbClr val="6D5D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42" name="Freeform 126">
                <a:extLst>
                  <a:ext uri="{FF2B5EF4-FFF2-40B4-BE49-F238E27FC236}">
                    <a16:creationId xmlns:a16="http://schemas.microsoft.com/office/drawing/2014/main" xmlns="" id="{09F9C031-871D-55AF-715D-A82C9A09C6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1878"/>
                <a:ext cx="90" cy="88"/>
              </a:xfrm>
              <a:custGeom>
                <a:avLst/>
                <a:gdLst>
                  <a:gd name="T0" fmla="*/ 38 w 39"/>
                  <a:gd name="T1" fmla="*/ 22 h 38"/>
                  <a:gd name="T2" fmla="*/ 34 w 39"/>
                  <a:gd name="T3" fmla="*/ 18 h 38"/>
                  <a:gd name="T4" fmla="*/ 38 w 39"/>
                  <a:gd name="T5" fmla="*/ 14 h 38"/>
                  <a:gd name="T6" fmla="*/ 34 w 39"/>
                  <a:gd name="T7" fmla="*/ 12 h 38"/>
                  <a:gd name="T8" fmla="*/ 35 w 39"/>
                  <a:gd name="T9" fmla="*/ 8 h 38"/>
                  <a:gd name="T10" fmla="*/ 29 w 39"/>
                  <a:gd name="T11" fmla="*/ 8 h 38"/>
                  <a:gd name="T12" fmla="*/ 29 w 39"/>
                  <a:gd name="T13" fmla="*/ 2 h 38"/>
                  <a:gd name="T14" fmla="*/ 25 w 39"/>
                  <a:gd name="T15" fmla="*/ 4 h 38"/>
                  <a:gd name="T16" fmla="*/ 22 w 39"/>
                  <a:gd name="T17" fmla="*/ 0 h 38"/>
                  <a:gd name="T18" fmla="*/ 18 w 39"/>
                  <a:gd name="T19" fmla="*/ 4 h 38"/>
                  <a:gd name="T20" fmla="*/ 14 w 39"/>
                  <a:gd name="T21" fmla="*/ 1 h 38"/>
                  <a:gd name="T22" fmla="*/ 12 w 39"/>
                  <a:gd name="T23" fmla="*/ 5 h 38"/>
                  <a:gd name="T24" fmla="*/ 8 w 39"/>
                  <a:gd name="T25" fmla="*/ 4 h 38"/>
                  <a:gd name="T26" fmla="*/ 8 w 39"/>
                  <a:gd name="T27" fmla="*/ 9 h 38"/>
                  <a:gd name="T28" fmla="*/ 3 w 39"/>
                  <a:gd name="T29" fmla="*/ 10 h 38"/>
                  <a:gd name="T30" fmla="*/ 4 w 39"/>
                  <a:gd name="T31" fmla="*/ 14 h 38"/>
                  <a:gd name="T32" fmla="*/ 0 w 39"/>
                  <a:gd name="T33" fmla="*/ 16 h 38"/>
                  <a:gd name="T34" fmla="*/ 4 w 39"/>
                  <a:gd name="T35" fmla="*/ 20 h 38"/>
                  <a:gd name="T36" fmla="*/ 1 w 39"/>
                  <a:gd name="T37" fmla="*/ 24 h 38"/>
                  <a:gd name="T38" fmla="*/ 5 w 39"/>
                  <a:gd name="T39" fmla="*/ 26 h 38"/>
                  <a:gd name="T40" fmla="*/ 4 w 39"/>
                  <a:gd name="T41" fmla="*/ 31 h 38"/>
                  <a:gd name="T42" fmla="*/ 10 w 39"/>
                  <a:gd name="T43" fmla="*/ 30 h 38"/>
                  <a:gd name="T44" fmla="*/ 10 w 39"/>
                  <a:gd name="T45" fmla="*/ 36 h 38"/>
                  <a:gd name="T46" fmla="*/ 14 w 39"/>
                  <a:gd name="T47" fmla="*/ 34 h 38"/>
                  <a:gd name="T48" fmla="*/ 17 w 39"/>
                  <a:gd name="T49" fmla="*/ 38 h 38"/>
                  <a:gd name="T50" fmla="*/ 20 w 39"/>
                  <a:gd name="T51" fmla="*/ 34 h 38"/>
                  <a:gd name="T52" fmla="*/ 25 w 39"/>
                  <a:gd name="T53" fmla="*/ 38 h 38"/>
                  <a:gd name="T54" fmla="*/ 26 w 39"/>
                  <a:gd name="T55" fmla="*/ 33 h 38"/>
                  <a:gd name="T56" fmla="*/ 31 w 39"/>
                  <a:gd name="T57" fmla="*/ 34 h 38"/>
                  <a:gd name="T58" fmla="*/ 31 w 39"/>
                  <a:gd name="T59" fmla="*/ 29 h 38"/>
                  <a:gd name="T60" fmla="*/ 36 w 39"/>
                  <a:gd name="T61" fmla="*/ 28 h 38"/>
                  <a:gd name="T62" fmla="*/ 34 w 39"/>
                  <a:gd name="T63" fmla="*/ 24 h 38"/>
                  <a:gd name="T64" fmla="*/ 38 w 39"/>
                  <a:gd name="T6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9" h="38">
                    <a:moveTo>
                      <a:pt x="38" y="22"/>
                    </a:moveTo>
                    <a:cubicBezTo>
                      <a:pt x="39" y="21"/>
                      <a:pt x="37" y="19"/>
                      <a:pt x="34" y="18"/>
                    </a:cubicBezTo>
                    <a:cubicBezTo>
                      <a:pt x="37" y="17"/>
                      <a:pt x="38" y="15"/>
                      <a:pt x="38" y="14"/>
                    </a:cubicBezTo>
                    <a:cubicBezTo>
                      <a:pt x="38" y="13"/>
                      <a:pt x="36" y="12"/>
                      <a:pt x="34" y="12"/>
                    </a:cubicBezTo>
                    <a:cubicBezTo>
                      <a:pt x="35" y="10"/>
                      <a:pt x="36" y="9"/>
                      <a:pt x="35" y="8"/>
                    </a:cubicBezTo>
                    <a:cubicBezTo>
                      <a:pt x="34" y="7"/>
                      <a:pt x="32" y="7"/>
                      <a:pt x="29" y="8"/>
                    </a:cubicBezTo>
                    <a:cubicBezTo>
                      <a:pt x="30" y="5"/>
                      <a:pt x="30" y="3"/>
                      <a:pt x="29" y="2"/>
                    </a:cubicBezTo>
                    <a:cubicBezTo>
                      <a:pt x="28" y="2"/>
                      <a:pt x="26" y="2"/>
                      <a:pt x="25" y="4"/>
                    </a:cubicBezTo>
                    <a:cubicBezTo>
                      <a:pt x="24" y="2"/>
                      <a:pt x="23" y="0"/>
                      <a:pt x="22" y="0"/>
                    </a:cubicBezTo>
                    <a:cubicBezTo>
                      <a:pt x="21" y="0"/>
                      <a:pt x="19" y="1"/>
                      <a:pt x="18" y="4"/>
                    </a:cubicBezTo>
                    <a:cubicBezTo>
                      <a:pt x="17" y="2"/>
                      <a:pt x="15" y="0"/>
                      <a:pt x="14" y="1"/>
                    </a:cubicBezTo>
                    <a:cubicBezTo>
                      <a:pt x="13" y="1"/>
                      <a:pt x="12" y="3"/>
                      <a:pt x="12" y="5"/>
                    </a:cubicBezTo>
                    <a:cubicBezTo>
                      <a:pt x="11" y="3"/>
                      <a:pt x="9" y="3"/>
                      <a:pt x="8" y="4"/>
                    </a:cubicBezTo>
                    <a:cubicBezTo>
                      <a:pt x="7" y="4"/>
                      <a:pt x="7" y="7"/>
                      <a:pt x="8" y="9"/>
                    </a:cubicBezTo>
                    <a:cubicBezTo>
                      <a:pt x="5" y="8"/>
                      <a:pt x="3" y="9"/>
                      <a:pt x="3" y="10"/>
                    </a:cubicBezTo>
                    <a:cubicBezTo>
                      <a:pt x="2" y="11"/>
                      <a:pt x="3" y="12"/>
                      <a:pt x="4" y="14"/>
                    </a:cubicBezTo>
                    <a:cubicBezTo>
                      <a:pt x="2" y="14"/>
                      <a:pt x="1" y="15"/>
                      <a:pt x="0" y="16"/>
                    </a:cubicBezTo>
                    <a:cubicBezTo>
                      <a:pt x="0" y="18"/>
                      <a:pt x="2" y="19"/>
                      <a:pt x="4" y="20"/>
                    </a:cubicBezTo>
                    <a:cubicBezTo>
                      <a:pt x="2" y="21"/>
                      <a:pt x="1" y="23"/>
                      <a:pt x="1" y="24"/>
                    </a:cubicBezTo>
                    <a:cubicBezTo>
                      <a:pt x="1" y="25"/>
                      <a:pt x="3" y="26"/>
                      <a:pt x="5" y="26"/>
                    </a:cubicBezTo>
                    <a:cubicBezTo>
                      <a:pt x="4" y="28"/>
                      <a:pt x="3" y="30"/>
                      <a:pt x="4" y="31"/>
                    </a:cubicBezTo>
                    <a:cubicBezTo>
                      <a:pt x="5" y="32"/>
                      <a:pt x="7" y="31"/>
                      <a:pt x="10" y="30"/>
                    </a:cubicBezTo>
                    <a:cubicBezTo>
                      <a:pt x="9" y="33"/>
                      <a:pt x="9" y="35"/>
                      <a:pt x="10" y="36"/>
                    </a:cubicBezTo>
                    <a:cubicBezTo>
                      <a:pt x="11" y="36"/>
                      <a:pt x="13" y="36"/>
                      <a:pt x="14" y="34"/>
                    </a:cubicBezTo>
                    <a:cubicBezTo>
                      <a:pt x="15" y="36"/>
                      <a:pt x="15" y="38"/>
                      <a:pt x="17" y="38"/>
                    </a:cubicBezTo>
                    <a:cubicBezTo>
                      <a:pt x="18" y="38"/>
                      <a:pt x="19" y="37"/>
                      <a:pt x="20" y="34"/>
                    </a:cubicBezTo>
                    <a:cubicBezTo>
                      <a:pt x="22" y="36"/>
                      <a:pt x="23" y="38"/>
                      <a:pt x="25" y="38"/>
                    </a:cubicBezTo>
                    <a:cubicBezTo>
                      <a:pt x="26" y="37"/>
                      <a:pt x="26" y="36"/>
                      <a:pt x="26" y="33"/>
                    </a:cubicBezTo>
                    <a:cubicBezTo>
                      <a:pt x="28" y="35"/>
                      <a:pt x="30" y="35"/>
                      <a:pt x="31" y="34"/>
                    </a:cubicBezTo>
                    <a:cubicBezTo>
                      <a:pt x="32" y="34"/>
                      <a:pt x="32" y="32"/>
                      <a:pt x="31" y="29"/>
                    </a:cubicBezTo>
                    <a:cubicBezTo>
                      <a:pt x="33" y="30"/>
                      <a:pt x="36" y="30"/>
                      <a:pt x="36" y="28"/>
                    </a:cubicBezTo>
                    <a:cubicBezTo>
                      <a:pt x="37" y="27"/>
                      <a:pt x="36" y="26"/>
                      <a:pt x="34" y="24"/>
                    </a:cubicBezTo>
                    <a:cubicBezTo>
                      <a:pt x="37" y="24"/>
                      <a:pt x="38" y="23"/>
                      <a:pt x="38" y="22"/>
                    </a:cubicBezTo>
                  </a:path>
                </a:pathLst>
              </a:custGeom>
              <a:solidFill>
                <a:srgbClr val="FFD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45" name="Freeform 129">
                <a:extLst>
                  <a:ext uri="{FF2B5EF4-FFF2-40B4-BE49-F238E27FC236}">
                    <a16:creationId xmlns:a16="http://schemas.microsoft.com/office/drawing/2014/main" xmlns="" id="{ECEB7C0A-4FED-BF99-AE61-A15B025CC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" y="2277"/>
                <a:ext cx="50" cy="126"/>
              </a:xfrm>
              <a:custGeom>
                <a:avLst/>
                <a:gdLst>
                  <a:gd name="T0" fmla="*/ 0 w 22"/>
                  <a:gd name="T1" fmla="*/ 54 h 54"/>
                  <a:gd name="T2" fmla="*/ 14 w 22"/>
                  <a:gd name="T3" fmla="*/ 0 h 54"/>
                  <a:gd name="T4" fmla="*/ 22 w 22"/>
                  <a:gd name="T5" fmla="*/ 54 h 54"/>
                  <a:gd name="T6" fmla="*/ 0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0" y="54"/>
                    </a:moveTo>
                    <a:cubicBezTo>
                      <a:pt x="0" y="54"/>
                      <a:pt x="2" y="32"/>
                      <a:pt x="14" y="0"/>
                    </a:cubicBezTo>
                    <a:cubicBezTo>
                      <a:pt x="14" y="0"/>
                      <a:pt x="22" y="49"/>
                      <a:pt x="22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46" name="Freeform 130">
                <a:extLst>
                  <a:ext uri="{FF2B5EF4-FFF2-40B4-BE49-F238E27FC236}">
                    <a16:creationId xmlns:a16="http://schemas.microsoft.com/office/drawing/2014/main" xmlns="" id="{C77EB39B-D0C0-449F-C87B-C435E2CE2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" y="2277"/>
                <a:ext cx="53" cy="126"/>
              </a:xfrm>
              <a:custGeom>
                <a:avLst/>
                <a:gdLst>
                  <a:gd name="T0" fmla="*/ 23 w 23"/>
                  <a:gd name="T1" fmla="*/ 54 h 54"/>
                  <a:gd name="T2" fmla="*/ 8 w 23"/>
                  <a:gd name="T3" fmla="*/ 0 h 54"/>
                  <a:gd name="T4" fmla="*/ 0 w 23"/>
                  <a:gd name="T5" fmla="*/ 54 h 54"/>
                  <a:gd name="T6" fmla="*/ 23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23" y="54"/>
                    </a:moveTo>
                    <a:cubicBezTo>
                      <a:pt x="23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3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47" name="Freeform 131">
                <a:extLst>
                  <a:ext uri="{FF2B5EF4-FFF2-40B4-BE49-F238E27FC236}">
                    <a16:creationId xmlns:a16="http://schemas.microsoft.com/office/drawing/2014/main" xmlns="" id="{2249CE21-97B0-C54B-DDFD-9BA8E4F8F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" y="2277"/>
                <a:ext cx="53" cy="126"/>
              </a:xfrm>
              <a:custGeom>
                <a:avLst/>
                <a:gdLst>
                  <a:gd name="T0" fmla="*/ 23 w 23"/>
                  <a:gd name="T1" fmla="*/ 54 h 54"/>
                  <a:gd name="T2" fmla="*/ 9 w 23"/>
                  <a:gd name="T3" fmla="*/ 0 h 54"/>
                  <a:gd name="T4" fmla="*/ 0 w 23"/>
                  <a:gd name="T5" fmla="*/ 54 h 54"/>
                  <a:gd name="T6" fmla="*/ 23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23" y="54"/>
                    </a:moveTo>
                    <a:cubicBezTo>
                      <a:pt x="23" y="54"/>
                      <a:pt x="20" y="32"/>
                      <a:pt x="9" y="0"/>
                    </a:cubicBezTo>
                    <a:cubicBezTo>
                      <a:pt x="9" y="0"/>
                      <a:pt x="0" y="49"/>
                      <a:pt x="0" y="54"/>
                    </a:cubicBezTo>
                    <a:lnTo>
                      <a:pt x="23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48" name="Freeform 132">
                <a:extLst>
                  <a:ext uri="{FF2B5EF4-FFF2-40B4-BE49-F238E27FC236}">
                    <a16:creationId xmlns:a16="http://schemas.microsoft.com/office/drawing/2014/main" xmlns="" id="{408BEA44-8997-AE77-61DE-6BFEAA618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" y="2303"/>
                <a:ext cx="35" cy="100"/>
              </a:xfrm>
              <a:custGeom>
                <a:avLst/>
                <a:gdLst>
                  <a:gd name="T0" fmla="*/ 0 w 15"/>
                  <a:gd name="T1" fmla="*/ 43 h 43"/>
                  <a:gd name="T2" fmla="*/ 9 w 15"/>
                  <a:gd name="T3" fmla="*/ 0 h 43"/>
                  <a:gd name="T4" fmla="*/ 15 w 15"/>
                  <a:gd name="T5" fmla="*/ 43 h 43"/>
                  <a:gd name="T6" fmla="*/ 0 w 15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43">
                    <a:moveTo>
                      <a:pt x="0" y="43"/>
                    </a:moveTo>
                    <a:cubicBezTo>
                      <a:pt x="0" y="43"/>
                      <a:pt x="2" y="26"/>
                      <a:pt x="9" y="0"/>
                    </a:cubicBezTo>
                    <a:cubicBezTo>
                      <a:pt x="9" y="0"/>
                      <a:pt x="15" y="39"/>
                      <a:pt x="15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49" name="Freeform 133">
                <a:extLst>
                  <a:ext uri="{FF2B5EF4-FFF2-40B4-BE49-F238E27FC236}">
                    <a16:creationId xmlns:a16="http://schemas.microsoft.com/office/drawing/2014/main" xmlns="" id="{6BA95C0F-0F92-7BD9-1961-B98880B39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1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0" name="Freeform 134">
                <a:extLst>
                  <a:ext uri="{FF2B5EF4-FFF2-40B4-BE49-F238E27FC236}">
                    <a16:creationId xmlns:a16="http://schemas.microsoft.com/office/drawing/2014/main" xmlns="" id="{E717F4F0-36E0-4BA7-28BD-F302D7E46B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" y="2303"/>
                <a:ext cx="30" cy="100"/>
              </a:xfrm>
              <a:custGeom>
                <a:avLst/>
                <a:gdLst>
                  <a:gd name="T0" fmla="*/ 0 w 13"/>
                  <a:gd name="T1" fmla="*/ 43 h 43"/>
                  <a:gd name="T2" fmla="*/ 9 w 13"/>
                  <a:gd name="T3" fmla="*/ 0 h 43"/>
                  <a:gd name="T4" fmla="*/ 13 w 13"/>
                  <a:gd name="T5" fmla="*/ 43 h 43"/>
                  <a:gd name="T6" fmla="*/ 0 w 13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43">
                    <a:moveTo>
                      <a:pt x="0" y="43"/>
                    </a:moveTo>
                    <a:cubicBezTo>
                      <a:pt x="0" y="43"/>
                      <a:pt x="2" y="23"/>
                      <a:pt x="9" y="0"/>
                    </a:cubicBezTo>
                    <a:cubicBezTo>
                      <a:pt x="9" y="0"/>
                      <a:pt x="13" y="40"/>
                      <a:pt x="13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1" name="Freeform 135">
                <a:extLst>
                  <a:ext uri="{FF2B5EF4-FFF2-40B4-BE49-F238E27FC236}">
                    <a16:creationId xmlns:a16="http://schemas.microsoft.com/office/drawing/2014/main" xmlns="" id="{F6AFBE62-5680-6802-D1CF-8C2DBED347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" y="2319"/>
                <a:ext cx="28" cy="84"/>
              </a:xfrm>
              <a:custGeom>
                <a:avLst/>
                <a:gdLst>
                  <a:gd name="T0" fmla="*/ 12 w 12"/>
                  <a:gd name="T1" fmla="*/ 36 h 36"/>
                  <a:gd name="T2" fmla="*/ 4 w 12"/>
                  <a:gd name="T3" fmla="*/ 0 h 36"/>
                  <a:gd name="T4" fmla="*/ 0 w 12"/>
                  <a:gd name="T5" fmla="*/ 36 h 36"/>
                  <a:gd name="T6" fmla="*/ 12 w 12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36">
                    <a:moveTo>
                      <a:pt x="12" y="36"/>
                    </a:moveTo>
                    <a:cubicBezTo>
                      <a:pt x="12" y="36"/>
                      <a:pt x="11" y="19"/>
                      <a:pt x="4" y="0"/>
                    </a:cubicBezTo>
                    <a:cubicBezTo>
                      <a:pt x="4" y="0"/>
                      <a:pt x="0" y="33"/>
                      <a:pt x="0" y="36"/>
                    </a:cubicBezTo>
                    <a:lnTo>
                      <a:pt x="12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2" name="Freeform 136">
                <a:extLst>
                  <a:ext uri="{FF2B5EF4-FFF2-40B4-BE49-F238E27FC236}">
                    <a16:creationId xmlns:a16="http://schemas.microsoft.com/office/drawing/2014/main" xmlns="" id="{4C2F700E-085A-D9F1-D4CA-961B5C9EE9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" y="2305"/>
                <a:ext cx="53" cy="98"/>
              </a:xfrm>
              <a:custGeom>
                <a:avLst/>
                <a:gdLst>
                  <a:gd name="T0" fmla="*/ 23 w 23"/>
                  <a:gd name="T1" fmla="*/ 42 h 42"/>
                  <a:gd name="T2" fmla="*/ 9 w 23"/>
                  <a:gd name="T3" fmla="*/ 0 h 42"/>
                  <a:gd name="T4" fmla="*/ 0 w 23"/>
                  <a:gd name="T5" fmla="*/ 42 h 42"/>
                  <a:gd name="T6" fmla="*/ 23 w 23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42">
                    <a:moveTo>
                      <a:pt x="23" y="42"/>
                    </a:moveTo>
                    <a:cubicBezTo>
                      <a:pt x="23" y="42"/>
                      <a:pt x="20" y="24"/>
                      <a:pt x="9" y="0"/>
                    </a:cubicBezTo>
                    <a:cubicBezTo>
                      <a:pt x="9" y="0"/>
                      <a:pt x="0" y="39"/>
                      <a:pt x="0" y="42"/>
                    </a:cubicBezTo>
                    <a:lnTo>
                      <a:pt x="23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3" name="Freeform 137">
                <a:extLst>
                  <a:ext uri="{FF2B5EF4-FFF2-40B4-BE49-F238E27FC236}">
                    <a16:creationId xmlns:a16="http://schemas.microsoft.com/office/drawing/2014/main" xmlns="" id="{8E7BCDE2-C9D1-C8CA-C66F-3080464D22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" y="2287"/>
                <a:ext cx="53" cy="116"/>
              </a:xfrm>
              <a:custGeom>
                <a:avLst/>
                <a:gdLst>
                  <a:gd name="T0" fmla="*/ 0 w 23"/>
                  <a:gd name="T1" fmla="*/ 50 h 50"/>
                  <a:gd name="T2" fmla="*/ 14 w 23"/>
                  <a:gd name="T3" fmla="*/ 0 h 50"/>
                  <a:gd name="T4" fmla="*/ 23 w 23"/>
                  <a:gd name="T5" fmla="*/ 50 h 50"/>
                  <a:gd name="T6" fmla="*/ 0 w 23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0">
                    <a:moveTo>
                      <a:pt x="0" y="50"/>
                    </a:moveTo>
                    <a:cubicBezTo>
                      <a:pt x="0" y="50"/>
                      <a:pt x="3" y="30"/>
                      <a:pt x="14" y="0"/>
                    </a:cubicBezTo>
                    <a:cubicBezTo>
                      <a:pt x="14" y="0"/>
                      <a:pt x="23" y="46"/>
                      <a:pt x="23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4" name="Freeform 138">
                <a:extLst>
                  <a:ext uri="{FF2B5EF4-FFF2-40B4-BE49-F238E27FC236}">
                    <a16:creationId xmlns:a16="http://schemas.microsoft.com/office/drawing/2014/main" xmlns="" id="{E1DB6A95-6630-7114-D37B-22C069E08F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2277"/>
                <a:ext cx="65" cy="126"/>
              </a:xfrm>
              <a:custGeom>
                <a:avLst/>
                <a:gdLst>
                  <a:gd name="T0" fmla="*/ 0 w 28"/>
                  <a:gd name="T1" fmla="*/ 54 h 54"/>
                  <a:gd name="T2" fmla="*/ 17 w 28"/>
                  <a:gd name="T3" fmla="*/ 0 h 54"/>
                  <a:gd name="T4" fmla="*/ 28 w 28"/>
                  <a:gd name="T5" fmla="*/ 54 h 54"/>
                  <a:gd name="T6" fmla="*/ 0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0" y="54"/>
                    </a:moveTo>
                    <a:cubicBezTo>
                      <a:pt x="0" y="54"/>
                      <a:pt x="2" y="32"/>
                      <a:pt x="17" y="0"/>
                    </a:cubicBezTo>
                    <a:cubicBezTo>
                      <a:pt x="17" y="0"/>
                      <a:pt x="28" y="49"/>
                      <a:pt x="28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5" name="Freeform 139">
                <a:extLst>
                  <a:ext uri="{FF2B5EF4-FFF2-40B4-BE49-F238E27FC236}">
                    <a16:creationId xmlns:a16="http://schemas.microsoft.com/office/drawing/2014/main" xmlns="" id="{367BFD83-02DD-9743-5909-A339C24FF9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9" y="2277"/>
                <a:ext cx="65" cy="126"/>
              </a:xfrm>
              <a:custGeom>
                <a:avLst/>
                <a:gdLst>
                  <a:gd name="T0" fmla="*/ 28 w 28"/>
                  <a:gd name="T1" fmla="*/ 54 h 54"/>
                  <a:gd name="T2" fmla="*/ 11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6" name="Freeform 140">
                <a:extLst>
                  <a:ext uri="{FF2B5EF4-FFF2-40B4-BE49-F238E27FC236}">
                    <a16:creationId xmlns:a16="http://schemas.microsoft.com/office/drawing/2014/main" xmlns="" id="{D83D9B84-F4EC-66F0-56E4-3BA575BD3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" y="2277"/>
                <a:ext cx="67" cy="126"/>
              </a:xfrm>
              <a:custGeom>
                <a:avLst/>
                <a:gdLst>
                  <a:gd name="T0" fmla="*/ 29 w 29"/>
                  <a:gd name="T1" fmla="*/ 54 h 54"/>
                  <a:gd name="T2" fmla="*/ 11 w 29"/>
                  <a:gd name="T3" fmla="*/ 0 h 54"/>
                  <a:gd name="T4" fmla="*/ 0 w 29"/>
                  <a:gd name="T5" fmla="*/ 54 h 54"/>
                  <a:gd name="T6" fmla="*/ 29 w 29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54">
                    <a:moveTo>
                      <a:pt x="29" y="54"/>
                    </a:moveTo>
                    <a:cubicBezTo>
                      <a:pt x="29" y="54"/>
                      <a:pt x="26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9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7" name="Freeform 141">
                <a:extLst>
                  <a:ext uri="{FF2B5EF4-FFF2-40B4-BE49-F238E27FC236}">
                    <a16:creationId xmlns:a16="http://schemas.microsoft.com/office/drawing/2014/main" xmlns="" id="{48656345-6772-816B-23E9-53ABCC7C5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" y="2303"/>
                <a:ext cx="41" cy="100"/>
              </a:xfrm>
              <a:custGeom>
                <a:avLst/>
                <a:gdLst>
                  <a:gd name="T0" fmla="*/ 0 w 18"/>
                  <a:gd name="T1" fmla="*/ 43 h 43"/>
                  <a:gd name="T2" fmla="*/ 11 w 18"/>
                  <a:gd name="T3" fmla="*/ 0 h 43"/>
                  <a:gd name="T4" fmla="*/ 18 w 18"/>
                  <a:gd name="T5" fmla="*/ 43 h 43"/>
                  <a:gd name="T6" fmla="*/ 0 w 18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43">
                    <a:moveTo>
                      <a:pt x="0" y="43"/>
                    </a:moveTo>
                    <a:cubicBezTo>
                      <a:pt x="0" y="43"/>
                      <a:pt x="2" y="26"/>
                      <a:pt x="11" y="0"/>
                    </a:cubicBezTo>
                    <a:cubicBezTo>
                      <a:pt x="11" y="0"/>
                      <a:pt x="18" y="39"/>
                      <a:pt x="18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8" name="Freeform 142">
                <a:extLst>
                  <a:ext uri="{FF2B5EF4-FFF2-40B4-BE49-F238E27FC236}">
                    <a16:creationId xmlns:a16="http://schemas.microsoft.com/office/drawing/2014/main" xmlns="" id="{3D8CA938-4F0F-61A4-ED1C-3A173D463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4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9" name="Freeform 143">
                <a:extLst>
                  <a:ext uri="{FF2B5EF4-FFF2-40B4-BE49-F238E27FC236}">
                    <a16:creationId xmlns:a16="http://schemas.microsoft.com/office/drawing/2014/main" xmlns="" id="{73CD1423-9031-53AD-C2ED-0876240BE6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" y="2303"/>
                <a:ext cx="36" cy="100"/>
              </a:xfrm>
              <a:custGeom>
                <a:avLst/>
                <a:gdLst>
                  <a:gd name="T0" fmla="*/ 0 w 16"/>
                  <a:gd name="T1" fmla="*/ 43 h 43"/>
                  <a:gd name="T2" fmla="*/ 10 w 16"/>
                  <a:gd name="T3" fmla="*/ 0 h 43"/>
                  <a:gd name="T4" fmla="*/ 16 w 16"/>
                  <a:gd name="T5" fmla="*/ 43 h 43"/>
                  <a:gd name="T6" fmla="*/ 0 w 16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43">
                    <a:moveTo>
                      <a:pt x="0" y="43"/>
                    </a:moveTo>
                    <a:cubicBezTo>
                      <a:pt x="0" y="43"/>
                      <a:pt x="2" y="23"/>
                      <a:pt x="10" y="0"/>
                    </a:cubicBezTo>
                    <a:cubicBezTo>
                      <a:pt x="10" y="0"/>
                      <a:pt x="16" y="40"/>
                      <a:pt x="16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0" name="Freeform 144">
                <a:extLst>
                  <a:ext uri="{FF2B5EF4-FFF2-40B4-BE49-F238E27FC236}">
                    <a16:creationId xmlns:a16="http://schemas.microsoft.com/office/drawing/2014/main" xmlns="" id="{4C8412C3-1333-2113-C953-8D2CD66A7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5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1" name="Freeform 145">
                <a:extLst>
                  <a:ext uri="{FF2B5EF4-FFF2-40B4-BE49-F238E27FC236}">
                    <a16:creationId xmlns:a16="http://schemas.microsoft.com/office/drawing/2014/main" xmlns="" id="{74C0DE32-BD93-EE55-7395-779E9899B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" y="2305"/>
                <a:ext cx="65" cy="98"/>
              </a:xfrm>
              <a:custGeom>
                <a:avLst/>
                <a:gdLst>
                  <a:gd name="T0" fmla="*/ 28 w 28"/>
                  <a:gd name="T1" fmla="*/ 42 h 42"/>
                  <a:gd name="T2" fmla="*/ 10 w 28"/>
                  <a:gd name="T3" fmla="*/ 0 h 42"/>
                  <a:gd name="T4" fmla="*/ 0 w 28"/>
                  <a:gd name="T5" fmla="*/ 42 h 42"/>
                  <a:gd name="T6" fmla="*/ 28 w 28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42">
                    <a:moveTo>
                      <a:pt x="28" y="42"/>
                    </a:moveTo>
                    <a:cubicBezTo>
                      <a:pt x="28" y="42"/>
                      <a:pt x="25" y="24"/>
                      <a:pt x="10" y="0"/>
                    </a:cubicBezTo>
                    <a:cubicBezTo>
                      <a:pt x="10" y="0"/>
                      <a:pt x="0" y="39"/>
                      <a:pt x="0" y="42"/>
                    </a:cubicBezTo>
                    <a:lnTo>
                      <a:pt x="28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2" name="Freeform 146">
                <a:extLst>
                  <a:ext uri="{FF2B5EF4-FFF2-40B4-BE49-F238E27FC236}">
                    <a16:creationId xmlns:a16="http://schemas.microsoft.com/office/drawing/2014/main" xmlns="" id="{2957B8F4-77F2-D0A3-DD6B-04E097FBEF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" y="2287"/>
                <a:ext cx="64" cy="116"/>
              </a:xfrm>
              <a:custGeom>
                <a:avLst/>
                <a:gdLst>
                  <a:gd name="T0" fmla="*/ 0 w 28"/>
                  <a:gd name="T1" fmla="*/ 50 h 50"/>
                  <a:gd name="T2" fmla="*/ 17 w 28"/>
                  <a:gd name="T3" fmla="*/ 0 h 50"/>
                  <a:gd name="T4" fmla="*/ 28 w 28"/>
                  <a:gd name="T5" fmla="*/ 50 h 50"/>
                  <a:gd name="T6" fmla="*/ 0 w 28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0">
                    <a:moveTo>
                      <a:pt x="0" y="50"/>
                    </a:moveTo>
                    <a:cubicBezTo>
                      <a:pt x="0" y="50"/>
                      <a:pt x="3" y="30"/>
                      <a:pt x="17" y="0"/>
                    </a:cubicBezTo>
                    <a:cubicBezTo>
                      <a:pt x="17" y="0"/>
                      <a:pt x="28" y="46"/>
                      <a:pt x="28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3" name="Freeform 147">
                <a:extLst>
                  <a:ext uri="{FF2B5EF4-FFF2-40B4-BE49-F238E27FC236}">
                    <a16:creationId xmlns:a16="http://schemas.microsoft.com/office/drawing/2014/main" xmlns="" id="{D739C33B-AAD9-434A-ED0F-2B397BF5F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4" y="2277"/>
                <a:ext cx="53" cy="126"/>
              </a:xfrm>
              <a:custGeom>
                <a:avLst/>
                <a:gdLst>
                  <a:gd name="T0" fmla="*/ 0 w 23"/>
                  <a:gd name="T1" fmla="*/ 54 h 54"/>
                  <a:gd name="T2" fmla="*/ 15 w 23"/>
                  <a:gd name="T3" fmla="*/ 0 h 54"/>
                  <a:gd name="T4" fmla="*/ 23 w 23"/>
                  <a:gd name="T5" fmla="*/ 54 h 54"/>
                  <a:gd name="T6" fmla="*/ 0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54"/>
                      <a:pt x="3" y="32"/>
                      <a:pt x="15" y="0"/>
                    </a:cubicBezTo>
                    <a:cubicBezTo>
                      <a:pt x="15" y="0"/>
                      <a:pt x="23" y="49"/>
                      <a:pt x="23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4" name="Freeform 148">
                <a:extLst>
                  <a:ext uri="{FF2B5EF4-FFF2-40B4-BE49-F238E27FC236}">
                    <a16:creationId xmlns:a16="http://schemas.microsoft.com/office/drawing/2014/main" xmlns="" id="{43643485-3438-28A8-537D-6FAF46E116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6" y="2277"/>
                <a:ext cx="51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5" name="Freeform 149">
                <a:extLst>
                  <a:ext uri="{FF2B5EF4-FFF2-40B4-BE49-F238E27FC236}">
                    <a16:creationId xmlns:a16="http://schemas.microsoft.com/office/drawing/2014/main" xmlns="" id="{109EB52A-9CB3-905C-395E-533303DF47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" y="2277"/>
                <a:ext cx="53" cy="126"/>
              </a:xfrm>
              <a:custGeom>
                <a:avLst/>
                <a:gdLst>
                  <a:gd name="T0" fmla="*/ 23 w 23"/>
                  <a:gd name="T1" fmla="*/ 54 h 54"/>
                  <a:gd name="T2" fmla="*/ 8 w 23"/>
                  <a:gd name="T3" fmla="*/ 0 h 54"/>
                  <a:gd name="T4" fmla="*/ 0 w 23"/>
                  <a:gd name="T5" fmla="*/ 54 h 54"/>
                  <a:gd name="T6" fmla="*/ 23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23" y="54"/>
                    </a:moveTo>
                    <a:cubicBezTo>
                      <a:pt x="23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3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6" name="Freeform 150">
                <a:extLst>
                  <a:ext uri="{FF2B5EF4-FFF2-40B4-BE49-F238E27FC236}">
                    <a16:creationId xmlns:a16="http://schemas.microsoft.com/office/drawing/2014/main" xmlns="" id="{98F3FDB0-CCFD-691E-6091-ED7713575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5" y="2303"/>
                <a:ext cx="35" cy="100"/>
              </a:xfrm>
              <a:custGeom>
                <a:avLst/>
                <a:gdLst>
                  <a:gd name="T0" fmla="*/ 0 w 15"/>
                  <a:gd name="T1" fmla="*/ 43 h 43"/>
                  <a:gd name="T2" fmla="*/ 9 w 15"/>
                  <a:gd name="T3" fmla="*/ 0 h 43"/>
                  <a:gd name="T4" fmla="*/ 15 w 15"/>
                  <a:gd name="T5" fmla="*/ 43 h 43"/>
                  <a:gd name="T6" fmla="*/ 0 w 15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43">
                    <a:moveTo>
                      <a:pt x="0" y="43"/>
                    </a:moveTo>
                    <a:cubicBezTo>
                      <a:pt x="0" y="43"/>
                      <a:pt x="2" y="26"/>
                      <a:pt x="9" y="0"/>
                    </a:cubicBezTo>
                    <a:cubicBezTo>
                      <a:pt x="9" y="0"/>
                      <a:pt x="15" y="39"/>
                      <a:pt x="15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7" name="Freeform 151">
                <a:extLst>
                  <a:ext uri="{FF2B5EF4-FFF2-40B4-BE49-F238E27FC236}">
                    <a16:creationId xmlns:a16="http://schemas.microsoft.com/office/drawing/2014/main" xmlns="" id="{CAD003EB-A1C4-DA4E-44FF-2F131EE4D1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4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1" y="19"/>
                      <a:pt x="4" y="0"/>
                    </a:cubicBezTo>
                    <a:cubicBezTo>
                      <a:pt x="4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8" name="Freeform 152">
                <a:extLst>
                  <a:ext uri="{FF2B5EF4-FFF2-40B4-BE49-F238E27FC236}">
                    <a16:creationId xmlns:a16="http://schemas.microsoft.com/office/drawing/2014/main" xmlns="" id="{655B8AEB-A6B7-2860-D10E-66CC2CF08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" y="2303"/>
                <a:ext cx="30" cy="100"/>
              </a:xfrm>
              <a:custGeom>
                <a:avLst/>
                <a:gdLst>
                  <a:gd name="T0" fmla="*/ 0 w 13"/>
                  <a:gd name="T1" fmla="*/ 43 h 43"/>
                  <a:gd name="T2" fmla="*/ 8 w 13"/>
                  <a:gd name="T3" fmla="*/ 0 h 43"/>
                  <a:gd name="T4" fmla="*/ 13 w 13"/>
                  <a:gd name="T5" fmla="*/ 43 h 43"/>
                  <a:gd name="T6" fmla="*/ 0 w 13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43">
                    <a:moveTo>
                      <a:pt x="0" y="43"/>
                    </a:moveTo>
                    <a:cubicBezTo>
                      <a:pt x="0" y="43"/>
                      <a:pt x="2" y="23"/>
                      <a:pt x="8" y="0"/>
                    </a:cubicBezTo>
                    <a:cubicBezTo>
                      <a:pt x="8" y="0"/>
                      <a:pt x="13" y="40"/>
                      <a:pt x="13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9" name="Freeform 153">
                <a:extLst>
                  <a:ext uri="{FF2B5EF4-FFF2-40B4-BE49-F238E27FC236}">
                    <a16:creationId xmlns:a16="http://schemas.microsoft.com/office/drawing/2014/main" xmlns="" id="{93EA5A28-D31E-0587-4608-9C221E7C6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4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2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0" name="Freeform 154">
                <a:extLst>
                  <a:ext uri="{FF2B5EF4-FFF2-40B4-BE49-F238E27FC236}">
                    <a16:creationId xmlns:a16="http://schemas.microsoft.com/office/drawing/2014/main" xmlns="" id="{B564B95C-A127-97D6-8338-FF252B61DD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0" y="2305"/>
                <a:ext cx="53" cy="98"/>
              </a:xfrm>
              <a:custGeom>
                <a:avLst/>
                <a:gdLst>
                  <a:gd name="T0" fmla="*/ 23 w 23"/>
                  <a:gd name="T1" fmla="*/ 42 h 42"/>
                  <a:gd name="T2" fmla="*/ 8 w 23"/>
                  <a:gd name="T3" fmla="*/ 0 h 42"/>
                  <a:gd name="T4" fmla="*/ 0 w 23"/>
                  <a:gd name="T5" fmla="*/ 42 h 42"/>
                  <a:gd name="T6" fmla="*/ 23 w 23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42">
                    <a:moveTo>
                      <a:pt x="23" y="42"/>
                    </a:moveTo>
                    <a:cubicBezTo>
                      <a:pt x="23" y="42"/>
                      <a:pt x="20" y="24"/>
                      <a:pt x="8" y="0"/>
                    </a:cubicBezTo>
                    <a:cubicBezTo>
                      <a:pt x="8" y="0"/>
                      <a:pt x="0" y="39"/>
                      <a:pt x="0" y="42"/>
                    </a:cubicBezTo>
                    <a:lnTo>
                      <a:pt x="23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1" name="Freeform 155">
                <a:extLst>
                  <a:ext uri="{FF2B5EF4-FFF2-40B4-BE49-F238E27FC236}">
                    <a16:creationId xmlns:a16="http://schemas.microsoft.com/office/drawing/2014/main" xmlns="" id="{DA8C3032-523C-7612-5D00-5AECF64675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7" y="2287"/>
                <a:ext cx="53" cy="116"/>
              </a:xfrm>
              <a:custGeom>
                <a:avLst/>
                <a:gdLst>
                  <a:gd name="T0" fmla="*/ 0 w 23"/>
                  <a:gd name="T1" fmla="*/ 50 h 50"/>
                  <a:gd name="T2" fmla="*/ 14 w 23"/>
                  <a:gd name="T3" fmla="*/ 0 h 50"/>
                  <a:gd name="T4" fmla="*/ 23 w 23"/>
                  <a:gd name="T5" fmla="*/ 50 h 50"/>
                  <a:gd name="T6" fmla="*/ 0 w 23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0">
                    <a:moveTo>
                      <a:pt x="0" y="50"/>
                    </a:moveTo>
                    <a:cubicBezTo>
                      <a:pt x="0" y="50"/>
                      <a:pt x="2" y="30"/>
                      <a:pt x="14" y="0"/>
                    </a:cubicBezTo>
                    <a:cubicBezTo>
                      <a:pt x="14" y="0"/>
                      <a:pt x="23" y="46"/>
                      <a:pt x="23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2" name="Freeform 156">
                <a:extLst>
                  <a:ext uri="{FF2B5EF4-FFF2-40B4-BE49-F238E27FC236}">
                    <a16:creationId xmlns:a16="http://schemas.microsoft.com/office/drawing/2014/main" xmlns="" id="{07AEAC15-C397-27CB-E86D-77981A3A7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2277"/>
                <a:ext cx="67" cy="126"/>
              </a:xfrm>
              <a:custGeom>
                <a:avLst/>
                <a:gdLst>
                  <a:gd name="T0" fmla="*/ 0 w 29"/>
                  <a:gd name="T1" fmla="*/ 54 h 54"/>
                  <a:gd name="T2" fmla="*/ 18 w 29"/>
                  <a:gd name="T3" fmla="*/ 0 h 54"/>
                  <a:gd name="T4" fmla="*/ 29 w 29"/>
                  <a:gd name="T5" fmla="*/ 54 h 54"/>
                  <a:gd name="T6" fmla="*/ 0 w 29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54">
                    <a:moveTo>
                      <a:pt x="0" y="54"/>
                    </a:moveTo>
                    <a:cubicBezTo>
                      <a:pt x="0" y="54"/>
                      <a:pt x="3" y="32"/>
                      <a:pt x="18" y="0"/>
                    </a:cubicBezTo>
                    <a:cubicBezTo>
                      <a:pt x="18" y="0"/>
                      <a:pt x="29" y="49"/>
                      <a:pt x="29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3" name="Freeform 157">
                <a:extLst>
                  <a:ext uri="{FF2B5EF4-FFF2-40B4-BE49-F238E27FC236}">
                    <a16:creationId xmlns:a16="http://schemas.microsoft.com/office/drawing/2014/main" xmlns="" id="{A7FA1318-992B-D520-64D4-AA13C295C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0" y="2277"/>
                <a:ext cx="64" cy="126"/>
              </a:xfrm>
              <a:custGeom>
                <a:avLst/>
                <a:gdLst>
                  <a:gd name="T0" fmla="*/ 28 w 28"/>
                  <a:gd name="T1" fmla="*/ 54 h 54"/>
                  <a:gd name="T2" fmla="*/ 11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4" name="Freeform 158">
                <a:extLst>
                  <a:ext uri="{FF2B5EF4-FFF2-40B4-BE49-F238E27FC236}">
                    <a16:creationId xmlns:a16="http://schemas.microsoft.com/office/drawing/2014/main" xmlns="" id="{A8B59EE2-A13E-E57A-5A15-571997EBD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9" y="2277"/>
                <a:ext cx="65" cy="126"/>
              </a:xfrm>
              <a:custGeom>
                <a:avLst/>
                <a:gdLst>
                  <a:gd name="T0" fmla="*/ 28 w 28"/>
                  <a:gd name="T1" fmla="*/ 54 h 54"/>
                  <a:gd name="T2" fmla="*/ 11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5" name="Freeform 159">
                <a:extLst>
                  <a:ext uri="{FF2B5EF4-FFF2-40B4-BE49-F238E27FC236}">
                    <a16:creationId xmlns:a16="http://schemas.microsoft.com/office/drawing/2014/main" xmlns="" id="{936E6509-F501-C8E6-FDCF-857AE145F4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303"/>
                <a:ext cx="42" cy="100"/>
              </a:xfrm>
              <a:custGeom>
                <a:avLst/>
                <a:gdLst>
                  <a:gd name="T0" fmla="*/ 0 w 18"/>
                  <a:gd name="T1" fmla="*/ 43 h 43"/>
                  <a:gd name="T2" fmla="*/ 11 w 18"/>
                  <a:gd name="T3" fmla="*/ 0 h 43"/>
                  <a:gd name="T4" fmla="*/ 18 w 18"/>
                  <a:gd name="T5" fmla="*/ 43 h 43"/>
                  <a:gd name="T6" fmla="*/ 0 w 18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43">
                    <a:moveTo>
                      <a:pt x="0" y="43"/>
                    </a:moveTo>
                    <a:cubicBezTo>
                      <a:pt x="0" y="43"/>
                      <a:pt x="2" y="26"/>
                      <a:pt x="11" y="0"/>
                    </a:cubicBezTo>
                    <a:cubicBezTo>
                      <a:pt x="11" y="0"/>
                      <a:pt x="18" y="39"/>
                      <a:pt x="18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6" name="Freeform 160">
                <a:extLst>
                  <a:ext uri="{FF2B5EF4-FFF2-40B4-BE49-F238E27FC236}">
                    <a16:creationId xmlns:a16="http://schemas.microsoft.com/office/drawing/2014/main" xmlns="" id="{D48EC6C3-3343-879B-1A7D-5BC8548CD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4" y="2319"/>
                <a:ext cx="39" cy="84"/>
              </a:xfrm>
              <a:custGeom>
                <a:avLst/>
                <a:gdLst>
                  <a:gd name="T0" fmla="*/ 17 w 17"/>
                  <a:gd name="T1" fmla="*/ 36 h 36"/>
                  <a:gd name="T2" fmla="*/ 6 w 17"/>
                  <a:gd name="T3" fmla="*/ 0 h 36"/>
                  <a:gd name="T4" fmla="*/ 0 w 17"/>
                  <a:gd name="T5" fmla="*/ 36 h 36"/>
                  <a:gd name="T6" fmla="*/ 17 w 17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6">
                    <a:moveTo>
                      <a:pt x="17" y="36"/>
                    </a:moveTo>
                    <a:cubicBezTo>
                      <a:pt x="17" y="36"/>
                      <a:pt x="15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7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7" name="Freeform 161">
                <a:extLst>
                  <a:ext uri="{FF2B5EF4-FFF2-40B4-BE49-F238E27FC236}">
                    <a16:creationId xmlns:a16="http://schemas.microsoft.com/office/drawing/2014/main" xmlns="" id="{D570E196-8692-7D3F-2B62-E4A7032E9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9" y="2303"/>
                <a:ext cx="37" cy="100"/>
              </a:xfrm>
              <a:custGeom>
                <a:avLst/>
                <a:gdLst>
                  <a:gd name="T0" fmla="*/ 0 w 16"/>
                  <a:gd name="T1" fmla="*/ 43 h 43"/>
                  <a:gd name="T2" fmla="*/ 10 w 16"/>
                  <a:gd name="T3" fmla="*/ 0 h 43"/>
                  <a:gd name="T4" fmla="*/ 16 w 16"/>
                  <a:gd name="T5" fmla="*/ 43 h 43"/>
                  <a:gd name="T6" fmla="*/ 0 w 16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43">
                    <a:moveTo>
                      <a:pt x="0" y="43"/>
                    </a:moveTo>
                    <a:cubicBezTo>
                      <a:pt x="0" y="43"/>
                      <a:pt x="2" y="23"/>
                      <a:pt x="10" y="0"/>
                    </a:cubicBezTo>
                    <a:cubicBezTo>
                      <a:pt x="10" y="0"/>
                      <a:pt x="16" y="40"/>
                      <a:pt x="16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8" name="Freeform 162">
                <a:extLst>
                  <a:ext uri="{FF2B5EF4-FFF2-40B4-BE49-F238E27FC236}">
                    <a16:creationId xmlns:a16="http://schemas.microsoft.com/office/drawing/2014/main" xmlns="" id="{360F8404-EC9E-5B6C-9206-562651E5A3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2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4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9" name="Freeform 163">
                <a:extLst>
                  <a:ext uri="{FF2B5EF4-FFF2-40B4-BE49-F238E27FC236}">
                    <a16:creationId xmlns:a16="http://schemas.microsoft.com/office/drawing/2014/main" xmlns="" id="{679EDD6A-D364-2281-605A-9815D0C30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2" y="2305"/>
                <a:ext cx="67" cy="98"/>
              </a:xfrm>
              <a:custGeom>
                <a:avLst/>
                <a:gdLst>
                  <a:gd name="T0" fmla="*/ 29 w 29"/>
                  <a:gd name="T1" fmla="*/ 42 h 42"/>
                  <a:gd name="T2" fmla="*/ 11 w 29"/>
                  <a:gd name="T3" fmla="*/ 0 h 42"/>
                  <a:gd name="T4" fmla="*/ 0 w 29"/>
                  <a:gd name="T5" fmla="*/ 42 h 42"/>
                  <a:gd name="T6" fmla="*/ 29 w 29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42">
                    <a:moveTo>
                      <a:pt x="29" y="42"/>
                    </a:moveTo>
                    <a:cubicBezTo>
                      <a:pt x="29" y="42"/>
                      <a:pt x="26" y="24"/>
                      <a:pt x="11" y="0"/>
                    </a:cubicBezTo>
                    <a:cubicBezTo>
                      <a:pt x="11" y="0"/>
                      <a:pt x="0" y="39"/>
                      <a:pt x="0" y="42"/>
                    </a:cubicBezTo>
                    <a:lnTo>
                      <a:pt x="29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0" name="Freeform 164">
                <a:extLst>
                  <a:ext uri="{FF2B5EF4-FFF2-40B4-BE49-F238E27FC236}">
                    <a16:creationId xmlns:a16="http://schemas.microsoft.com/office/drawing/2014/main" xmlns="" id="{14F5E501-29CC-3CC7-1975-5A70E5039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4" y="2287"/>
                <a:ext cx="65" cy="116"/>
              </a:xfrm>
              <a:custGeom>
                <a:avLst/>
                <a:gdLst>
                  <a:gd name="T0" fmla="*/ 0 w 28"/>
                  <a:gd name="T1" fmla="*/ 50 h 50"/>
                  <a:gd name="T2" fmla="*/ 17 w 28"/>
                  <a:gd name="T3" fmla="*/ 0 h 50"/>
                  <a:gd name="T4" fmla="*/ 28 w 28"/>
                  <a:gd name="T5" fmla="*/ 50 h 50"/>
                  <a:gd name="T6" fmla="*/ 0 w 28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0">
                    <a:moveTo>
                      <a:pt x="0" y="50"/>
                    </a:moveTo>
                    <a:cubicBezTo>
                      <a:pt x="0" y="50"/>
                      <a:pt x="3" y="30"/>
                      <a:pt x="17" y="0"/>
                    </a:cubicBezTo>
                    <a:cubicBezTo>
                      <a:pt x="17" y="0"/>
                      <a:pt x="28" y="46"/>
                      <a:pt x="28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1" name="Freeform 165">
                <a:extLst>
                  <a:ext uri="{FF2B5EF4-FFF2-40B4-BE49-F238E27FC236}">
                    <a16:creationId xmlns:a16="http://schemas.microsoft.com/office/drawing/2014/main" xmlns="" id="{25AABEF2-6445-DCC1-BD8E-ED7619F4A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4" y="2277"/>
                <a:ext cx="53" cy="126"/>
              </a:xfrm>
              <a:custGeom>
                <a:avLst/>
                <a:gdLst>
                  <a:gd name="T0" fmla="*/ 0 w 23"/>
                  <a:gd name="T1" fmla="*/ 54 h 54"/>
                  <a:gd name="T2" fmla="*/ 14 w 23"/>
                  <a:gd name="T3" fmla="*/ 0 h 54"/>
                  <a:gd name="T4" fmla="*/ 23 w 23"/>
                  <a:gd name="T5" fmla="*/ 54 h 54"/>
                  <a:gd name="T6" fmla="*/ 0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54"/>
                      <a:pt x="3" y="32"/>
                      <a:pt x="14" y="0"/>
                    </a:cubicBezTo>
                    <a:cubicBezTo>
                      <a:pt x="14" y="0"/>
                      <a:pt x="23" y="49"/>
                      <a:pt x="23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2" name="Freeform 166">
                <a:extLst>
                  <a:ext uri="{FF2B5EF4-FFF2-40B4-BE49-F238E27FC236}">
                    <a16:creationId xmlns:a16="http://schemas.microsoft.com/office/drawing/2014/main" xmlns="" id="{34D47E7E-6695-2319-6BBC-456677225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6" y="2277"/>
                <a:ext cx="51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3" name="Freeform 167">
                <a:extLst>
                  <a:ext uri="{FF2B5EF4-FFF2-40B4-BE49-F238E27FC236}">
                    <a16:creationId xmlns:a16="http://schemas.microsoft.com/office/drawing/2014/main" xmlns="" id="{9959C500-D909-ED63-9F2D-DDEE23DEA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3" y="2277"/>
                <a:ext cx="51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4" name="Freeform 168">
                <a:extLst>
                  <a:ext uri="{FF2B5EF4-FFF2-40B4-BE49-F238E27FC236}">
                    <a16:creationId xmlns:a16="http://schemas.microsoft.com/office/drawing/2014/main" xmlns="" id="{E0833711-DEE7-74CA-49A3-1A9F209CB1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2303"/>
                <a:ext cx="32" cy="100"/>
              </a:xfrm>
              <a:custGeom>
                <a:avLst/>
                <a:gdLst>
                  <a:gd name="T0" fmla="*/ 0 w 14"/>
                  <a:gd name="T1" fmla="*/ 43 h 43"/>
                  <a:gd name="T2" fmla="*/ 9 w 14"/>
                  <a:gd name="T3" fmla="*/ 0 h 43"/>
                  <a:gd name="T4" fmla="*/ 14 w 14"/>
                  <a:gd name="T5" fmla="*/ 43 h 43"/>
                  <a:gd name="T6" fmla="*/ 0 w 14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43">
                    <a:moveTo>
                      <a:pt x="0" y="43"/>
                    </a:moveTo>
                    <a:cubicBezTo>
                      <a:pt x="0" y="43"/>
                      <a:pt x="2" y="26"/>
                      <a:pt x="9" y="0"/>
                    </a:cubicBezTo>
                    <a:cubicBezTo>
                      <a:pt x="9" y="0"/>
                      <a:pt x="14" y="39"/>
                      <a:pt x="14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5" name="Freeform 169">
                <a:extLst>
                  <a:ext uri="{FF2B5EF4-FFF2-40B4-BE49-F238E27FC236}">
                    <a16:creationId xmlns:a16="http://schemas.microsoft.com/office/drawing/2014/main" xmlns="" id="{A1F1A795-7425-E72F-0E70-43F41F523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4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2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6" name="Freeform 170">
                <a:extLst>
                  <a:ext uri="{FF2B5EF4-FFF2-40B4-BE49-F238E27FC236}">
                    <a16:creationId xmlns:a16="http://schemas.microsoft.com/office/drawing/2014/main" xmlns="" id="{81C77206-2A38-1B6D-F49F-26205CCD7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5" y="2303"/>
                <a:ext cx="30" cy="100"/>
              </a:xfrm>
              <a:custGeom>
                <a:avLst/>
                <a:gdLst>
                  <a:gd name="T0" fmla="*/ 0 w 13"/>
                  <a:gd name="T1" fmla="*/ 43 h 43"/>
                  <a:gd name="T2" fmla="*/ 8 w 13"/>
                  <a:gd name="T3" fmla="*/ 0 h 43"/>
                  <a:gd name="T4" fmla="*/ 13 w 13"/>
                  <a:gd name="T5" fmla="*/ 43 h 43"/>
                  <a:gd name="T6" fmla="*/ 0 w 13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43">
                    <a:moveTo>
                      <a:pt x="0" y="43"/>
                    </a:moveTo>
                    <a:cubicBezTo>
                      <a:pt x="0" y="43"/>
                      <a:pt x="2" y="23"/>
                      <a:pt x="8" y="0"/>
                    </a:cubicBezTo>
                    <a:cubicBezTo>
                      <a:pt x="8" y="0"/>
                      <a:pt x="13" y="40"/>
                      <a:pt x="13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7" name="Freeform 171">
                <a:extLst>
                  <a:ext uri="{FF2B5EF4-FFF2-40B4-BE49-F238E27FC236}">
                    <a16:creationId xmlns:a16="http://schemas.microsoft.com/office/drawing/2014/main" xmlns="" id="{BE6BF2E9-7DCF-88CB-E949-1544E4194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5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2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8" name="Freeform 172">
                <a:extLst>
                  <a:ext uri="{FF2B5EF4-FFF2-40B4-BE49-F238E27FC236}">
                    <a16:creationId xmlns:a16="http://schemas.microsoft.com/office/drawing/2014/main" xmlns="" id="{23C23940-10E4-BB5E-BC43-3D6423D2A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0" y="2305"/>
                <a:ext cx="53" cy="98"/>
              </a:xfrm>
              <a:custGeom>
                <a:avLst/>
                <a:gdLst>
                  <a:gd name="T0" fmla="*/ 23 w 23"/>
                  <a:gd name="T1" fmla="*/ 42 h 42"/>
                  <a:gd name="T2" fmla="*/ 8 w 23"/>
                  <a:gd name="T3" fmla="*/ 0 h 42"/>
                  <a:gd name="T4" fmla="*/ 0 w 23"/>
                  <a:gd name="T5" fmla="*/ 42 h 42"/>
                  <a:gd name="T6" fmla="*/ 23 w 23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42">
                    <a:moveTo>
                      <a:pt x="23" y="42"/>
                    </a:moveTo>
                    <a:cubicBezTo>
                      <a:pt x="23" y="42"/>
                      <a:pt x="20" y="24"/>
                      <a:pt x="8" y="0"/>
                    </a:cubicBezTo>
                    <a:cubicBezTo>
                      <a:pt x="8" y="0"/>
                      <a:pt x="0" y="39"/>
                      <a:pt x="0" y="42"/>
                    </a:cubicBezTo>
                    <a:lnTo>
                      <a:pt x="23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9" name="Freeform 173">
                <a:extLst>
                  <a:ext uri="{FF2B5EF4-FFF2-40B4-BE49-F238E27FC236}">
                    <a16:creationId xmlns:a16="http://schemas.microsoft.com/office/drawing/2014/main" xmlns="" id="{93986A2C-C286-62CD-8299-E693B0F27F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7" y="2287"/>
                <a:ext cx="53" cy="116"/>
              </a:xfrm>
              <a:custGeom>
                <a:avLst/>
                <a:gdLst>
                  <a:gd name="T0" fmla="*/ 0 w 23"/>
                  <a:gd name="T1" fmla="*/ 50 h 50"/>
                  <a:gd name="T2" fmla="*/ 14 w 23"/>
                  <a:gd name="T3" fmla="*/ 0 h 50"/>
                  <a:gd name="T4" fmla="*/ 23 w 23"/>
                  <a:gd name="T5" fmla="*/ 50 h 50"/>
                  <a:gd name="T6" fmla="*/ 0 w 23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0">
                    <a:moveTo>
                      <a:pt x="0" y="50"/>
                    </a:moveTo>
                    <a:cubicBezTo>
                      <a:pt x="0" y="50"/>
                      <a:pt x="2" y="30"/>
                      <a:pt x="14" y="0"/>
                    </a:cubicBezTo>
                    <a:cubicBezTo>
                      <a:pt x="14" y="0"/>
                      <a:pt x="23" y="46"/>
                      <a:pt x="23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0" name="Freeform 174">
                <a:extLst>
                  <a:ext uri="{FF2B5EF4-FFF2-40B4-BE49-F238E27FC236}">
                    <a16:creationId xmlns:a16="http://schemas.microsoft.com/office/drawing/2014/main" xmlns="" id="{6C8B1182-49C9-AD40-3315-00E9FDF6F7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8" y="2277"/>
                <a:ext cx="64" cy="126"/>
              </a:xfrm>
              <a:custGeom>
                <a:avLst/>
                <a:gdLst>
                  <a:gd name="T0" fmla="*/ 0 w 28"/>
                  <a:gd name="T1" fmla="*/ 54 h 54"/>
                  <a:gd name="T2" fmla="*/ 18 w 28"/>
                  <a:gd name="T3" fmla="*/ 0 h 54"/>
                  <a:gd name="T4" fmla="*/ 28 w 28"/>
                  <a:gd name="T5" fmla="*/ 54 h 54"/>
                  <a:gd name="T6" fmla="*/ 0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0" y="54"/>
                    </a:moveTo>
                    <a:cubicBezTo>
                      <a:pt x="0" y="54"/>
                      <a:pt x="3" y="32"/>
                      <a:pt x="18" y="0"/>
                    </a:cubicBezTo>
                    <a:cubicBezTo>
                      <a:pt x="18" y="0"/>
                      <a:pt x="28" y="49"/>
                      <a:pt x="28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1" name="Freeform 175">
                <a:extLst>
                  <a:ext uri="{FF2B5EF4-FFF2-40B4-BE49-F238E27FC236}">
                    <a16:creationId xmlns:a16="http://schemas.microsoft.com/office/drawing/2014/main" xmlns="" id="{590A3E50-4FC3-6D8D-9B7E-7FB488D82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0" y="2277"/>
                <a:ext cx="65" cy="126"/>
              </a:xfrm>
              <a:custGeom>
                <a:avLst/>
                <a:gdLst>
                  <a:gd name="T0" fmla="*/ 28 w 28"/>
                  <a:gd name="T1" fmla="*/ 54 h 54"/>
                  <a:gd name="T2" fmla="*/ 10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0" y="0"/>
                    </a:cubicBezTo>
                    <a:cubicBezTo>
                      <a:pt x="10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2" name="Freeform 176">
                <a:extLst>
                  <a:ext uri="{FF2B5EF4-FFF2-40B4-BE49-F238E27FC236}">
                    <a16:creationId xmlns:a16="http://schemas.microsoft.com/office/drawing/2014/main" xmlns="" id="{26AAC141-2FE4-082B-4CAC-44BE3B6EC0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0" y="2277"/>
                <a:ext cx="64" cy="126"/>
              </a:xfrm>
              <a:custGeom>
                <a:avLst/>
                <a:gdLst>
                  <a:gd name="T0" fmla="*/ 28 w 28"/>
                  <a:gd name="T1" fmla="*/ 54 h 54"/>
                  <a:gd name="T2" fmla="*/ 11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3" name="Freeform 177">
                <a:extLst>
                  <a:ext uri="{FF2B5EF4-FFF2-40B4-BE49-F238E27FC236}">
                    <a16:creationId xmlns:a16="http://schemas.microsoft.com/office/drawing/2014/main" xmlns="" id="{20A4CCC0-BE58-A1F5-309E-1CDF9E9EE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5" y="2303"/>
                <a:ext cx="41" cy="100"/>
              </a:xfrm>
              <a:custGeom>
                <a:avLst/>
                <a:gdLst>
                  <a:gd name="T0" fmla="*/ 0 w 18"/>
                  <a:gd name="T1" fmla="*/ 43 h 43"/>
                  <a:gd name="T2" fmla="*/ 11 w 18"/>
                  <a:gd name="T3" fmla="*/ 0 h 43"/>
                  <a:gd name="T4" fmla="*/ 18 w 18"/>
                  <a:gd name="T5" fmla="*/ 43 h 43"/>
                  <a:gd name="T6" fmla="*/ 0 w 18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43">
                    <a:moveTo>
                      <a:pt x="0" y="43"/>
                    </a:moveTo>
                    <a:cubicBezTo>
                      <a:pt x="0" y="43"/>
                      <a:pt x="2" y="26"/>
                      <a:pt x="11" y="0"/>
                    </a:cubicBezTo>
                    <a:cubicBezTo>
                      <a:pt x="11" y="0"/>
                      <a:pt x="18" y="39"/>
                      <a:pt x="18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4" name="Freeform 178">
                <a:extLst>
                  <a:ext uri="{FF2B5EF4-FFF2-40B4-BE49-F238E27FC236}">
                    <a16:creationId xmlns:a16="http://schemas.microsoft.com/office/drawing/2014/main" xmlns="" id="{3966472B-3C5C-2ACC-24B9-8E908CDD9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4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5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5" name="Freeform 179">
                <a:extLst>
                  <a:ext uri="{FF2B5EF4-FFF2-40B4-BE49-F238E27FC236}">
                    <a16:creationId xmlns:a16="http://schemas.microsoft.com/office/drawing/2014/main" xmlns="" id="{C187DC38-EA67-E6E8-78C5-D67EF98C12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9" y="2303"/>
                <a:ext cx="37" cy="100"/>
              </a:xfrm>
              <a:custGeom>
                <a:avLst/>
                <a:gdLst>
                  <a:gd name="T0" fmla="*/ 0 w 16"/>
                  <a:gd name="T1" fmla="*/ 43 h 43"/>
                  <a:gd name="T2" fmla="*/ 10 w 16"/>
                  <a:gd name="T3" fmla="*/ 0 h 43"/>
                  <a:gd name="T4" fmla="*/ 16 w 16"/>
                  <a:gd name="T5" fmla="*/ 43 h 43"/>
                  <a:gd name="T6" fmla="*/ 0 w 16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43">
                    <a:moveTo>
                      <a:pt x="0" y="43"/>
                    </a:moveTo>
                    <a:cubicBezTo>
                      <a:pt x="0" y="43"/>
                      <a:pt x="2" y="23"/>
                      <a:pt x="10" y="0"/>
                    </a:cubicBezTo>
                    <a:cubicBezTo>
                      <a:pt x="10" y="0"/>
                      <a:pt x="16" y="40"/>
                      <a:pt x="16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6" name="Freeform 180">
                <a:extLst>
                  <a:ext uri="{FF2B5EF4-FFF2-40B4-BE49-F238E27FC236}">
                    <a16:creationId xmlns:a16="http://schemas.microsoft.com/office/drawing/2014/main" xmlns="" id="{A2EFAFF5-D8C4-0AFC-ED9A-B78E32240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4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7" name="Freeform 181">
                <a:extLst>
                  <a:ext uri="{FF2B5EF4-FFF2-40B4-BE49-F238E27FC236}">
                    <a16:creationId xmlns:a16="http://schemas.microsoft.com/office/drawing/2014/main" xmlns="" id="{3CB05102-AFF7-A925-6B48-33B581666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3" y="2305"/>
                <a:ext cx="64" cy="98"/>
              </a:xfrm>
              <a:custGeom>
                <a:avLst/>
                <a:gdLst>
                  <a:gd name="T0" fmla="*/ 28 w 28"/>
                  <a:gd name="T1" fmla="*/ 42 h 42"/>
                  <a:gd name="T2" fmla="*/ 11 w 28"/>
                  <a:gd name="T3" fmla="*/ 0 h 42"/>
                  <a:gd name="T4" fmla="*/ 0 w 28"/>
                  <a:gd name="T5" fmla="*/ 42 h 42"/>
                  <a:gd name="T6" fmla="*/ 28 w 28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42">
                    <a:moveTo>
                      <a:pt x="28" y="42"/>
                    </a:moveTo>
                    <a:cubicBezTo>
                      <a:pt x="28" y="42"/>
                      <a:pt x="26" y="24"/>
                      <a:pt x="11" y="0"/>
                    </a:cubicBezTo>
                    <a:cubicBezTo>
                      <a:pt x="11" y="0"/>
                      <a:pt x="0" y="39"/>
                      <a:pt x="0" y="42"/>
                    </a:cubicBezTo>
                    <a:lnTo>
                      <a:pt x="28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8" name="Freeform 182">
                <a:extLst>
                  <a:ext uri="{FF2B5EF4-FFF2-40B4-BE49-F238E27FC236}">
                    <a16:creationId xmlns:a16="http://schemas.microsoft.com/office/drawing/2014/main" xmlns="" id="{C822F943-FCD0-4EF6-7380-A07B440A39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2" y="2287"/>
                <a:ext cx="67" cy="116"/>
              </a:xfrm>
              <a:custGeom>
                <a:avLst/>
                <a:gdLst>
                  <a:gd name="T0" fmla="*/ 0 w 29"/>
                  <a:gd name="T1" fmla="*/ 50 h 50"/>
                  <a:gd name="T2" fmla="*/ 18 w 29"/>
                  <a:gd name="T3" fmla="*/ 0 h 50"/>
                  <a:gd name="T4" fmla="*/ 29 w 29"/>
                  <a:gd name="T5" fmla="*/ 50 h 50"/>
                  <a:gd name="T6" fmla="*/ 0 w 29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50">
                    <a:moveTo>
                      <a:pt x="0" y="50"/>
                    </a:moveTo>
                    <a:cubicBezTo>
                      <a:pt x="0" y="50"/>
                      <a:pt x="3" y="30"/>
                      <a:pt x="18" y="0"/>
                    </a:cubicBezTo>
                    <a:cubicBezTo>
                      <a:pt x="18" y="0"/>
                      <a:pt x="29" y="46"/>
                      <a:pt x="29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9" name="Freeform 183">
                <a:extLst>
                  <a:ext uri="{FF2B5EF4-FFF2-40B4-BE49-F238E27FC236}">
                    <a16:creationId xmlns:a16="http://schemas.microsoft.com/office/drawing/2014/main" xmlns="" id="{A41C26AE-4D1A-AA9F-2560-936D3CA51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2277"/>
                <a:ext cx="53" cy="126"/>
              </a:xfrm>
              <a:custGeom>
                <a:avLst/>
                <a:gdLst>
                  <a:gd name="T0" fmla="*/ 0 w 23"/>
                  <a:gd name="T1" fmla="*/ 54 h 54"/>
                  <a:gd name="T2" fmla="*/ 14 w 23"/>
                  <a:gd name="T3" fmla="*/ 0 h 54"/>
                  <a:gd name="T4" fmla="*/ 23 w 23"/>
                  <a:gd name="T5" fmla="*/ 54 h 54"/>
                  <a:gd name="T6" fmla="*/ 0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54"/>
                      <a:pt x="3" y="32"/>
                      <a:pt x="14" y="0"/>
                    </a:cubicBezTo>
                    <a:cubicBezTo>
                      <a:pt x="14" y="0"/>
                      <a:pt x="23" y="49"/>
                      <a:pt x="23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0" name="Freeform 184">
                <a:extLst>
                  <a:ext uri="{FF2B5EF4-FFF2-40B4-BE49-F238E27FC236}">
                    <a16:creationId xmlns:a16="http://schemas.microsoft.com/office/drawing/2014/main" xmlns="" id="{B83459A0-F592-1584-D0A8-F693C820F6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4" y="2277"/>
                <a:ext cx="53" cy="126"/>
              </a:xfrm>
              <a:custGeom>
                <a:avLst/>
                <a:gdLst>
                  <a:gd name="T0" fmla="*/ 23 w 23"/>
                  <a:gd name="T1" fmla="*/ 54 h 54"/>
                  <a:gd name="T2" fmla="*/ 9 w 23"/>
                  <a:gd name="T3" fmla="*/ 0 h 54"/>
                  <a:gd name="T4" fmla="*/ 0 w 23"/>
                  <a:gd name="T5" fmla="*/ 54 h 54"/>
                  <a:gd name="T6" fmla="*/ 23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23" y="54"/>
                    </a:moveTo>
                    <a:cubicBezTo>
                      <a:pt x="23" y="54"/>
                      <a:pt x="21" y="32"/>
                      <a:pt x="9" y="0"/>
                    </a:cubicBezTo>
                    <a:cubicBezTo>
                      <a:pt x="9" y="0"/>
                      <a:pt x="0" y="49"/>
                      <a:pt x="0" y="54"/>
                    </a:cubicBezTo>
                    <a:lnTo>
                      <a:pt x="23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1" name="Freeform 185">
                <a:extLst>
                  <a:ext uri="{FF2B5EF4-FFF2-40B4-BE49-F238E27FC236}">
                    <a16:creationId xmlns:a16="http://schemas.microsoft.com/office/drawing/2014/main" xmlns="" id="{C1507ECA-8F74-79B6-C837-DA10B63E6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4" y="2277"/>
                <a:ext cx="50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2" name="Freeform 186">
                <a:extLst>
                  <a:ext uri="{FF2B5EF4-FFF2-40B4-BE49-F238E27FC236}">
                    <a16:creationId xmlns:a16="http://schemas.microsoft.com/office/drawing/2014/main" xmlns="" id="{B00FD7B9-F69F-D71B-B03C-7FA23E157D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6" y="2303"/>
                <a:ext cx="32" cy="100"/>
              </a:xfrm>
              <a:custGeom>
                <a:avLst/>
                <a:gdLst>
                  <a:gd name="T0" fmla="*/ 0 w 14"/>
                  <a:gd name="T1" fmla="*/ 43 h 43"/>
                  <a:gd name="T2" fmla="*/ 9 w 14"/>
                  <a:gd name="T3" fmla="*/ 0 h 43"/>
                  <a:gd name="T4" fmla="*/ 14 w 14"/>
                  <a:gd name="T5" fmla="*/ 43 h 43"/>
                  <a:gd name="T6" fmla="*/ 0 w 14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43">
                    <a:moveTo>
                      <a:pt x="0" y="43"/>
                    </a:moveTo>
                    <a:cubicBezTo>
                      <a:pt x="0" y="43"/>
                      <a:pt x="2" y="26"/>
                      <a:pt x="9" y="0"/>
                    </a:cubicBezTo>
                    <a:cubicBezTo>
                      <a:pt x="9" y="0"/>
                      <a:pt x="14" y="39"/>
                      <a:pt x="14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3" name="Freeform 187">
                <a:extLst>
                  <a:ext uri="{FF2B5EF4-FFF2-40B4-BE49-F238E27FC236}">
                    <a16:creationId xmlns:a16="http://schemas.microsoft.com/office/drawing/2014/main" xmlns="" id="{A34A1EB8-9ACC-F4E4-FED6-F073860A0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4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2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4" name="Freeform 188">
                <a:extLst>
                  <a:ext uri="{FF2B5EF4-FFF2-40B4-BE49-F238E27FC236}">
                    <a16:creationId xmlns:a16="http://schemas.microsoft.com/office/drawing/2014/main" xmlns="" id="{01DDFA5A-6EDB-F8B4-F90A-5408DA6BE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5" y="2303"/>
                <a:ext cx="30" cy="100"/>
              </a:xfrm>
              <a:custGeom>
                <a:avLst/>
                <a:gdLst>
                  <a:gd name="T0" fmla="*/ 0 w 13"/>
                  <a:gd name="T1" fmla="*/ 43 h 43"/>
                  <a:gd name="T2" fmla="*/ 8 w 13"/>
                  <a:gd name="T3" fmla="*/ 0 h 43"/>
                  <a:gd name="T4" fmla="*/ 13 w 13"/>
                  <a:gd name="T5" fmla="*/ 43 h 43"/>
                  <a:gd name="T6" fmla="*/ 0 w 13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43">
                    <a:moveTo>
                      <a:pt x="0" y="43"/>
                    </a:moveTo>
                    <a:cubicBezTo>
                      <a:pt x="0" y="43"/>
                      <a:pt x="1" y="23"/>
                      <a:pt x="8" y="0"/>
                    </a:cubicBezTo>
                    <a:cubicBezTo>
                      <a:pt x="8" y="0"/>
                      <a:pt x="13" y="40"/>
                      <a:pt x="13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5" name="Freeform 189">
                <a:extLst>
                  <a:ext uri="{FF2B5EF4-FFF2-40B4-BE49-F238E27FC236}">
                    <a16:creationId xmlns:a16="http://schemas.microsoft.com/office/drawing/2014/main" xmlns="" id="{188E32E1-9702-E833-E488-AB022AAF4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5" y="2319"/>
                <a:ext cx="30" cy="84"/>
              </a:xfrm>
              <a:custGeom>
                <a:avLst/>
                <a:gdLst>
                  <a:gd name="T0" fmla="*/ 13 w 13"/>
                  <a:gd name="T1" fmla="*/ 36 h 36"/>
                  <a:gd name="T2" fmla="*/ 5 w 13"/>
                  <a:gd name="T3" fmla="*/ 0 h 36"/>
                  <a:gd name="T4" fmla="*/ 0 w 13"/>
                  <a:gd name="T5" fmla="*/ 36 h 36"/>
                  <a:gd name="T6" fmla="*/ 13 w 13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36">
                    <a:moveTo>
                      <a:pt x="13" y="36"/>
                    </a:moveTo>
                    <a:cubicBezTo>
                      <a:pt x="13" y="36"/>
                      <a:pt x="12" y="19"/>
                      <a:pt x="5" y="0"/>
                    </a:cubicBezTo>
                    <a:cubicBezTo>
                      <a:pt x="5" y="0"/>
                      <a:pt x="0" y="33"/>
                      <a:pt x="0" y="36"/>
                    </a:cubicBezTo>
                    <a:lnTo>
                      <a:pt x="13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6" name="Freeform 190">
                <a:extLst>
                  <a:ext uri="{FF2B5EF4-FFF2-40B4-BE49-F238E27FC236}">
                    <a16:creationId xmlns:a16="http://schemas.microsoft.com/office/drawing/2014/main" xmlns="" id="{48A9503C-57CF-291A-78A7-9C7337F1F3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" y="2305"/>
                <a:ext cx="50" cy="98"/>
              </a:xfrm>
              <a:custGeom>
                <a:avLst/>
                <a:gdLst>
                  <a:gd name="T0" fmla="*/ 22 w 22"/>
                  <a:gd name="T1" fmla="*/ 42 h 42"/>
                  <a:gd name="T2" fmla="*/ 8 w 22"/>
                  <a:gd name="T3" fmla="*/ 0 h 42"/>
                  <a:gd name="T4" fmla="*/ 0 w 22"/>
                  <a:gd name="T5" fmla="*/ 42 h 42"/>
                  <a:gd name="T6" fmla="*/ 22 w 22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42">
                    <a:moveTo>
                      <a:pt x="22" y="42"/>
                    </a:moveTo>
                    <a:cubicBezTo>
                      <a:pt x="22" y="42"/>
                      <a:pt x="20" y="24"/>
                      <a:pt x="8" y="0"/>
                    </a:cubicBezTo>
                    <a:cubicBezTo>
                      <a:pt x="8" y="0"/>
                      <a:pt x="0" y="39"/>
                      <a:pt x="0" y="42"/>
                    </a:cubicBezTo>
                    <a:lnTo>
                      <a:pt x="22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7" name="Freeform 191">
                <a:extLst>
                  <a:ext uri="{FF2B5EF4-FFF2-40B4-BE49-F238E27FC236}">
                    <a16:creationId xmlns:a16="http://schemas.microsoft.com/office/drawing/2014/main" xmlns="" id="{A1204466-BBB3-8B1B-E501-FAAFED71FC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8" y="2287"/>
                <a:ext cx="50" cy="116"/>
              </a:xfrm>
              <a:custGeom>
                <a:avLst/>
                <a:gdLst>
                  <a:gd name="T0" fmla="*/ 0 w 22"/>
                  <a:gd name="T1" fmla="*/ 50 h 50"/>
                  <a:gd name="T2" fmla="*/ 14 w 22"/>
                  <a:gd name="T3" fmla="*/ 0 h 50"/>
                  <a:gd name="T4" fmla="*/ 22 w 22"/>
                  <a:gd name="T5" fmla="*/ 50 h 50"/>
                  <a:gd name="T6" fmla="*/ 0 w 22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0">
                    <a:moveTo>
                      <a:pt x="0" y="50"/>
                    </a:moveTo>
                    <a:cubicBezTo>
                      <a:pt x="0" y="50"/>
                      <a:pt x="2" y="30"/>
                      <a:pt x="14" y="0"/>
                    </a:cubicBezTo>
                    <a:cubicBezTo>
                      <a:pt x="14" y="0"/>
                      <a:pt x="22" y="46"/>
                      <a:pt x="22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8" name="Freeform 192">
                <a:extLst>
                  <a:ext uri="{FF2B5EF4-FFF2-40B4-BE49-F238E27FC236}">
                    <a16:creationId xmlns:a16="http://schemas.microsoft.com/office/drawing/2014/main" xmlns="" id="{CFA11117-0E5E-FF65-6897-FBA3657F5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8" y="2277"/>
                <a:ext cx="64" cy="126"/>
              </a:xfrm>
              <a:custGeom>
                <a:avLst/>
                <a:gdLst>
                  <a:gd name="T0" fmla="*/ 0 w 28"/>
                  <a:gd name="T1" fmla="*/ 54 h 54"/>
                  <a:gd name="T2" fmla="*/ 18 w 28"/>
                  <a:gd name="T3" fmla="*/ 0 h 54"/>
                  <a:gd name="T4" fmla="*/ 28 w 28"/>
                  <a:gd name="T5" fmla="*/ 54 h 54"/>
                  <a:gd name="T6" fmla="*/ 0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0" y="54"/>
                    </a:moveTo>
                    <a:cubicBezTo>
                      <a:pt x="0" y="54"/>
                      <a:pt x="3" y="32"/>
                      <a:pt x="18" y="0"/>
                    </a:cubicBezTo>
                    <a:cubicBezTo>
                      <a:pt x="18" y="0"/>
                      <a:pt x="28" y="49"/>
                      <a:pt x="28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9" name="Freeform 193">
                <a:extLst>
                  <a:ext uri="{FF2B5EF4-FFF2-40B4-BE49-F238E27FC236}">
                    <a16:creationId xmlns:a16="http://schemas.microsoft.com/office/drawing/2014/main" xmlns="" id="{D51B8598-56CF-F8FE-BC5D-BCA437A513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1" y="2277"/>
                <a:ext cx="64" cy="126"/>
              </a:xfrm>
              <a:custGeom>
                <a:avLst/>
                <a:gdLst>
                  <a:gd name="T0" fmla="*/ 28 w 28"/>
                  <a:gd name="T1" fmla="*/ 54 h 54"/>
                  <a:gd name="T2" fmla="*/ 10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0" y="0"/>
                    </a:cubicBezTo>
                    <a:cubicBezTo>
                      <a:pt x="10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0" name="Freeform 194">
                <a:extLst>
                  <a:ext uri="{FF2B5EF4-FFF2-40B4-BE49-F238E27FC236}">
                    <a16:creationId xmlns:a16="http://schemas.microsoft.com/office/drawing/2014/main" xmlns="" id="{AAEDB521-5CB1-76D9-1F01-ED81FB0C4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0" y="2277"/>
                <a:ext cx="65" cy="126"/>
              </a:xfrm>
              <a:custGeom>
                <a:avLst/>
                <a:gdLst>
                  <a:gd name="T0" fmla="*/ 28 w 28"/>
                  <a:gd name="T1" fmla="*/ 54 h 54"/>
                  <a:gd name="T2" fmla="*/ 11 w 28"/>
                  <a:gd name="T3" fmla="*/ 0 h 54"/>
                  <a:gd name="T4" fmla="*/ 0 w 28"/>
                  <a:gd name="T5" fmla="*/ 54 h 54"/>
                  <a:gd name="T6" fmla="*/ 28 w 28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4">
                    <a:moveTo>
                      <a:pt x="28" y="54"/>
                    </a:moveTo>
                    <a:cubicBezTo>
                      <a:pt x="28" y="54"/>
                      <a:pt x="25" y="32"/>
                      <a:pt x="11" y="0"/>
                    </a:cubicBezTo>
                    <a:cubicBezTo>
                      <a:pt x="11" y="0"/>
                      <a:pt x="0" y="49"/>
                      <a:pt x="0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1" name="Freeform 195">
                <a:extLst>
                  <a:ext uri="{FF2B5EF4-FFF2-40B4-BE49-F238E27FC236}">
                    <a16:creationId xmlns:a16="http://schemas.microsoft.com/office/drawing/2014/main" xmlns="" id="{5AA6B54E-CDF1-E5C9-43AB-3EE011953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5" y="2303"/>
                <a:ext cx="41" cy="100"/>
              </a:xfrm>
              <a:custGeom>
                <a:avLst/>
                <a:gdLst>
                  <a:gd name="T0" fmla="*/ 0 w 18"/>
                  <a:gd name="T1" fmla="*/ 43 h 43"/>
                  <a:gd name="T2" fmla="*/ 11 w 18"/>
                  <a:gd name="T3" fmla="*/ 0 h 43"/>
                  <a:gd name="T4" fmla="*/ 18 w 18"/>
                  <a:gd name="T5" fmla="*/ 43 h 43"/>
                  <a:gd name="T6" fmla="*/ 0 w 18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43">
                    <a:moveTo>
                      <a:pt x="0" y="43"/>
                    </a:moveTo>
                    <a:cubicBezTo>
                      <a:pt x="0" y="43"/>
                      <a:pt x="2" y="26"/>
                      <a:pt x="11" y="0"/>
                    </a:cubicBezTo>
                    <a:cubicBezTo>
                      <a:pt x="11" y="0"/>
                      <a:pt x="18" y="39"/>
                      <a:pt x="18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2" name="Freeform 196">
                <a:extLst>
                  <a:ext uri="{FF2B5EF4-FFF2-40B4-BE49-F238E27FC236}">
                    <a16:creationId xmlns:a16="http://schemas.microsoft.com/office/drawing/2014/main" xmlns="" id="{B3B82285-D218-3029-0145-2A6512B22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5" y="2319"/>
                <a:ext cx="36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5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3" name="Freeform 197">
                <a:extLst>
                  <a:ext uri="{FF2B5EF4-FFF2-40B4-BE49-F238E27FC236}">
                    <a16:creationId xmlns:a16="http://schemas.microsoft.com/office/drawing/2014/main" xmlns="" id="{280BB031-235A-B48E-01E2-A0787C25DB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0" y="2303"/>
                <a:ext cx="37" cy="100"/>
              </a:xfrm>
              <a:custGeom>
                <a:avLst/>
                <a:gdLst>
                  <a:gd name="T0" fmla="*/ 0 w 16"/>
                  <a:gd name="T1" fmla="*/ 43 h 43"/>
                  <a:gd name="T2" fmla="*/ 10 w 16"/>
                  <a:gd name="T3" fmla="*/ 0 h 43"/>
                  <a:gd name="T4" fmla="*/ 16 w 16"/>
                  <a:gd name="T5" fmla="*/ 43 h 43"/>
                  <a:gd name="T6" fmla="*/ 0 w 16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43">
                    <a:moveTo>
                      <a:pt x="0" y="43"/>
                    </a:moveTo>
                    <a:cubicBezTo>
                      <a:pt x="0" y="43"/>
                      <a:pt x="1" y="23"/>
                      <a:pt x="10" y="0"/>
                    </a:cubicBezTo>
                    <a:cubicBezTo>
                      <a:pt x="10" y="0"/>
                      <a:pt x="16" y="40"/>
                      <a:pt x="16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4" name="Freeform 198">
                <a:extLst>
                  <a:ext uri="{FF2B5EF4-FFF2-40B4-BE49-F238E27FC236}">
                    <a16:creationId xmlns:a16="http://schemas.microsoft.com/office/drawing/2014/main" xmlns="" id="{C97B4125-BE1B-FD99-8F37-E783A3CF39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3" y="2319"/>
                <a:ext cx="37" cy="84"/>
              </a:xfrm>
              <a:custGeom>
                <a:avLst/>
                <a:gdLst>
                  <a:gd name="T0" fmla="*/ 16 w 16"/>
                  <a:gd name="T1" fmla="*/ 36 h 36"/>
                  <a:gd name="T2" fmla="*/ 6 w 16"/>
                  <a:gd name="T3" fmla="*/ 0 h 36"/>
                  <a:gd name="T4" fmla="*/ 0 w 16"/>
                  <a:gd name="T5" fmla="*/ 36 h 36"/>
                  <a:gd name="T6" fmla="*/ 16 w 16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36">
                    <a:moveTo>
                      <a:pt x="16" y="36"/>
                    </a:moveTo>
                    <a:cubicBezTo>
                      <a:pt x="16" y="36"/>
                      <a:pt x="14" y="19"/>
                      <a:pt x="6" y="0"/>
                    </a:cubicBezTo>
                    <a:cubicBezTo>
                      <a:pt x="6" y="0"/>
                      <a:pt x="0" y="33"/>
                      <a:pt x="0" y="36"/>
                    </a:cubicBez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5" name="Freeform 199">
                <a:extLst>
                  <a:ext uri="{FF2B5EF4-FFF2-40B4-BE49-F238E27FC236}">
                    <a16:creationId xmlns:a16="http://schemas.microsoft.com/office/drawing/2014/main" xmlns="" id="{554A8CBC-05A0-2E7D-37E3-3CDA51E43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3" y="2305"/>
                <a:ext cx="65" cy="98"/>
              </a:xfrm>
              <a:custGeom>
                <a:avLst/>
                <a:gdLst>
                  <a:gd name="T0" fmla="*/ 28 w 28"/>
                  <a:gd name="T1" fmla="*/ 42 h 42"/>
                  <a:gd name="T2" fmla="*/ 11 w 28"/>
                  <a:gd name="T3" fmla="*/ 0 h 42"/>
                  <a:gd name="T4" fmla="*/ 0 w 28"/>
                  <a:gd name="T5" fmla="*/ 42 h 42"/>
                  <a:gd name="T6" fmla="*/ 28 w 28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42">
                    <a:moveTo>
                      <a:pt x="28" y="42"/>
                    </a:moveTo>
                    <a:cubicBezTo>
                      <a:pt x="28" y="42"/>
                      <a:pt x="25" y="24"/>
                      <a:pt x="11" y="0"/>
                    </a:cubicBezTo>
                    <a:cubicBezTo>
                      <a:pt x="11" y="0"/>
                      <a:pt x="0" y="39"/>
                      <a:pt x="0" y="42"/>
                    </a:cubicBezTo>
                    <a:lnTo>
                      <a:pt x="28" y="42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6" name="Freeform 200">
                <a:extLst>
                  <a:ext uri="{FF2B5EF4-FFF2-40B4-BE49-F238E27FC236}">
                    <a16:creationId xmlns:a16="http://schemas.microsoft.com/office/drawing/2014/main" xmlns="" id="{1676949D-A37F-F60D-30EF-609614D14B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2" y="2287"/>
                <a:ext cx="65" cy="116"/>
              </a:xfrm>
              <a:custGeom>
                <a:avLst/>
                <a:gdLst>
                  <a:gd name="T0" fmla="*/ 0 w 28"/>
                  <a:gd name="T1" fmla="*/ 50 h 50"/>
                  <a:gd name="T2" fmla="*/ 18 w 28"/>
                  <a:gd name="T3" fmla="*/ 0 h 50"/>
                  <a:gd name="T4" fmla="*/ 28 w 28"/>
                  <a:gd name="T5" fmla="*/ 50 h 50"/>
                  <a:gd name="T6" fmla="*/ 0 w 28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50">
                    <a:moveTo>
                      <a:pt x="0" y="50"/>
                    </a:moveTo>
                    <a:cubicBezTo>
                      <a:pt x="0" y="50"/>
                      <a:pt x="3" y="30"/>
                      <a:pt x="18" y="0"/>
                    </a:cubicBezTo>
                    <a:cubicBezTo>
                      <a:pt x="18" y="0"/>
                      <a:pt x="28" y="46"/>
                      <a:pt x="28" y="50"/>
                    </a:cubicBez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7" name="Freeform 201">
                <a:extLst>
                  <a:ext uri="{FF2B5EF4-FFF2-40B4-BE49-F238E27FC236}">
                    <a16:creationId xmlns:a16="http://schemas.microsoft.com/office/drawing/2014/main" xmlns="" id="{34991328-27A7-6BEA-AB0F-BAB5A542AD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0" y="2277"/>
                <a:ext cx="53" cy="126"/>
              </a:xfrm>
              <a:custGeom>
                <a:avLst/>
                <a:gdLst>
                  <a:gd name="T0" fmla="*/ 0 w 23"/>
                  <a:gd name="T1" fmla="*/ 54 h 54"/>
                  <a:gd name="T2" fmla="*/ 14 w 23"/>
                  <a:gd name="T3" fmla="*/ 0 h 54"/>
                  <a:gd name="T4" fmla="*/ 23 w 23"/>
                  <a:gd name="T5" fmla="*/ 54 h 54"/>
                  <a:gd name="T6" fmla="*/ 0 w 23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54">
                    <a:moveTo>
                      <a:pt x="0" y="54"/>
                    </a:moveTo>
                    <a:cubicBezTo>
                      <a:pt x="0" y="54"/>
                      <a:pt x="3" y="32"/>
                      <a:pt x="14" y="0"/>
                    </a:cubicBezTo>
                    <a:cubicBezTo>
                      <a:pt x="14" y="0"/>
                      <a:pt x="23" y="49"/>
                      <a:pt x="23" y="54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8" name="Freeform 202">
                <a:extLst>
                  <a:ext uri="{FF2B5EF4-FFF2-40B4-BE49-F238E27FC236}">
                    <a16:creationId xmlns:a16="http://schemas.microsoft.com/office/drawing/2014/main" xmlns="" id="{54406BE1-6108-054A-74A9-83ECD7A38D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2" y="2277"/>
                <a:ext cx="50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9" name="Freeform 203">
                <a:extLst>
                  <a:ext uri="{FF2B5EF4-FFF2-40B4-BE49-F238E27FC236}">
                    <a16:creationId xmlns:a16="http://schemas.microsoft.com/office/drawing/2014/main" xmlns="" id="{8E2BA3E5-6D33-E7B3-79F3-C6389DD79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9" y="2277"/>
                <a:ext cx="50" cy="126"/>
              </a:xfrm>
              <a:custGeom>
                <a:avLst/>
                <a:gdLst>
                  <a:gd name="T0" fmla="*/ 22 w 22"/>
                  <a:gd name="T1" fmla="*/ 54 h 54"/>
                  <a:gd name="T2" fmla="*/ 8 w 22"/>
                  <a:gd name="T3" fmla="*/ 0 h 54"/>
                  <a:gd name="T4" fmla="*/ 0 w 22"/>
                  <a:gd name="T5" fmla="*/ 54 h 54"/>
                  <a:gd name="T6" fmla="*/ 22 w 22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54">
                    <a:moveTo>
                      <a:pt x="22" y="54"/>
                    </a:moveTo>
                    <a:cubicBezTo>
                      <a:pt x="22" y="54"/>
                      <a:pt x="20" y="32"/>
                      <a:pt x="8" y="0"/>
                    </a:cubicBezTo>
                    <a:cubicBezTo>
                      <a:pt x="8" y="0"/>
                      <a:pt x="0" y="49"/>
                      <a:pt x="0" y="54"/>
                    </a:cubicBezTo>
                    <a:lnTo>
                      <a:pt x="22" y="54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20" name="Freeform 204">
                <a:extLst>
                  <a:ext uri="{FF2B5EF4-FFF2-40B4-BE49-F238E27FC236}">
                    <a16:creationId xmlns:a16="http://schemas.microsoft.com/office/drawing/2014/main" xmlns="" id="{B8631009-268E-4739-3C7C-F21D1CC24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1" y="2303"/>
                <a:ext cx="33" cy="100"/>
              </a:xfrm>
              <a:custGeom>
                <a:avLst/>
                <a:gdLst>
                  <a:gd name="T0" fmla="*/ 0 w 14"/>
                  <a:gd name="T1" fmla="*/ 43 h 43"/>
                  <a:gd name="T2" fmla="*/ 9 w 14"/>
                  <a:gd name="T3" fmla="*/ 0 h 43"/>
                  <a:gd name="T4" fmla="*/ 14 w 14"/>
                  <a:gd name="T5" fmla="*/ 43 h 43"/>
                  <a:gd name="T6" fmla="*/ 0 w 14"/>
                  <a:gd name="T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43">
                    <a:moveTo>
                      <a:pt x="0" y="43"/>
                    </a:moveTo>
                    <a:cubicBezTo>
                      <a:pt x="0" y="43"/>
                      <a:pt x="2" y="26"/>
                      <a:pt x="9" y="0"/>
                    </a:cubicBezTo>
                    <a:cubicBezTo>
                      <a:pt x="9" y="0"/>
                      <a:pt x="14" y="39"/>
                      <a:pt x="14" y="43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1B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21" name="Freeform 206">
              <a:extLst>
                <a:ext uri="{FF2B5EF4-FFF2-40B4-BE49-F238E27FC236}">
                  <a16:creationId xmlns:a16="http://schemas.microsoft.com/office/drawing/2014/main" xmlns="" id="{5115593F-9F1C-8389-843E-E41C99107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9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2" name="Freeform 207">
              <a:extLst>
                <a:ext uri="{FF2B5EF4-FFF2-40B4-BE49-F238E27FC236}">
                  <a16:creationId xmlns:a16="http://schemas.microsoft.com/office/drawing/2014/main" xmlns="" id="{EB3AAF2B-EA36-F613-EA4C-5E2C52A1C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0" y="2303"/>
              <a:ext cx="30" cy="100"/>
            </a:xfrm>
            <a:custGeom>
              <a:avLst/>
              <a:gdLst>
                <a:gd name="T0" fmla="*/ 0 w 13"/>
                <a:gd name="T1" fmla="*/ 43 h 43"/>
                <a:gd name="T2" fmla="*/ 8 w 13"/>
                <a:gd name="T3" fmla="*/ 0 h 43"/>
                <a:gd name="T4" fmla="*/ 13 w 13"/>
                <a:gd name="T5" fmla="*/ 43 h 43"/>
                <a:gd name="T6" fmla="*/ 0 w 13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3" y="40"/>
                    <a:pt x="13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3" name="Freeform 208">
              <a:extLst>
                <a:ext uri="{FF2B5EF4-FFF2-40B4-BE49-F238E27FC236}">
                  <a16:creationId xmlns:a16="http://schemas.microsoft.com/office/drawing/2014/main" xmlns="" id="{D0773445-796B-B7E8-9D2E-BDC06F1E0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4" name="Freeform 209">
              <a:extLst>
                <a:ext uri="{FF2B5EF4-FFF2-40B4-BE49-F238E27FC236}">
                  <a16:creationId xmlns:a16="http://schemas.microsoft.com/office/drawing/2014/main" xmlns="" id="{3D991C9B-FBE8-8480-73F2-B07C44F94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6" y="2305"/>
              <a:ext cx="50" cy="98"/>
            </a:xfrm>
            <a:custGeom>
              <a:avLst/>
              <a:gdLst>
                <a:gd name="T0" fmla="*/ 22 w 22"/>
                <a:gd name="T1" fmla="*/ 42 h 42"/>
                <a:gd name="T2" fmla="*/ 8 w 22"/>
                <a:gd name="T3" fmla="*/ 0 h 42"/>
                <a:gd name="T4" fmla="*/ 0 w 22"/>
                <a:gd name="T5" fmla="*/ 42 h 42"/>
                <a:gd name="T6" fmla="*/ 22 w 2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2">
                  <a:moveTo>
                    <a:pt x="22" y="42"/>
                  </a:moveTo>
                  <a:cubicBezTo>
                    <a:pt x="22" y="42"/>
                    <a:pt x="20" y="24"/>
                    <a:pt x="8" y="0"/>
                  </a:cubicBezTo>
                  <a:cubicBezTo>
                    <a:pt x="8" y="0"/>
                    <a:pt x="0" y="39"/>
                    <a:pt x="0" y="42"/>
                  </a:cubicBezTo>
                  <a:lnTo>
                    <a:pt x="22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5" name="Freeform 210">
              <a:extLst>
                <a:ext uri="{FF2B5EF4-FFF2-40B4-BE49-F238E27FC236}">
                  <a16:creationId xmlns:a16="http://schemas.microsoft.com/office/drawing/2014/main" xmlns="" id="{B975A6A3-0817-E9B4-B5FB-F75E3BC98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" y="2287"/>
              <a:ext cx="53" cy="116"/>
            </a:xfrm>
            <a:custGeom>
              <a:avLst/>
              <a:gdLst>
                <a:gd name="T0" fmla="*/ 0 w 23"/>
                <a:gd name="T1" fmla="*/ 50 h 50"/>
                <a:gd name="T2" fmla="*/ 14 w 23"/>
                <a:gd name="T3" fmla="*/ 0 h 50"/>
                <a:gd name="T4" fmla="*/ 23 w 23"/>
                <a:gd name="T5" fmla="*/ 50 h 50"/>
                <a:gd name="T6" fmla="*/ 0 w 23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0">
                  <a:moveTo>
                    <a:pt x="0" y="50"/>
                  </a:moveTo>
                  <a:cubicBezTo>
                    <a:pt x="0" y="50"/>
                    <a:pt x="2" y="30"/>
                    <a:pt x="14" y="0"/>
                  </a:cubicBezTo>
                  <a:cubicBezTo>
                    <a:pt x="14" y="0"/>
                    <a:pt x="23" y="46"/>
                    <a:pt x="23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6" name="Freeform 211">
              <a:extLst>
                <a:ext uri="{FF2B5EF4-FFF2-40B4-BE49-F238E27FC236}">
                  <a16:creationId xmlns:a16="http://schemas.microsoft.com/office/drawing/2014/main" xmlns="" id="{9C599E2B-C1F2-8FB2-9F12-BE4104316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3" y="2277"/>
              <a:ext cx="65" cy="126"/>
            </a:xfrm>
            <a:custGeom>
              <a:avLst/>
              <a:gdLst>
                <a:gd name="T0" fmla="*/ 0 w 28"/>
                <a:gd name="T1" fmla="*/ 54 h 54"/>
                <a:gd name="T2" fmla="*/ 18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8" y="0"/>
                  </a:cubicBezTo>
                  <a:cubicBezTo>
                    <a:pt x="18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7" name="Freeform 212">
              <a:extLst>
                <a:ext uri="{FF2B5EF4-FFF2-40B4-BE49-F238E27FC236}">
                  <a16:creationId xmlns:a16="http://schemas.microsoft.com/office/drawing/2014/main" xmlns="" id="{84A92CED-E734-2D18-FBA3-E3C67165C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6" y="2277"/>
              <a:ext cx="64" cy="126"/>
            </a:xfrm>
            <a:custGeom>
              <a:avLst/>
              <a:gdLst>
                <a:gd name="T0" fmla="*/ 28 w 28"/>
                <a:gd name="T1" fmla="*/ 54 h 54"/>
                <a:gd name="T2" fmla="*/ 10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0" y="0"/>
                  </a:cubicBezTo>
                  <a:cubicBezTo>
                    <a:pt x="10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8" name="Freeform 213">
              <a:extLst>
                <a:ext uri="{FF2B5EF4-FFF2-40B4-BE49-F238E27FC236}">
                  <a16:creationId xmlns:a16="http://schemas.microsoft.com/office/drawing/2014/main" xmlns="" id="{10E78732-1715-B060-0CFC-5A55FBB5D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" y="2277"/>
              <a:ext cx="65" cy="126"/>
            </a:xfrm>
            <a:custGeom>
              <a:avLst/>
              <a:gdLst>
                <a:gd name="T0" fmla="*/ 28 w 28"/>
                <a:gd name="T1" fmla="*/ 54 h 54"/>
                <a:gd name="T2" fmla="*/ 11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9" name="Freeform 214">
              <a:extLst>
                <a:ext uri="{FF2B5EF4-FFF2-40B4-BE49-F238E27FC236}">
                  <a16:creationId xmlns:a16="http://schemas.microsoft.com/office/drawing/2014/main" xmlns="" id="{57D40F39-FC5D-344F-E7D9-DB7684309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" y="2303"/>
              <a:ext cx="41" cy="100"/>
            </a:xfrm>
            <a:custGeom>
              <a:avLst/>
              <a:gdLst>
                <a:gd name="T0" fmla="*/ 0 w 18"/>
                <a:gd name="T1" fmla="*/ 43 h 43"/>
                <a:gd name="T2" fmla="*/ 11 w 18"/>
                <a:gd name="T3" fmla="*/ 0 h 43"/>
                <a:gd name="T4" fmla="*/ 18 w 18"/>
                <a:gd name="T5" fmla="*/ 43 h 43"/>
                <a:gd name="T6" fmla="*/ 0 w 18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43">
                  <a:moveTo>
                    <a:pt x="0" y="43"/>
                  </a:moveTo>
                  <a:cubicBezTo>
                    <a:pt x="0" y="43"/>
                    <a:pt x="2" y="26"/>
                    <a:pt x="11" y="0"/>
                  </a:cubicBezTo>
                  <a:cubicBezTo>
                    <a:pt x="11" y="0"/>
                    <a:pt x="18" y="39"/>
                    <a:pt x="18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0" name="Freeform 215">
              <a:extLst>
                <a:ext uri="{FF2B5EF4-FFF2-40B4-BE49-F238E27FC236}">
                  <a16:creationId xmlns:a16="http://schemas.microsoft.com/office/drawing/2014/main" xmlns="" id="{0A35B4E2-9E99-A631-35F0-C65EC1CA2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0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5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1" name="Freeform 216">
              <a:extLst>
                <a:ext uri="{FF2B5EF4-FFF2-40B4-BE49-F238E27FC236}">
                  <a16:creationId xmlns:a16="http://schemas.microsoft.com/office/drawing/2014/main" xmlns="" id="{36C2D8D7-5C10-47F9-79B9-140A46B4C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2303"/>
              <a:ext cx="37" cy="100"/>
            </a:xfrm>
            <a:custGeom>
              <a:avLst/>
              <a:gdLst>
                <a:gd name="T0" fmla="*/ 0 w 16"/>
                <a:gd name="T1" fmla="*/ 43 h 43"/>
                <a:gd name="T2" fmla="*/ 10 w 16"/>
                <a:gd name="T3" fmla="*/ 0 h 43"/>
                <a:gd name="T4" fmla="*/ 16 w 16"/>
                <a:gd name="T5" fmla="*/ 43 h 43"/>
                <a:gd name="T6" fmla="*/ 0 w 16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43">
                  <a:moveTo>
                    <a:pt x="0" y="43"/>
                  </a:moveTo>
                  <a:cubicBezTo>
                    <a:pt x="0" y="43"/>
                    <a:pt x="2" y="23"/>
                    <a:pt x="10" y="0"/>
                  </a:cubicBezTo>
                  <a:cubicBezTo>
                    <a:pt x="10" y="0"/>
                    <a:pt x="16" y="40"/>
                    <a:pt x="16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2" name="Freeform 217">
              <a:extLst>
                <a:ext uri="{FF2B5EF4-FFF2-40B4-BE49-F238E27FC236}">
                  <a16:creationId xmlns:a16="http://schemas.microsoft.com/office/drawing/2014/main" xmlns="" id="{93BA96B0-0122-518D-F4EB-2E4950E24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8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3" name="Freeform 218">
              <a:extLst>
                <a:ext uri="{FF2B5EF4-FFF2-40B4-BE49-F238E27FC236}">
                  <a16:creationId xmlns:a16="http://schemas.microsoft.com/office/drawing/2014/main" xmlns="" id="{600CC98D-9FD1-C889-0BE5-DD2E5576B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8" y="2305"/>
              <a:ext cx="65" cy="98"/>
            </a:xfrm>
            <a:custGeom>
              <a:avLst/>
              <a:gdLst>
                <a:gd name="T0" fmla="*/ 28 w 28"/>
                <a:gd name="T1" fmla="*/ 42 h 42"/>
                <a:gd name="T2" fmla="*/ 11 w 28"/>
                <a:gd name="T3" fmla="*/ 0 h 42"/>
                <a:gd name="T4" fmla="*/ 0 w 28"/>
                <a:gd name="T5" fmla="*/ 42 h 42"/>
                <a:gd name="T6" fmla="*/ 28 w 2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42">
                  <a:moveTo>
                    <a:pt x="28" y="42"/>
                  </a:moveTo>
                  <a:cubicBezTo>
                    <a:pt x="28" y="42"/>
                    <a:pt x="25" y="24"/>
                    <a:pt x="11" y="0"/>
                  </a:cubicBezTo>
                  <a:cubicBezTo>
                    <a:pt x="11" y="0"/>
                    <a:pt x="0" y="39"/>
                    <a:pt x="0" y="42"/>
                  </a:cubicBezTo>
                  <a:lnTo>
                    <a:pt x="28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4" name="Freeform 219">
              <a:extLst>
                <a:ext uri="{FF2B5EF4-FFF2-40B4-BE49-F238E27FC236}">
                  <a16:creationId xmlns:a16="http://schemas.microsoft.com/office/drawing/2014/main" xmlns="" id="{87EDFE36-DD55-669D-DAB3-BF45134DB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8" y="2287"/>
              <a:ext cx="66" cy="116"/>
            </a:xfrm>
            <a:custGeom>
              <a:avLst/>
              <a:gdLst>
                <a:gd name="T0" fmla="*/ 0 w 29"/>
                <a:gd name="T1" fmla="*/ 50 h 50"/>
                <a:gd name="T2" fmla="*/ 18 w 29"/>
                <a:gd name="T3" fmla="*/ 0 h 50"/>
                <a:gd name="T4" fmla="*/ 29 w 29"/>
                <a:gd name="T5" fmla="*/ 50 h 50"/>
                <a:gd name="T6" fmla="*/ 0 w 29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0">
                  <a:moveTo>
                    <a:pt x="0" y="50"/>
                  </a:moveTo>
                  <a:cubicBezTo>
                    <a:pt x="0" y="50"/>
                    <a:pt x="3" y="30"/>
                    <a:pt x="18" y="0"/>
                  </a:cubicBezTo>
                  <a:cubicBezTo>
                    <a:pt x="18" y="0"/>
                    <a:pt x="29" y="46"/>
                    <a:pt x="29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5" name="Freeform 220">
              <a:extLst>
                <a:ext uri="{FF2B5EF4-FFF2-40B4-BE49-F238E27FC236}">
                  <a16:creationId xmlns:a16="http://schemas.microsoft.com/office/drawing/2014/main" xmlns="" id="{B6AF794D-6626-6791-185B-A3074BF2E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277"/>
              <a:ext cx="53" cy="126"/>
            </a:xfrm>
            <a:custGeom>
              <a:avLst/>
              <a:gdLst>
                <a:gd name="T0" fmla="*/ 0 w 23"/>
                <a:gd name="T1" fmla="*/ 54 h 54"/>
                <a:gd name="T2" fmla="*/ 14 w 23"/>
                <a:gd name="T3" fmla="*/ 0 h 54"/>
                <a:gd name="T4" fmla="*/ 23 w 23"/>
                <a:gd name="T5" fmla="*/ 54 h 54"/>
                <a:gd name="T6" fmla="*/ 0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0" y="54"/>
                  </a:moveTo>
                  <a:cubicBezTo>
                    <a:pt x="0" y="54"/>
                    <a:pt x="2" y="32"/>
                    <a:pt x="14" y="0"/>
                  </a:cubicBezTo>
                  <a:cubicBezTo>
                    <a:pt x="14" y="0"/>
                    <a:pt x="23" y="49"/>
                    <a:pt x="23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6" name="Freeform 221">
              <a:extLst>
                <a:ext uri="{FF2B5EF4-FFF2-40B4-BE49-F238E27FC236}">
                  <a16:creationId xmlns:a16="http://schemas.microsoft.com/office/drawing/2014/main" xmlns="" id="{4BE9C316-1920-7C77-8ACA-D9FC8E507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0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1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7" name="Freeform 222">
              <a:extLst>
                <a:ext uri="{FF2B5EF4-FFF2-40B4-BE49-F238E27FC236}">
                  <a16:creationId xmlns:a16="http://schemas.microsoft.com/office/drawing/2014/main" xmlns="" id="{A14DCF31-5368-EFB7-8AC2-E597F04EE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277"/>
              <a:ext cx="51" cy="126"/>
            </a:xfrm>
            <a:custGeom>
              <a:avLst/>
              <a:gdLst>
                <a:gd name="T0" fmla="*/ 22 w 22"/>
                <a:gd name="T1" fmla="*/ 54 h 54"/>
                <a:gd name="T2" fmla="*/ 8 w 22"/>
                <a:gd name="T3" fmla="*/ 0 h 54"/>
                <a:gd name="T4" fmla="*/ 0 w 22"/>
                <a:gd name="T5" fmla="*/ 54 h 54"/>
                <a:gd name="T6" fmla="*/ 22 w 22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4">
                  <a:moveTo>
                    <a:pt x="22" y="54"/>
                  </a:moveTo>
                  <a:cubicBezTo>
                    <a:pt x="22" y="54"/>
                    <a:pt x="20" y="32"/>
                    <a:pt x="8" y="0"/>
                  </a:cubicBezTo>
                  <a:cubicBezTo>
                    <a:pt x="8" y="0"/>
                    <a:pt x="0" y="49"/>
                    <a:pt x="0" y="54"/>
                  </a:cubicBezTo>
                  <a:lnTo>
                    <a:pt x="22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8" name="Freeform 223">
              <a:extLst>
                <a:ext uri="{FF2B5EF4-FFF2-40B4-BE49-F238E27FC236}">
                  <a16:creationId xmlns:a16="http://schemas.microsoft.com/office/drawing/2014/main" xmlns="" id="{754A1913-A697-5E38-39D5-8C0ECA346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" y="2303"/>
              <a:ext cx="32" cy="100"/>
            </a:xfrm>
            <a:custGeom>
              <a:avLst/>
              <a:gdLst>
                <a:gd name="T0" fmla="*/ 0 w 14"/>
                <a:gd name="T1" fmla="*/ 43 h 43"/>
                <a:gd name="T2" fmla="*/ 9 w 14"/>
                <a:gd name="T3" fmla="*/ 0 h 43"/>
                <a:gd name="T4" fmla="*/ 14 w 14"/>
                <a:gd name="T5" fmla="*/ 43 h 43"/>
                <a:gd name="T6" fmla="*/ 0 w 14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3">
                  <a:moveTo>
                    <a:pt x="0" y="43"/>
                  </a:moveTo>
                  <a:cubicBezTo>
                    <a:pt x="0" y="43"/>
                    <a:pt x="1" y="26"/>
                    <a:pt x="9" y="0"/>
                  </a:cubicBezTo>
                  <a:cubicBezTo>
                    <a:pt x="9" y="0"/>
                    <a:pt x="14" y="39"/>
                    <a:pt x="14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9" name="Freeform 224">
              <a:extLst>
                <a:ext uri="{FF2B5EF4-FFF2-40B4-BE49-F238E27FC236}">
                  <a16:creationId xmlns:a16="http://schemas.microsoft.com/office/drawing/2014/main" xmlns="" id="{8ED2F009-5006-ADEA-1148-5A6221059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0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0" name="Freeform 225">
              <a:extLst>
                <a:ext uri="{FF2B5EF4-FFF2-40B4-BE49-F238E27FC236}">
                  <a16:creationId xmlns:a16="http://schemas.microsoft.com/office/drawing/2014/main" xmlns="" id="{E28ED067-A1D1-BB05-EB87-A4458E348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" y="2303"/>
              <a:ext cx="30" cy="100"/>
            </a:xfrm>
            <a:custGeom>
              <a:avLst/>
              <a:gdLst>
                <a:gd name="T0" fmla="*/ 0 w 13"/>
                <a:gd name="T1" fmla="*/ 43 h 43"/>
                <a:gd name="T2" fmla="*/ 8 w 13"/>
                <a:gd name="T3" fmla="*/ 0 h 43"/>
                <a:gd name="T4" fmla="*/ 13 w 13"/>
                <a:gd name="T5" fmla="*/ 43 h 43"/>
                <a:gd name="T6" fmla="*/ 0 w 13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3" y="40"/>
                    <a:pt x="13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Freeform 226">
              <a:extLst>
                <a:ext uri="{FF2B5EF4-FFF2-40B4-BE49-F238E27FC236}">
                  <a16:creationId xmlns:a16="http://schemas.microsoft.com/office/drawing/2014/main" xmlns="" id="{AA060DD8-1075-D81A-124B-43B254B4A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0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2" name="Freeform 227">
              <a:extLst>
                <a:ext uri="{FF2B5EF4-FFF2-40B4-BE49-F238E27FC236}">
                  <a16:creationId xmlns:a16="http://schemas.microsoft.com/office/drawing/2014/main" xmlns="" id="{EDB2CDE7-1092-99DA-4D23-5643BAF10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6" y="2305"/>
              <a:ext cx="51" cy="98"/>
            </a:xfrm>
            <a:custGeom>
              <a:avLst/>
              <a:gdLst>
                <a:gd name="T0" fmla="*/ 22 w 22"/>
                <a:gd name="T1" fmla="*/ 42 h 42"/>
                <a:gd name="T2" fmla="*/ 8 w 22"/>
                <a:gd name="T3" fmla="*/ 0 h 42"/>
                <a:gd name="T4" fmla="*/ 0 w 22"/>
                <a:gd name="T5" fmla="*/ 42 h 42"/>
                <a:gd name="T6" fmla="*/ 22 w 2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2">
                  <a:moveTo>
                    <a:pt x="22" y="42"/>
                  </a:moveTo>
                  <a:cubicBezTo>
                    <a:pt x="22" y="42"/>
                    <a:pt x="20" y="24"/>
                    <a:pt x="8" y="0"/>
                  </a:cubicBezTo>
                  <a:cubicBezTo>
                    <a:pt x="8" y="0"/>
                    <a:pt x="0" y="39"/>
                    <a:pt x="0" y="42"/>
                  </a:cubicBezTo>
                  <a:lnTo>
                    <a:pt x="22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3" name="Freeform 228">
              <a:extLst>
                <a:ext uri="{FF2B5EF4-FFF2-40B4-BE49-F238E27FC236}">
                  <a16:creationId xmlns:a16="http://schemas.microsoft.com/office/drawing/2014/main" xmlns="" id="{AC81C04A-7EEF-94F1-CA3D-127775378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" y="2287"/>
              <a:ext cx="51" cy="116"/>
            </a:xfrm>
            <a:custGeom>
              <a:avLst/>
              <a:gdLst>
                <a:gd name="T0" fmla="*/ 0 w 22"/>
                <a:gd name="T1" fmla="*/ 50 h 50"/>
                <a:gd name="T2" fmla="*/ 14 w 22"/>
                <a:gd name="T3" fmla="*/ 0 h 50"/>
                <a:gd name="T4" fmla="*/ 22 w 22"/>
                <a:gd name="T5" fmla="*/ 50 h 50"/>
                <a:gd name="T6" fmla="*/ 0 w 22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0">
                  <a:moveTo>
                    <a:pt x="0" y="50"/>
                  </a:moveTo>
                  <a:cubicBezTo>
                    <a:pt x="0" y="50"/>
                    <a:pt x="2" y="30"/>
                    <a:pt x="14" y="0"/>
                  </a:cubicBezTo>
                  <a:cubicBezTo>
                    <a:pt x="14" y="0"/>
                    <a:pt x="22" y="46"/>
                    <a:pt x="22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Freeform 229">
              <a:extLst>
                <a:ext uri="{FF2B5EF4-FFF2-40B4-BE49-F238E27FC236}">
                  <a16:creationId xmlns:a16="http://schemas.microsoft.com/office/drawing/2014/main" xmlns="" id="{6736D126-21ED-29A9-7D23-2CD1F555C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" y="2277"/>
              <a:ext cx="65" cy="126"/>
            </a:xfrm>
            <a:custGeom>
              <a:avLst/>
              <a:gdLst>
                <a:gd name="T0" fmla="*/ 0 w 28"/>
                <a:gd name="T1" fmla="*/ 54 h 54"/>
                <a:gd name="T2" fmla="*/ 18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8" y="0"/>
                  </a:cubicBezTo>
                  <a:cubicBezTo>
                    <a:pt x="18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5" name="Freeform 230">
              <a:extLst>
                <a:ext uri="{FF2B5EF4-FFF2-40B4-BE49-F238E27FC236}">
                  <a16:creationId xmlns:a16="http://schemas.microsoft.com/office/drawing/2014/main" xmlns="" id="{739B4B57-AADD-090D-D41B-3A3CB9ABE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" y="2277"/>
              <a:ext cx="65" cy="126"/>
            </a:xfrm>
            <a:custGeom>
              <a:avLst/>
              <a:gdLst>
                <a:gd name="T0" fmla="*/ 28 w 28"/>
                <a:gd name="T1" fmla="*/ 54 h 54"/>
                <a:gd name="T2" fmla="*/ 10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0" y="0"/>
                  </a:cubicBezTo>
                  <a:cubicBezTo>
                    <a:pt x="10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6" name="Freeform 231">
              <a:extLst>
                <a:ext uri="{FF2B5EF4-FFF2-40B4-BE49-F238E27FC236}">
                  <a16:creationId xmlns:a16="http://schemas.microsoft.com/office/drawing/2014/main" xmlns="" id="{59A8B2EE-2378-29C4-AA97-E2D9060F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6" y="2277"/>
              <a:ext cx="64" cy="126"/>
            </a:xfrm>
            <a:custGeom>
              <a:avLst/>
              <a:gdLst>
                <a:gd name="T0" fmla="*/ 28 w 28"/>
                <a:gd name="T1" fmla="*/ 54 h 54"/>
                <a:gd name="T2" fmla="*/ 10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0" y="0"/>
                  </a:cubicBezTo>
                  <a:cubicBezTo>
                    <a:pt x="10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7" name="Freeform 232">
              <a:extLst>
                <a:ext uri="{FF2B5EF4-FFF2-40B4-BE49-F238E27FC236}">
                  <a16:creationId xmlns:a16="http://schemas.microsoft.com/office/drawing/2014/main" xmlns="" id="{E3FC80D2-E4BC-9488-49EF-A162D602D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2303"/>
              <a:ext cx="42" cy="100"/>
            </a:xfrm>
            <a:custGeom>
              <a:avLst/>
              <a:gdLst>
                <a:gd name="T0" fmla="*/ 0 w 18"/>
                <a:gd name="T1" fmla="*/ 43 h 43"/>
                <a:gd name="T2" fmla="*/ 11 w 18"/>
                <a:gd name="T3" fmla="*/ 0 h 43"/>
                <a:gd name="T4" fmla="*/ 18 w 18"/>
                <a:gd name="T5" fmla="*/ 43 h 43"/>
                <a:gd name="T6" fmla="*/ 0 w 18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43">
                  <a:moveTo>
                    <a:pt x="0" y="43"/>
                  </a:moveTo>
                  <a:cubicBezTo>
                    <a:pt x="0" y="43"/>
                    <a:pt x="2" y="26"/>
                    <a:pt x="11" y="0"/>
                  </a:cubicBezTo>
                  <a:cubicBezTo>
                    <a:pt x="11" y="0"/>
                    <a:pt x="18" y="39"/>
                    <a:pt x="18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8" name="Freeform 233">
              <a:extLst>
                <a:ext uri="{FF2B5EF4-FFF2-40B4-BE49-F238E27FC236}">
                  <a16:creationId xmlns:a16="http://schemas.microsoft.com/office/drawing/2014/main" xmlns="" id="{3850C6FA-31C3-C07A-888E-9E8D7374E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5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9" name="Freeform 234">
              <a:extLst>
                <a:ext uri="{FF2B5EF4-FFF2-40B4-BE49-F238E27FC236}">
                  <a16:creationId xmlns:a16="http://schemas.microsoft.com/office/drawing/2014/main" xmlns="" id="{FC8462D2-9D73-B756-7ABB-78C725D75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" y="2303"/>
              <a:ext cx="37" cy="100"/>
            </a:xfrm>
            <a:custGeom>
              <a:avLst/>
              <a:gdLst>
                <a:gd name="T0" fmla="*/ 0 w 16"/>
                <a:gd name="T1" fmla="*/ 43 h 43"/>
                <a:gd name="T2" fmla="*/ 10 w 16"/>
                <a:gd name="T3" fmla="*/ 0 h 43"/>
                <a:gd name="T4" fmla="*/ 16 w 16"/>
                <a:gd name="T5" fmla="*/ 43 h 43"/>
                <a:gd name="T6" fmla="*/ 0 w 16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43">
                  <a:moveTo>
                    <a:pt x="0" y="43"/>
                  </a:moveTo>
                  <a:cubicBezTo>
                    <a:pt x="0" y="43"/>
                    <a:pt x="1" y="23"/>
                    <a:pt x="10" y="0"/>
                  </a:cubicBezTo>
                  <a:cubicBezTo>
                    <a:pt x="10" y="0"/>
                    <a:pt x="16" y="40"/>
                    <a:pt x="16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0" name="Freeform 235">
              <a:extLst>
                <a:ext uri="{FF2B5EF4-FFF2-40B4-BE49-F238E27FC236}">
                  <a16:creationId xmlns:a16="http://schemas.microsoft.com/office/drawing/2014/main" xmlns="" id="{E888CA32-BD70-ABA8-3893-B3C2103F3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1" name="Freeform 236">
              <a:extLst>
                <a:ext uri="{FF2B5EF4-FFF2-40B4-BE49-F238E27FC236}">
                  <a16:creationId xmlns:a16="http://schemas.microsoft.com/office/drawing/2014/main" xmlns="" id="{79A2C37E-D484-5BFB-07F4-D72B2C54C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" y="2305"/>
              <a:ext cx="65" cy="98"/>
            </a:xfrm>
            <a:custGeom>
              <a:avLst/>
              <a:gdLst>
                <a:gd name="T0" fmla="*/ 28 w 28"/>
                <a:gd name="T1" fmla="*/ 42 h 42"/>
                <a:gd name="T2" fmla="*/ 11 w 28"/>
                <a:gd name="T3" fmla="*/ 0 h 42"/>
                <a:gd name="T4" fmla="*/ 0 w 28"/>
                <a:gd name="T5" fmla="*/ 42 h 42"/>
                <a:gd name="T6" fmla="*/ 28 w 2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42">
                  <a:moveTo>
                    <a:pt x="28" y="42"/>
                  </a:moveTo>
                  <a:cubicBezTo>
                    <a:pt x="28" y="42"/>
                    <a:pt x="25" y="24"/>
                    <a:pt x="11" y="0"/>
                  </a:cubicBezTo>
                  <a:cubicBezTo>
                    <a:pt x="11" y="0"/>
                    <a:pt x="0" y="39"/>
                    <a:pt x="0" y="42"/>
                  </a:cubicBezTo>
                  <a:lnTo>
                    <a:pt x="28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2" name="Freeform 237">
              <a:extLst>
                <a:ext uri="{FF2B5EF4-FFF2-40B4-BE49-F238E27FC236}">
                  <a16:creationId xmlns:a16="http://schemas.microsoft.com/office/drawing/2014/main" xmlns="" id="{C706398B-4B3B-2618-8329-FF1773F84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8" y="2287"/>
              <a:ext cx="64" cy="116"/>
            </a:xfrm>
            <a:custGeom>
              <a:avLst/>
              <a:gdLst>
                <a:gd name="T0" fmla="*/ 0 w 28"/>
                <a:gd name="T1" fmla="*/ 50 h 50"/>
                <a:gd name="T2" fmla="*/ 18 w 28"/>
                <a:gd name="T3" fmla="*/ 0 h 50"/>
                <a:gd name="T4" fmla="*/ 28 w 28"/>
                <a:gd name="T5" fmla="*/ 50 h 50"/>
                <a:gd name="T6" fmla="*/ 0 w 28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0">
                  <a:moveTo>
                    <a:pt x="0" y="50"/>
                  </a:moveTo>
                  <a:cubicBezTo>
                    <a:pt x="0" y="50"/>
                    <a:pt x="3" y="30"/>
                    <a:pt x="18" y="0"/>
                  </a:cubicBezTo>
                  <a:cubicBezTo>
                    <a:pt x="18" y="0"/>
                    <a:pt x="28" y="46"/>
                    <a:pt x="28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3" name="Freeform 238">
              <a:extLst>
                <a:ext uri="{FF2B5EF4-FFF2-40B4-BE49-F238E27FC236}">
                  <a16:creationId xmlns:a16="http://schemas.microsoft.com/office/drawing/2014/main" xmlns="" id="{B99E78FC-EF9E-CDA2-5155-F27F2A6CE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4" y="2277"/>
              <a:ext cx="50" cy="126"/>
            </a:xfrm>
            <a:custGeom>
              <a:avLst/>
              <a:gdLst>
                <a:gd name="T0" fmla="*/ 0 w 22"/>
                <a:gd name="T1" fmla="*/ 54 h 54"/>
                <a:gd name="T2" fmla="*/ 14 w 22"/>
                <a:gd name="T3" fmla="*/ 0 h 54"/>
                <a:gd name="T4" fmla="*/ 22 w 22"/>
                <a:gd name="T5" fmla="*/ 54 h 54"/>
                <a:gd name="T6" fmla="*/ 0 w 22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4">
                  <a:moveTo>
                    <a:pt x="0" y="54"/>
                  </a:moveTo>
                  <a:cubicBezTo>
                    <a:pt x="0" y="54"/>
                    <a:pt x="2" y="32"/>
                    <a:pt x="14" y="0"/>
                  </a:cubicBezTo>
                  <a:cubicBezTo>
                    <a:pt x="14" y="0"/>
                    <a:pt x="22" y="49"/>
                    <a:pt x="22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4" name="Freeform 239">
              <a:extLst>
                <a:ext uri="{FF2B5EF4-FFF2-40B4-BE49-F238E27FC236}">
                  <a16:creationId xmlns:a16="http://schemas.microsoft.com/office/drawing/2014/main" xmlns="" id="{3D8A2BF6-2073-5F1A-1A56-1F103F75F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5" name="Freeform 240">
              <a:extLst>
                <a:ext uri="{FF2B5EF4-FFF2-40B4-BE49-F238E27FC236}">
                  <a16:creationId xmlns:a16="http://schemas.microsoft.com/office/drawing/2014/main" xmlns="" id="{EC262999-30BE-0021-5DDA-3B3F7AC5A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1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6" name="Freeform 241">
              <a:extLst>
                <a:ext uri="{FF2B5EF4-FFF2-40B4-BE49-F238E27FC236}">
                  <a16:creationId xmlns:a16="http://schemas.microsoft.com/office/drawing/2014/main" xmlns="" id="{18C8E21C-420A-36F9-34E7-715224D41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" y="2303"/>
              <a:ext cx="32" cy="100"/>
            </a:xfrm>
            <a:custGeom>
              <a:avLst/>
              <a:gdLst>
                <a:gd name="T0" fmla="*/ 0 w 14"/>
                <a:gd name="T1" fmla="*/ 43 h 43"/>
                <a:gd name="T2" fmla="*/ 9 w 14"/>
                <a:gd name="T3" fmla="*/ 0 h 43"/>
                <a:gd name="T4" fmla="*/ 14 w 14"/>
                <a:gd name="T5" fmla="*/ 43 h 43"/>
                <a:gd name="T6" fmla="*/ 0 w 14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3">
                  <a:moveTo>
                    <a:pt x="0" y="43"/>
                  </a:moveTo>
                  <a:cubicBezTo>
                    <a:pt x="0" y="43"/>
                    <a:pt x="1" y="26"/>
                    <a:pt x="9" y="0"/>
                  </a:cubicBezTo>
                  <a:cubicBezTo>
                    <a:pt x="9" y="0"/>
                    <a:pt x="14" y="39"/>
                    <a:pt x="14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7" name="Freeform 242">
              <a:extLst>
                <a:ext uri="{FF2B5EF4-FFF2-40B4-BE49-F238E27FC236}">
                  <a16:creationId xmlns:a16="http://schemas.microsoft.com/office/drawing/2014/main" xmlns="" id="{B8221058-B5E3-896A-CD7D-98849D540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3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8" name="Freeform 243">
              <a:extLst>
                <a:ext uri="{FF2B5EF4-FFF2-40B4-BE49-F238E27FC236}">
                  <a16:creationId xmlns:a16="http://schemas.microsoft.com/office/drawing/2014/main" xmlns="" id="{2B0C5562-1612-F8C0-78E8-03F225C32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" y="2303"/>
              <a:ext cx="30" cy="100"/>
            </a:xfrm>
            <a:custGeom>
              <a:avLst/>
              <a:gdLst>
                <a:gd name="T0" fmla="*/ 0 w 13"/>
                <a:gd name="T1" fmla="*/ 43 h 43"/>
                <a:gd name="T2" fmla="*/ 8 w 13"/>
                <a:gd name="T3" fmla="*/ 0 h 43"/>
                <a:gd name="T4" fmla="*/ 13 w 13"/>
                <a:gd name="T5" fmla="*/ 43 h 43"/>
                <a:gd name="T6" fmla="*/ 0 w 13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3" y="40"/>
                    <a:pt x="13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9" name="Freeform 244">
              <a:extLst>
                <a:ext uri="{FF2B5EF4-FFF2-40B4-BE49-F238E27FC236}">
                  <a16:creationId xmlns:a16="http://schemas.microsoft.com/office/drawing/2014/main" xmlns="" id="{2D150839-E26A-7D44-EE25-FED799F28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60" name="Freeform 245">
              <a:extLst>
                <a:ext uri="{FF2B5EF4-FFF2-40B4-BE49-F238E27FC236}">
                  <a16:creationId xmlns:a16="http://schemas.microsoft.com/office/drawing/2014/main" xmlns="" id="{4EB76825-1B31-3AA3-84EC-FFE2FD2F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2305"/>
              <a:ext cx="53" cy="98"/>
            </a:xfrm>
            <a:custGeom>
              <a:avLst/>
              <a:gdLst>
                <a:gd name="T0" fmla="*/ 23 w 23"/>
                <a:gd name="T1" fmla="*/ 42 h 42"/>
                <a:gd name="T2" fmla="*/ 9 w 23"/>
                <a:gd name="T3" fmla="*/ 0 h 42"/>
                <a:gd name="T4" fmla="*/ 0 w 23"/>
                <a:gd name="T5" fmla="*/ 42 h 42"/>
                <a:gd name="T6" fmla="*/ 23 w 23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23" y="42"/>
                  </a:moveTo>
                  <a:cubicBezTo>
                    <a:pt x="23" y="42"/>
                    <a:pt x="21" y="24"/>
                    <a:pt x="9" y="0"/>
                  </a:cubicBezTo>
                  <a:cubicBezTo>
                    <a:pt x="9" y="0"/>
                    <a:pt x="0" y="39"/>
                    <a:pt x="0" y="42"/>
                  </a:cubicBezTo>
                  <a:lnTo>
                    <a:pt x="23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61" name="Freeform 246">
              <a:extLst>
                <a:ext uri="{FF2B5EF4-FFF2-40B4-BE49-F238E27FC236}">
                  <a16:creationId xmlns:a16="http://schemas.microsoft.com/office/drawing/2014/main" xmlns="" id="{ACF4388C-E747-76E9-F142-3D2E503B9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287"/>
              <a:ext cx="50" cy="116"/>
            </a:xfrm>
            <a:custGeom>
              <a:avLst/>
              <a:gdLst>
                <a:gd name="T0" fmla="*/ 0 w 22"/>
                <a:gd name="T1" fmla="*/ 50 h 50"/>
                <a:gd name="T2" fmla="*/ 14 w 22"/>
                <a:gd name="T3" fmla="*/ 0 h 50"/>
                <a:gd name="T4" fmla="*/ 22 w 22"/>
                <a:gd name="T5" fmla="*/ 50 h 50"/>
                <a:gd name="T6" fmla="*/ 0 w 22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0">
                  <a:moveTo>
                    <a:pt x="0" y="50"/>
                  </a:moveTo>
                  <a:cubicBezTo>
                    <a:pt x="0" y="50"/>
                    <a:pt x="2" y="30"/>
                    <a:pt x="14" y="0"/>
                  </a:cubicBezTo>
                  <a:cubicBezTo>
                    <a:pt x="14" y="0"/>
                    <a:pt x="22" y="46"/>
                    <a:pt x="22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62" name="Freeform 247">
              <a:extLst>
                <a:ext uri="{FF2B5EF4-FFF2-40B4-BE49-F238E27FC236}">
                  <a16:creationId xmlns:a16="http://schemas.microsoft.com/office/drawing/2014/main" xmlns="" id="{3D6B53F0-F6F8-70F6-98FF-DD04CAF33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7" y="2277"/>
              <a:ext cx="64" cy="126"/>
            </a:xfrm>
            <a:custGeom>
              <a:avLst/>
              <a:gdLst>
                <a:gd name="T0" fmla="*/ 0 w 28"/>
                <a:gd name="T1" fmla="*/ 54 h 54"/>
                <a:gd name="T2" fmla="*/ 17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7" y="0"/>
                  </a:cubicBezTo>
                  <a:cubicBezTo>
                    <a:pt x="17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63" name="Freeform 248">
              <a:extLst>
                <a:ext uri="{FF2B5EF4-FFF2-40B4-BE49-F238E27FC236}">
                  <a16:creationId xmlns:a16="http://schemas.microsoft.com/office/drawing/2014/main" xmlns="" id="{E2E3031D-B271-8C68-2CED-66524A466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7" y="2277"/>
              <a:ext cx="67" cy="126"/>
            </a:xfrm>
            <a:custGeom>
              <a:avLst/>
              <a:gdLst>
                <a:gd name="T0" fmla="*/ 29 w 29"/>
                <a:gd name="T1" fmla="*/ 54 h 54"/>
                <a:gd name="T2" fmla="*/ 11 w 29"/>
                <a:gd name="T3" fmla="*/ 0 h 54"/>
                <a:gd name="T4" fmla="*/ 0 w 29"/>
                <a:gd name="T5" fmla="*/ 54 h 54"/>
                <a:gd name="T6" fmla="*/ 29 w 29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9" y="54"/>
                  </a:moveTo>
                  <a:cubicBezTo>
                    <a:pt x="29" y="54"/>
                    <a:pt x="26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9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64" name="Freeform 249">
              <a:extLst>
                <a:ext uri="{FF2B5EF4-FFF2-40B4-BE49-F238E27FC236}">
                  <a16:creationId xmlns:a16="http://schemas.microsoft.com/office/drawing/2014/main" xmlns="" id="{CDFFF426-B3C2-CAE2-7ED3-ACC438158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9" y="2277"/>
              <a:ext cx="65" cy="126"/>
            </a:xfrm>
            <a:custGeom>
              <a:avLst/>
              <a:gdLst>
                <a:gd name="T0" fmla="*/ 28 w 28"/>
                <a:gd name="T1" fmla="*/ 54 h 54"/>
                <a:gd name="T2" fmla="*/ 10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0" y="0"/>
                  </a:cubicBezTo>
                  <a:cubicBezTo>
                    <a:pt x="10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65" name="Freeform 250">
              <a:extLst>
                <a:ext uri="{FF2B5EF4-FFF2-40B4-BE49-F238E27FC236}">
                  <a16:creationId xmlns:a16="http://schemas.microsoft.com/office/drawing/2014/main" xmlns="" id="{52D266A1-43BA-026A-114D-E336CB381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4" y="2303"/>
              <a:ext cx="39" cy="100"/>
            </a:xfrm>
            <a:custGeom>
              <a:avLst/>
              <a:gdLst>
                <a:gd name="T0" fmla="*/ 0 w 17"/>
                <a:gd name="T1" fmla="*/ 43 h 43"/>
                <a:gd name="T2" fmla="*/ 11 w 17"/>
                <a:gd name="T3" fmla="*/ 0 h 43"/>
                <a:gd name="T4" fmla="*/ 17 w 17"/>
                <a:gd name="T5" fmla="*/ 43 h 43"/>
                <a:gd name="T6" fmla="*/ 0 w 17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3">
                  <a:moveTo>
                    <a:pt x="0" y="43"/>
                  </a:moveTo>
                  <a:cubicBezTo>
                    <a:pt x="0" y="43"/>
                    <a:pt x="2" y="26"/>
                    <a:pt x="11" y="0"/>
                  </a:cubicBezTo>
                  <a:cubicBezTo>
                    <a:pt x="11" y="0"/>
                    <a:pt x="17" y="39"/>
                    <a:pt x="17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66" name="Freeform 251">
              <a:extLst>
                <a:ext uri="{FF2B5EF4-FFF2-40B4-BE49-F238E27FC236}">
                  <a16:creationId xmlns:a16="http://schemas.microsoft.com/office/drawing/2014/main" xmlns="" id="{9625C3B0-A3A5-9802-2CDB-A462BB5DA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4" y="2319"/>
              <a:ext cx="36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67" name="Freeform 252">
              <a:extLst>
                <a:ext uri="{FF2B5EF4-FFF2-40B4-BE49-F238E27FC236}">
                  <a16:creationId xmlns:a16="http://schemas.microsoft.com/office/drawing/2014/main" xmlns="" id="{72C6B8BC-7D1C-D688-412F-3FB1E3F8B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" y="2303"/>
              <a:ext cx="40" cy="100"/>
            </a:xfrm>
            <a:custGeom>
              <a:avLst/>
              <a:gdLst>
                <a:gd name="T0" fmla="*/ 0 w 17"/>
                <a:gd name="T1" fmla="*/ 43 h 43"/>
                <a:gd name="T2" fmla="*/ 11 w 17"/>
                <a:gd name="T3" fmla="*/ 0 h 43"/>
                <a:gd name="T4" fmla="*/ 17 w 17"/>
                <a:gd name="T5" fmla="*/ 43 h 43"/>
                <a:gd name="T6" fmla="*/ 0 w 17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3">
                  <a:moveTo>
                    <a:pt x="0" y="43"/>
                  </a:moveTo>
                  <a:cubicBezTo>
                    <a:pt x="0" y="43"/>
                    <a:pt x="2" y="23"/>
                    <a:pt x="11" y="0"/>
                  </a:cubicBezTo>
                  <a:cubicBezTo>
                    <a:pt x="11" y="0"/>
                    <a:pt x="17" y="40"/>
                    <a:pt x="17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68" name="Freeform 253">
              <a:extLst>
                <a:ext uri="{FF2B5EF4-FFF2-40B4-BE49-F238E27FC236}">
                  <a16:creationId xmlns:a16="http://schemas.microsoft.com/office/drawing/2014/main" xmlns="" id="{C8FD8D59-413F-B3B8-06FD-914023DA5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" y="2319"/>
              <a:ext cx="36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5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69" name="Freeform 254">
              <a:extLst>
                <a:ext uri="{FF2B5EF4-FFF2-40B4-BE49-F238E27FC236}">
                  <a16:creationId xmlns:a16="http://schemas.microsoft.com/office/drawing/2014/main" xmlns="" id="{BD392DF6-3CEA-4DE3-7A22-53E20F423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2" y="2305"/>
              <a:ext cx="65" cy="98"/>
            </a:xfrm>
            <a:custGeom>
              <a:avLst/>
              <a:gdLst>
                <a:gd name="T0" fmla="*/ 28 w 28"/>
                <a:gd name="T1" fmla="*/ 42 h 42"/>
                <a:gd name="T2" fmla="*/ 10 w 28"/>
                <a:gd name="T3" fmla="*/ 0 h 42"/>
                <a:gd name="T4" fmla="*/ 0 w 28"/>
                <a:gd name="T5" fmla="*/ 42 h 42"/>
                <a:gd name="T6" fmla="*/ 28 w 2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42">
                  <a:moveTo>
                    <a:pt x="28" y="42"/>
                  </a:moveTo>
                  <a:cubicBezTo>
                    <a:pt x="28" y="42"/>
                    <a:pt x="25" y="24"/>
                    <a:pt x="10" y="0"/>
                  </a:cubicBezTo>
                  <a:cubicBezTo>
                    <a:pt x="10" y="0"/>
                    <a:pt x="0" y="39"/>
                    <a:pt x="0" y="42"/>
                  </a:cubicBezTo>
                  <a:lnTo>
                    <a:pt x="28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0" name="Freeform 255">
              <a:extLst>
                <a:ext uri="{FF2B5EF4-FFF2-40B4-BE49-F238E27FC236}">
                  <a16:creationId xmlns:a16="http://schemas.microsoft.com/office/drawing/2014/main" xmlns="" id="{3CB3BDFC-C049-8535-CEA6-B99E3322D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1" y="2287"/>
              <a:ext cx="65" cy="116"/>
            </a:xfrm>
            <a:custGeom>
              <a:avLst/>
              <a:gdLst>
                <a:gd name="T0" fmla="*/ 0 w 28"/>
                <a:gd name="T1" fmla="*/ 50 h 50"/>
                <a:gd name="T2" fmla="*/ 18 w 28"/>
                <a:gd name="T3" fmla="*/ 0 h 50"/>
                <a:gd name="T4" fmla="*/ 28 w 28"/>
                <a:gd name="T5" fmla="*/ 50 h 50"/>
                <a:gd name="T6" fmla="*/ 0 w 28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0">
                  <a:moveTo>
                    <a:pt x="0" y="50"/>
                  </a:moveTo>
                  <a:cubicBezTo>
                    <a:pt x="0" y="50"/>
                    <a:pt x="3" y="30"/>
                    <a:pt x="18" y="0"/>
                  </a:cubicBezTo>
                  <a:cubicBezTo>
                    <a:pt x="18" y="0"/>
                    <a:pt x="28" y="46"/>
                    <a:pt x="28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1" name="Freeform 256">
              <a:extLst>
                <a:ext uri="{FF2B5EF4-FFF2-40B4-BE49-F238E27FC236}">
                  <a16:creationId xmlns:a16="http://schemas.microsoft.com/office/drawing/2014/main" xmlns="" id="{FB8E6D92-AE71-6BF2-1586-F9B268577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4" y="2277"/>
              <a:ext cx="51" cy="126"/>
            </a:xfrm>
            <a:custGeom>
              <a:avLst/>
              <a:gdLst>
                <a:gd name="T0" fmla="*/ 0 w 22"/>
                <a:gd name="T1" fmla="*/ 54 h 54"/>
                <a:gd name="T2" fmla="*/ 14 w 22"/>
                <a:gd name="T3" fmla="*/ 0 h 54"/>
                <a:gd name="T4" fmla="*/ 22 w 22"/>
                <a:gd name="T5" fmla="*/ 54 h 54"/>
                <a:gd name="T6" fmla="*/ 0 w 22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4">
                  <a:moveTo>
                    <a:pt x="0" y="54"/>
                  </a:moveTo>
                  <a:cubicBezTo>
                    <a:pt x="0" y="54"/>
                    <a:pt x="2" y="32"/>
                    <a:pt x="14" y="0"/>
                  </a:cubicBezTo>
                  <a:cubicBezTo>
                    <a:pt x="14" y="0"/>
                    <a:pt x="22" y="49"/>
                    <a:pt x="22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2" name="Freeform 257">
              <a:extLst>
                <a:ext uri="{FF2B5EF4-FFF2-40B4-BE49-F238E27FC236}">
                  <a16:creationId xmlns:a16="http://schemas.microsoft.com/office/drawing/2014/main" xmlns="" id="{43EC2239-9666-6AFE-3DAA-FB315250E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3" name="Freeform 258">
              <a:extLst>
                <a:ext uri="{FF2B5EF4-FFF2-40B4-BE49-F238E27FC236}">
                  <a16:creationId xmlns:a16="http://schemas.microsoft.com/office/drawing/2014/main" xmlns="" id="{1283DD3B-CB02-ADB0-3F6D-6D6F8FCC3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1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4" name="Freeform 259">
              <a:extLst>
                <a:ext uri="{FF2B5EF4-FFF2-40B4-BE49-F238E27FC236}">
                  <a16:creationId xmlns:a16="http://schemas.microsoft.com/office/drawing/2014/main" xmlns="" id="{44896556-5831-3BB0-7393-14C4C6A65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6" y="2303"/>
              <a:ext cx="32" cy="100"/>
            </a:xfrm>
            <a:custGeom>
              <a:avLst/>
              <a:gdLst>
                <a:gd name="T0" fmla="*/ 0 w 14"/>
                <a:gd name="T1" fmla="*/ 43 h 43"/>
                <a:gd name="T2" fmla="*/ 8 w 14"/>
                <a:gd name="T3" fmla="*/ 0 h 43"/>
                <a:gd name="T4" fmla="*/ 14 w 14"/>
                <a:gd name="T5" fmla="*/ 43 h 43"/>
                <a:gd name="T6" fmla="*/ 0 w 14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3">
                  <a:moveTo>
                    <a:pt x="0" y="43"/>
                  </a:moveTo>
                  <a:cubicBezTo>
                    <a:pt x="0" y="43"/>
                    <a:pt x="1" y="26"/>
                    <a:pt x="8" y="0"/>
                  </a:cubicBezTo>
                  <a:cubicBezTo>
                    <a:pt x="8" y="0"/>
                    <a:pt x="14" y="39"/>
                    <a:pt x="14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5" name="Freeform 260">
              <a:extLst>
                <a:ext uri="{FF2B5EF4-FFF2-40B4-BE49-F238E27FC236}">
                  <a16:creationId xmlns:a16="http://schemas.microsoft.com/office/drawing/2014/main" xmlns="" id="{A3716A4B-7392-C971-B6A8-5DAFAED2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6" name="Freeform 261">
              <a:extLst>
                <a:ext uri="{FF2B5EF4-FFF2-40B4-BE49-F238E27FC236}">
                  <a16:creationId xmlns:a16="http://schemas.microsoft.com/office/drawing/2014/main" xmlns="" id="{CAE77FEE-2D36-6712-7EF6-C432858E7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4" y="2303"/>
              <a:ext cx="30" cy="100"/>
            </a:xfrm>
            <a:custGeom>
              <a:avLst/>
              <a:gdLst>
                <a:gd name="T0" fmla="*/ 0 w 13"/>
                <a:gd name="T1" fmla="*/ 43 h 43"/>
                <a:gd name="T2" fmla="*/ 8 w 13"/>
                <a:gd name="T3" fmla="*/ 0 h 43"/>
                <a:gd name="T4" fmla="*/ 13 w 13"/>
                <a:gd name="T5" fmla="*/ 43 h 43"/>
                <a:gd name="T6" fmla="*/ 0 w 13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3" y="40"/>
                    <a:pt x="13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7" name="Freeform 262">
              <a:extLst>
                <a:ext uri="{FF2B5EF4-FFF2-40B4-BE49-F238E27FC236}">
                  <a16:creationId xmlns:a16="http://schemas.microsoft.com/office/drawing/2014/main" xmlns="" id="{D930B637-431C-E085-BBA9-DAF25D7D7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4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4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4" y="0"/>
                  </a:cubicBezTo>
                  <a:cubicBezTo>
                    <a:pt x="4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8" name="Freeform 263">
              <a:extLst>
                <a:ext uri="{FF2B5EF4-FFF2-40B4-BE49-F238E27FC236}">
                  <a16:creationId xmlns:a16="http://schemas.microsoft.com/office/drawing/2014/main" xmlns="" id="{08870B30-DE20-9008-B9B3-F00760CE2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8" y="2305"/>
              <a:ext cx="53" cy="98"/>
            </a:xfrm>
            <a:custGeom>
              <a:avLst/>
              <a:gdLst>
                <a:gd name="T0" fmla="*/ 23 w 23"/>
                <a:gd name="T1" fmla="*/ 42 h 42"/>
                <a:gd name="T2" fmla="*/ 9 w 23"/>
                <a:gd name="T3" fmla="*/ 0 h 42"/>
                <a:gd name="T4" fmla="*/ 0 w 23"/>
                <a:gd name="T5" fmla="*/ 42 h 42"/>
                <a:gd name="T6" fmla="*/ 23 w 23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23" y="42"/>
                  </a:moveTo>
                  <a:cubicBezTo>
                    <a:pt x="23" y="42"/>
                    <a:pt x="21" y="24"/>
                    <a:pt x="9" y="0"/>
                  </a:cubicBezTo>
                  <a:cubicBezTo>
                    <a:pt x="9" y="0"/>
                    <a:pt x="0" y="39"/>
                    <a:pt x="0" y="42"/>
                  </a:cubicBezTo>
                  <a:lnTo>
                    <a:pt x="23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9" name="Freeform 264">
              <a:extLst>
                <a:ext uri="{FF2B5EF4-FFF2-40B4-BE49-F238E27FC236}">
                  <a16:creationId xmlns:a16="http://schemas.microsoft.com/office/drawing/2014/main" xmlns="" id="{2B655409-A9E9-A2B1-A3D9-B4E0E51CE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5" y="2287"/>
              <a:ext cx="53" cy="116"/>
            </a:xfrm>
            <a:custGeom>
              <a:avLst/>
              <a:gdLst>
                <a:gd name="T0" fmla="*/ 0 w 23"/>
                <a:gd name="T1" fmla="*/ 50 h 50"/>
                <a:gd name="T2" fmla="*/ 15 w 23"/>
                <a:gd name="T3" fmla="*/ 0 h 50"/>
                <a:gd name="T4" fmla="*/ 23 w 23"/>
                <a:gd name="T5" fmla="*/ 50 h 50"/>
                <a:gd name="T6" fmla="*/ 0 w 23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0">
                  <a:moveTo>
                    <a:pt x="0" y="50"/>
                  </a:moveTo>
                  <a:cubicBezTo>
                    <a:pt x="0" y="50"/>
                    <a:pt x="3" y="30"/>
                    <a:pt x="15" y="0"/>
                  </a:cubicBezTo>
                  <a:cubicBezTo>
                    <a:pt x="15" y="0"/>
                    <a:pt x="23" y="46"/>
                    <a:pt x="23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0" name="Freeform 265">
              <a:extLst>
                <a:ext uri="{FF2B5EF4-FFF2-40B4-BE49-F238E27FC236}">
                  <a16:creationId xmlns:a16="http://schemas.microsoft.com/office/drawing/2014/main" xmlns="" id="{FBF0CF56-6662-42B0-CCE5-ABB955135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" y="2277"/>
              <a:ext cx="65" cy="126"/>
            </a:xfrm>
            <a:custGeom>
              <a:avLst/>
              <a:gdLst>
                <a:gd name="T0" fmla="*/ 0 w 28"/>
                <a:gd name="T1" fmla="*/ 54 h 54"/>
                <a:gd name="T2" fmla="*/ 17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7" y="0"/>
                  </a:cubicBezTo>
                  <a:cubicBezTo>
                    <a:pt x="17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1" name="Freeform 266">
              <a:extLst>
                <a:ext uri="{FF2B5EF4-FFF2-40B4-BE49-F238E27FC236}">
                  <a16:creationId xmlns:a16="http://schemas.microsoft.com/office/drawing/2014/main" xmlns="" id="{49DAB554-7AD8-0D70-4332-76387E4AE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8" y="2277"/>
              <a:ext cx="64" cy="126"/>
            </a:xfrm>
            <a:custGeom>
              <a:avLst/>
              <a:gdLst>
                <a:gd name="T0" fmla="*/ 28 w 28"/>
                <a:gd name="T1" fmla="*/ 54 h 54"/>
                <a:gd name="T2" fmla="*/ 11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6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2" name="Freeform 267">
              <a:extLst>
                <a:ext uri="{FF2B5EF4-FFF2-40B4-BE49-F238E27FC236}">
                  <a16:creationId xmlns:a16="http://schemas.microsoft.com/office/drawing/2014/main" xmlns="" id="{D1939743-EDD5-9976-240E-7D2C577E6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7" y="2277"/>
              <a:ext cx="67" cy="126"/>
            </a:xfrm>
            <a:custGeom>
              <a:avLst/>
              <a:gdLst>
                <a:gd name="T0" fmla="*/ 29 w 29"/>
                <a:gd name="T1" fmla="*/ 54 h 54"/>
                <a:gd name="T2" fmla="*/ 11 w 29"/>
                <a:gd name="T3" fmla="*/ 0 h 54"/>
                <a:gd name="T4" fmla="*/ 0 w 29"/>
                <a:gd name="T5" fmla="*/ 54 h 54"/>
                <a:gd name="T6" fmla="*/ 29 w 29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9" y="54"/>
                  </a:moveTo>
                  <a:cubicBezTo>
                    <a:pt x="29" y="54"/>
                    <a:pt x="26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9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3" name="Freeform 268">
              <a:extLst>
                <a:ext uri="{FF2B5EF4-FFF2-40B4-BE49-F238E27FC236}">
                  <a16:creationId xmlns:a16="http://schemas.microsoft.com/office/drawing/2014/main" xmlns="" id="{77F86EEB-FB15-A68F-7D6C-FAF7AF6CD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4" y="2303"/>
              <a:ext cx="39" cy="100"/>
            </a:xfrm>
            <a:custGeom>
              <a:avLst/>
              <a:gdLst>
                <a:gd name="T0" fmla="*/ 0 w 17"/>
                <a:gd name="T1" fmla="*/ 43 h 43"/>
                <a:gd name="T2" fmla="*/ 11 w 17"/>
                <a:gd name="T3" fmla="*/ 0 h 43"/>
                <a:gd name="T4" fmla="*/ 17 w 17"/>
                <a:gd name="T5" fmla="*/ 43 h 43"/>
                <a:gd name="T6" fmla="*/ 0 w 17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3">
                  <a:moveTo>
                    <a:pt x="0" y="43"/>
                  </a:moveTo>
                  <a:cubicBezTo>
                    <a:pt x="0" y="43"/>
                    <a:pt x="1" y="26"/>
                    <a:pt x="11" y="0"/>
                  </a:cubicBezTo>
                  <a:cubicBezTo>
                    <a:pt x="11" y="0"/>
                    <a:pt x="17" y="39"/>
                    <a:pt x="17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4" name="Freeform 269">
              <a:extLst>
                <a:ext uri="{FF2B5EF4-FFF2-40B4-BE49-F238E27FC236}">
                  <a16:creationId xmlns:a16="http://schemas.microsoft.com/office/drawing/2014/main" xmlns="" id="{A943FFFE-95FF-78BA-CF13-349D1A00D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5" name="Freeform 270">
              <a:extLst>
                <a:ext uri="{FF2B5EF4-FFF2-40B4-BE49-F238E27FC236}">
                  <a16:creationId xmlns:a16="http://schemas.microsoft.com/office/drawing/2014/main" xmlns="" id="{431DBEA8-1B1E-B678-3613-CDDDD03B0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7" y="2303"/>
              <a:ext cx="37" cy="100"/>
            </a:xfrm>
            <a:custGeom>
              <a:avLst/>
              <a:gdLst>
                <a:gd name="T0" fmla="*/ 0 w 16"/>
                <a:gd name="T1" fmla="*/ 43 h 43"/>
                <a:gd name="T2" fmla="*/ 10 w 16"/>
                <a:gd name="T3" fmla="*/ 0 h 43"/>
                <a:gd name="T4" fmla="*/ 16 w 16"/>
                <a:gd name="T5" fmla="*/ 43 h 43"/>
                <a:gd name="T6" fmla="*/ 0 w 16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43">
                  <a:moveTo>
                    <a:pt x="0" y="43"/>
                  </a:moveTo>
                  <a:cubicBezTo>
                    <a:pt x="0" y="43"/>
                    <a:pt x="2" y="23"/>
                    <a:pt x="10" y="0"/>
                  </a:cubicBezTo>
                  <a:cubicBezTo>
                    <a:pt x="10" y="0"/>
                    <a:pt x="16" y="40"/>
                    <a:pt x="16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6" name="Freeform 271">
              <a:extLst>
                <a:ext uri="{FF2B5EF4-FFF2-40B4-BE49-F238E27FC236}">
                  <a16:creationId xmlns:a16="http://schemas.microsoft.com/office/drawing/2014/main" xmlns="" id="{B1148977-D61F-4538-4DA7-08DFF941D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5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7" name="Freeform 272">
              <a:extLst>
                <a:ext uri="{FF2B5EF4-FFF2-40B4-BE49-F238E27FC236}">
                  <a16:creationId xmlns:a16="http://schemas.microsoft.com/office/drawing/2014/main" xmlns="" id="{C918D472-508D-8921-5DA8-9107F4EF7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2" y="2305"/>
              <a:ext cx="65" cy="98"/>
            </a:xfrm>
            <a:custGeom>
              <a:avLst/>
              <a:gdLst>
                <a:gd name="T0" fmla="*/ 28 w 28"/>
                <a:gd name="T1" fmla="*/ 42 h 42"/>
                <a:gd name="T2" fmla="*/ 10 w 28"/>
                <a:gd name="T3" fmla="*/ 0 h 42"/>
                <a:gd name="T4" fmla="*/ 0 w 28"/>
                <a:gd name="T5" fmla="*/ 42 h 42"/>
                <a:gd name="T6" fmla="*/ 28 w 2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42">
                  <a:moveTo>
                    <a:pt x="28" y="42"/>
                  </a:moveTo>
                  <a:cubicBezTo>
                    <a:pt x="28" y="42"/>
                    <a:pt x="25" y="24"/>
                    <a:pt x="10" y="0"/>
                  </a:cubicBezTo>
                  <a:cubicBezTo>
                    <a:pt x="10" y="0"/>
                    <a:pt x="0" y="39"/>
                    <a:pt x="0" y="42"/>
                  </a:cubicBezTo>
                  <a:lnTo>
                    <a:pt x="28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8" name="Freeform 273">
              <a:extLst>
                <a:ext uri="{FF2B5EF4-FFF2-40B4-BE49-F238E27FC236}">
                  <a16:creationId xmlns:a16="http://schemas.microsoft.com/office/drawing/2014/main" xmlns="" id="{5771F7DD-51D5-E0BD-2555-2F041A450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2" y="2287"/>
              <a:ext cx="64" cy="116"/>
            </a:xfrm>
            <a:custGeom>
              <a:avLst/>
              <a:gdLst>
                <a:gd name="T0" fmla="*/ 0 w 28"/>
                <a:gd name="T1" fmla="*/ 50 h 50"/>
                <a:gd name="T2" fmla="*/ 17 w 28"/>
                <a:gd name="T3" fmla="*/ 0 h 50"/>
                <a:gd name="T4" fmla="*/ 28 w 28"/>
                <a:gd name="T5" fmla="*/ 50 h 50"/>
                <a:gd name="T6" fmla="*/ 0 w 28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0">
                  <a:moveTo>
                    <a:pt x="0" y="50"/>
                  </a:moveTo>
                  <a:cubicBezTo>
                    <a:pt x="0" y="50"/>
                    <a:pt x="3" y="30"/>
                    <a:pt x="17" y="0"/>
                  </a:cubicBezTo>
                  <a:cubicBezTo>
                    <a:pt x="17" y="0"/>
                    <a:pt x="28" y="46"/>
                    <a:pt x="28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9" name="Freeform 274">
              <a:extLst>
                <a:ext uri="{FF2B5EF4-FFF2-40B4-BE49-F238E27FC236}">
                  <a16:creationId xmlns:a16="http://schemas.microsoft.com/office/drawing/2014/main" xmlns="" id="{8E467983-14D4-7B50-1E4E-F3A8BBB51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9" y="2277"/>
              <a:ext cx="51" cy="126"/>
            </a:xfrm>
            <a:custGeom>
              <a:avLst/>
              <a:gdLst>
                <a:gd name="T0" fmla="*/ 0 w 22"/>
                <a:gd name="T1" fmla="*/ 54 h 54"/>
                <a:gd name="T2" fmla="*/ 14 w 22"/>
                <a:gd name="T3" fmla="*/ 0 h 54"/>
                <a:gd name="T4" fmla="*/ 22 w 22"/>
                <a:gd name="T5" fmla="*/ 54 h 54"/>
                <a:gd name="T6" fmla="*/ 0 w 22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4">
                  <a:moveTo>
                    <a:pt x="0" y="54"/>
                  </a:moveTo>
                  <a:cubicBezTo>
                    <a:pt x="0" y="54"/>
                    <a:pt x="2" y="32"/>
                    <a:pt x="14" y="0"/>
                  </a:cubicBezTo>
                  <a:cubicBezTo>
                    <a:pt x="14" y="0"/>
                    <a:pt x="22" y="49"/>
                    <a:pt x="22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0" name="Freeform 275">
              <a:extLst>
                <a:ext uri="{FF2B5EF4-FFF2-40B4-BE49-F238E27FC236}">
                  <a16:creationId xmlns:a16="http://schemas.microsoft.com/office/drawing/2014/main" xmlns="" id="{9331339C-2B8A-2ECC-B6F0-0623D78A4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9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1" name="Freeform 276">
              <a:extLst>
                <a:ext uri="{FF2B5EF4-FFF2-40B4-BE49-F238E27FC236}">
                  <a16:creationId xmlns:a16="http://schemas.microsoft.com/office/drawing/2014/main" xmlns="" id="{569026C6-08A7-921C-5D69-2A5AEFC66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1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2" name="Freeform 277">
              <a:extLst>
                <a:ext uri="{FF2B5EF4-FFF2-40B4-BE49-F238E27FC236}">
                  <a16:creationId xmlns:a16="http://schemas.microsoft.com/office/drawing/2014/main" xmlns="" id="{B99B64E9-985B-5979-3C93-1943B95D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1" y="2303"/>
              <a:ext cx="32" cy="100"/>
            </a:xfrm>
            <a:custGeom>
              <a:avLst/>
              <a:gdLst>
                <a:gd name="T0" fmla="*/ 0 w 14"/>
                <a:gd name="T1" fmla="*/ 43 h 43"/>
                <a:gd name="T2" fmla="*/ 9 w 14"/>
                <a:gd name="T3" fmla="*/ 0 h 43"/>
                <a:gd name="T4" fmla="*/ 14 w 14"/>
                <a:gd name="T5" fmla="*/ 43 h 43"/>
                <a:gd name="T6" fmla="*/ 0 w 14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3">
                  <a:moveTo>
                    <a:pt x="0" y="43"/>
                  </a:moveTo>
                  <a:cubicBezTo>
                    <a:pt x="0" y="43"/>
                    <a:pt x="1" y="26"/>
                    <a:pt x="9" y="0"/>
                  </a:cubicBezTo>
                  <a:cubicBezTo>
                    <a:pt x="9" y="0"/>
                    <a:pt x="14" y="39"/>
                    <a:pt x="14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3" name="Freeform 278">
              <a:extLst>
                <a:ext uri="{FF2B5EF4-FFF2-40B4-BE49-F238E27FC236}">
                  <a16:creationId xmlns:a16="http://schemas.microsoft.com/office/drawing/2014/main" xmlns="" id="{F89F6F8C-57AF-B67A-99F0-0C96FD1EE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9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2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4" name="Freeform 279">
              <a:extLst>
                <a:ext uri="{FF2B5EF4-FFF2-40B4-BE49-F238E27FC236}">
                  <a16:creationId xmlns:a16="http://schemas.microsoft.com/office/drawing/2014/main" xmlns="" id="{A92F1D5E-6103-7574-94D5-02F7FA8E0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9" y="2303"/>
              <a:ext cx="30" cy="100"/>
            </a:xfrm>
            <a:custGeom>
              <a:avLst/>
              <a:gdLst>
                <a:gd name="T0" fmla="*/ 0 w 13"/>
                <a:gd name="T1" fmla="*/ 43 h 43"/>
                <a:gd name="T2" fmla="*/ 8 w 13"/>
                <a:gd name="T3" fmla="*/ 0 h 43"/>
                <a:gd name="T4" fmla="*/ 13 w 13"/>
                <a:gd name="T5" fmla="*/ 43 h 43"/>
                <a:gd name="T6" fmla="*/ 0 w 13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3" y="40"/>
                    <a:pt x="13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5" name="Freeform 280">
              <a:extLst>
                <a:ext uri="{FF2B5EF4-FFF2-40B4-BE49-F238E27FC236}">
                  <a16:creationId xmlns:a16="http://schemas.microsoft.com/office/drawing/2014/main" xmlns="" id="{AD90134C-7C6E-E0DC-587F-906D8EEB7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9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6" name="Freeform 281">
              <a:extLst>
                <a:ext uri="{FF2B5EF4-FFF2-40B4-BE49-F238E27FC236}">
                  <a16:creationId xmlns:a16="http://schemas.microsoft.com/office/drawing/2014/main" xmlns="" id="{07FAC70F-88EE-B016-C486-8FBE5FC78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3" y="2305"/>
              <a:ext cx="53" cy="98"/>
            </a:xfrm>
            <a:custGeom>
              <a:avLst/>
              <a:gdLst>
                <a:gd name="T0" fmla="*/ 23 w 23"/>
                <a:gd name="T1" fmla="*/ 42 h 42"/>
                <a:gd name="T2" fmla="*/ 9 w 23"/>
                <a:gd name="T3" fmla="*/ 0 h 42"/>
                <a:gd name="T4" fmla="*/ 0 w 23"/>
                <a:gd name="T5" fmla="*/ 42 h 42"/>
                <a:gd name="T6" fmla="*/ 23 w 23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23" y="42"/>
                  </a:moveTo>
                  <a:cubicBezTo>
                    <a:pt x="23" y="42"/>
                    <a:pt x="21" y="24"/>
                    <a:pt x="9" y="0"/>
                  </a:cubicBezTo>
                  <a:cubicBezTo>
                    <a:pt x="9" y="0"/>
                    <a:pt x="0" y="39"/>
                    <a:pt x="0" y="42"/>
                  </a:cubicBezTo>
                  <a:lnTo>
                    <a:pt x="23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7" name="Freeform 282">
              <a:extLst>
                <a:ext uri="{FF2B5EF4-FFF2-40B4-BE49-F238E27FC236}">
                  <a16:creationId xmlns:a16="http://schemas.microsoft.com/office/drawing/2014/main" xmlns="" id="{6F02CD4A-3772-8B37-2B27-F80C89D01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0" y="2287"/>
              <a:ext cx="53" cy="116"/>
            </a:xfrm>
            <a:custGeom>
              <a:avLst/>
              <a:gdLst>
                <a:gd name="T0" fmla="*/ 0 w 23"/>
                <a:gd name="T1" fmla="*/ 50 h 50"/>
                <a:gd name="T2" fmla="*/ 15 w 23"/>
                <a:gd name="T3" fmla="*/ 0 h 50"/>
                <a:gd name="T4" fmla="*/ 23 w 23"/>
                <a:gd name="T5" fmla="*/ 50 h 50"/>
                <a:gd name="T6" fmla="*/ 0 w 23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0">
                  <a:moveTo>
                    <a:pt x="0" y="50"/>
                  </a:moveTo>
                  <a:cubicBezTo>
                    <a:pt x="0" y="50"/>
                    <a:pt x="3" y="30"/>
                    <a:pt x="15" y="0"/>
                  </a:cubicBezTo>
                  <a:cubicBezTo>
                    <a:pt x="15" y="0"/>
                    <a:pt x="23" y="46"/>
                    <a:pt x="23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8" name="Freeform 283">
              <a:extLst>
                <a:ext uri="{FF2B5EF4-FFF2-40B4-BE49-F238E27FC236}">
                  <a16:creationId xmlns:a16="http://schemas.microsoft.com/office/drawing/2014/main" xmlns="" id="{6EA60224-8D61-972A-768D-78D4C2903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2" y="2277"/>
              <a:ext cx="65" cy="126"/>
            </a:xfrm>
            <a:custGeom>
              <a:avLst/>
              <a:gdLst>
                <a:gd name="T0" fmla="*/ 0 w 28"/>
                <a:gd name="T1" fmla="*/ 54 h 54"/>
                <a:gd name="T2" fmla="*/ 17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7" y="0"/>
                  </a:cubicBezTo>
                  <a:cubicBezTo>
                    <a:pt x="17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9" name="Freeform 284">
              <a:extLst>
                <a:ext uri="{FF2B5EF4-FFF2-40B4-BE49-F238E27FC236}">
                  <a16:creationId xmlns:a16="http://schemas.microsoft.com/office/drawing/2014/main" xmlns="" id="{C2313667-239E-9ABF-1ADE-D6ACAA9F3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3" y="2277"/>
              <a:ext cx="67" cy="126"/>
            </a:xfrm>
            <a:custGeom>
              <a:avLst/>
              <a:gdLst>
                <a:gd name="T0" fmla="*/ 29 w 29"/>
                <a:gd name="T1" fmla="*/ 54 h 54"/>
                <a:gd name="T2" fmla="*/ 11 w 29"/>
                <a:gd name="T3" fmla="*/ 0 h 54"/>
                <a:gd name="T4" fmla="*/ 0 w 29"/>
                <a:gd name="T5" fmla="*/ 54 h 54"/>
                <a:gd name="T6" fmla="*/ 29 w 29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9" y="54"/>
                  </a:moveTo>
                  <a:cubicBezTo>
                    <a:pt x="29" y="54"/>
                    <a:pt x="26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9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0" name="Freeform 285">
              <a:extLst>
                <a:ext uri="{FF2B5EF4-FFF2-40B4-BE49-F238E27FC236}">
                  <a16:creationId xmlns:a16="http://schemas.microsoft.com/office/drawing/2014/main" xmlns="" id="{EF45A6BA-D9BF-B9EE-265E-633D99B19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" y="2277"/>
              <a:ext cx="65" cy="126"/>
            </a:xfrm>
            <a:custGeom>
              <a:avLst/>
              <a:gdLst>
                <a:gd name="T0" fmla="*/ 28 w 28"/>
                <a:gd name="T1" fmla="*/ 54 h 54"/>
                <a:gd name="T2" fmla="*/ 10 w 28"/>
                <a:gd name="T3" fmla="*/ 0 h 54"/>
                <a:gd name="T4" fmla="*/ 0 w 28"/>
                <a:gd name="T5" fmla="*/ 54 h 54"/>
                <a:gd name="T6" fmla="*/ 28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28" y="54"/>
                  </a:moveTo>
                  <a:cubicBezTo>
                    <a:pt x="28" y="54"/>
                    <a:pt x="25" y="32"/>
                    <a:pt x="10" y="0"/>
                  </a:cubicBezTo>
                  <a:cubicBezTo>
                    <a:pt x="10" y="0"/>
                    <a:pt x="0" y="49"/>
                    <a:pt x="0" y="54"/>
                  </a:cubicBezTo>
                  <a:lnTo>
                    <a:pt x="28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1" name="Freeform 286">
              <a:extLst>
                <a:ext uri="{FF2B5EF4-FFF2-40B4-BE49-F238E27FC236}">
                  <a16:creationId xmlns:a16="http://schemas.microsoft.com/office/drawing/2014/main" xmlns="" id="{451410DC-BA10-4713-3E88-4E50AA3B5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9" y="2303"/>
              <a:ext cx="39" cy="100"/>
            </a:xfrm>
            <a:custGeom>
              <a:avLst/>
              <a:gdLst>
                <a:gd name="T0" fmla="*/ 0 w 17"/>
                <a:gd name="T1" fmla="*/ 43 h 43"/>
                <a:gd name="T2" fmla="*/ 11 w 17"/>
                <a:gd name="T3" fmla="*/ 0 h 43"/>
                <a:gd name="T4" fmla="*/ 17 w 17"/>
                <a:gd name="T5" fmla="*/ 43 h 43"/>
                <a:gd name="T6" fmla="*/ 0 w 17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3">
                  <a:moveTo>
                    <a:pt x="0" y="43"/>
                  </a:moveTo>
                  <a:cubicBezTo>
                    <a:pt x="0" y="43"/>
                    <a:pt x="1" y="26"/>
                    <a:pt x="11" y="0"/>
                  </a:cubicBezTo>
                  <a:cubicBezTo>
                    <a:pt x="11" y="0"/>
                    <a:pt x="17" y="39"/>
                    <a:pt x="17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2" name="Freeform 287">
              <a:extLst>
                <a:ext uri="{FF2B5EF4-FFF2-40B4-BE49-F238E27FC236}">
                  <a16:creationId xmlns:a16="http://schemas.microsoft.com/office/drawing/2014/main" xmlns="" id="{FB390367-E04E-38A6-58D4-D67870A17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9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3" name="Freeform 288">
              <a:extLst>
                <a:ext uri="{FF2B5EF4-FFF2-40B4-BE49-F238E27FC236}">
                  <a16:creationId xmlns:a16="http://schemas.microsoft.com/office/drawing/2014/main" xmlns="" id="{B9DE9372-BFDB-D5B9-7EAE-E56FB94F3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2" y="2303"/>
              <a:ext cx="39" cy="100"/>
            </a:xfrm>
            <a:custGeom>
              <a:avLst/>
              <a:gdLst>
                <a:gd name="T0" fmla="*/ 0 w 17"/>
                <a:gd name="T1" fmla="*/ 43 h 43"/>
                <a:gd name="T2" fmla="*/ 10 w 17"/>
                <a:gd name="T3" fmla="*/ 0 h 43"/>
                <a:gd name="T4" fmla="*/ 17 w 17"/>
                <a:gd name="T5" fmla="*/ 43 h 43"/>
                <a:gd name="T6" fmla="*/ 0 w 17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3">
                  <a:moveTo>
                    <a:pt x="0" y="43"/>
                  </a:moveTo>
                  <a:cubicBezTo>
                    <a:pt x="0" y="43"/>
                    <a:pt x="2" y="23"/>
                    <a:pt x="10" y="0"/>
                  </a:cubicBezTo>
                  <a:cubicBezTo>
                    <a:pt x="10" y="0"/>
                    <a:pt x="17" y="40"/>
                    <a:pt x="17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4" name="Freeform 289">
              <a:extLst>
                <a:ext uri="{FF2B5EF4-FFF2-40B4-BE49-F238E27FC236}">
                  <a16:creationId xmlns:a16="http://schemas.microsoft.com/office/drawing/2014/main" xmlns="" id="{0F8E9BA0-220B-8352-F5D2-4628A5482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5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5" name="Freeform 290">
              <a:extLst>
                <a:ext uri="{FF2B5EF4-FFF2-40B4-BE49-F238E27FC236}">
                  <a16:creationId xmlns:a16="http://schemas.microsoft.com/office/drawing/2014/main" xmlns="" id="{BF7252C7-D624-9DD9-46EA-BECB220E5D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7" y="2305"/>
              <a:ext cx="65" cy="98"/>
            </a:xfrm>
            <a:custGeom>
              <a:avLst/>
              <a:gdLst>
                <a:gd name="T0" fmla="*/ 28 w 28"/>
                <a:gd name="T1" fmla="*/ 42 h 42"/>
                <a:gd name="T2" fmla="*/ 10 w 28"/>
                <a:gd name="T3" fmla="*/ 0 h 42"/>
                <a:gd name="T4" fmla="*/ 0 w 28"/>
                <a:gd name="T5" fmla="*/ 42 h 42"/>
                <a:gd name="T6" fmla="*/ 28 w 2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42">
                  <a:moveTo>
                    <a:pt x="28" y="42"/>
                  </a:moveTo>
                  <a:cubicBezTo>
                    <a:pt x="28" y="42"/>
                    <a:pt x="25" y="24"/>
                    <a:pt x="10" y="0"/>
                  </a:cubicBezTo>
                  <a:cubicBezTo>
                    <a:pt x="10" y="0"/>
                    <a:pt x="0" y="39"/>
                    <a:pt x="0" y="42"/>
                  </a:cubicBezTo>
                  <a:lnTo>
                    <a:pt x="28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6" name="Freeform 291">
              <a:extLst>
                <a:ext uri="{FF2B5EF4-FFF2-40B4-BE49-F238E27FC236}">
                  <a16:creationId xmlns:a16="http://schemas.microsoft.com/office/drawing/2014/main" xmlns="" id="{00C2DA5B-1617-94FC-AC93-F89251122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" y="2287"/>
              <a:ext cx="64" cy="116"/>
            </a:xfrm>
            <a:custGeom>
              <a:avLst/>
              <a:gdLst>
                <a:gd name="T0" fmla="*/ 0 w 28"/>
                <a:gd name="T1" fmla="*/ 50 h 50"/>
                <a:gd name="T2" fmla="*/ 18 w 28"/>
                <a:gd name="T3" fmla="*/ 0 h 50"/>
                <a:gd name="T4" fmla="*/ 28 w 28"/>
                <a:gd name="T5" fmla="*/ 50 h 50"/>
                <a:gd name="T6" fmla="*/ 0 w 28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0">
                  <a:moveTo>
                    <a:pt x="0" y="50"/>
                  </a:moveTo>
                  <a:cubicBezTo>
                    <a:pt x="0" y="50"/>
                    <a:pt x="3" y="30"/>
                    <a:pt x="18" y="0"/>
                  </a:cubicBezTo>
                  <a:cubicBezTo>
                    <a:pt x="18" y="0"/>
                    <a:pt x="28" y="46"/>
                    <a:pt x="28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7" name="Freeform 292">
              <a:extLst>
                <a:ext uri="{FF2B5EF4-FFF2-40B4-BE49-F238E27FC236}">
                  <a16:creationId xmlns:a16="http://schemas.microsoft.com/office/drawing/2014/main" xmlns="" id="{69DB47B3-8D5B-5896-8355-223E564F02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9" y="2277"/>
              <a:ext cx="51" cy="126"/>
            </a:xfrm>
            <a:custGeom>
              <a:avLst/>
              <a:gdLst>
                <a:gd name="T0" fmla="*/ 0 w 22"/>
                <a:gd name="T1" fmla="*/ 54 h 54"/>
                <a:gd name="T2" fmla="*/ 14 w 22"/>
                <a:gd name="T3" fmla="*/ 0 h 54"/>
                <a:gd name="T4" fmla="*/ 22 w 22"/>
                <a:gd name="T5" fmla="*/ 54 h 54"/>
                <a:gd name="T6" fmla="*/ 0 w 22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4">
                  <a:moveTo>
                    <a:pt x="0" y="54"/>
                  </a:moveTo>
                  <a:cubicBezTo>
                    <a:pt x="0" y="54"/>
                    <a:pt x="2" y="32"/>
                    <a:pt x="14" y="0"/>
                  </a:cubicBezTo>
                  <a:cubicBezTo>
                    <a:pt x="14" y="0"/>
                    <a:pt x="22" y="49"/>
                    <a:pt x="22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8" name="Freeform 293">
              <a:extLst>
                <a:ext uri="{FF2B5EF4-FFF2-40B4-BE49-F238E27FC236}">
                  <a16:creationId xmlns:a16="http://schemas.microsoft.com/office/drawing/2014/main" xmlns="" id="{E22F4163-4C15-45CB-0F57-C605C323F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9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8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8" y="0"/>
                  </a:cubicBezTo>
                  <a:cubicBezTo>
                    <a:pt x="8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9" name="Freeform 294">
              <a:extLst>
                <a:ext uri="{FF2B5EF4-FFF2-40B4-BE49-F238E27FC236}">
                  <a16:creationId xmlns:a16="http://schemas.microsoft.com/office/drawing/2014/main" xmlns="" id="{1DDB15B3-D401-7B8F-68E3-5DCC4897F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6" y="2277"/>
              <a:ext cx="53" cy="126"/>
            </a:xfrm>
            <a:custGeom>
              <a:avLst/>
              <a:gdLst>
                <a:gd name="T0" fmla="*/ 23 w 23"/>
                <a:gd name="T1" fmla="*/ 54 h 54"/>
                <a:gd name="T2" fmla="*/ 9 w 23"/>
                <a:gd name="T3" fmla="*/ 0 h 54"/>
                <a:gd name="T4" fmla="*/ 0 w 23"/>
                <a:gd name="T5" fmla="*/ 54 h 54"/>
                <a:gd name="T6" fmla="*/ 23 w 23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cubicBezTo>
                    <a:pt x="23" y="54"/>
                    <a:pt x="20" y="32"/>
                    <a:pt x="9" y="0"/>
                  </a:cubicBezTo>
                  <a:cubicBezTo>
                    <a:pt x="9" y="0"/>
                    <a:pt x="0" y="49"/>
                    <a:pt x="0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0" name="Freeform 295">
              <a:extLst>
                <a:ext uri="{FF2B5EF4-FFF2-40B4-BE49-F238E27FC236}">
                  <a16:creationId xmlns:a16="http://schemas.microsoft.com/office/drawing/2014/main" xmlns="" id="{5C24C4E8-32B8-1D53-AC71-FC2FB58D7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1" y="2303"/>
              <a:ext cx="32" cy="100"/>
            </a:xfrm>
            <a:custGeom>
              <a:avLst/>
              <a:gdLst>
                <a:gd name="T0" fmla="*/ 0 w 14"/>
                <a:gd name="T1" fmla="*/ 43 h 43"/>
                <a:gd name="T2" fmla="*/ 8 w 14"/>
                <a:gd name="T3" fmla="*/ 0 h 43"/>
                <a:gd name="T4" fmla="*/ 14 w 14"/>
                <a:gd name="T5" fmla="*/ 43 h 43"/>
                <a:gd name="T6" fmla="*/ 0 w 14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3">
                  <a:moveTo>
                    <a:pt x="0" y="43"/>
                  </a:moveTo>
                  <a:cubicBezTo>
                    <a:pt x="0" y="43"/>
                    <a:pt x="1" y="26"/>
                    <a:pt x="8" y="0"/>
                  </a:cubicBezTo>
                  <a:cubicBezTo>
                    <a:pt x="8" y="0"/>
                    <a:pt x="14" y="39"/>
                    <a:pt x="14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1" name="Freeform 296">
              <a:extLst>
                <a:ext uri="{FF2B5EF4-FFF2-40B4-BE49-F238E27FC236}">
                  <a16:creationId xmlns:a16="http://schemas.microsoft.com/office/drawing/2014/main" xmlns="" id="{EEBC1B87-487F-C8F8-DCA5-873FD5392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9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5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5" y="0"/>
                  </a:cubicBezTo>
                  <a:cubicBezTo>
                    <a:pt x="5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2" name="Freeform 297">
              <a:extLst>
                <a:ext uri="{FF2B5EF4-FFF2-40B4-BE49-F238E27FC236}">
                  <a16:creationId xmlns:a16="http://schemas.microsoft.com/office/drawing/2014/main" xmlns="" id="{5F743DBE-7682-774F-413A-957FB580C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0" y="2303"/>
              <a:ext cx="27" cy="100"/>
            </a:xfrm>
            <a:custGeom>
              <a:avLst/>
              <a:gdLst>
                <a:gd name="T0" fmla="*/ 0 w 12"/>
                <a:gd name="T1" fmla="*/ 43 h 43"/>
                <a:gd name="T2" fmla="*/ 8 w 12"/>
                <a:gd name="T3" fmla="*/ 0 h 43"/>
                <a:gd name="T4" fmla="*/ 12 w 12"/>
                <a:gd name="T5" fmla="*/ 43 h 43"/>
                <a:gd name="T6" fmla="*/ 0 w 12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43">
                  <a:moveTo>
                    <a:pt x="0" y="43"/>
                  </a:moveTo>
                  <a:cubicBezTo>
                    <a:pt x="0" y="43"/>
                    <a:pt x="1" y="23"/>
                    <a:pt x="8" y="0"/>
                  </a:cubicBezTo>
                  <a:cubicBezTo>
                    <a:pt x="8" y="0"/>
                    <a:pt x="12" y="40"/>
                    <a:pt x="12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3" name="Freeform 298">
              <a:extLst>
                <a:ext uri="{FF2B5EF4-FFF2-40B4-BE49-F238E27FC236}">
                  <a16:creationId xmlns:a16="http://schemas.microsoft.com/office/drawing/2014/main" xmlns="" id="{8E7DBB43-1626-DCEF-091B-D40478A0A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319"/>
              <a:ext cx="30" cy="84"/>
            </a:xfrm>
            <a:custGeom>
              <a:avLst/>
              <a:gdLst>
                <a:gd name="T0" fmla="*/ 13 w 13"/>
                <a:gd name="T1" fmla="*/ 36 h 36"/>
                <a:gd name="T2" fmla="*/ 4 w 13"/>
                <a:gd name="T3" fmla="*/ 0 h 36"/>
                <a:gd name="T4" fmla="*/ 0 w 13"/>
                <a:gd name="T5" fmla="*/ 36 h 36"/>
                <a:gd name="T6" fmla="*/ 13 w 1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6">
                  <a:moveTo>
                    <a:pt x="13" y="36"/>
                  </a:moveTo>
                  <a:cubicBezTo>
                    <a:pt x="13" y="36"/>
                    <a:pt x="11" y="19"/>
                    <a:pt x="4" y="0"/>
                  </a:cubicBezTo>
                  <a:cubicBezTo>
                    <a:pt x="4" y="0"/>
                    <a:pt x="0" y="33"/>
                    <a:pt x="0" y="36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4" name="Freeform 299">
              <a:extLst>
                <a:ext uri="{FF2B5EF4-FFF2-40B4-BE49-F238E27FC236}">
                  <a16:creationId xmlns:a16="http://schemas.microsoft.com/office/drawing/2014/main" xmlns="" id="{4AF1DD45-CF76-E8D4-A642-59FD9D5B2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3" y="2305"/>
              <a:ext cx="53" cy="98"/>
            </a:xfrm>
            <a:custGeom>
              <a:avLst/>
              <a:gdLst>
                <a:gd name="T0" fmla="*/ 23 w 23"/>
                <a:gd name="T1" fmla="*/ 42 h 42"/>
                <a:gd name="T2" fmla="*/ 9 w 23"/>
                <a:gd name="T3" fmla="*/ 0 h 42"/>
                <a:gd name="T4" fmla="*/ 0 w 23"/>
                <a:gd name="T5" fmla="*/ 42 h 42"/>
                <a:gd name="T6" fmla="*/ 23 w 23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23" y="42"/>
                  </a:moveTo>
                  <a:cubicBezTo>
                    <a:pt x="23" y="42"/>
                    <a:pt x="20" y="24"/>
                    <a:pt x="9" y="0"/>
                  </a:cubicBezTo>
                  <a:cubicBezTo>
                    <a:pt x="9" y="0"/>
                    <a:pt x="0" y="39"/>
                    <a:pt x="0" y="42"/>
                  </a:cubicBezTo>
                  <a:lnTo>
                    <a:pt x="23" y="42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5" name="Freeform 300">
              <a:extLst>
                <a:ext uri="{FF2B5EF4-FFF2-40B4-BE49-F238E27FC236}">
                  <a16:creationId xmlns:a16="http://schemas.microsoft.com/office/drawing/2014/main" xmlns="" id="{8C5D541A-028E-09F1-9C5A-86F106DE3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0" y="2287"/>
              <a:ext cx="53" cy="116"/>
            </a:xfrm>
            <a:custGeom>
              <a:avLst/>
              <a:gdLst>
                <a:gd name="T0" fmla="*/ 0 w 23"/>
                <a:gd name="T1" fmla="*/ 50 h 50"/>
                <a:gd name="T2" fmla="*/ 14 w 23"/>
                <a:gd name="T3" fmla="*/ 0 h 50"/>
                <a:gd name="T4" fmla="*/ 23 w 23"/>
                <a:gd name="T5" fmla="*/ 50 h 50"/>
                <a:gd name="T6" fmla="*/ 0 w 23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0">
                  <a:moveTo>
                    <a:pt x="0" y="50"/>
                  </a:moveTo>
                  <a:cubicBezTo>
                    <a:pt x="0" y="50"/>
                    <a:pt x="3" y="30"/>
                    <a:pt x="14" y="0"/>
                  </a:cubicBezTo>
                  <a:cubicBezTo>
                    <a:pt x="14" y="0"/>
                    <a:pt x="23" y="46"/>
                    <a:pt x="23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6" name="Freeform 301">
              <a:extLst>
                <a:ext uri="{FF2B5EF4-FFF2-40B4-BE49-F238E27FC236}">
                  <a16:creationId xmlns:a16="http://schemas.microsoft.com/office/drawing/2014/main" xmlns="" id="{3C727B0C-767E-B08F-4EA3-7C97E6AB1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3" y="2277"/>
              <a:ext cx="64" cy="126"/>
            </a:xfrm>
            <a:custGeom>
              <a:avLst/>
              <a:gdLst>
                <a:gd name="T0" fmla="*/ 0 w 28"/>
                <a:gd name="T1" fmla="*/ 54 h 54"/>
                <a:gd name="T2" fmla="*/ 17 w 28"/>
                <a:gd name="T3" fmla="*/ 0 h 54"/>
                <a:gd name="T4" fmla="*/ 28 w 28"/>
                <a:gd name="T5" fmla="*/ 54 h 54"/>
                <a:gd name="T6" fmla="*/ 0 w 28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4">
                  <a:moveTo>
                    <a:pt x="0" y="54"/>
                  </a:moveTo>
                  <a:cubicBezTo>
                    <a:pt x="0" y="54"/>
                    <a:pt x="3" y="32"/>
                    <a:pt x="17" y="0"/>
                  </a:cubicBezTo>
                  <a:cubicBezTo>
                    <a:pt x="17" y="0"/>
                    <a:pt x="28" y="49"/>
                    <a:pt x="28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7" name="Freeform 302">
              <a:extLst>
                <a:ext uri="{FF2B5EF4-FFF2-40B4-BE49-F238E27FC236}">
                  <a16:creationId xmlns:a16="http://schemas.microsoft.com/office/drawing/2014/main" xmlns="" id="{3FFF45ED-0243-91FF-5247-4C3EEB59B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3" y="2277"/>
              <a:ext cx="66" cy="126"/>
            </a:xfrm>
            <a:custGeom>
              <a:avLst/>
              <a:gdLst>
                <a:gd name="T0" fmla="*/ 29 w 29"/>
                <a:gd name="T1" fmla="*/ 54 h 54"/>
                <a:gd name="T2" fmla="*/ 11 w 29"/>
                <a:gd name="T3" fmla="*/ 0 h 54"/>
                <a:gd name="T4" fmla="*/ 0 w 29"/>
                <a:gd name="T5" fmla="*/ 54 h 54"/>
                <a:gd name="T6" fmla="*/ 29 w 29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9" y="54"/>
                  </a:moveTo>
                  <a:cubicBezTo>
                    <a:pt x="29" y="54"/>
                    <a:pt x="26" y="32"/>
                    <a:pt x="11" y="0"/>
                  </a:cubicBezTo>
                  <a:cubicBezTo>
                    <a:pt x="11" y="0"/>
                    <a:pt x="0" y="49"/>
                    <a:pt x="0" y="54"/>
                  </a:cubicBezTo>
                  <a:lnTo>
                    <a:pt x="29" y="54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8" name="Freeform 303">
              <a:extLst>
                <a:ext uri="{FF2B5EF4-FFF2-40B4-BE49-F238E27FC236}">
                  <a16:creationId xmlns:a16="http://schemas.microsoft.com/office/drawing/2014/main" xmlns="" id="{7F70E562-5AE8-263D-75C4-2BC723536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7" y="2303"/>
              <a:ext cx="42" cy="100"/>
            </a:xfrm>
            <a:custGeom>
              <a:avLst/>
              <a:gdLst>
                <a:gd name="T0" fmla="*/ 0 w 18"/>
                <a:gd name="T1" fmla="*/ 43 h 43"/>
                <a:gd name="T2" fmla="*/ 12 w 18"/>
                <a:gd name="T3" fmla="*/ 0 h 43"/>
                <a:gd name="T4" fmla="*/ 18 w 18"/>
                <a:gd name="T5" fmla="*/ 43 h 43"/>
                <a:gd name="T6" fmla="*/ 0 w 18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43">
                  <a:moveTo>
                    <a:pt x="0" y="43"/>
                  </a:moveTo>
                  <a:cubicBezTo>
                    <a:pt x="0" y="43"/>
                    <a:pt x="2" y="26"/>
                    <a:pt x="12" y="0"/>
                  </a:cubicBezTo>
                  <a:cubicBezTo>
                    <a:pt x="12" y="0"/>
                    <a:pt x="18" y="39"/>
                    <a:pt x="18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9" name="Freeform 304">
              <a:extLst>
                <a:ext uri="{FF2B5EF4-FFF2-40B4-BE49-F238E27FC236}">
                  <a16:creationId xmlns:a16="http://schemas.microsoft.com/office/drawing/2014/main" xmlns="" id="{DCE25938-88DA-4061-1D0F-E035E5453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9" y="2319"/>
              <a:ext cx="37" cy="84"/>
            </a:xfrm>
            <a:custGeom>
              <a:avLst/>
              <a:gdLst>
                <a:gd name="T0" fmla="*/ 16 w 16"/>
                <a:gd name="T1" fmla="*/ 36 h 36"/>
                <a:gd name="T2" fmla="*/ 6 w 16"/>
                <a:gd name="T3" fmla="*/ 0 h 36"/>
                <a:gd name="T4" fmla="*/ 0 w 16"/>
                <a:gd name="T5" fmla="*/ 36 h 36"/>
                <a:gd name="T6" fmla="*/ 16 w 16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6">
                  <a:moveTo>
                    <a:pt x="16" y="36"/>
                  </a:moveTo>
                  <a:cubicBezTo>
                    <a:pt x="16" y="36"/>
                    <a:pt x="14" y="19"/>
                    <a:pt x="6" y="0"/>
                  </a:cubicBezTo>
                  <a:cubicBezTo>
                    <a:pt x="6" y="0"/>
                    <a:pt x="0" y="33"/>
                    <a:pt x="0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20" name="Freeform 305">
              <a:extLst>
                <a:ext uri="{FF2B5EF4-FFF2-40B4-BE49-F238E27FC236}">
                  <a16:creationId xmlns:a16="http://schemas.microsoft.com/office/drawing/2014/main" xmlns="" id="{5D2F10DA-0998-B602-F079-69AE67E4E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7" y="2287"/>
              <a:ext cx="65" cy="116"/>
            </a:xfrm>
            <a:custGeom>
              <a:avLst/>
              <a:gdLst>
                <a:gd name="T0" fmla="*/ 0 w 28"/>
                <a:gd name="T1" fmla="*/ 50 h 50"/>
                <a:gd name="T2" fmla="*/ 17 w 28"/>
                <a:gd name="T3" fmla="*/ 0 h 50"/>
                <a:gd name="T4" fmla="*/ 28 w 28"/>
                <a:gd name="T5" fmla="*/ 50 h 50"/>
                <a:gd name="T6" fmla="*/ 0 w 28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0">
                  <a:moveTo>
                    <a:pt x="0" y="50"/>
                  </a:moveTo>
                  <a:cubicBezTo>
                    <a:pt x="0" y="50"/>
                    <a:pt x="3" y="30"/>
                    <a:pt x="17" y="0"/>
                  </a:cubicBezTo>
                  <a:cubicBezTo>
                    <a:pt x="17" y="0"/>
                    <a:pt x="28" y="46"/>
                    <a:pt x="28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91B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</p:grpSp>
      <p:pic>
        <p:nvPicPr>
          <p:cNvPr id="6" name="图片 1" descr="5947678d5d2f8">
            <a:extLst>
              <a:ext uri="{FF2B5EF4-FFF2-40B4-BE49-F238E27FC236}">
                <a16:creationId xmlns:a16="http://schemas.microsoft.com/office/drawing/2014/main" xmlns="" id="{7ADF382C-9599-04D1-7B87-C8F996284B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5840" r="32606"/>
          <a:stretch/>
        </p:blipFill>
        <p:spPr>
          <a:xfrm>
            <a:off x="0" y="2800700"/>
            <a:ext cx="3586322" cy="4106406"/>
          </a:xfrm>
          <a:prstGeom prst="rect">
            <a:avLst/>
          </a:prstGeom>
        </p:spPr>
      </p:pic>
      <p:pic>
        <p:nvPicPr>
          <p:cNvPr id="4" name="Picture 16">
            <a:extLst>
              <a:ext uri="{FF2B5EF4-FFF2-40B4-BE49-F238E27FC236}">
                <a16:creationId xmlns:a16="http://schemas.microsoft.com/office/drawing/2014/main" xmlns="" id="{06A8F863-EB49-3092-9FEA-4A9402AAF1A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0207994" y="5538578"/>
            <a:ext cx="563513" cy="58699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5DE5301-7061-2FAD-31AB-AE516DD477D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42127"/>
          <a:stretch/>
        </p:blipFill>
        <p:spPr>
          <a:xfrm>
            <a:off x="4500894" y="1098764"/>
            <a:ext cx="2807914" cy="148719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D2C1873-00A7-FCD6-451E-59A2F674FEF3}"/>
              </a:ext>
            </a:extLst>
          </p:cNvPr>
          <p:cNvSpPr txBox="1"/>
          <p:nvPr/>
        </p:nvSpPr>
        <p:spPr>
          <a:xfrm>
            <a:off x="1191846" y="2172756"/>
            <a:ext cx="980830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sng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ài</a:t>
            </a:r>
            <a:r>
              <a:rPr kumimoji="0" lang="en-US" sz="5400" b="1" i="0" u="sng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7</a:t>
            </a:r>
            <a:r>
              <a:rPr kumimoji="0" lang="en-US" sz="5400" b="1" i="0" u="none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Quan </a:t>
            </a:r>
            <a:r>
              <a:rPr kumimoji="0" lang="en-US" sz="5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âm</a:t>
            </a:r>
            <a:r>
              <a:rPr kumimoji="0" lang="en-US" sz="5400" b="1" i="0" u="none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5400" b="1" i="0" u="none" strike="noStrike" kern="1200" cap="none" spc="0" normalizeH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kumimoji="0" lang="en-US" sz="5400" b="1" i="0" u="none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àng</a:t>
            </a:r>
            <a:r>
              <a:rPr kumimoji="0" lang="en-US" sz="5400" b="1" i="0" u="none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5400" b="1" i="0" u="none" strike="noStrike" kern="1200" cap="none" spc="0" normalizeH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xóm</a:t>
            </a:r>
            <a:r>
              <a:rPr kumimoji="0" lang="en-US" sz="5400" b="1" i="0" u="none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5400" b="1" i="0" u="none" strike="noStrike" kern="1200" cap="none" spc="0" normalizeH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láng</a:t>
            </a:r>
            <a:r>
              <a:rPr kumimoji="0" lang="en-US" sz="5400" b="1" i="0" u="none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5400" b="1" i="0" u="none" strike="noStrike" kern="1200" cap="none" spc="0" normalizeH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giềng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AF75FD7A-55AD-4213-1815-A99E2A9D5A2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36830" b="29509"/>
          <a:stretch/>
        </p:blipFill>
        <p:spPr>
          <a:xfrm>
            <a:off x="9095188" y="3784252"/>
            <a:ext cx="1956271" cy="551772"/>
          </a:xfrm>
          <a:prstGeom prst="rect">
            <a:avLst/>
          </a:prstGeom>
        </p:spPr>
      </p:pic>
      <p:pic>
        <p:nvPicPr>
          <p:cNvPr id="16" name="图片 88">
            <a:extLst>
              <a:ext uri="{FF2B5EF4-FFF2-40B4-BE49-F238E27FC236}">
                <a16:creationId xmlns:a16="http://schemas.microsoft.com/office/drawing/2014/main" xmlns="" id="{6FEF2035-6014-E331-3CA3-66C7826DF5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61795">
            <a:off x="10137155" y="60617"/>
            <a:ext cx="1268705" cy="1710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089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1" name="Google Shape;1310;p45">
            <a:extLst>
              <a:ext uri="{FF2B5EF4-FFF2-40B4-BE49-F238E27FC236}">
                <a16:creationId xmlns:a16="http://schemas.microsoft.com/office/drawing/2014/main" xmlns="" id="{4BB34325-2ADA-6859-0C39-98D8C5F1161E}"/>
              </a:ext>
            </a:extLst>
          </p:cNvPr>
          <p:cNvGrpSpPr/>
          <p:nvPr/>
        </p:nvGrpSpPr>
        <p:grpSpPr>
          <a:xfrm>
            <a:off x="11567148" y="3863016"/>
            <a:ext cx="325655" cy="518853"/>
            <a:chOff x="5270725" y="2347600"/>
            <a:chExt cx="123750" cy="171800"/>
          </a:xfrm>
        </p:grpSpPr>
        <p:sp>
          <p:nvSpPr>
            <p:cNvPr id="332" name="Google Shape;1311;p45">
              <a:extLst>
                <a:ext uri="{FF2B5EF4-FFF2-40B4-BE49-F238E27FC236}">
                  <a16:creationId xmlns:a16="http://schemas.microsoft.com/office/drawing/2014/main" xmlns="" id="{8FEE478E-BF08-6503-3DB3-8F1670E60D4C}"/>
                </a:ext>
              </a:extLst>
            </p:cNvPr>
            <p:cNvSpPr/>
            <p:nvPr/>
          </p:nvSpPr>
          <p:spPr>
            <a:xfrm>
              <a:off x="5312550" y="2445325"/>
              <a:ext cx="31775" cy="73150"/>
            </a:xfrm>
            <a:custGeom>
              <a:avLst/>
              <a:gdLst/>
              <a:ahLst/>
              <a:cxnLst/>
              <a:rect l="l" t="t" r="r" b="b"/>
              <a:pathLst>
                <a:path w="1271" h="2926" extrusionOk="0">
                  <a:moveTo>
                    <a:pt x="0" y="0"/>
                  </a:moveTo>
                  <a:lnTo>
                    <a:pt x="116" y="481"/>
                  </a:lnTo>
                  <a:lnTo>
                    <a:pt x="790" y="767"/>
                  </a:lnTo>
                  <a:lnTo>
                    <a:pt x="675" y="2925"/>
                  </a:lnTo>
                  <a:lnTo>
                    <a:pt x="1040" y="2925"/>
                  </a:lnTo>
                  <a:lnTo>
                    <a:pt x="1021" y="2616"/>
                  </a:lnTo>
                  <a:lnTo>
                    <a:pt x="966" y="2579"/>
                  </a:lnTo>
                  <a:lnTo>
                    <a:pt x="869" y="1618"/>
                  </a:lnTo>
                  <a:lnTo>
                    <a:pt x="906" y="1502"/>
                  </a:lnTo>
                  <a:lnTo>
                    <a:pt x="906" y="790"/>
                  </a:lnTo>
                  <a:lnTo>
                    <a:pt x="1234" y="675"/>
                  </a:lnTo>
                  <a:lnTo>
                    <a:pt x="1271" y="347"/>
                  </a:lnTo>
                  <a:lnTo>
                    <a:pt x="1252" y="328"/>
                  </a:lnTo>
                  <a:lnTo>
                    <a:pt x="1197" y="633"/>
                  </a:lnTo>
                  <a:lnTo>
                    <a:pt x="1003" y="675"/>
                  </a:lnTo>
                  <a:lnTo>
                    <a:pt x="869" y="712"/>
                  </a:lnTo>
                  <a:lnTo>
                    <a:pt x="790" y="633"/>
                  </a:lnTo>
                  <a:lnTo>
                    <a:pt x="675" y="250"/>
                  </a:lnTo>
                  <a:lnTo>
                    <a:pt x="638" y="56"/>
                  </a:lnTo>
                  <a:lnTo>
                    <a:pt x="656" y="268"/>
                  </a:lnTo>
                  <a:lnTo>
                    <a:pt x="735" y="652"/>
                  </a:lnTo>
                  <a:lnTo>
                    <a:pt x="157" y="462"/>
                  </a:lnTo>
                  <a:lnTo>
                    <a:pt x="250" y="97"/>
                  </a:lnTo>
                  <a:lnTo>
                    <a:pt x="134" y="4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3" name="Google Shape;1312;p45">
              <a:extLst>
                <a:ext uri="{FF2B5EF4-FFF2-40B4-BE49-F238E27FC236}">
                  <a16:creationId xmlns:a16="http://schemas.microsoft.com/office/drawing/2014/main" xmlns="" id="{BA71C2B5-1676-F4EA-C087-7F4401E5F7ED}"/>
                </a:ext>
              </a:extLst>
            </p:cNvPr>
            <p:cNvSpPr/>
            <p:nvPr/>
          </p:nvSpPr>
          <p:spPr>
            <a:xfrm>
              <a:off x="5275450" y="2347600"/>
              <a:ext cx="112650" cy="109400"/>
            </a:xfrm>
            <a:custGeom>
              <a:avLst/>
              <a:gdLst/>
              <a:ahLst/>
              <a:cxnLst/>
              <a:rect l="l" t="t" r="r" b="b"/>
              <a:pathLst>
                <a:path w="4506" h="4376" extrusionOk="0">
                  <a:moveTo>
                    <a:pt x="2025" y="0"/>
                  </a:moveTo>
                  <a:cubicBezTo>
                    <a:pt x="1775" y="37"/>
                    <a:pt x="1119" y="310"/>
                    <a:pt x="1119" y="310"/>
                  </a:cubicBezTo>
                  <a:lnTo>
                    <a:pt x="1216" y="97"/>
                  </a:lnTo>
                  <a:lnTo>
                    <a:pt x="1216" y="97"/>
                  </a:lnTo>
                  <a:cubicBezTo>
                    <a:pt x="1198" y="97"/>
                    <a:pt x="389" y="596"/>
                    <a:pt x="158" y="943"/>
                  </a:cubicBezTo>
                  <a:cubicBezTo>
                    <a:pt x="140" y="1003"/>
                    <a:pt x="116" y="1058"/>
                    <a:pt x="116" y="1156"/>
                  </a:cubicBezTo>
                  <a:cubicBezTo>
                    <a:pt x="79" y="1368"/>
                    <a:pt x="79" y="1636"/>
                    <a:pt x="79" y="1886"/>
                  </a:cubicBezTo>
                  <a:cubicBezTo>
                    <a:pt x="98" y="1904"/>
                    <a:pt x="98" y="1946"/>
                    <a:pt x="98" y="1983"/>
                  </a:cubicBezTo>
                  <a:cubicBezTo>
                    <a:pt x="98" y="2232"/>
                    <a:pt x="116" y="2426"/>
                    <a:pt x="116" y="2426"/>
                  </a:cubicBezTo>
                  <a:cubicBezTo>
                    <a:pt x="116" y="2426"/>
                    <a:pt x="61" y="2311"/>
                    <a:pt x="1" y="2117"/>
                  </a:cubicBezTo>
                  <a:lnTo>
                    <a:pt x="1" y="2117"/>
                  </a:lnTo>
                  <a:cubicBezTo>
                    <a:pt x="60" y="3119"/>
                    <a:pt x="506" y="3618"/>
                    <a:pt x="540" y="3636"/>
                  </a:cubicBezTo>
                  <a:lnTo>
                    <a:pt x="540" y="3636"/>
                  </a:lnTo>
                  <a:cubicBezTo>
                    <a:pt x="531" y="3633"/>
                    <a:pt x="475" y="3613"/>
                    <a:pt x="371" y="3563"/>
                  </a:cubicBezTo>
                  <a:lnTo>
                    <a:pt x="371" y="3563"/>
                  </a:lnTo>
                  <a:cubicBezTo>
                    <a:pt x="560" y="3794"/>
                    <a:pt x="773" y="3965"/>
                    <a:pt x="1004" y="4080"/>
                  </a:cubicBezTo>
                  <a:cubicBezTo>
                    <a:pt x="1563" y="4353"/>
                    <a:pt x="2177" y="4353"/>
                    <a:pt x="2602" y="4371"/>
                  </a:cubicBezTo>
                  <a:cubicBezTo>
                    <a:pt x="2650" y="4374"/>
                    <a:pt x="2696" y="4376"/>
                    <a:pt x="2741" y="4376"/>
                  </a:cubicBezTo>
                  <a:cubicBezTo>
                    <a:pt x="3245" y="4376"/>
                    <a:pt x="3606" y="4192"/>
                    <a:pt x="3873" y="3946"/>
                  </a:cubicBezTo>
                  <a:lnTo>
                    <a:pt x="3891" y="3928"/>
                  </a:lnTo>
                  <a:lnTo>
                    <a:pt x="3891" y="3909"/>
                  </a:lnTo>
                  <a:lnTo>
                    <a:pt x="3910" y="3909"/>
                  </a:lnTo>
                  <a:lnTo>
                    <a:pt x="3928" y="3891"/>
                  </a:lnTo>
                  <a:lnTo>
                    <a:pt x="3928" y="3868"/>
                  </a:lnTo>
                  <a:cubicBezTo>
                    <a:pt x="3951" y="3868"/>
                    <a:pt x="3951" y="3849"/>
                    <a:pt x="3970" y="3831"/>
                  </a:cubicBezTo>
                  <a:lnTo>
                    <a:pt x="3988" y="3812"/>
                  </a:lnTo>
                  <a:lnTo>
                    <a:pt x="4007" y="3794"/>
                  </a:lnTo>
                  <a:lnTo>
                    <a:pt x="4025" y="3775"/>
                  </a:lnTo>
                  <a:lnTo>
                    <a:pt x="4025" y="3752"/>
                  </a:lnTo>
                  <a:lnTo>
                    <a:pt x="4044" y="3752"/>
                  </a:lnTo>
                  <a:cubicBezTo>
                    <a:pt x="4414" y="3253"/>
                    <a:pt x="4506" y="2657"/>
                    <a:pt x="4487" y="2597"/>
                  </a:cubicBezTo>
                  <a:lnTo>
                    <a:pt x="4487" y="2597"/>
                  </a:lnTo>
                  <a:cubicBezTo>
                    <a:pt x="4390" y="2925"/>
                    <a:pt x="4275" y="2985"/>
                    <a:pt x="4275" y="2985"/>
                  </a:cubicBezTo>
                  <a:cubicBezTo>
                    <a:pt x="4275" y="2985"/>
                    <a:pt x="4469" y="2389"/>
                    <a:pt x="4432" y="1733"/>
                  </a:cubicBezTo>
                  <a:cubicBezTo>
                    <a:pt x="4432" y="1655"/>
                    <a:pt x="4432" y="1558"/>
                    <a:pt x="4414" y="1484"/>
                  </a:cubicBezTo>
                  <a:cubicBezTo>
                    <a:pt x="4372" y="1290"/>
                    <a:pt x="4298" y="1137"/>
                    <a:pt x="4238" y="1022"/>
                  </a:cubicBezTo>
                  <a:cubicBezTo>
                    <a:pt x="4104" y="772"/>
                    <a:pt x="3970" y="633"/>
                    <a:pt x="3970" y="633"/>
                  </a:cubicBezTo>
                  <a:lnTo>
                    <a:pt x="3910" y="906"/>
                  </a:lnTo>
                  <a:cubicBezTo>
                    <a:pt x="3466" y="310"/>
                    <a:pt x="2833" y="37"/>
                    <a:pt x="2833" y="37"/>
                  </a:cubicBezTo>
                  <a:lnTo>
                    <a:pt x="2833" y="37"/>
                  </a:lnTo>
                  <a:lnTo>
                    <a:pt x="2870" y="444"/>
                  </a:lnTo>
                  <a:lnTo>
                    <a:pt x="2524" y="97"/>
                  </a:lnTo>
                  <a:lnTo>
                    <a:pt x="2025" y="0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4" name="Google Shape;1313;p45">
              <a:extLst>
                <a:ext uri="{FF2B5EF4-FFF2-40B4-BE49-F238E27FC236}">
                  <a16:creationId xmlns:a16="http://schemas.microsoft.com/office/drawing/2014/main" xmlns="" id="{95145969-7D32-C75B-4A17-DAFA6B4B1EA1}"/>
                </a:ext>
              </a:extLst>
            </p:cNvPr>
            <p:cNvSpPr/>
            <p:nvPr/>
          </p:nvSpPr>
          <p:spPr>
            <a:xfrm>
              <a:off x="5275450" y="2397150"/>
              <a:ext cx="56875" cy="46225"/>
            </a:xfrm>
            <a:custGeom>
              <a:avLst/>
              <a:gdLst/>
              <a:ahLst/>
              <a:cxnLst/>
              <a:rect l="l" t="t" r="r" b="b"/>
              <a:pathLst>
                <a:path w="2275" h="1849" extrusionOk="0">
                  <a:moveTo>
                    <a:pt x="98" y="1"/>
                  </a:moveTo>
                  <a:cubicBezTo>
                    <a:pt x="98" y="250"/>
                    <a:pt x="116" y="444"/>
                    <a:pt x="116" y="444"/>
                  </a:cubicBezTo>
                  <a:cubicBezTo>
                    <a:pt x="116" y="444"/>
                    <a:pt x="61" y="329"/>
                    <a:pt x="1" y="135"/>
                  </a:cubicBezTo>
                  <a:lnTo>
                    <a:pt x="1" y="135"/>
                  </a:lnTo>
                  <a:cubicBezTo>
                    <a:pt x="61" y="1156"/>
                    <a:pt x="523" y="1655"/>
                    <a:pt x="541" y="1655"/>
                  </a:cubicBezTo>
                  <a:lnTo>
                    <a:pt x="541" y="1678"/>
                  </a:lnTo>
                  <a:lnTo>
                    <a:pt x="888" y="1849"/>
                  </a:lnTo>
                  <a:lnTo>
                    <a:pt x="791" y="1424"/>
                  </a:lnTo>
                  <a:lnTo>
                    <a:pt x="1581" y="1119"/>
                  </a:lnTo>
                  <a:lnTo>
                    <a:pt x="1581" y="1119"/>
                  </a:lnTo>
                  <a:lnTo>
                    <a:pt x="1484" y="1234"/>
                  </a:lnTo>
                  <a:lnTo>
                    <a:pt x="2274" y="1770"/>
                  </a:lnTo>
                  <a:lnTo>
                    <a:pt x="1946" y="828"/>
                  </a:lnTo>
                  <a:lnTo>
                    <a:pt x="1350" y="985"/>
                  </a:lnTo>
                  <a:lnTo>
                    <a:pt x="1101" y="560"/>
                  </a:lnTo>
                  <a:lnTo>
                    <a:pt x="657" y="1216"/>
                  </a:lnTo>
                  <a:lnTo>
                    <a:pt x="310" y="925"/>
                  </a:lnTo>
                  <a:lnTo>
                    <a:pt x="463" y="925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5" name="Google Shape;1314;p45">
              <a:extLst>
                <a:ext uri="{FF2B5EF4-FFF2-40B4-BE49-F238E27FC236}">
                  <a16:creationId xmlns:a16="http://schemas.microsoft.com/office/drawing/2014/main" xmlns="" id="{98414369-5359-6556-B938-E4EA8CAD6A44}"/>
                </a:ext>
              </a:extLst>
            </p:cNvPr>
            <p:cNvSpPr/>
            <p:nvPr/>
          </p:nvSpPr>
          <p:spPr>
            <a:xfrm>
              <a:off x="5347200" y="2378900"/>
              <a:ext cx="40900" cy="62525"/>
            </a:xfrm>
            <a:custGeom>
              <a:avLst/>
              <a:gdLst/>
              <a:ahLst/>
              <a:cxnLst/>
              <a:rect l="l" t="t" r="r" b="b"/>
              <a:pathLst>
                <a:path w="1636" h="2501" extrusionOk="0">
                  <a:moveTo>
                    <a:pt x="1234" y="1"/>
                  </a:moveTo>
                  <a:lnTo>
                    <a:pt x="1021" y="463"/>
                  </a:lnTo>
                  <a:lnTo>
                    <a:pt x="675" y="500"/>
                  </a:lnTo>
                  <a:lnTo>
                    <a:pt x="1271" y="1114"/>
                  </a:lnTo>
                  <a:lnTo>
                    <a:pt x="1137" y="1599"/>
                  </a:lnTo>
                  <a:lnTo>
                    <a:pt x="966" y="1327"/>
                  </a:lnTo>
                  <a:lnTo>
                    <a:pt x="693" y="2001"/>
                  </a:lnTo>
                  <a:lnTo>
                    <a:pt x="559" y="1886"/>
                  </a:lnTo>
                  <a:lnTo>
                    <a:pt x="231" y="2292"/>
                  </a:lnTo>
                  <a:lnTo>
                    <a:pt x="0" y="2135"/>
                  </a:lnTo>
                  <a:lnTo>
                    <a:pt x="19" y="2408"/>
                  </a:lnTo>
                  <a:lnTo>
                    <a:pt x="504" y="2463"/>
                  </a:lnTo>
                  <a:lnTo>
                    <a:pt x="559" y="2292"/>
                  </a:lnTo>
                  <a:lnTo>
                    <a:pt x="675" y="2500"/>
                  </a:lnTo>
                  <a:lnTo>
                    <a:pt x="1118" y="2232"/>
                  </a:lnTo>
                  <a:lnTo>
                    <a:pt x="1234" y="1923"/>
                  </a:lnTo>
                  <a:lnTo>
                    <a:pt x="1174" y="2500"/>
                  </a:lnTo>
                  <a:cubicBezTo>
                    <a:pt x="1544" y="2001"/>
                    <a:pt x="1636" y="1405"/>
                    <a:pt x="1617" y="1345"/>
                  </a:cubicBezTo>
                  <a:lnTo>
                    <a:pt x="1617" y="1345"/>
                  </a:lnTo>
                  <a:cubicBezTo>
                    <a:pt x="1520" y="1673"/>
                    <a:pt x="1405" y="1733"/>
                    <a:pt x="1405" y="1733"/>
                  </a:cubicBezTo>
                  <a:cubicBezTo>
                    <a:pt x="1405" y="1733"/>
                    <a:pt x="1599" y="1137"/>
                    <a:pt x="1562" y="481"/>
                  </a:cubicBezTo>
                  <a:cubicBezTo>
                    <a:pt x="1562" y="403"/>
                    <a:pt x="1562" y="306"/>
                    <a:pt x="1544" y="232"/>
                  </a:cubicBezTo>
                  <a:lnTo>
                    <a:pt x="1289" y="287"/>
                  </a:lnTo>
                  <a:lnTo>
                    <a:pt x="1234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6" name="Google Shape;1315;p45">
              <a:extLst>
                <a:ext uri="{FF2B5EF4-FFF2-40B4-BE49-F238E27FC236}">
                  <a16:creationId xmlns:a16="http://schemas.microsoft.com/office/drawing/2014/main" xmlns="" id="{BE5B5B63-2020-EFA2-D371-D1F187B7307E}"/>
                </a:ext>
              </a:extLst>
            </p:cNvPr>
            <p:cNvSpPr/>
            <p:nvPr/>
          </p:nvSpPr>
          <p:spPr>
            <a:xfrm>
              <a:off x="5318775" y="2411600"/>
              <a:ext cx="47275" cy="32000"/>
            </a:xfrm>
            <a:custGeom>
              <a:avLst/>
              <a:gdLst/>
              <a:ahLst/>
              <a:cxnLst/>
              <a:rect l="l" t="t" r="r" b="b"/>
              <a:pathLst>
                <a:path w="1891" h="1280" extrusionOk="0">
                  <a:moveTo>
                    <a:pt x="292" y="0"/>
                  </a:moveTo>
                  <a:lnTo>
                    <a:pt x="1" y="310"/>
                  </a:lnTo>
                  <a:cubicBezTo>
                    <a:pt x="1" y="310"/>
                    <a:pt x="370" y="1058"/>
                    <a:pt x="389" y="1077"/>
                  </a:cubicBezTo>
                  <a:cubicBezTo>
                    <a:pt x="426" y="1100"/>
                    <a:pt x="541" y="1271"/>
                    <a:pt x="541" y="1271"/>
                  </a:cubicBezTo>
                  <a:cubicBezTo>
                    <a:pt x="541" y="1271"/>
                    <a:pt x="671" y="1279"/>
                    <a:pt x="762" y="1279"/>
                  </a:cubicBezTo>
                  <a:cubicBezTo>
                    <a:pt x="808" y="1279"/>
                    <a:pt x="845" y="1277"/>
                    <a:pt x="851" y="1271"/>
                  </a:cubicBezTo>
                  <a:cubicBezTo>
                    <a:pt x="888" y="1252"/>
                    <a:pt x="1253" y="1155"/>
                    <a:pt x="1271" y="1155"/>
                  </a:cubicBezTo>
                  <a:cubicBezTo>
                    <a:pt x="1313" y="1155"/>
                    <a:pt x="1465" y="943"/>
                    <a:pt x="1465" y="943"/>
                  </a:cubicBezTo>
                  <a:lnTo>
                    <a:pt x="1830" y="693"/>
                  </a:lnTo>
                  <a:lnTo>
                    <a:pt x="1890" y="541"/>
                  </a:lnTo>
                  <a:lnTo>
                    <a:pt x="1733" y="347"/>
                  </a:lnTo>
                  <a:lnTo>
                    <a:pt x="1465" y="541"/>
                  </a:lnTo>
                  <a:lnTo>
                    <a:pt x="1253" y="231"/>
                  </a:lnTo>
                  <a:lnTo>
                    <a:pt x="851" y="347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7" name="Google Shape;1316;p45">
              <a:extLst>
                <a:ext uri="{FF2B5EF4-FFF2-40B4-BE49-F238E27FC236}">
                  <a16:creationId xmlns:a16="http://schemas.microsoft.com/office/drawing/2014/main" xmlns="" id="{47A6BF92-D742-33FF-4B0F-A5B88563F8A9}"/>
                </a:ext>
              </a:extLst>
            </p:cNvPr>
            <p:cNvSpPr/>
            <p:nvPr/>
          </p:nvSpPr>
          <p:spPr>
            <a:xfrm>
              <a:off x="5284554" y="2424068"/>
              <a:ext cx="93901" cy="31900"/>
            </a:xfrm>
            <a:custGeom>
              <a:avLst/>
              <a:gdLst/>
              <a:ahLst/>
              <a:cxnLst/>
              <a:rect l="l" t="t" r="r" b="b"/>
              <a:pathLst>
                <a:path w="3734" h="1276" extrusionOk="0">
                  <a:moveTo>
                    <a:pt x="1" y="463"/>
                  </a:moveTo>
                  <a:cubicBezTo>
                    <a:pt x="6" y="465"/>
                    <a:pt x="11" y="468"/>
                    <a:pt x="16" y="470"/>
                  </a:cubicBezTo>
                  <a:lnTo>
                    <a:pt x="16" y="470"/>
                  </a:lnTo>
                  <a:cubicBezTo>
                    <a:pt x="12" y="466"/>
                    <a:pt x="8" y="463"/>
                    <a:pt x="1" y="463"/>
                  </a:cubicBezTo>
                  <a:close/>
                  <a:moveTo>
                    <a:pt x="1211" y="1"/>
                  </a:moveTo>
                  <a:lnTo>
                    <a:pt x="421" y="306"/>
                  </a:lnTo>
                  <a:lnTo>
                    <a:pt x="518" y="731"/>
                  </a:lnTo>
                  <a:lnTo>
                    <a:pt x="171" y="560"/>
                  </a:lnTo>
                  <a:lnTo>
                    <a:pt x="171" y="537"/>
                  </a:lnTo>
                  <a:cubicBezTo>
                    <a:pt x="171" y="537"/>
                    <a:pt x="121" y="520"/>
                    <a:pt x="16" y="470"/>
                  </a:cubicBezTo>
                  <a:lnTo>
                    <a:pt x="16" y="470"/>
                  </a:lnTo>
                  <a:cubicBezTo>
                    <a:pt x="22" y="477"/>
                    <a:pt x="26" y="489"/>
                    <a:pt x="37" y="500"/>
                  </a:cubicBezTo>
                  <a:lnTo>
                    <a:pt x="56" y="518"/>
                  </a:lnTo>
                  <a:lnTo>
                    <a:pt x="56" y="537"/>
                  </a:lnTo>
                  <a:cubicBezTo>
                    <a:pt x="93" y="560"/>
                    <a:pt x="116" y="578"/>
                    <a:pt x="135" y="597"/>
                  </a:cubicBezTo>
                  <a:lnTo>
                    <a:pt x="135" y="615"/>
                  </a:lnTo>
                  <a:lnTo>
                    <a:pt x="153" y="615"/>
                  </a:lnTo>
                  <a:lnTo>
                    <a:pt x="171" y="634"/>
                  </a:lnTo>
                  <a:lnTo>
                    <a:pt x="190" y="652"/>
                  </a:lnTo>
                  <a:lnTo>
                    <a:pt x="190" y="675"/>
                  </a:lnTo>
                  <a:lnTo>
                    <a:pt x="208" y="675"/>
                  </a:lnTo>
                  <a:lnTo>
                    <a:pt x="208" y="694"/>
                  </a:lnTo>
                  <a:lnTo>
                    <a:pt x="232" y="694"/>
                  </a:lnTo>
                  <a:cubicBezTo>
                    <a:pt x="269" y="731"/>
                    <a:pt x="324" y="791"/>
                    <a:pt x="384" y="828"/>
                  </a:cubicBezTo>
                  <a:lnTo>
                    <a:pt x="403" y="828"/>
                  </a:lnTo>
                  <a:lnTo>
                    <a:pt x="421" y="846"/>
                  </a:lnTo>
                  <a:lnTo>
                    <a:pt x="439" y="865"/>
                  </a:lnTo>
                  <a:lnTo>
                    <a:pt x="463" y="865"/>
                  </a:lnTo>
                  <a:lnTo>
                    <a:pt x="463" y="883"/>
                  </a:lnTo>
                  <a:lnTo>
                    <a:pt x="481" y="883"/>
                  </a:lnTo>
                  <a:cubicBezTo>
                    <a:pt x="500" y="883"/>
                    <a:pt x="500" y="906"/>
                    <a:pt x="518" y="906"/>
                  </a:cubicBezTo>
                  <a:lnTo>
                    <a:pt x="537" y="925"/>
                  </a:lnTo>
                  <a:lnTo>
                    <a:pt x="555" y="925"/>
                  </a:lnTo>
                  <a:lnTo>
                    <a:pt x="578" y="943"/>
                  </a:lnTo>
                  <a:lnTo>
                    <a:pt x="597" y="943"/>
                  </a:lnTo>
                  <a:lnTo>
                    <a:pt x="597" y="962"/>
                  </a:lnTo>
                  <a:cubicBezTo>
                    <a:pt x="615" y="962"/>
                    <a:pt x="634" y="962"/>
                    <a:pt x="634" y="980"/>
                  </a:cubicBezTo>
                  <a:cubicBezTo>
                    <a:pt x="1193" y="1253"/>
                    <a:pt x="1807" y="1253"/>
                    <a:pt x="2232" y="1271"/>
                  </a:cubicBezTo>
                  <a:cubicBezTo>
                    <a:pt x="2280" y="1274"/>
                    <a:pt x="2326" y="1276"/>
                    <a:pt x="2371" y="1276"/>
                  </a:cubicBezTo>
                  <a:cubicBezTo>
                    <a:pt x="2875" y="1276"/>
                    <a:pt x="3236" y="1092"/>
                    <a:pt x="3503" y="846"/>
                  </a:cubicBezTo>
                  <a:cubicBezTo>
                    <a:pt x="3558" y="768"/>
                    <a:pt x="3618" y="712"/>
                    <a:pt x="3674" y="652"/>
                  </a:cubicBezTo>
                  <a:lnTo>
                    <a:pt x="3734" y="75"/>
                  </a:lnTo>
                  <a:lnTo>
                    <a:pt x="3618" y="384"/>
                  </a:lnTo>
                  <a:lnTo>
                    <a:pt x="3175" y="652"/>
                  </a:lnTo>
                  <a:lnTo>
                    <a:pt x="3059" y="444"/>
                  </a:lnTo>
                  <a:lnTo>
                    <a:pt x="3004" y="615"/>
                  </a:lnTo>
                  <a:lnTo>
                    <a:pt x="2519" y="560"/>
                  </a:lnTo>
                  <a:lnTo>
                    <a:pt x="2500" y="287"/>
                  </a:lnTo>
                  <a:lnTo>
                    <a:pt x="1904" y="652"/>
                  </a:lnTo>
                  <a:lnTo>
                    <a:pt x="1114" y="116"/>
                  </a:lnTo>
                  <a:lnTo>
                    <a:pt x="1211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8" name="Google Shape;1317;p45">
              <a:extLst>
                <a:ext uri="{FF2B5EF4-FFF2-40B4-BE49-F238E27FC236}">
                  <a16:creationId xmlns:a16="http://schemas.microsoft.com/office/drawing/2014/main" xmlns="" id="{CAB8FCFC-5A5E-7456-5D1C-E15250A1811D}"/>
                </a:ext>
              </a:extLst>
            </p:cNvPr>
            <p:cNvSpPr/>
            <p:nvPr/>
          </p:nvSpPr>
          <p:spPr>
            <a:xfrm>
              <a:off x="5279375" y="2347600"/>
              <a:ext cx="102025" cy="51075"/>
            </a:xfrm>
            <a:custGeom>
              <a:avLst/>
              <a:gdLst/>
              <a:ahLst/>
              <a:cxnLst/>
              <a:rect l="l" t="t" r="r" b="b"/>
              <a:pathLst>
                <a:path w="4081" h="2043" extrusionOk="0">
                  <a:moveTo>
                    <a:pt x="1868" y="0"/>
                  </a:moveTo>
                  <a:cubicBezTo>
                    <a:pt x="1618" y="37"/>
                    <a:pt x="962" y="310"/>
                    <a:pt x="962" y="310"/>
                  </a:cubicBezTo>
                  <a:lnTo>
                    <a:pt x="1059" y="97"/>
                  </a:lnTo>
                  <a:lnTo>
                    <a:pt x="1059" y="97"/>
                  </a:lnTo>
                  <a:cubicBezTo>
                    <a:pt x="1041" y="97"/>
                    <a:pt x="232" y="596"/>
                    <a:pt x="1" y="943"/>
                  </a:cubicBezTo>
                  <a:lnTo>
                    <a:pt x="676" y="657"/>
                  </a:lnTo>
                  <a:lnTo>
                    <a:pt x="306" y="1156"/>
                  </a:lnTo>
                  <a:lnTo>
                    <a:pt x="306" y="1156"/>
                  </a:lnTo>
                  <a:lnTo>
                    <a:pt x="731" y="888"/>
                  </a:lnTo>
                  <a:lnTo>
                    <a:pt x="1115" y="1521"/>
                  </a:lnTo>
                  <a:lnTo>
                    <a:pt x="1272" y="1253"/>
                  </a:lnTo>
                  <a:lnTo>
                    <a:pt x="1618" y="1442"/>
                  </a:lnTo>
                  <a:lnTo>
                    <a:pt x="1831" y="1156"/>
                  </a:lnTo>
                  <a:lnTo>
                    <a:pt x="2293" y="1211"/>
                  </a:lnTo>
                  <a:lnTo>
                    <a:pt x="2639" y="2043"/>
                  </a:lnTo>
                  <a:lnTo>
                    <a:pt x="2639" y="1636"/>
                  </a:lnTo>
                  <a:lnTo>
                    <a:pt x="3120" y="1849"/>
                  </a:lnTo>
                  <a:lnTo>
                    <a:pt x="2829" y="1581"/>
                  </a:lnTo>
                  <a:lnTo>
                    <a:pt x="2944" y="1058"/>
                  </a:lnTo>
                  <a:lnTo>
                    <a:pt x="3351" y="1211"/>
                  </a:lnTo>
                  <a:lnTo>
                    <a:pt x="3120" y="1003"/>
                  </a:lnTo>
                  <a:lnTo>
                    <a:pt x="3522" y="906"/>
                  </a:lnTo>
                  <a:lnTo>
                    <a:pt x="3716" y="1058"/>
                  </a:lnTo>
                  <a:lnTo>
                    <a:pt x="3716" y="980"/>
                  </a:lnTo>
                  <a:lnTo>
                    <a:pt x="4062" y="1174"/>
                  </a:lnTo>
                  <a:lnTo>
                    <a:pt x="4081" y="1022"/>
                  </a:lnTo>
                  <a:cubicBezTo>
                    <a:pt x="3947" y="772"/>
                    <a:pt x="3813" y="633"/>
                    <a:pt x="3813" y="633"/>
                  </a:cubicBezTo>
                  <a:lnTo>
                    <a:pt x="3753" y="906"/>
                  </a:lnTo>
                  <a:cubicBezTo>
                    <a:pt x="3309" y="310"/>
                    <a:pt x="2676" y="37"/>
                    <a:pt x="2676" y="37"/>
                  </a:cubicBezTo>
                  <a:lnTo>
                    <a:pt x="2676" y="37"/>
                  </a:lnTo>
                  <a:lnTo>
                    <a:pt x="2713" y="444"/>
                  </a:lnTo>
                  <a:lnTo>
                    <a:pt x="2367" y="97"/>
                  </a:lnTo>
                  <a:lnTo>
                    <a:pt x="186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39" name="Google Shape;1318;p45">
              <a:extLst>
                <a:ext uri="{FF2B5EF4-FFF2-40B4-BE49-F238E27FC236}">
                  <a16:creationId xmlns:a16="http://schemas.microsoft.com/office/drawing/2014/main" xmlns="" id="{4580E20B-8BA7-9912-F780-C19C84BB0FDA}"/>
                </a:ext>
              </a:extLst>
            </p:cNvPr>
            <p:cNvSpPr/>
            <p:nvPr/>
          </p:nvSpPr>
          <p:spPr>
            <a:xfrm>
              <a:off x="5296250" y="2387100"/>
              <a:ext cx="45650" cy="26025"/>
            </a:xfrm>
            <a:custGeom>
              <a:avLst/>
              <a:gdLst/>
              <a:ahLst/>
              <a:cxnLst/>
              <a:rect l="l" t="t" r="r" b="b"/>
              <a:pathLst>
                <a:path w="1826" h="1041" extrusionOk="0">
                  <a:moveTo>
                    <a:pt x="1308" y="1"/>
                  </a:moveTo>
                  <a:lnTo>
                    <a:pt x="1271" y="537"/>
                  </a:lnTo>
                  <a:lnTo>
                    <a:pt x="962" y="19"/>
                  </a:lnTo>
                  <a:lnTo>
                    <a:pt x="384" y="366"/>
                  </a:lnTo>
                  <a:lnTo>
                    <a:pt x="75" y="250"/>
                  </a:lnTo>
                  <a:lnTo>
                    <a:pt x="1" y="749"/>
                  </a:lnTo>
                  <a:lnTo>
                    <a:pt x="440" y="828"/>
                  </a:lnTo>
                  <a:lnTo>
                    <a:pt x="768" y="1040"/>
                  </a:lnTo>
                  <a:lnTo>
                    <a:pt x="1211" y="902"/>
                  </a:lnTo>
                  <a:lnTo>
                    <a:pt x="1733" y="768"/>
                  </a:lnTo>
                  <a:lnTo>
                    <a:pt x="1655" y="634"/>
                  </a:lnTo>
                  <a:lnTo>
                    <a:pt x="1826" y="421"/>
                  </a:lnTo>
                  <a:lnTo>
                    <a:pt x="1461" y="306"/>
                  </a:lnTo>
                  <a:lnTo>
                    <a:pt x="1308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0" name="Google Shape;1319;p45">
              <a:extLst>
                <a:ext uri="{FF2B5EF4-FFF2-40B4-BE49-F238E27FC236}">
                  <a16:creationId xmlns:a16="http://schemas.microsoft.com/office/drawing/2014/main" xmlns="" id="{3851D197-D939-4C83-3CBE-394B304C2C36}"/>
                </a:ext>
              </a:extLst>
            </p:cNvPr>
            <p:cNvSpPr/>
            <p:nvPr/>
          </p:nvSpPr>
          <p:spPr>
            <a:xfrm>
              <a:off x="5349625" y="2400500"/>
              <a:ext cx="16425" cy="14475"/>
            </a:xfrm>
            <a:custGeom>
              <a:avLst/>
              <a:gdLst/>
              <a:ahLst/>
              <a:cxnLst/>
              <a:rect l="l" t="t" r="r" b="b"/>
              <a:pathLst>
                <a:path w="657" h="579" extrusionOk="0">
                  <a:moveTo>
                    <a:pt x="194" y="1"/>
                  </a:moveTo>
                  <a:lnTo>
                    <a:pt x="97" y="232"/>
                  </a:lnTo>
                  <a:lnTo>
                    <a:pt x="0" y="407"/>
                  </a:lnTo>
                  <a:lnTo>
                    <a:pt x="268" y="407"/>
                  </a:lnTo>
                  <a:lnTo>
                    <a:pt x="291" y="541"/>
                  </a:lnTo>
                  <a:lnTo>
                    <a:pt x="425" y="426"/>
                  </a:lnTo>
                  <a:lnTo>
                    <a:pt x="578" y="578"/>
                  </a:lnTo>
                  <a:lnTo>
                    <a:pt x="559" y="347"/>
                  </a:lnTo>
                  <a:lnTo>
                    <a:pt x="656" y="292"/>
                  </a:lnTo>
                  <a:lnTo>
                    <a:pt x="462" y="292"/>
                  </a:lnTo>
                  <a:lnTo>
                    <a:pt x="347" y="98"/>
                  </a:lnTo>
                  <a:lnTo>
                    <a:pt x="268" y="232"/>
                  </a:lnTo>
                  <a:lnTo>
                    <a:pt x="194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1" name="Google Shape;1320;p45">
              <a:extLst>
                <a:ext uri="{FF2B5EF4-FFF2-40B4-BE49-F238E27FC236}">
                  <a16:creationId xmlns:a16="http://schemas.microsoft.com/office/drawing/2014/main" xmlns="" id="{FE42042E-FF95-76C1-9CBB-E730BBFCF5ED}"/>
                </a:ext>
              </a:extLst>
            </p:cNvPr>
            <p:cNvSpPr/>
            <p:nvPr/>
          </p:nvSpPr>
          <p:spPr>
            <a:xfrm>
              <a:off x="5277425" y="2376475"/>
              <a:ext cx="16900" cy="23125"/>
            </a:xfrm>
            <a:custGeom>
              <a:avLst/>
              <a:gdLst/>
              <a:ahLst/>
              <a:cxnLst/>
              <a:rect l="l" t="t" r="r" b="b"/>
              <a:pathLst>
                <a:path w="676" h="925" extrusionOk="0">
                  <a:moveTo>
                    <a:pt x="37" y="1"/>
                  </a:moveTo>
                  <a:cubicBezTo>
                    <a:pt x="0" y="213"/>
                    <a:pt x="0" y="481"/>
                    <a:pt x="0" y="731"/>
                  </a:cubicBezTo>
                  <a:lnTo>
                    <a:pt x="347" y="925"/>
                  </a:lnTo>
                  <a:lnTo>
                    <a:pt x="328" y="560"/>
                  </a:lnTo>
                  <a:lnTo>
                    <a:pt x="578" y="657"/>
                  </a:lnTo>
                  <a:lnTo>
                    <a:pt x="407" y="347"/>
                  </a:lnTo>
                  <a:lnTo>
                    <a:pt x="675" y="56"/>
                  </a:lnTo>
                  <a:lnTo>
                    <a:pt x="213" y="287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2" name="Google Shape;1321;p45">
              <a:extLst>
                <a:ext uri="{FF2B5EF4-FFF2-40B4-BE49-F238E27FC236}">
                  <a16:creationId xmlns:a16="http://schemas.microsoft.com/office/drawing/2014/main" xmlns="" id="{7FDA7061-6120-FF02-E54E-3BFC50E6304D}"/>
                </a:ext>
              </a:extLst>
            </p:cNvPr>
            <p:cNvSpPr/>
            <p:nvPr/>
          </p:nvSpPr>
          <p:spPr>
            <a:xfrm>
              <a:off x="5325125" y="2513600"/>
              <a:ext cx="15850" cy="5800"/>
            </a:xfrm>
            <a:custGeom>
              <a:avLst/>
              <a:gdLst/>
              <a:ahLst/>
              <a:cxnLst/>
              <a:rect l="l" t="t" r="r" b="b"/>
              <a:pathLst>
                <a:path w="634" h="232" extrusionOk="0">
                  <a:moveTo>
                    <a:pt x="324" y="0"/>
                  </a:moveTo>
                  <a:lnTo>
                    <a:pt x="250" y="116"/>
                  </a:lnTo>
                  <a:lnTo>
                    <a:pt x="38" y="23"/>
                  </a:lnTo>
                  <a:lnTo>
                    <a:pt x="1" y="213"/>
                  </a:lnTo>
                  <a:lnTo>
                    <a:pt x="615" y="231"/>
                  </a:lnTo>
                  <a:lnTo>
                    <a:pt x="634" y="42"/>
                  </a:lnTo>
                  <a:lnTo>
                    <a:pt x="555" y="139"/>
                  </a:lnTo>
                  <a:lnTo>
                    <a:pt x="463" y="0"/>
                  </a:lnTo>
                  <a:lnTo>
                    <a:pt x="421" y="60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3" name="Google Shape;1322;p45">
              <a:extLst>
                <a:ext uri="{FF2B5EF4-FFF2-40B4-BE49-F238E27FC236}">
                  <a16:creationId xmlns:a16="http://schemas.microsoft.com/office/drawing/2014/main" xmlns="" id="{BC880F9C-1037-2089-6485-5E61C9D72270}"/>
                </a:ext>
              </a:extLst>
            </p:cNvPr>
            <p:cNvSpPr/>
            <p:nvPr/>
          </p:nvSpPr>
          <p:spPr>
            <a:xfrm>
              <a:off x="5270725" y="2376475"/>
              <a:ext cx="4750" cy="16900"/>
            </a:xfrm>
            <a:custGeom>
              <a:avLst/>
              <a:gdLst/>
              <a:ahLst/>
              <a:cxnLst/>
              <a:rect l="l" t="t" r="r" b="b"/>
              <a:pathLst>
                <a:path w="190" h="676" extrusionOk="0">
                  <a:moveTo>
                    <a:pt x="0" y="1"/>
                  </a:moveTo>
                  <a:lnTo>
                    <a:pt x="134" y="675"/>
                  </a:lnTo>
                  <a:lnTo>
                    <a:pt x="190" y="36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4" name="Google Shape;1323;p45">
              <a:extLst>
                <a:ext uri="{FF2B5EF4-FFF2-40B4-BE49-F238E27FC236}">
                  <a16:creationId xmlns:a16="http://schemas.microsoft.com/office/drawing/2014/main" xmlns="" id="{165D028A-46D4-F50C-96C5-8D89E63FE445}"/>
                </a:ext>
              </a:extLst>
            </p:cNvPr>
            <p:cNvSpPr/>
            <p:nvPr/>
          </p:nvSpPr>
          <p:spPr>
            <a:xfrm>
              <a:off x="5388675" y="2397150"/>
              <a:ext cx="5800" cy="13075"/>
            </a:xfrm>
            <a:custGeom>
              <a:avLst/>
              <a:gdLst/>
              <a:ahLst/>
              <a:cxnLst/>
              <a:rect l="l" t="t" r="r" b="b"/>
              <a:pathLst>
                <a:path w="232" h="523" extrusionOk="0">
                  <a:moveTo>
                    <a:pt x="231" y="1"/>
                  </a:moveTo>
                  <a:lnTo>
                    <a:pt x="0" y="269"/>
                  </a:lnTo>
                  <a:lnTo>
                    <a:pt x="0" y="523"/>
                  </a:lnTo>
                  <a:lnTo>
                    <a:pt x="231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7" name="Google Shape;1310;p45">
            <a:extLst>
              <a:ext uri="{FF2B5EF4-FFF2-40B4-BE49-F238E27FC236}">
                <a16:creationId xmlns:a16="http://schemas.microsoft.com/office/drawing/2014/main" xmlns="" id="{E567F1C8-97B4-775A-4EB1-D27F244E5F50}"/>
              </a:ext>
            </a:extLst>
          </p:cNvPr>
          <p:cNvGrpSpPr/>
          <p:nvPr/>
        </p:nvGrpSpPr>
        <p:grpSpPr>
          <a:xfrm>
            <a:off x="1783670" y="3801481"/>
            <a:ext cx="325655" cy="518853"/>
            <a:chOff x="5270725" y="2347600"/>
            <a:chExt cx="123750" cy="171800"/>
          </a:xfrm>
        </p:grpSpPr>
        <p:sp>
          <p:nvSpPr>
            <p:cNvPr id="8" name="Google Shape;1311;p45">
              <a:extLst>
                <a:ext uri="{FF2B5EF4-FFF2-40B4-BE49-F238E27FC236}">
                  <a16:creationId xmlns:a16="http://schemas.microsoft.com/office/drawing/2014/main" xmlns="" id="{1225F733-455A-E4F3-E27C-C1654518BC31}"/>
                </a:ext>
              </a:extLst>
            </p:cNvPr>
            <p:cNvSpPr/>
            <p:nvPr/>
          </p:nvSpPr>
          <p:spPr>
            <a:xfrm>
              <a:off x="5312550" y="2445325"/>
              <a:ext cx="31775" cy="73150"/>
            </a:xfrm>
            <a:custGeom>
              <a:avLst/>
              <a:gdLst/>
              <a:ahLst/>
              <a:cxnLst/>
              <a:rect l="l" t="t" r="r" b="b"/>
              <a:pathLst>
                <a:path w="1271" h="2926" extrusionOk="0">
                  <a:moveTo>
                    <a:pt x="0" y="0"/>
                  </a:moveTo>
                  <a:lnTo>
                    <a:pt x="116" y="481"/>
                  </a:lnTo>
                  <a:lnTo>
                    <a:pt x="790" y="767"/>
                  </a:lnTo>
                  <a:lnTo>
                    <a:pt x="675" y="2925"/>
                  </a:lnTo>
                  <a:lnTo>
                    <a:pt x="1040" y="2925"/>
                  </a:lnTo>
                  <a:lnTo>
                    <a:pt x="1021" y="2616"/>
                  </a:lnTo>
                  <a:lnTo>
                    <a:pt x="966" y="2579"/>
                  </a:lnTo>
                  <a:lnTo>
                    <a:pt x="869" y="1618"/>
                  </a:lnTo>
                  <a:lnTo>
                    <a:pt x="906" y="1502"/>
                  </a:lnTo>
                  <a:lnTo>
                    <a:pt x="906" y="790"/>
                  </a:lnTo>
                  <a:lnTo>
                    <a:pt x="1234" y="675"/>
                  </a:lnTo>
                  <a:lnTo>
                    <a:pt x="1271" y="347"/>
                  </a:lnTo>
                  <a:lnTo>
                    <a:pt x="1252" y="328"/>
                  </a:lnTo>
                  <a:lnTo>
                    <a:pt x="1197" y="633"/>
                  </a:lnTo>
                  <a:lnTo>
                    <a:pt x="1003" y="675"/>
                  </a:lnTo>
                  <a:lnTo>
                    <a:pt x="869" y="712"/>
                  </a:lnTo>
                  <a:lnTo>
                    <a:pt x="790" y="633"/>
                  </a:lnTo>
                  <a:lnTo>
                    <a:pt x="675" y="250"/>
                  </a:lnTo>
                  <a:lnTo>
                    <a:pt x="638" y="56"/>
                  </a:lnTo>
                  <a:lnTo>
                    <a:pt x="656" y="268"/>
                  </a:lnTo>
                  <a:lnTo>
                    <a:pt x="735" y="652"/>
                  </a:lnTo>
                  <a:lnTo>
                    <a:pt x="157" y="462"/>
                  </a:lnTo>
                  <a:lnTo>
                    <a:pt x="250" y="97"/>
                  </a:lnTo>
                  <a:lnTo>
                    <a:pt x="134" y="4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Google Shape;1312;p45">
              <a:extLst>
                <a:ext uri="{FF2B5EF4-FFF2-40B4-BE49-F238E27FC236}">
                  <a16:creationId xmlns:a16="http://schemas.microsoft.com/office/drawing/2014/main" xmlns="" id="{F445FC15-CA95-4E23-E74E-B9D2F29F9AC2}"/>
                </a:ext>
              </a:extLst>
            </p:cNvPr>
            <p:cNvSpPr/>
            <p:nvPr/>
          </p:nvSpPr>
          <p:spPr>
            <a:xfrm>
              <a:off x="5275450" y="2347600"/>
              <a:ext cx="112650" cy="109400"/>
            </a:xfrm>
            <a:custGeom>
              <a:avLst/>
              <a:gdLst/>
              <a:ahLst/>
              <a:cxnLst/>
              <a:rect l="l" t="t" r="r" b="b"/>
              <a:pathLst>
                <a:path w="4506" h="4376" extrusionOk="0">
                  <a:moveTo>
                    <a:pt x="2025" y="0"/>
                  </a:moveTo>
                  <a:cubicBezTo>
                    <a:pt x="1775" y="37"/>
                    <a:pt x="1119" y="310"/>
                    <a:pt x="1119" y="310"/>
                  </a:cubicBezTo>
                  <a:lnTo>
                    <a:pt x="1216" y="97"/>
                  </a:lnTo>
                  <a:lnTo>
                    <a:pt x="1216" y="97"/>
                  </a:lnTo>
                  <a:cubicBezTo>
                    <a:pt x="1198" y="97"/>
                    <a:pt x="389" y="596"/>
                    <a:pt x="158" y="943"/>
                  </a:cubicBezTo>
                  <a:cubicBezTo>
                    <a:pt x="140" y="1003"/>
                    <a:pt x="116" y="1058"/>
                    <a:pt x="116" y="1156"/>
                  </a:cubicBezTo>
                  <a:cubicBezTo>
                    <a:pt x="79" y="1368"/>
                    <a:pt x="79" y="1636"/>
                    <a:pt x="79" y="1886"/>
                  </a:cubicBezTo>
                  <a:cubicBezTo>
                    <a:pt x="98" y="1904"/>
                    <a:pt x="98" y="1946"/>
                    <a:pt x="98" y="1983"/>
                  </a:cubicBezTo>
                  <a:cubicBezTo>
                    <a:pt x="98" y="2232"/>
                    <a:pt x="116" y="2426"/>
                    <a:pt x="116" y="2426"/>
                  </a:cubicBezTo>
                  <a:cubicBezTo>
                    <a:pt x="116" y="2426"/>
                    <a:pt x="61" y="2311"/>
                    <a:pt x="1" y="2117"/>
                  </a:cubicBezTo>
                  <a:lnTo>
                    <a:pt x="1" y="2117"/>
                  </a:lnTo>
                  <a:cubicBezTo>
                    <a:pt x="60" y="3119"/>
                    <a:pt x="506" y="3618"/>
                    <a:pt x="540" y="3636"/>
                  </a:cubicBezTo>
                  <a:lnTo>
                    <a:pt x="540" y="3636"/>
                  </a:lnTo>
                  <a:cubicBezTo>
                    <a:pt x="531" y="3633"/>
                    <a:pt x="475" y="3613"/>
                    <a:pt x="371" y="3563"/>
                  </a:cubicBezTo>
                  <a:lnTo>
                    <a:pt x="371" y="3563"/>
                  </a:lnTo>
                  <a:cubicBezTo>
                    <a:pt x="560" y="3794"/>
                    <a:pt x="773" y="3965"/>
                    <a:pt x="1004" y="4080"/>
                  </a:cubicBezTo>
                  <a:cubicBezTo>
                    <a:pt x="1563" y="4353"/>
                    <a:pt x="2177" y="4353"/>
                    <a:pt x="2602" y="4371"/>
                  </a:cubicBezTo>
                  <a:cubicBezTo>
                    <a:pt x="2650" y="4374"/>
                    <a:pt x="2696" y="4376"/>
                    <a:pt x="2741" y="4376"/>
                  </a:cubicBezTo>
                  <a:cubicBezTo>
                    <a:pt x="3245" y="4376"/>
                    <a:pt x="3606" y="4192"/>
                    <a:pt x="3873" y="3946"/>
                  </a:cubicBezTo>
                  <a:lnTo>
                    <a:pt x="3891" y="3928"/>
                  </a:lnTo>
                  <a:lnTo>
                    <a:pt x="3891" y="3909"/>
                  </a:lnTo>
                  <a:lnTo>
                    <a:pt x="3910" y="3909"/>
                  </a:lnTo>
                  <a:lnTo>
                    <a:pt x="3928" y="3891"/>
                  </a:lnTo>
                  <a:lnTo>
                    <a:pt x="3928" y="3868"/>
                  </a:lnTo>
                  <a:cubicBezTo>
                    <a:pt x="3951" y="3868"/>
                    <a:pt x="3951" y="3849"/>
                    <a:pt x="3970" y="3831"/>
                  </a:cubicBezTo>
                  <a:lnTo>
                    <a:pt x="3988" y="3812"/>
                  </a:lnTo>
                  <a:lnTo>
                    <a:pt x="4007" y="3794"/>
                  </a:lnTo>
                  <a:lnTo>
                    <a:pt x="4025" y="3775"/>
                  </a:lnTo>
                  <a:lnTo>
                    <a:pt x="4025" y="3752"/>
                  </a:lnTo>
                  <a:lnTo>
                    <a:pt x="4044" y="3752"/>
                  </a:lnTo>
                  <a:cubicBezTo>
                    <a:pt x="4414" y="3253"/>
                    <a:pt x="4506" y="2657"/>
                    <a:pt x="4487" y="2597"/>
                  </a:cubicBezTo>
                  <a:lnTo>
                    <a:pt x="4487" y="2597"/>
                  </a:lnTo>
                  <a:cubicBezTo>
                    <a:pt x="4390" y="2925"/>
                    <a:pt x="4275" y="2985"/>
                    <a:pt x="4275" y="2985"/>
                  </a:cubicBezTo>
                  <a:cubicBezTo>
                    <a:pt x="4275" y="2985"/>
                    <a:pt x="4469" y="2389"/>
                    <a:pt x="4432" y="1733"/>
                  </a:cubicBezTo>
                  <a:cubicBezTo>
                    <a:pt x="4432" y="1655"/>
                    <a:pt x="4432" y="1558"/>
                    <a:pt x="4414" y="1484"/>
                  </a:cubicBezTo>
                  <a:cubicBezTo>
                    <a:pt x="4372" y="1290"/>
                    <a:pt x="4298" y="1137"/>
                    <a:pt x="4238" y="1022"/>
                  </a:cubicBezTo>
                  <a:cubicBezTo>
                    <a:pt x="4104" y="772"/>
                    <a:pt x="3970" y="633"/>
                    <a:pt x="3970" y="633"/>
                  </a:cubicBezTo>
                  <a:lnTo>
                    <a:pt x="3910" y="906"/>
                  </a:lnTo>
                  <a:cubicBezTo>
                    <a:pt x="3466" y="310"/>
                    <a:pt x="2833" y="37"/>
                    <a:pt x="2833" y="37"/>
                  </a:cubicBezTo>
                  <a:lnTo>
                    <a:pt x="2833" y="37"/>
                  </a:lnTo>
                  <a:lnTo>
                    <a:pt x="2870" y="444"/>
                  </a:lnTo>
                  <a:lnTo>
                    <a:pt x="2524" y="97"/>
                  </a:lnTo>
                  <a:lnTo>
                    <a:pt x="2025" y="0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Google Shape;1313;p45">
              <a:extLst>
                <a:ext uri="{FF2B5EF4-FFF2-40B4-BE49-F238E27FC236}">
                  <a16:creationId xmlns:a16="http://schemas.microsoft.com/office/drawing/2014/main" xmlns="" id="{12B600F0-8250-B229-9C03-DBAC6FA2FAF4}"/>
                </a:ext>
              </a:extLst>
            </p:cNvPr>
            <p:cNvSpPr/>
            <p:nvPr/>
          </p:nvSpPr>
          <p:spPr>
            <a:xfrm>
              <a:off x="5275450" y="2397150"/>
              <a:ext cx="56875" cy="46225"/>
            </a:xfrm>
            <a:custGeom>
              <a:avLst/>
              <a:gdLst/>
              <a:ahLst/>
              <a:cxnLst/>
              <a:rect l="l" t="t" r="r" b="b"/>
              <a:pathLst>
                <a:path w="2275" h="1849" extrusionOk="0">
                  <a:moveTo>
                    <a:pt x="98" y="1"/>
                  </a:moveTo>
                  <a:cubicBezTo>
                    <a:pt x="98" y="250"/>
                    <a:pt x="116" y="444"/>
                    <a:pt x="116" y="444"/>
                  </a:cubicBezTo>
                  <a:cubicBezTo>
                    <a:pt x="116" y="444"/>
                    <a:pt x="61" y="329"/>
                    <a:pt x="1" y="135"/>
                  </a:cubicBezTo>
                  <a:lnTo>
                    <a:pt x="1" y="135"/>
                  </a:lnTo>
                  <a:cubicBezTo>
                    <a:pt x="61" y="1156"/>
                    <a:pt x="523" y="1655"/>
                    <a:pt x="541" y="1655"/>
                  </a:cubicBezTo>
                  <a:lnTo>
                    <a:pt x="541" y="1678"/>
                  </a:lnTo>
                  <a:lnTo>
                    <a:pt x="888" y="1849"/>
                  </a:lnTo>
                  <a:lnTo>
                    <a:pt x="791" y="1424"/>
                  </a:lnTo>
                  <a:lnTo>
                    <a:pt x="1581" y="1119"/>
                  </a:lnTo>
                  <a:lnTo>
                    <a:pt x="1581" y="1119"/>
                  </a:lnTo>
                  <a:lnTo>
                    <a:pt x="1484" y="1234"/>
                  </a:lnTo>
                  <a:lnTo>
                    <a:pt x="2274" y="1770"/>
                  </a:lnTo>
                  <a:lnTo>
                    <a:pt x="1946" y="828"/>
                  </a:lnTo>
                  <a:lnTo>
                    <a:pt x="1350" y="985"/>
                  </a:lnTo>
                  <a:lnTo>
                    <a:pt x="1101" y="560"/>
                  </a:lnTo>
                  <a:lnTo>
                    <a:pt x="657" y="1216"/>
                  </a:lnTo>
                  <a:lnTo>
                    <a:pt x="310" y="925"/>
                  </a:lnTo>
                  <a:lnTo>
                    <a:pt x="463" y="925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Google Shape;1314;p45">
              <a:extLst>
                <a:ext uri="{FF2B5EF4-FFF2-40B4-BE49-F238E27FC236}">
                  <a16:creationId xmlns:a16="http://schemas.microsoft.com/office/drawing/2014/main" xmlns="" id="{F32A2EA3-73E8-0267-8568-02D97800F5E8}"/>
                </a:ext>
              </a:extLst>
            </p:cNvPr>
            <p:cNvSpPr/>
            <p:nvPr/>
          </p:nvSpPr>
          <p:spPr>
            <a:xfrm>
              <a:off x="5347200" y="2378900"/>
              <a:ext cx="40900" cy="62525"/>
            </a:xfrm>
            <a:custGeom>
              <a:avLst/>
              <a:gdLst/>
              <a:ahLst/>
              <a:cxnLst/>
              <a:rect l="l" t="t" r="r" b="b"/>
              <a:pathLst>
                <a:path w="1636" h="2501" extrusionOk="0">
                  <a:moveTo>
                    <a:pt x="1234" y="1"/>
                  </a:moveTo>
                  <a:lnTo>
                    <a:pt x="1021" y="463"/>
                  </a:lnTo>
                  <a:lnTo>
                    <a:pt x="675" y="500"/>
                  </a:lnTo>
                  <a:lnTo>
                    <a:pt x="1271" y="1114"/>
                  </a:lnTo>
                  <a:lnTo>
                    <a:pt x="1137" y="1599"/>
                  </a:lnTo>
                  <a:lnTo>
                    <a:pt x="966" y="1327"/>
                  </a:lnTo>
                  <a:lnTo>
                    <a:pt x="693" y="2001"/>
                  </a:lnTo>
                  <a:lnTo>
                    <a:pt x="559" y="1886"/>
                  </a:lnTo>
                  <a:lnTo>
                    <a:pt x="231" y="2292"/>
                  </a:lnTo>
                  <a:lnTo>
                    <a:pt x="0" y="2135"/>
                  </a:lnTo>
                  <a:lnTo>
                    <a:pt x="19" y="2408"/>
                  </a:lnTo>
                  <a:lnTo>
                    <a:pt x="504" y="2463"/>
                  </a:lnTo>
                  <a:lnTo>
                    <a:pt x="559" y="2292"/>
                  </a:lnTo>
                  <a:lnTo>
                    <a:pt x="675" y="2500"/>
                  </a:lnTo>
                  <a:lnTo>
                    <a:pt x="1118" y="2232"/>
                  </a:lnTo>
                  <a:lnTo>
                    <a:pt x="1234" y="1923"/>
                  </a:lnTo>
                  <a:lnTo>
                    <a:pt x="1174" y="2500"/>
                  </a:lnTo>
                  <a:cubicBezTo>
                    <a:pt x="1544" y="2001"/>
                    <a:pt x="1636" y="1405"/>
                    <a:pt x="1617" y="1345"/>
                  </a:cubicBezTo>
                  <a:lnTo>
                    <a:pt x="1617" y="1345"/>
                  </a:lnTo>
                  <a:cubicBezTo>
                    <a:pt x="1520" y="1673"/>
                    <a:pt x="1405" y="1733"/>
                    <a:pt x="1405" y="1733"/>
                  </a:cubicBezTo>
                  <a:cubicBezTo>
                    <a:pt x="1405" y="1733"/>
                    <a:pt x="1599" y="1137"/>
                    <a:pt x="1562" y="481"/>
                  </a:cubicBezTo>
                  <a:cubicBezTo>
                    <a:pt x="1562" y="403"/>
                    <a:pt x="1562" y="306"/>
                    <a:pt x="1544" y="232"/>
                  </a:cubicBezTo>
                  <a:lnTo>
                    <a:pt x="1289" y="287"/>
                  </a:lnTo>
                  <a:lnTo>
                    <a:pt x="1234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Google Shape;1315;p45">
              <a:extLst>
                <a:ext uri="{FF2B5EF4-FFF2-40B4-BE49-F238E27FC236}">
                  <a16:creationId xmlns:a16="http://schemas.microsoft.com/office/drawing/2014/main" xmlns="" id="{A66DE61C-F5E0-EF14-60F5-D240A8D58DC0}"/>
                </a:ext>
              </a:extLst>
            </p:cNvPr>
            <p:cNvSpPr/>
            <p:nvPr/>
          </p:nvSpPr>
          <p:spPr>
            <a:xfrm>
              <a:off x="5318775" y="2411600"/>
              <a:ext cx="47275" cy="32000"/>
            </a:xfrm>
            <a:custGeom>
              <a:avLst/>
              <a:gdLst/>
              <a:ahLst/>
              <a:cxnLst/>
              <a:rect l="l" t="t" r="r" b="b"/>
              <a:pathLst>
                <a:path w="1891" h="1280" extrusionOk="0">
                  <a:moveTo>
                    <a:pt x="292" y="0"/>
                  </a:moveTo>
                  <a:lnTo>
                    <a:pt x="1" y="310"/>
                  </a:lnTo>
                  <a:cubicBezTo>
                    <a:pt x="1" y="310"/>
                    <a:pt x="370" y="1058"/>
                    <a:pt x="389" y="1077"/>
                  </a:cubicBezTo>
                  <a:cubicBezTo>
                    <a:pt x="426" y="1100"/>
                    <a:pt x="541" y="1271"/>
                    <a:pt x="541" y="1271"/>
                  </a:cubicBezTo>
                  <a:cubicBezTo>
                    <a:pt x="541" y="1271"/>
                    <a:pt x="671" y="1279"/>
                    <a:pt x="762" y="1279"/>
                  </a:cubicBezTo>
                  <a:cubicBezTo>
                    <a:pt x="808" y="1279"/>
                    <a:pt x="845" y="1277"/>
                    <a:pt x="851" y="1271"/>
                  </a:cubicBezTo>
                  <a:cubicBezTo>
                    <a:pt x="888" y="1252"/>
                    <a:pt x="1253" y="1155"/>
                    <a:pt x="1271" y="1155"/>
                  </a:cubicBezTo>
                  <a:cubicBezTo>
                    <a:pt x="1313" y="1155"/>
                    <a:pt x="1465" y="943"/>
                    <a:pt x="1465" y="943"/>
                  </a:cubicBezTo>
                  <a:lnTo>
                    <a:pt x="1830" y="693"/>
                  </a:lnTo>
                  <a:lnTo>
                    <a:pt x="1890" y="541"/>
                  </a:lnTo>
                  <a:lnTo>
                    <a:pt x="1733" y="347"/>
                  </a:lnTo>
                  <a:lnTo>
                    <a:pt x="1465" y="541"/>
                  </a:lnTo>
                  <a:lnTo>
                    <a:pt x="1253" y="231"/>
                  </a:lnTo>
                  <a:lnTo>
                    <a:pt x="851" y="347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Google Shape;1316;p45">
              <a:extLst>
                <a:ext uri="{FF2B5EF4-FFF2-40B4-BE49-F238E27FC236}">
                  <a16:creationId xmlns:a16="http://schemas.microsoft.com/office/drawing/2014/main" xmlns="" id="{47C8A6B2-FCB2-D9E0-ABB5-7BFB6B6929ED}"/>
                </a:ext>
              </a:extLst>
            </p:cNvPr>
            <p:cNvSpPr/>
            <p:nvPr/>
          </p:nvSpPr>
          <p:spPr>
            <a:xfrm>
              <a:off x="5284554" y="2424068"/>
              <a:ext cx="93901" cy="31900"/>
            </a:xfrm>
            <a:custGeom>
              <a:avLst/>
              <a:gdLst/>
              <a:ahLst/>
              <a:cxnLst/>
              <a:rect l="l" t="t" r="r" b="b"/>
              <a:pathLst>
                <a:path w="3734" h="1276" extrusionOk="0">
                  <a:moveTo>
                    <a:pt x="1" y="463"/>
                  </a:moveTo>
                  <a:cubicBezTo>
                    <a:pt x="6" y="465"/>
                    <a:pt x="11" y="468"/>
                    <a:pt x="16" y="470"/>
                  </a:cubicBezTo>
                  <a:lnTo>
                    <a:pt x="16" y="470"/>
                  </a:lnTo>
                  <a:cubicBezTo>
                    <a:pt x="12" y="466"/>
                    <a:pt x="8" y="463"/>
                    <a:pt x="1" y="463"/>
                  </a:cubicBezTo>
                  <a:close/>
                  <a:moveTo>
                    <a:pt x="1211" y="1"/>
                  </a:moveTo>
                  <a:lnTo>
                    <a:pt x="421" y="306"/>
                  </a:lnTo>
                  <a:lnTo>
                    <a:pt x="518" y="731"/>
                  </a:lnTo>
                  <a:lnTo>
                    <a:pt x="171" y="560"/>
                  </a:lnTo>
                  <a:lnTo>
                    <a:pt x="171" y="537"/>
                  </a:lnTo>
                  <a:cubicBezTo>
                    <a:pt x="171" y="537"/>
                    <a:pt x="121" y="520"/>
                    <a:pt x="16" y="470"/>
                  </a:cubicBezTo>
                  <a:lnTo>
                    <a:pt x="16" y="470"/>
                  </a:lnTo>
                  <a:cubicBezTo>
                    <a:pt x="22" y="477"/>
                    <a:pt x="26" y="489"/>
                    <a:pt x="37" y="500"/>
                  </a:cubicBezTo>
                  <a:lnTo>
                    <a:pt x="56" y="518"/>
                  </a:lnTo>
                  <a:lnTo>
                    <a:pt x="56" y="537"/>
                  </a:lnTo>
                  <a:cubicBezTo>
                    <a:pt x="93" y="560"/>
                    <a:pt x="116" y="578"/>
                    <a:pt x="135" y="597"/>
                  </a:cubicBezTo>
                  <a:lnTo>
                    <a:pt x="135" y="615"/>
                  </a:lnTo>
                  <a:lnTo>
                    <a:pt x="153" y="615"/>
                  </a:lnTo>
                  <a:lnTo>
                    <a:pt x="171" y="634"/>
                  </a:lnTo>
                  <a:lnTo>
                    <a:pt x="190" y="652"/>
                  </a:lnTo>
                  <a:lnTo>
                    <a:pt x="190" y="675"/>
                  </a:lnTo>
                  <a:lnTo>
                    <a:pt x="208" y="675"/>
                  </a:lnTo>
                  <a:lnTo>
                    <a:pt x="208" y="694"/>
                  </a:lnTo>
                  <a:lnTo>
                    <a:pt x="232" y="694"/>
                  </a:lnTo>
                  <a:cubicBezTo>
                    <a:pt x="269" y="731"/>
                    <a:pt x="324" y="791"/>
                    <a:pt x="384" y="828"/>
                  </a:cubicBezTo>
                  <a:lnTo>
                    <a:pt x="403" y="828"/>
                  </a:lnTo>
                  <a:lnTo>
                    <a:pt x="421" y="846"/>
                  </a:lnTo>
                  <a:lnTo>
                    <a:pt x="439" y="865"/>
                  </a:lnTo>
                  <a:lnTo>
                    <a:pt x="463" y="865"/>
                  </a:lnTo>
                  <a:lnTo>
                    <a:pt x="463" y="883"/>
                  </a:lnTo>
                  <a:lnTo>
                    <a:pt x="481" y="883"/>
                  </a:lnTo>
                  <a:cubicBezTo>
                    <a:pt x="500" y="883"/>
                    <a:pt x="500" y="906"/>
                    <a:pt x="518" y="906"/>
                  </a:cubicBezTo>
                  <a:lnTo>
                    <a:pt x="537" y="925"/>
                  </a:lnTo>
                  <a:lnTo>
                    <a:pt x="555" y="925"/>
                  </a:lnTo>
                  <a:lnTo>
                    <a:pt x="578" y="943"/>
                  </a:lnTo>
                  <a:lnTo>
                    <a:pt x="597" y="943"/>
                  </a:lnTo>
                  <a:lnTo>
                    <a:pt x="597" y="962"/>
                  </a:lnTo>
                  <a:cubicBezTo>
                    <a:pt x="615" y="962"/>
                    <a:pt x="634" y="962"/>
                    <a:pt x="634" y="980"/>
                  </a:cubicBezTo>
                  <a:cubicBezTo>
                    <a:pt x="1193" y="1253"/>
                    <a:pt x="1807" y="1253"/>
                    <a:pt x="2232" y="1271"/>
                  </a:cubicBezTo>
                  <a:cubicBezTo>
                    <a:pt x="2280" y="1274"/>
                    <a:pt x="2326" y="1276"/>
                    <a:pt x="2371" y="1276"/>
                  </a:cubicBezTo>
                  <a:cubicBezTo>
                    <a:pt x="2875" y="1276"/>
                    <a:pt x="3236" y="1092"/>
                    <a:pt x="3503" y="846"/>
                  </a:cubicBezTo>
                  <a:cubicBezTo>
                    <a:pt x="3558" y="768"/>
                    <a:pt x="3618" y="712"/>
                    <a:pt x="3674" y="652"/>
                  </a:cubicBezTo>
                  <a:lnTo>
                    <a:pt x="3734" y="75"/>
                  </a:lnTo>
                  <a:lnTo>
                    <a:pt x="3618" y="384"/>
                  </a:lnTo>
                  <a:lnTo>
                    <a:pt x="3175" y="652"/>
                  </a:lnTo>
                  <a:lnTo>
                    <a:pt x="3059" y="444"/>
                  </a:lnTo>
                  <a:lnTo>
                    <a:pt x="3004" y="615"/>
                  </a:lnTo>
                  <a:lnTo>
                    <a:pt x="2519" y="560"/>
                  </a:lnTo>
                  <a:lnTo>
                    <a:pt x="2500" y="287"/>
                  </a:lnTo>
                  <a:lnTo>
                    <a:pt x="1904" y="652"/>
                  </a:lnTo>
                  <a:lnTo>
                    <a:pt x="1114" y="116"/>
                  </a:lnTo>
                  <a:lnTo>
                    <a:pt x="1211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Google Shape;1317;p45">
              <a:extLst>
                <a:ext uri="{FF2B5EF4-FFF2-40B4-BE49-F238E27FC236}">
                  <a16:creationId xmlns:a16="http://schemas.microsoft.com/office/drawing/2014/main" xmlns="" id="{53ED64D9-B00D-BB88-A3AE-94A015A10A7B}"/>
                </a:ext>
              </a:extLst>
            </p:cNvPr>
            <p:cNvSpPr/>
            <p:nvPr/>
          </p:nvSpPr>
          <p:spPr>
            <a:xfrm>
              <a:off x="5279375" y="2347600"/>
              <a:ext cx="102025" cy="51075"/>
            </a:xfrm>
            <a:custGeom>
              <a:avLst/>
              <a:gdLst/>
              <a:ahLst/>
              <a:cxnLst/>
              <a:rect l="l" t="t" r="r" b="b"/>
              <a:pathLst>
                <a:path w="4081" h="2043" extrusionOk="0">
                  <a:moveTo>
                    <a:pt x="1868" y="0"/>
                  </a:moveTo>
                  <a:cubicBezTo>
                    <a:pt x="1618" y="37"/>
                    <a:pt x="962" y="310"/>
                    <a:pt x="962" y="310"/>
                  </a:cubicBezTo>
                  <a:lnTo>
                    <a:pt x="1059" y="97"/>
                  </a:lnTo>
                  <a:lnTo>
                    <a:pt x="1059" y="97"/>
                  </a:lnTo>
                  <a:cubicBezTo>
                    <a:pt x="1041" y="97"/>
                    <a:pt x="232" y="596"/>
                    <a:pt x="1" y="943"/>
                  </a:cubicBezTo>
                  <a:lnTo>
                    <a:pt x="676" y="657"/>
                  </a:lnTo>
                  <a:lnTo>
                    <a:pt x="306" y="1156"/>
                  </a:lnTo>
                  <a:lnTo>
                    <a:pt x="306" y="1156"/>
                  </a:lnTo>
                  <a:lnTo>
                    <a:pt x="731" y="888"/>
                  </a:lnTo>
                  <a:lnTo>
                    <a:pt x="1115" y="1521"/>
                  </a:lnTo>
                  <a:lnTo>
                    <a:pt x="1272" y="1253"/>
                  </a:lnTo>
                  <a:lnTo>
                    <a:pt x="1618" y="1442"/>
                  </a:lnTo>
                  <a:lnTo>
                    <a:pt x="1831" y="1156"/>
                  </a:lnTo>
                  <a:lnTo>
                    <a:pt x="2293" y="1211"/>
                  </a:lnTo>
                  <a:lnTo>
                    <a:pt x="2639" y="2043"/>
                  </a:lnTo>
                  <a:lnTo>
                    <a:pt x="2639" y="1636"/>
                  </a:lnTo>
                  <a:lnTo>
                    <a:pt x="3120" y="1849"/>
                  </a:lnTo>
                  <a:lnTo>
                    <a:pt x="2829" y="1581"/>
                  </a:lnTo>
                  <a:lnTo>
                    <a:pt x="2944" y="1058"/>
                  </a:lnTo>
                  <a:lnTo>
                    <a:pt x="3351" y="1211"/>
                  </a:lnTo>
                  <a:lnTo>
                    <a:pt x="3120" y="1003"/>
                  </a:lnTo>
                  <a:lnTo>
                    <a:pt x="3522" y="906"/>
                  </a:lnTo>
                  <a:lnTo>
                    <a:pt x="3716" y="1058"/>
                  </a:lnTo>
                  <a:lnTo>
                    <a:pt x="3716" y="980"/>
                  </a:lnTo>
                  <a:lnTo>
                    <a:pt x="4062" y="1174"/>
                  </a:lnTo>
                  <a:lnTo>
                    <a:pt x="4081" y="1022"/>
                  </a:lnTo>
                  <a:cubicBezTo>
                    <a:pt x="3947" y="772"/>
                    <a:pt x="3813" y="633"/>
                    <a:pt x="3813" y="633"/>
                  </a:cubicBezTo>
                  <a:lnTo>
                    <a:pt x="3753" y="906"/>
                  </a:lnTo>
                  <a:cubicBezTo>
                    <a:pt x="3309" y="310"/>
                    <a:pt x="2676" y="37"/>
                    <a:pt x="2676" y="37"/>
                  </a:cubicBezTo>
                  <a:lnTo>
                    <a:pt x="2676" y="37"/>
                  </a:lnTo>
                  <a:lnTo>
                    <a:pt x="2713" y="444"/>
                  </a:lnTo>
                  <a:lnTo>
                    <a:pt x="2367" y="97"/>
                  </a:lnTo>
                  <a:lnTo>
                    <a:pt x="186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Google Shape;1318;p45">
              <a:extLst>
                <a:ext uri="{FF2B5EF4-FFF2-40B4-BE49-F238E27FC236}">
                  <a16:creationId xmlns:a16="http://schemas.microsoft.com/office/drawing/2014/main" xmlns="" id="{8F13A116-0CF6-229F-CA67-015768243A06}"/>
                </a:ext>
              </a:extLst>
            </p:cNvPr>
            <p:cNvSpPr/>
            <p:nvPr/>
          </p:nvSpPr>
          <p:spPr>
            <a:xfrm>
              <a:off x="5296250" y="2387100"/>
              <a:ext cx="45650" cy="26025"/>
            </a:xfrm>
            <a:custGeom>
              <a:avLst/>
              <a:gdLst/>
              <a:ahLst/>
              <a:cxnLst/>
              <a:rect l="l" t="t" r="r" b="b"/>
              <a:pathLst>
                <a:path w="1826" h="1041" extrusionOk="0">
                  <a:moveTo>
                    <a:pt x="1308" y="1"/>
                  </a:moveTo>
                  <a:lnTo>
                    <a:pt x="1271" y="537"/>
                  </a:lnTo>
                  <a:lnTo>
                    <a:pt x="962" y="19"/>
                  </a:lnTo>
                  <a:lnTo>
                    <a:pt x="384" y="366"/>
                  </a:lnTo>
                  <a:lnTo>
                    <a:pt x="75" y="250"/>
                  </a:lnTo>
                  <a:lnTo>
                    <a:pt x="1" y="749"/>
                  </a:lnTo>
                  <a:lnTo>
                    <a:pt x="440" y="828"/>
                  </a:lnTo>
                  <a:lnTo>
                    <a:pt x="768" y="1040"/>
                  </a:lnTo>
                  <a:lnTo>
                    <a:pt x="1211" y="902"/>
                  </a:lnTo>
                  <a:lnTo>
                    <a:pt x="1733" y="768"/>
                  </a:lnTo>
                  <a:lnTo>
                    <a:pt x="1655" y="634"/>
                  </a:lnTo>
                  <a:lnTo>
                    <a:pt x="1826" y="421"/>
                  </a:lnTo>
                  <a:lnTo>
                    <a:pt x="1461" y="306"/>
                  </a:lnTo>
                  <a:lnTo>
                    <a:pt x="1308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Google Shape;1319;p45">
              <a:extLst>
                <a:ext uri="{FF2B5EF4-FFF2-40B4-BE49-F238E27FC236}">
                  <a16:creationId xmlns:a16="http://schemas.microsoft.com/office/drawing/2014/main" xmlns="" id="{F82C891E-EE75-9DBC-A7FF-DBE488640E7F}"/>
                </a:ext>
              </a:extLst>
            </p:cNvPr>
            <p:cNvSpPr/>
            <p:nvPr/>
          </p:nvSpPr>
          <p:spPr>
            <a:xfrm>
              <a:off x="5349625" y="2400500"/>
              <a:ext cx="16425" cy="14475"/>
            </a:xfrm>
            <a:custGeom>
              <a:avLst/>
              <a:gdLst/>
              <a:ahLst/>
              <a:cxnLst/>
              <a:rect l="l" t="t" r="r" b="b"/>
              <a:pathLst>
                <a:path w="657" h="579" extrusionOk="0">
                  <a:moveTo>
                    <a:pt x="194" y="1"/>
                  </a:moveTo>
                  <a:lnTo>
                    <a:pt x="97" y="232"/>
                  </a:lnTo>
                  <a:lnTo>
                    <a:pt x="0" y="407"/>
                  </a:lnTo>
                  <a:lnTo>
                    <a:pt x="268" y="407"/>
                  </a:lnTo>
                  <a:lnTo>
                    <a:pt x="291" y="541"/>
                  </a:lnTo>
                  <a:lnTo>
                    <a:pt x="425" y="426"/>
                  </a:lnTo>
                  <a:lnTo>
                    <a:pt x="578" y="578"/>
                  </a:lnTo>
                  <a:lnTo>
                    <a:pt x="559" y="347"/>
                  </a:lnTo>
                  <a:lnTo>
                    <a:pt x="656" y="292"/>
                  </a:lnTo>
                  <a:lnTo>
                    <a:pt x="462" y="292"/>
                  </a:lnTo>
                  <a:lnTo>
                    <a:pt x="347" y="98"/>
                  </a:lnTo>
                  <a:lnTo>
                    <a:pt x="268" y="232"/>
                  </a:lnTo>
                  <a:lnTo>
                    <a:pt x="194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Google Shape;1320;p45">
              <a:extLst>
                <a:ext uri="{FF2B5EF4-FFF2-40B4-BE49-F238E27FC236}">
                  <a16:creationId xmlns:a16="http://schemas.microsoft.com/office/drawing/2014/main" xmlns="" id="{792F1883-8C02-2B08-4F31-5BCCFE39E4A1}"/>
                </a:ext>
              </a:extLst>
            </p:cNvPr>
            <p:cNvSpPr/>
            <p:nvPr/>
          </p:nvSpPr>
          <p:spPr>
            <a:xfrm>
              <a:off x="5277425" y="2376475"/>
              <a:ext cx="16900" cy="23125"/>
            </a:xfrm>
            <a:custGeom>
              <a:avLst/>
              <a:gdLst/>
              <a:ahLst/>
              <a:cxnLst/>
              <a:rect l="l" t="t" r="r" b="b"/>
              <a:pathLst>
                <a:path w="676" h="925" extrusionOk="0">
                  <a:moveTo>
                    <a:pt x="37" y="1"/>
                  </a:moveTo>
                  <a:cubicBezTo>
                    <a:pt x="0" y="213"/>
                    <a:pt x="0" y="481"/>
                    <a:pt x="0" y="731"/>
                  </a:cubicBezTo>
                  <a:lnTo>
                    <a:pt x="347" y="925"/>
                  </a:lnTo>
                  <a:lnTo>
                    <a:pt x="328" y="560"/>
                  </a:lnTo>
                  <a:lnTo>
                    <a:pt x="578" y="657"/>
                  </a:lnTo>
                  <a:lnTo>
                    <a:pt x="407" y="347"/>
                  </a:lnTo>
                  <a:lnTo>
                    <a:pt x="675" y="56"/>
                  </a:lnTo>
                  <a:lnTo>
                    <a:pt x="213" y="287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Google Shape;1321;p45">
              <a:extLst>
                <a:ext uri="{FF2B5EF4-FFF2-40B4-BE49-F238E27FC236}">
                  <a16:creationId xmlns:a16="http://schemas.microsoft.com/office/drawing/2014/main" xmlns="" id="{E17A1D73-9B06-5326-5323-558411908E4E}"/>
                </a:ext>
              </a:extLst>
            </p:cNvPr>
            <p:cNvSpPr/>
            <p:nvPr/>
          </p:nvSpPr>
          <p:spPr>
            <a:xfrm>
              <a:off x="5325125" y="2513600"/>
              <a:ext cx="15850" cy="5800"/>
            </a:xfrm>
            <a:custGeom>
              <a:avLst/>
              <a:gdLst/>
              <a:ahLst/>
              <a:cxnLst/>
              <a:rect l="l" t="t" r="r" b="b"/>
              <a:pathLst>
                <a:path w="634" h="232" extrusionOk="0">
                  <a:moveTo>
                    <a:pt x="324" y="0"/>
                  </a:moveTo>
                  <a:lnTo>
                    <a:pt x="250" y="116"/>
                  </a:lnTo>
                  <a:lnTo>
                    <a:pt x="38" y="23"/>
                  </a:lnTo>
                  <a:lnTo>
                    <a:pt x="1" y="213"/>
                  </a:lnTo>
                  <a:lnTo>
                    <a:pt x="615" y="231"/>
                  </a:lnTo>
                  <a:lnTo>
                    <a:pt x="634" y="42"/>
                  </a:lnTo>
                  <a:lnTo>
                    <a:pt x="555" y="139"/>
                  </a:lnTo>
                  <a:lnTo>
                    <a:pt x="463" y="0"/>
                  </a:lnTo>
                  <a:lnTo>
                    <a:pt x="421" y="60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Google Shape;1322;p45">
              <a:extLst>
                <a:ext uri="{FF2B5EF4-FFF2-40B4-BE49-F238E27FC236}">
                  <a16:creationId xmlns:a16="http://schemas.microsoft.com/office/drawing/2014/main" xmlns="" id="{50A399EE-74CA-B115-FCB9-48DA095EF87A}"/>
                </a:ext>
              </a:extLst>
            </p:cNvPr>
            <p:cNvSpPr/>
            <p:nvPr/>
          </p:nvSpPr>
          <p:spPr>
            <a:xfrm>
              <a:off x="5270725" y="2376475"/>
              <a:ext cx="4750" cy="16900"/>
            </a:xfrm>
            <a:custGeom>
              <a:avLst/>
              <a:gdLst/>
              <a:ahLst/>
              <a:cxnLst/>
              <a:rect l="l" t="t" r="r" b="b"/>
              <a:pathLst>
                <a:path w="190" h="676" extrusionOk="0">
                  <a:moveTo>
                    <a:pt x="0" y="1"/>
                  </a:moveTo>
                  <a:lnTo>
                    <a:pt x="134" y="675"/>
                  </a:lnTo>
                  <a:lnTo>
                    <a:pt x="190" y="36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Google Shape;1323;p45">
              <a:extLst>
                <a:ext uri="{FF2B5EF4-FFF2-40B4-BE49-F238E27FC236}">
                  <a16:creationId xmlns:a16="http://schemas.microsoft.com/office/drawing/2014/main" xmlns="" id="{54B2DC99-3265-C836-7946-62040A82CCF9}"/>
                </a:ext>
              </a:extLst>
            </p:cNvPr>
            <p:cNvSpPr/>
            <p:nvPr/>
          </p:nvSpPr>
          <p:spPr>
            <a:xfrm>
              <a:off x="5388675" y="2397150"/>
              <a:ext cx="5800" cy="13075"/>
            </a:xfrm>
            <a:custGeom>
              <a:avLst/>
              <a:gdLst/>
              <a:ahLst/>
              <a:cxnLst/>
              <a:rect l="l" t="t" r="r" b="b"/>
              <a:pathLst>
                <a:path w="232" h="523" extrusionOk="0">
                  <a:moveTo>
                    <a:pt x="231" y="1"/>
                  </a:moveTo>
                  <a:lnTo>
                    <a:pt x="0" y="269"/>
                  </a:lnTo>
                  <a:lnTo>
                    <a:pt x="0" y="523"/>
                  </a:lnTo>
                  <a:lnTo>
                    <a:pt x="231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23" name="Google Shape;1310;p45">
            <a:extLst>
              <a:ext uri="{FF2B5EF4-FFF2-40B4-BE49-F238E27FC236}">
                <a16:creationId xmlns:a16="http://schemas.microsoft.com/office/drawing/2014/main" xmlns="" id="{435CF495-F56B-3BBE-E57F-96E0E3064A27}"/>
              </a:ext>
            </a:extLst>
          </p:cNvPr>
          <p:cNvGrpSpPr/>
          <p:nvPr/>
        </p:nvGrpSpPr>
        <p:grpSpPr>
          <a:xfrm>
            <a:off x="10233067" y="4583183"/>
            <a:ext cx="325655" cy="518853"/>
            <a:chOff x="5270725" y="2347600"/>
            <a:chExt cx="123750" cy="171800"/>
          </a:xfrm>
        </p:grpSpPr>
        <p:sp>
          <p:nvSpPr>
            <p:cNvPr id="24" name="Google Shape;1311;p45">
              <a:extLst>
                <a:ext uri="{FF2B5EF4-FFF2-40B4-BE49-F238E27FC236}">
                  <a16:creationId xmlns:a16="http://schemas.microsoft.com/office/drawing/2014/main" xmlns="" id="{420D4461-C182-DE8A-EC32-B8A555339A2A}"/>
                </a:ext>
              </a:extLst>
            </p:cNvPr>
            <p:cNvSpPr/>
            <p:nvPr/>
          </p:nvSpPr>
          <p:spPr>
            <a:xfrm>
              <a:off x="5312550" y="2445325"/>
              <a:ext cx="31775" cy="73150"/>
            </a:xfrm>
            <a:custGeom>
              <a:avLst/>
              <a:gdLst/>
              <a:ahLst/>
              <a:cxnLst/>
              <a:rect l="l" t="t" r="r" b="b"/>
              <a:pathLst>
                <a:path w="1271" h="2926" extrusionOk="0">
                  <a:moveTo>
                    <a:pt x="0" y="0"/>
                  </a:moveTo>
                  <a:lnTo>
                    <a:pt x="116" y="481"/>
                  </a:lnTo>
                  <a:lnTo>
                    <a:pt x="790" y="767"/>
                  </a:lnTo>
                  <a:lnTo>
                    <a:pt x="675" y="2925"/>
                  </a:lnTo>
                  <a:lnTo>
                    <a:pt x="1040" y="2925"/>
                  </a:lnTo>
                  <a:lnTo>
                    <a:pt x="1021" y="2616"/>
                  </a:lnTo>
                  <a:lnTo>
                    <a:pt x="966" y="2579"/>
                  </a:lnTo>
                  <a:lnTo>
                    <a:pt x="869" y="1618"/>
                  </a:lnTo>
                  <a:lnTo>
                    <a:pt x="906" y="1502"/>
                  </a:lnTo>
                  <a:lnTo>
                    <a:pt x="906" y="790"/>
                  </a:lnTo>
                  <a:lnTo>
                    <a:pt x="1234" y="675"/>
                  </a:lnTo>
                  <a:lnTo>
                    <a:pt x="1271" y="347"/>
                  </a:lnTo>
                  <a:lnTo>
                    <a:pt x="1252" y="328"/>
                  </a:lnTo>
                  <a:lnTo>
                    <a:pt x="1197" y="633"/>
                  </a:lnTo>
                  <a:lnTo>
                    <a:pt x="1003" y="675"/>
                  </a:lnTo>
                  <a:lnTo>
                    <a:pt x="869" y="712"/>
                  </a:lnTo>
                  <a:lnTo>
                    <a:pt x="790" y="633"/>
                  </a:lnTo>
                  <a:lnTo>
                    <a:pt x="675" y="250"/>
                  </a:lnTo>
                  <a:lnTo>
                    <a:pt x="638" y="56"/>
                  </a:lnTo>
                  <a:lnTo>
                    <a:pt x="656" y="268"/>
                  </a:lnTo>
                  <a:lnTo>
                    <a:pt x="735" y="652"/>
                  </a:lnTo>
                  <a:lnTo>
                    <a:pt x="157" y="462"/>
                  </a:lnTo>
                  <a:lnTo>
                    <a:pt x="250" y="97"/>
                  </a:lnTo>
                  <a:lnTo>
                    <a:pt x="134" y="4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5C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Google Shape;1312;p45">
              <a:extLst>
                <a:ext uri="{FF2B5EF4-FFF2-40B4-BE49-F238E27FC236}">
                  <a16:creationId xmlns:a16="http://schemas.microsoft.com/office/drawing/2014/main" xmlns="" id="{1692C64A-13BE-F1FE-F02E-0B2F08FC7A14}"/>
                </a:ext>
              </a:extLst>
            </p:cNvPr>
            <p:cNvSpPr/>
            <p:nvPr/>
          </p:nvSpPr>
          <p:spPr>
            <a:xfrm>
              <a:off x="5275450" y="2347600"/>
              <a:ext cx="112650" cy="109400"/>
            </a:xfrm>
            <a:custGeom>
              <a:avLst/>
              <a:gdLst/>
              <a:ahLst/>
              <a:cxnLst/>
              <a:rect l="l" t="t" r="r" b="b"/>
              <a:pathLst>
                <a:path w="4506" h="4376" extrusionOk="0">
                  <a:moveTo>
                    <a:pt x="2025" y="0"/>
                  </a:moveTo>
                  <a:cubicBezTo>
                    <a:pt x="1775" y="37"/>
                    <a:pt x="1119" y="310"/>
                    <a:pt x="1119" y="310"/>
                  </a:cubicBezTo>
                  <a:lnTo>
                    <a:pt x="1216" y="97"/>
                  </a:lnTo>
                  <a:lnTo>
                    <a:pt x="1216" y="97"/>
                  </a:lnTo>
                  <a:cubicBezTo>
                    <a:pt x="1198" y="97"/>
                    <a:pt x="389" y="596"/>
                    <a:pt x="158" y="943"/>
                  </a:cubicBezTo>
                  <a:cubicBezTo>
                    <a:pt x="140" y="1003"/>
                    <a:pt x="116" y="1058"/>
                    <a:pt x="116" y="1156"/>
                  </a:cubicBezTo>
                  <a:cubicBezTo>
                    <a:pt x="79" y="1368"/>
                    <a:pt x="79" y="1636"/>
                    <a:pt x="79" y="1886"/>
                  </a:cubicBezTo>
                  <a:cubicBezTo>
                    <a:pt x="98" y="1904"/>
                    <a:pt x="98" y="1946"/>
                    <a:pt x="98" y="1983"/>
                  </a:cubicBezTo>
                  <a:cubicBezTo>
                    <a:pt x="98" y="2232"/>
                    <a:pt x="116" y="2426"/>
                    <a:pt x="116" y="2426"/>
                  </a:cubicBezTo>
                  <a:cubicBezTo>
                    <a:pt x="116" y="2426"/>
                    <a:pt x="61" y="2311"/>
                    <a:pt x="1" y="2117"/>
                  </a:cubicBezTo>
                  <a:lnTo>
                    <a:pt x="1" y="2117"/>
                  </a:lnTo>
                  <a:cubicBezTo>
                    <a:pt x="60" y="3119"/>
                    <a:pt x="506" y="3618"/>
                    <a:pt x="540" y="3636"/>
                  </a:cubicBezTo>
                  <a:lnTo>
                    <a:pt x="540" y="3636"/>
                  </a:lnTo>
                  <a:cubicBezTo>
                    <a:pt x="531" y="3633"/>
                    <a:pt x="475" y="3613"/>
                    <a:pt x="371" y="3563"/>
                  </a:cubicBezTo>
                  <a:lnTo>
                    <a:pt x="371" y="3563"/>
                  </a:lnTo>
                  <a:cubicBezTo>
                    <a:pt x="560" y="3794"/>
                    <a:pt x="773" y="3965"/>
                    <a:pt x="1004" y="4080"/>
                  </a:cubicBezTo>
                  <a:cubicBezTo>
                    <a:pt x="1563" y="4353"/>
                    <a:pt x="2177" y="4353"/>
                    <a:pt x="2602" y="4371"/>
                  </a:cubicBezTo>
                  <a:cubicBezTo>
                    <a:pt x="2650" y="4374"/>
                    <a:pt x="2696" y="4376"/>
                    <a:pt x="2741" y="4376"/>
                  </a:cubicBezTo>
                  <a:cubicBezTo>
                    <a:pt x="3245" y="4376"/>
                    <a:pt x="3606" y="4192"/>
                    <a:pt x="3873" y="3946"/>
                  </a:cubicBezTo>
                  <a:lnTo>
                    <a:pt x="3891" y="3928"/>
                  </a:lnTo>
                  <a:lnTo>
                    <a:pt x="3891" y="3909"/>
                  </a:lnTo>
                  <a:lnTo>
                    <a:pt x="3910" y="3909"/>
                  </a:lnTo>
                  <a:lnTo>
                    <a:pt x="3928" y="3891"/>
                  </a:lnTo>
                  <a:lnTo>
                    <a:pt x="3928" y="3868"/>
                  </a:lnTo>
                  <a:cubicBezTo>
                    <a:pt x="3951" y="3868"/>
                    <a:pt x="3951" y="3849"/>
                    <a:pt x="3970" y="3831"/>
                  </a:cubicBezTo>
                  <a:lnTo>
                    <a:pt x="3988" y="3812"/>
                  </a:lnTo>
                  <a:lnTo>
                    <a:pt x="4007" y="3794"/>
                  </a:lnTo>
                  <a:lnTo>
                    <a:pt x="4025" y="3775"/>
                  </a:lnTo>
                  <a:lnTo>
                    <a:pt x="4025" y="3752"/>
                  </a:lnTo>
                  <a:lnTo>
                    <a:pt x="4044" y="3752"/>
                  </a:lnTo>
                  <a:cubicBezTo>
                    <a:pt x="4414" y="3253"/>
                    <a:pt x="4506" y="2657"/>
                    <a:pt x="4487" y="2597"/>
                  </a:cubicBezTo>
                  <a:lnTo>
                    <a:pt x="4487" y="2597"/>
                  </a:lnTo>
                  <a:cubicBezTo>
                    <a:pt x="4390" y="2925"/>
                    <a:pt x="4275" y="2985"/>
                    <a:pt x="4275" y="2985"/>
                  </a:cubicBezTo>
                  <a:cubicBezTo>
                    <a:pt x="4275" y="2985"/>
                    <a:pt x="4469" y="2389"/>
                    <a:pt x="4432" y="1733"/>
                  </a:cubicBezTo>
                  <a:cubicBezTo>
                    <a:pt x="4432" y="1655"/>
                    <a:pt x="4432" y="1558"/>
                    <a:pt x="4414" y="1484"/>
                  </a:cubicBezTo>
                  <a:cubicBezTo>
                    <a:pt x="4372" y="1290"/>
                    <a:pt x="4298" y="1137"/>
                    <a:pt x="4238" y="1022"/>
                  </a:cubicBezTo>
                  <a:cubicBezTo>
                    <a:pt x="4104" y="772"/>
                    <a:pt x="3970" y="633"/>
                    <a:pt x="3970" y="633"/>
                  </a:cubicBezTo>
                  <a:lnTo>
                    <a:pt x="3910" y="906"/>
                  </a:lnTo>
                  <a:cubicBezTo>
                    <a:pt x="3466" y="310"/>
                    <a:pt x="2833" y="37"/>
                    <a:pt x="2833" y="37"/>
                  </a:cubicBezTo>
                  <a:lnTo>
                    <a:pt x="2833" y="37"/>
                  </a:lnTo>
                  <a:lnTo>
                    <a:pt x="2870" y="444"/>
                  </a:lnTo>
                  <a:lnTo>
                    <a:pt x="2524" y="97"/>
                  </a:lnTo>
                  <a:lnTo>
                    <a:pt x="2025" y="0"/>
                  </a:lnTo>
                  <a:close/>
                </a:path>
              </a:pathLst>
            </a:custGeom>
            <a:solidFill>
              <a:srgbClr val="97D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Google Shape;1313;p45">
              <a:extLst>
                <a:ext uri="{FF2B5EF4-FFF2-40B4-BE49-F238E27FC236}">
                  <a16:creationId xmlns:a16="http://schemas.microsoft.com/office/drawing/2014/main" xmlns="" id="{F407B608-F9BC-BE0D-9DE8-EB7F0869B5D0}"/>
                </a:ext>
              </a:extLst>
            </p:cNvPr>
            <p:cNvSpPr/>
            <p:nvPr/>
          </p:nvSpPr>
          <p:spPr>
            <a:xfrm>
              <a:off x="5275450" y="2397150"/>
              <a:ext cx="56875" cy="46225"/>
            </a:xfrm>
            <a:custGeom>
              <a:avLst/>
              <a:gdLst/>
              <a:ahLst/>
              <a:cxnLst/>
              <a:rect l="l" t="t" r="r" b="b"/>
              <a:pathLst>
                <a:path w="2275" h="1849" extrusionOk="0">
                  <a:moveTo>
                    <a:pt x="98" y="1"/>
                  </a:moveTo>
                  <a:cubicBezTo>
                    <a:pt x="98" y="250"/>
                    <a:pt x="116" y="444"/>
                    <a:pt x="116" y="444"/>
                  </a:cubicBezTo>
                  <a:cubicBezTo>
                    <a:pt x="116" y="444"/>
                    <a:pt x="61" y="329"/>
                    <a:pt x="1" y="135"/>
                  </a:cubicBezTo>
                  <a:lnTo>
                    <a:pt x="1" y="135"/>
                  </a:lnTo>
                  <a:cubicBezTo>
                    <a:pt x="61" y="1156"/>
                    <a:pt x="523" y="1655"/>
                    <a:pt x="541" y="1655"/>
                  </a:cubicBezTo>
                  <a:lnTo>
                    <a:pt x="541" y="1678"/>
                  </a:lnTo>
                  <a:lnTo>
                    <a:pt x="888" y="1849"/>
                  </a:lnTo>
                  <a:lnTo>
                    <a:pt x="791" y="1424"/>
                  </a:lnTo>
                  <a:lnTo>
                    <a:pt x="1581" y="1119"/>
                  </a:lnTo>
                  <a:lnTo>
                    <a:pt x="1581" y="1119"/>
                  </a:lnTo>
                  <a:lnTo>
                    <a:pt x="1484" y="1234"/>
                  </a:lnTo>
                  <a:lnTo>
                    <a:pt x="2274" y="1770"/>
                  </a:lnTo>
                  <a:lnTo>
                    <a:pt x="1946" y="828"/>
                  </a:lnTo>
                  <a:lnTo>
                    <a:pt x="1350" y="985"/>
                  </a:lnTo>
                  <a:lnTo>
                    <a:pt x="1101" y="560"/>
                  </a:lnTo>
                  <a:lnTo>
                    <a:pt x="657" y="1216"/>
                  </a:lnTo>
                  <a:lnTo>
                    <a:pt x="310" y="925"/>
                  </a:lnTo>
                  <a:lnTo>
                    <a:pt x="463" y="925"/>
                  </a:lnTo>
                  <a:lnTo>
                    <a:pt x="98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Google Shape;1314;p45">
              <a:extLst>
                <a:ext uri="{FF2B5EF4-FFF2-40B4-BE49-F238E27FC236}">
                  <a16:creationId xmlns:a16="http://schemas.microsoft.com/office/drawing/2014/main" xmlns="" id="{A2E00127-5C95-4A4E-BE4D-4A7AC5C56B57}"/>
                </a:ext>
              </a:extLst>
            </p:cNvPr>
            <p:cNvSpPr/>
            <p:nvPr/>
          </p:nvSpPr>
          <p:spPr>
            <a:xfrm>
              <a:off x="5347200" y="2378900"/>
              <a:ext cx="40900" cy="62525"/>
            </a:xfrm>
            <a:custGeom>
              <a:avLst/>
              <a:gdLst/>
              <a:ahLst/>
              <a:cxnLst/>
              <a:rect l="l" t="t" r="r" b="b"/>
              <a:pathLst>
                <a:path w="1636" h="2501" extrusionOk="0">
                  <a:moveTo>
                    <a:pt x="1234" y="1"/>
                  </a:moveTo>
                  <a:lnTo>
                    <a:pt x="1021" y="463"/>
                  </a:lnTo>
                  <a:lnTo>
                    <a:pt x="675" y="500"/>
                  </a:lnTo>
                  <a:lnTo>
                    <a:pt x="1271" y="1114"/>
                  </a:lnTo>
                  <a:lnTo>
                    <a:pt x="1137" y="1599"/>
                  </a:lnTo>
                  <a:lnTo>
                    <a:pt x="966" y="1327"/>
                  </a:lnTo>
                  <a:lnTo>
                    <a:pt x="693" y="2001"/>
                  </a:lnTo>
                  <a:lnTo>
                    <a:pt x="559" y="1886"/>
                  </a:lnTo>
                  <a:lnTo>
                    <a:pt x="231" y="2292"/>
                  </a:lnTo>
                  <a:lnTo>
                    <a:pt x="0" y="2135"/>
                  </a:lnTo>
                  <a:lnTo>
                    <a:pt x="19" y="2408"/>
                  </a:lnTo>
                  <a:lnTo>
                    <a:pt x="504" y="2463"/>
                  </a:lnTo>
                  <a:lnTo>
                    <a:pt x="559" y="2292"/>
                  </a:lnTo>
                  <a:lnTo>
                    <a:pt x="675" y="2500"/>
                  </a:lnTo>
                  <a:lnTo>
                    <a:pt x="1118" y="2232"/>
                  </a:lnTo>
                  <a:lnTo>
                    <a:pt x="1234" y="1923"/>
                  </a:lnTo>
                  <a:lnTo>
                    <a:pt x="1174" y="2500"/>
                  </a:lnTo>
                  <a:cubicBezTo>
                    <a:pt x="1544" y="2001"/>
                    <a:pt x="1636" y="1405"/>
                    <a:pt x="1617" y="1345"/>
                  </a:cubicBezTo>
                  <a:lnTo>
                    <a:pt x="1617" y="1345"/>
                  </a:lnTo>
                  <a:cubicBezTo>
                    <a:pt x="1520" y="1673"/>
                    <a:pt x="1405" y="1733"/>
                    <a:pt x="1405" y="1733"/>
                  </a:cubicBezTo>
                  <a:cubicBezTo>
                    <a:pt x="1405" y="1733"/>
                    <a:pt x="1599" y="1137"/>
                    <a:pt x="1562" y="481"/>
                  </a:cubicBezTo>
                  <a:cubicBezTo>
                    <a:pt x="1562" y="403"/>
                    <a:pt x="1562" y="306"/>
                    <a:pt x="1544" y="232"/>
                  </a:cubicBezTo>
                  <a:lnTo>
                    <a:pt x="1289" y="287"/>
                  </a:lnTo>
                  <a:lnTo>
                    <a:pt x="1234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Google Shape;1315;p45">
              <a:extLst>
                <a:ext uri="{FF2B5EF4-FFF2-40B4-BE49-F238E27FC236}">
                  <a16:creationId xmlns:a16="http://schemas.microsoft.com/office/drawing/2014/main" xmlns="" id="{F4340189-1516-2DEF-9D56-93DC4E016B29}"/>
                </a:ext>
              </a:extLst>
            </p:cNvPr>
            <p:cNvSpPr/>
            <p:nvPr/>
          </p:nvSpPr>
          <p:spPr>
            <a:xfrm>
              <a:off x="5318775" y="2411600"/>
              <a:ext cx="47275" cy="32000"/>
            </a:xfrm>
            <a:custGeom>
              <a:avLst/>
              <a:gdLst/>
              <a:ahLst/>
              <a:cxnLst/>
              <a:rect l="l" t="t" r="r" b="b"/>
              <a:pathLst>
                <a:path w="1891" h="1280" extrusionOk="0">
                  <a:moveTo>
                    <a:pt x="292" y="0"/>
                  </a:moveTo>
                  <a:lnTo>
                    <a:pt x="1" y="310"/>
                  </a:lnTo>
                  <a:cubicBezTo>
                    <a:pt x="1" y="310"/>
                    <a:pt x="370" y="1058"/>
                    <a:pt x="389" y="1077"/>
                  </a:cubicBezTo>
                  <a:cubicBezTo>
                    <a:pt x="426" y="1100"/>
                    <a:pt x="541" y="1271"/>
                    <a:pt x="541" y="1271"/>
                  </a:cubicBezTo>
                  <a:cubicBezTo>
                    <a:pt x="541" y="1271"/>
                    <a:pt x="671" y="1279"/>
                    <a:pt x="762" y="1279"/>
                  </a:cubicBezTo>
                  <a:cubicBezTo>
                    <a:pt x="808" y="1279"/>
                    <a:pt x="845" y="1277"/>
                    <a:pt x="851" y="1271"/>
                  </a:cubicBezTo>
                  <a:cubicBezTo>
                    <a:pt x="888" y="1252"/>
                    <a:pt x="1253" y="1155"/>
                    <a:pt x="1271" y="1155"/>
                  </a:cubicBezTo>
                  <a:cubicBezTo>
                    <a:pt x="1313" y="1155"/>
                    <a:pt x="1465" y="943"/>
                    <a:pt x="1465" y="943"/>
                  </a:cubicBezTo>
                  <a:lnTo>
                    <a:pt x="1830" y="693"/>
                  </a:lnTo>
                  <a:lnTo>
                    <a:pt x="1890" y="541"/>
                  </a:lnTo>
                  <a:lnTo>
                    <a:pt x="1733" y="347"/>
                  </a:lnTo>
                  <a:lnTo>
                    <a:pt x="1465" y="541"/>
                  </a:lnTo>
                  <a:lnTo>
                    <a:pt x="1253" y="231"/>
                  </a:lnTo>
                  <a:lnTo>
                    <a:pt x="851" y="347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Google Shape;1316;p45">
              <a:extLst>
                <a:ext uri="{FF2B5EF4-FFF2-40B4-BE49-F238E27FC236}">
                  <a16:creationId xmlns:a16="http://schemas.microsoft.com/office/drawing/2014/main" xmlns="" id="{44C24B4A-8436-F14B-92AE-D543E6AE711B}"/>
                </a:ext>
              </a:extLst>
            </p:cNvPr>
            <p:cNvSpPr/>
            <p:nvPr/>
          </p:nvSpPr>
          <p:spPr>
            <a:xfrm>
              <a:off x="5284554" y="2424068"/>
              <a:ext cx="93901" cy="31900"/>
            </a:xfrm>
            <a:custGeom>
              <a:avLst/>
              <a:gdLst/>
              <a:ahLst/>
              <a:cxnLst/>
              <a:rect l="l" t="t" r="r" b="b"/>
              <a:pathLst>
                <a:path w="3734" h="1276" extrusionOk="0">
                  <a:moveTo>
                    <a:pt x="1" y="463"/>
                  </a:moveTo>
                  <a:cubicBezTo>
                    <a:pt x="6" y="465"/>
                    <a:pt x="11" y="468"/>
                    <a:pt x="16" y="470"/>
                  </a:cubicBezTo>
                  <a:lnTo>
                    <a:pt x="16" y="470"/>
                  </a:lnTo>
                  <a:cubicBezTo>
                    <a:pt x="12" y="466"/>
                    <a:pt x="8" y="463"/>
                    <a:pt x="1" y="463"/>
                  </a:cubicBezTo>
                  <a:close/>
                  <a:moveTo>
                    <a:pt x="1211" y="1"/>
                  </a:moveTo>
                  <a:lnTo>
                    <a:pt x="421" y="306"/>
                  </a:lnTo>
                  <a:lnTo>
                    <a:pt x="518" y="731"/>
                  </a:lnTo>
                  <a:lnTo>
                    <a:pt x="171" y="560"/>
                  </a:lnTo>
                  <a:lnTo>
                    <a:pt x="171" y="537"/>
                  </a:lnTo>
                  <a:cubicBezTo>
                    <a:pt x="171" y="537"/>
                    <a:pt x="121" y="520"/>
                    <a:pt x="16" y="470"/>
                  </a:cubicBezTo>
                  <a:lnTo>
                    <a:pt x="16" y="470"/>
                  </a:lnTo>
                  <a:cubicBezTo>
                    <a:pt x="22" y="477"/>
                    <a:pt x="26" y="489"/>
                    <a:pt x="37" y="500"/>
                  </a:cubicBezTo>
                  <a:lnTo>
                    <a:pt x="56" y="518"/>
                  </a:lnTo>
                  <a:lnTo>
                    <a:pt x="56" y="537"/>
                  </a:lnTo>
                  <a:cubicBezTo>
                    <a:pt x="93" y="560"/>
                    <a:pt x="116" y="578"/>
                    <a:pt x="135" y="597"/>
                  </a:cubicBezTo>
                  <a:lnTo>
                    <a:pt x="135" y="615"/>
                  </a:lnTo>
                  <a:lnTo>
                    <a:pt x="153" y="615"/>
                  </a:lnTo>
                  <a:lnTo>
                    <a:pt x="171" y="634"/>
                  </a:lnTo>
                  <a:lnTo>
                    <a:pt x="190" y="652"/>
                  </a:lnTo>
                  <a:lnTo>
                    <a:pt x="190" y="675"/>
                  </a:lnTo>
                  <a:lnTo>
                    <a:pt x="208" y="675"/>
                  </a:lnTo>
                  <a:lnTo>
                    <a:pt x="208" y="694"/>
                  </a:lnTo>
                  <a:lnTo>
                    <a:pt x="232" y="694"/>
                  </a:lnTo>
                  <a:cubicBezTo>
                    <a:pt x="269" y="731"/>
                    <a:pt x="324" y="791"/>
                    <a:pt x="384" y="828"/>
                  </a:cubicBezTo>
                  <a:lnTo>
                    <a:pt x="403" y="828"/>
                  </a:lnTo>
                  <a:lnTo>
                    <a:pt x="421" y="846"/>
                  </a:lnTo>
                  <a:lnTo>
                    <a:pt x="439" y="865"/>
                  </a:lnTo>
                  <a:lnTo>
                    <a:pt x="463" y="865"/>
                  </a:lnTo>
                  <a:lnTo>
                    <a:pt x="463" y="883"/>
                  </a:lnTo>
                  <a:lnTo>
                    <a:pt x="481" y="883"/>
                  </a:lnTo>
                  <a:cubicBezTo>
                    <a:pt x="500" y="883"/>
                    <a:pt x="500" y="906"/>
                    <a:pt x="518" y="906"/>
                  </a:cubicBezTo>
                  <a:lnTo>
                    <a:pt x="537" y="925"/>
                  </a:lnTo>
                  <a:lnTo>
                    <a:pt x="555" y="925"/>
                  </a:lnTo>
                  <a:lnTo>
                    <a:pt x="578" y="943"/>
                  </a:lnTo>
                  <a:lnTo>
                    <a:pt x="597" y="943"/>
                  </a:lnTo>
                  <a:lnTo>
                    <a:pt x="597" y="962"/>
                  </a:lnTo>
                  <a:cubicBezTo>
                    <a:pt x="615" y="962"/>
                    <a:pt x="634" y="962"/>
                    <a:pt x="634" y="980"/>
                  </a:cubicBezTo>
                  <a:cubicBezTo>
                    <a:pt x="1193" y="1253"/>
                    <a:pt x="1807" y="1253"/>
                    <a:pt x="2232" y="1271"/>
                  </a:cubicBezTo>
                  <a:cubicBezTo>
                    <a:pt x="2280" y="1274"/>
                    <a:pt x="2326" y="1276"/>
                    <a:pt x="2371" y="1276"/>
                  </a:cubicBezTo>
                  <a:cubicBezTo>
                    <a:pt x="2875" y="1276"/>
                    <a:pt x="3236" y="1092"/>
                    <a:pt x="3503" y="846"/>
                  </a:cubicBezTo>
                  <a:cubicBezTo>
                    <a:pt x="3558" y="768"/>
                    <a:pt x="3618" y="712"/>
                    <a:pt x="3674" y="652"/>
                  </a:cubicBezTo>
                  <a:lnTo>
                    <a:pt x="3734" y="75"/>
                  </a:lnTo>
                  <a:lnTo>
                    <a:pt x="3618" y="384"/>
                  </a:lnTo>
                  <a:lnTo>
                    <a:pt x="3175" y="652"/>
                  </a:lnTo>
                  <a:lnTo>
                    <a:pt x="3059" y="444"/>
                  </a:lnTo>
                  <a:lnTo>
                    <a:pt x="3004" y="615"/>
                  </a:lnTo>
                  <a:lnTo>
                    <a:pt x="2519" y="560"/>
                  </a:lnTo>
                  <a:lnTo>
                    <a:pt x="2500" y="287"/>
                  </a:lnTo>
                  <a:lnTo>
                    <a:pt x="1904" y="652"/>
                  </a:lnTo>
                  <a:lnTo>
                    <a:pt x="1114" y="116"/>
                  </a:lnTo>
                  <a:lnTo>
                    <a:pt x="1211" y="1"/>
                  </a:lnTo>
                  <a:close/>
                </a:path>
              </a:pathLst>
            </a:custGeom>
            <a:solidFill>
              <a:srgbClr val="349319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Google Shape;1317;p45">
              <a:extLst>
                <a:ext uri="{FF2B5EF4-FFF2-40B4-BE49-F238E27FC236}">
                  <a16:creationId xmlns:a16="http://schemas.microsoft.com/office/drawing/2014/main" xmlns="" id="{1062530B-EEE2-75CB-2B56-50A30EFC8371}"/>
                </a:ext>
              </a:extLst>
            </p:cNvPr>
            <p:cNvSpPr/>
            <p:nvPr/>
          </p:nvSpPr>
          <p:spPr>
            <a:xfrm>
              <a:off x="5279375" y="2347600"/>
              <a:ext cx="102025" cy="51075"/>
            </a:xfrm>
            <a:custGeom>
              <a:avLst/>
              <a:gdLst/>
              <a:ahLst/>
              <a:cxnLst/>
              <a:rect l="l" t="t" r="r" b="b"/>
              <a:pathLst>
                <a:path w="4081" h="2043" extrusionOk="0">
                  <a:moveTo>
                    <a:pt x="1868" y="0"/>
                  </a:moveTo>
                  <a:cubicBezTo>
                    <a:pt x="1618" y="37"/>
                    <a:pt x="962" y="310"/>
                    <a:pt x="962" y="310"/>
                  </a:cubicBezTo>
                  <a:lnTo>
                    <a:pt x="1059" y="97"/>
                  </a:lnTo>
                  <a:lnTo>
                    <a:pt x="1059" y="97"/>
                  </a:lnTo>
                  <a:cubicBezTo>
                    <a:pt x="1041" y="97"/>
                    <a:pt x="232" y="596"/>
                    <a:pt x="1" y="943"/>
                  </a:cubicBezTo>
                  <a:lnTo>
                    <a:pt x="676" y="657"/>
                  </a:lnTo>
                  <a:lnTo>
                    <a:pt x="306" y="1156"/>
                  </a:lnTo>
                  <a:lnTo>
                    <a:pt x="306" y="1156"/>
                  </a:lnTo>
                  <a:lnTo>
                    <a:pt x="731" y="888"/>
                  </a:lnTo>
                  <a:lnTo>
                    <a:pt x="1115" y="1521"/>
                  </a:lnTo>
                  <a:lnTo>
                    <a:pt x="1272" y="1253"/>
                  </a:lnTo>
                  <a:lnTo>
                    <a:pt x="1618" y="1442"/>
                  </a:lnTo>
                  <a:lnTo>
                    <a:pt x="1831" y="1156"/>
                  </a:lnTo>
                  <a:lnTo>
                    <a:pt x="2293" y="1211"/>
                  </a:lnTo>
                  <a:lnTo>
                    <a:pt x="2639" y="2043"/>
                  </a:lnTo>
                  <a:lnTo>
                    <a:pt x="2639" y="1636"/>
                  </a:lnTo>
                  <a:lnTo>
                    <a:pt x="3120" y="1849"/>
                  </a:lnTo>
                  <a:lnTo>
                    <a:pt x="2829" y="1581"/>
                  </a:lnTo>
                  <a:lnTo>
                    <a:pt x="2944" y="1058"/>
                  </a:lnTo>
                  <a:lnTo>
                    <a:pt x="3351" y="1211"/>
                  </a:lnTo>
                  <a:lnTo>
                    <a:pt x="3120" y="1003"/>
                  </a:lnTo>
                  <a:lnTo>
                    <a:pt x="3522" y="906"/>
                  </a:lnTo>
                  <a:lnTo>
                    <a:pt x="3716" y="1058"/>
                  </a:lnTo>
                  <a:lnTo>
                    <a:pt x="3716" y="980"/>
                  </a:lnTo>
                  <a:lnTo>
                    <a:pt x="4062" y="1174"/>
                  </a:lnTo>
                  <a:lnTo>
                    <a:pt x="4081" y="1022"/>
                  </a:lnTo>
                  <a:cubicBezTo>
                    <a:pt x="3947" y="772"/>
                    <a:pt x="3813" y="633"/>
                    <a:pt x="3813" y="633"/>
                  </a:cubicBezTo>
                  <a:lnTo>
                    <a:pt x="3753" y="906"/>
                  </a:lnTo>
                  <a:cubicBezTo>
                    <a:pt x="3309" y="310"/>
                    <a:pt x="2676" y="37"/>
                    <a:pt x="2676" y="37"/>
                  </a:cubicBezTo>
                  <a:lnTo>
                    <a:pt x="2676" y="37"/>
                  </a:lnTo>
                  <a:lnTo>
                    <a:pt x="2713" y="444"/>
                  </a:lnTo>
                  <a:lnTo>
                    <a:pt x="2367" y="97"/>
                  </a:lnTo>
                  <a:lnTo>
                    <a:pt x="1868" y="0"/>
                  </a:lnTo>
                  <a:close/>
                </a:path>
              </a:pathLst>
            </a:custGeom>
            <a:solidFill>
              <a:srgbClr val="FFF76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Google Shape;1318;p45">
              <a:extLst>
                <a:ext uri="{FF2B5EF4-FFF2-40B4-BE49-F238E27FC236}">
                  <a16:creationId xmlns:a16="http://schemas.microsoft.com/office/drawing/2014/main" xmlns="" id="{5B706B79-35C8-ECD1-79F6-4C7D962ACCCE}"/>
                </a:ext>
              </a:extLst>
            </p:cNvPr>
            <p:cNvSpPr/>
            <p:nvPr/>
          </p:nvSpPr>
          <p:spPr>
            <a:xfrm>
              <a:off x="5296250" y="2387100"/>
              <a:ext cx="45650" cy="26025"/>
            </a:xfrm>
            <a:custGeom>
              <a:avLst/>
              <a:gdLst/>
              <a:ahLst/>
              <a:cxnLst/>
              <a:rect l="l" t="t" r="r" b="b"/>
              <a:pathLst>
                <a:path w="1826" h="1041" extrusionOk="0">
                  <a:moveTo>
                    <a:pt x="1308" y="1"/>
                  </a:moveTo>
                  <a:lnTo>
                    <a:pt x="1271" y="537"/>
                  </a:lnTo>
                  <a:lnTo>
                    <a:pt x="962" y="19"/>
                  </a:lnTo>
                  <a:lnTo>
                    <a:pt x="384" y="366"/>
                  </a:lnTo>
                  <a:lnTo>
                    <a:pt x="75" y="250"/>
                  </a:lnTo>
                  <a:lnTo>
                    <a:pt x="1" y="749"/>
                  </a:lnTo>
                  <a:lnTo>
                    <a:pt x="440" y="828"/>
                  </a:lnTo>
                  <a:lnTo>
                    <a:pt x="768" y="1040"/>
                  </a:lnTo>
                  <a:lnTo>
                    <a:pt x="1211" y="902"/>
                  </a:lnTo>
                  <a:lnTo>
                    <a:pt x="1733" y="768"/>
                  </a:lnTo>
                  <a:lnTo>
                    <a:pt x="1655" y="634"/>
                  </a:lnTo>
                  <a:lnTo>
                    <a:pt x="1826" y="421"/>
                  </a:lnTo>
                  <a:lnTo>
                    <a:pt x="1461" y="306"/>
                  </a:lnTo>
                  <a:lnTo>
                    <a:pt x="1308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4" name="Google Shape;1319;p45">
              <a:extLst>
                <a:ext uri="{FF2B5EF4-FFF2-40B4-BE49-F238E27FC236}">
                  <a16:creationId xmlns:a16="http://schemas.microsoft.com/office/drawing/2014/main" xmlns="" id="{4DC8E7C9-CA6D-C94F-4AB8-BFE3288DCB03}"/>
                </a:ext>
              </a:extLst>
            </p:cNvPr>
            <p:cNvSpPr/>
            <p:nvPr/>
          </p:nvSpPr>
          <p:spPr>
            <a:xfrm>
              <a:off x="5349625" y="2400500"/>
              <a:ext cx="16425" cy="14475"/>
            </a:xfrm>
            <a:custGeom>
              <a:avLst/>
              <a:gdLst/>
              <a:ahLst/>
              <a:cxnLst/>
              <a:rect l="l" t="t" r="r" b="b"/>
              <a:pathLst>
                <a:path w="657" h="579" extrusionOk="0">
                  <a:moveTo>
                    <a:pt x="194" y="1"/>
                  </a:moveTo>
                  <a:lnTo>
                    <a:pt x="97" y="232"/>
                  </a:lnTo>
                  <a:lnTo>
                    <a:pt x="0" y="407"/>
                  </a:lnTo>
                  <a:lnTo>
                    <a:pt x="268" y="407"/>
                  </a:lnTo>
                  <a:lnTo>
                    <a:pt x="291" y="541"/>
                  </a:lnTo>
                  <a:lnTo>
                    <a:pt x="425" y="426"/>
                  </a:lnTo>
                  <a:lnTo>
                    <a:pt x="578" y="578"/>
                  </a:lnTo>
                  <a:lnTo>
                    <a:pt x="559" y="347"/>
                  </a:lnTo>
                  <a:lnTo>
                    <a:pt x="656" y="292"/>
                  </a:lnTo>
                  <a:lnTo>
                    <a:pt x="462" y="292"/>
                  </a:lnTo>
                  <a:lnTo>
                    <a:pt x="347" y="98"/>
                  </a:lnTo>
                  <a:lnTo>
                    <a:pt x="268" y="232"/>
                  </a:lnTo>
                  <a:lnTo>
                    <a:pt x="194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5" name="Google Shape;1320;p45">
              <a:extLst>
                <a:ext uri="{FF2B5EF4-FFF2-40B4-BE49-F238E27FC236}">
                  <a16:creationId xmlns:a16="http://schemas.microsoft.com/office/drawing/2014/main" xmlns="" id="{4B3B2FC8-ACDA-A657-E967-3071D712F0E4}"/>
                </a:ext>
              </a:extLst>
            </p:cNvPr>
            <p:cNvSpPr/>
            <p:nvPr/>
          </p:nvSpPr>
          <p:spPr>
            <a:xfrm>
              <a:off x="5277425" y="2376475"/>
              <a:ext cx="16900" cy="23125"/>
            </a:xfrm>
            <a:custGeom>
              <a:avLst/>
              <a:gdLst/>
              <a:ahLst/>
              <a:cxnLst/>
              <a:rect l="l" t="t" r="r" b="b"/>
              <a:pathLst>
                <a:path w="676" h="925" extrusionOk="0">
                  <a:moveTo>
                    <a:pt x="37" y="1"/>
                  </a:moveTo>
                  <a:cubicBezTo>
                    <a:pt x="0" y="213"/>
                    <a:pt x="0" y="481"/>
                    <a:pt x="0" y="731"/>
                  </a:cubicBezTo>
                  <a:lnTo>
                    <a:pt x="347" y="925"/>
                  </a:lnTo>
                  <a:lnTo>
                    <a:pt x="328" y="560"/>
                  </a:lnTo>
                  <a:lnTo>
                    <a:pt x="578" y="657"/>
                  </a:lnTo>
                  <a:lnTo>
                    <a:pt x="407" y="347"/>
                  </a:lnTo>
                  <a:lnTo>
                    <a:pt x="675" y="56"/>
                  </a:lnTo>
                  <a:lnTo>
                    <a:pt x="213" y="287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6" name="Google Shape;1321;p45">
              <a:extLst>
                <a:ext uri="{FF2B5EF4-FFF2-40B4-BE49-F238E27FC236}">
                  <a16:creationId xmlns:a16="http://schemas.microsoft.com/office/drawing/2014/main" xmlns="" id="{76CA7FCA-1A03-2833-AF26-1A458BFF86D6}"/>
                </a:ext>
              </a:extLst>
            </p:cNvPr>
            <p:cNvSpPr/>
            <p:nvPr/>
          </p:nvSpPr>
          <p:spPr>
            <a:xfrm>
              <a:off x="5325125" y="2513600"/>
              <a:ext cx="15850" cy="5800"/>
            </a:xfrm>
            <a:custGeom>
              <a:avLst/>
              <a:gdLst/>
              <a:ahLst/>
              <a:cxnLst/>
              <a:rect l="l" t="t" r="r" b="b"/>
              <a:pathLst>
                <a:path w="634" h="232" extrusionOk="0">
                  <a:moveTo>
                    <a:pt x="324" y="0"/>
                  </a:moveTo>
                  <a:lnTo>
                    <a:pt x="250" y="116"/>
                  </a:lnTo>
                  <a:lnTo>
                    <a:pt x="38" y="23"/>
                  </a:lnTo>
                  <a:lnTo>
                    <a:pt x="1" y="213"/>
                  </a:lnTo>
                  <a:lnTo>
                    <a:pt x="615" y="231"/>
                  </a:lnTo>
                  <a:lnTo>
                    <a:pt x="634" y="42"/>
                  </a:lnTo>
                  <a:lnTo>
                    <a:pt x="555" y="139"/>
                  </a:lnTo>
                  <a:lnTo>
                    <a:pt x="463" y="0"/>
                  </a:lnTo>
                  <a:lnTo>
                    <a:pt x="421" y="60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7" name="Google Shape;1322;p45">
              <a:extLst>
                <a:ext uri="{FF2B5EF4-FFF2-40B4-BE49-F238E27FC236}">
                  <a16:creationId xmlns:a16="http://schemas.microsoft.com/office/drawing/2014/main" xmlns="" id="{8F59758A-9F58-3C38-3747-37B2C91CBC91}"/>
                </a:ext>
              </a:extLst>
            </p:cNvPr>
            <p:cNvSpPr/>
            <p:nvPr/>
          </p:nvSpPr>
          <p:spPr>
            <a:xfrm>
              <a:off x="5270725" y="2376475"/>
              <a:ext cx="4750" cy="16900"/>
            </a:xfrm>
            <a:custGeom>
              <a:avLst/>
              <a:gdLst/>
              <a:ahLst/>
              <a:cxnLst/>
              <a:rect l="l" t="t" r="r" b="b"/>
              <a:pathLst>
                <a:path w="190" h="676" extrusionOk="0">
                  <a:moveTo>
                    <a:pt x="0" y="1"/>
                  </a:moveTo>
                  <a:lnTo>
                    <a:pt x="134" y="675"/>
                  </a:lnTo>
                  <a:lnTo>
                    <a:pt x="190" y="36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78" name="Google Shape;1323;p45">
              <a:extLst>
                <a:ext uri="{FF2B5EF4-FFF2-40B4-BE49-F238E27FC236}">
                  <a16:creationId xmlns:a16="http://schemas.microsoft.com/office/drawing/2014/main" xmlns="" id="{802D1229-00F5-57C4-0516-BEA9587B5E21}"/>
                </a:ext>
              </a:extLst>
            </p:cNvPr>
            <p:cNvSpPr/>
            <p:nvPr/>
          </p:nvSpPr>
          <p:spPr>
            <a:xfrm>
              <a:off x="5388675" y="2397150"/>
              <a:ext cx="5800" cy="13075"/>
            </a:xfrm>
            <a:custGeom>
              <a:avLst/>
              <a:gdLst/>
              <a:ahLst/>
              <a:cxnLst/>
              <a:rect l="l" t="t" r="r" b="b"/>
              <a:pathLst>
                <a:path w="232" h="523" extrusionOk="0">
                  <a:moveTo>
                    <a:pt x="231" y="1"/>
                  </a:moveTo>
                  <a:lnTo>
                    <a:pt x="0" y="269"/>
                  </a:lnTo>
                  <a:lnTo>
                    <a:pt x="0" y="523"/>
                  </a:lnTo>
                  <a:lnTo>
                    <a:pt x="231" y="1"/>
                  </a:lnTo>
                  <a:close/>
                </a:path>
              </a:pathLst>
            </a:custGeom>
            <a:solidFill>
              <a:srgbClr val="34931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xmlns="" id="{EC7895AA-378D-1879-47FC-7667EC00D853}"/>
              </a:ext>
            </a:extLst>
          </p:cNvPr>
          <p:cNvSpPr/>
          <p:nvPr/>
        </p:nvSpPr>
        <p:spPr>
          <a:xfrm>
            <a:off x="1332040" y="1258475"/>
            <a:ext cx="10135567" cy="2064009"/>
          </a:xfrm>
          <a:custGeom>
            <a:avLst/>
            <a:gdLst>
              <a:gd name="connsiteX0" fmla="*/ 0 w 10135567"/>
              <a:gd name="connsiteY0" fmla="*/ 344008 h 2064009"/>
              <a:gd name="connsiteX1" fmla="*/ 344008 w 10135567"/>
              <a:gd name="connsiteY1" fmla="*/ 0 h 2064009"/>
              <a:gd name="connsiteX2" fmla="*/ 9791559 w 10135567"/>
              <a:gd name="connsiteY2" fmla="*/ 0 h 2064009"/>
              <a:gd name="connsiteX3" fmla="*/ 10135567 w 10135567"/>
              <a:gd name="connsiteY3" fmla="*/ 344008 h 2064009"/>
              <a:gd name="connsiteX4" fmla="*/ 10135567 w 10135567"/>
              <a:gd name="connsiteY4" fmla="*/ 1720001 h 2064009"/>
              <a:gd name="connsiteX5" fmla="*/ 9791559 w 10135567"/>
              <a:gd name="connsiteY5" fmla="*/ 2064009 h 2064009"/>
              <a:gd name="connsiteX6" fmla="*/ 344008 w 10135567"/>
              <a:gd name="connsiteY6" fmla="*/ 2064009 h 2064009"/>
              <a:gd name="connsiteX7" fmla="*/ 0 w 10135567"/>
              <a:gd name="connsiteY7" fmla="*/ 1720001 h 2064009"/>
              <a:gd name="connsiteX8" fmla="*/ 0 w 10135567"/>
              <a:gd name="connsiteY8" fmla="*/ 344008 h 2064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35567" h="2064009" fill="none" extrusionOk="0">
                <a:moveTo>
                  <a:pt x="0" y="344008"/>
                </a:moveTo>
                <a:cubicBezTo>
                  <a:pt x="576" y="169598"/>
                  <a:pt x="171998" y="30175"/>
                  <a:pt x="344008" y="0"/>
                </a:cubicBezTo>
                <a:cubicBezTo>
                  <a:pt x="4789934" y="72427"/>
                  <a:pt x="7215658" y="61419"/>
                  <a:pt x="9791559" y="0"/>
                </a:cubicBezTo>
                <a:cubicBezTo>
                  <a:pt x="9979049" y="-17207"/>
                  <a:pt x="10125861" y="151082"/>
                  <a:pt x="10135567" y="344008"/>
                </a:cubicBezTo>
                <a:cubicBezTo>
                  <a:pt x="10106068" y="687273"/>
                  <a:pt x="10019422" y="1470794"/>
                  <a:pt x="10135567" y="1720001"/>
                </a:cubicBezTo>
                <a:cubicBezTo>
                  <a:pt x="10142842" y="1873066"/>
                  <a:pt x="9976022" y="2057813"/>
                  <a:pt x="9791559" y="2064009"/>
                </a:cubicBezTo>
                <a:cubicBezTo>
                  <a:pt x="7039520" y="2093836"/>
                  <a:pt x="4492432" y="1984703"/>
                  <a:pt x="344008" y="2064009"/>
                </a:cubicBezTo>
                <a:cubicBezTo>
                  <a:pt x="180362" y="2061031"/>
                  <a:pt x="-17938" y="1913538"/>
                  <a:pt x="0" y="1720001"/>
                </a:cubicBezTo>
                <a:cubicBezTo>
                  <a:pt x="83373" y="1278547"/>
                  <a:pt x="-91520" y="796191"/>
                  <a:pt x="0" y="344008"/>
                </a:cubicBezTo>
                <a:close/>
              </a:path>
              <a:path w="10135567" h="2064009" stroke="0" extrusionOk="0">
                <a:moveTo>
                  <a:pt x="0" y="344008"/>
                </a:moveTo>
                <a:cubicBezTo>
                  <a:pt x="4801" y="155327"/>
                  <a:pt x="158285" y="8891"/>
                  <a:pt x="344008" y="0"/>
                </a:cubicBezTo>
                <a:cubicBezTo>
                  <a:pt x="3009286" y="123000"/>
                  <a:pt x="5947266" y="-96860"/>
                  <a:pt x="9791559" y="0"/>
                </a:cubicBezTo>
                <a:cubicBezTo>
                  <a:pt x="9961471" y="-15302"/>
                  <a:pt x="10143500" y="138024"/>
                  <a:pt x="10135567" y="344008"/>
                </a:cubicBezTo>
                <a:cubicBezTo>
                  <a:pt x="10159325" y="495932"/>
                  <a:pt x="10065771" y="1127832"/>
                  <a:pt x="10135567" y="1720001"/>
                </a:cubicBezTo>
                <a:cubicBezTo>
                  <a:pt x="10121727" y="1915005"/>
                  <a:pt x="9963198" y="2061006"/>
                  <a:pt x="9791559" y="2064009"/>
                </a:cubicBezTo>
                <a:cubicBezTo>
                  <a:pt x="5527547" y="1903302"/>
                  <a:pt x="3773650" y="2103676"/>
                  <a:pt x="344008" y="2064009"/>
                </a:cubicBezTo>
                <a:cubicBezTo>
                  <a:pt x="128227" y="2058800"/>
                  <a:pt x="-21822" y="1900105"/>
                  <a:pt x="0" y="1720001"/>
                </a:cubicBezTo>
                <a:cubicBezTo>
                  <a:pt x="-117382" y="1418904"/>
                  <a:pt x="84981" y="835989"/>
                  <a:pt x="0" y="344008"/>
                </a:cubicBezTo>
                <a:close/>
              </a:path>
            </a:pathLst>
          </a:custGeom>
          <a:ln w="38100">
            <a:extLst>
              <a:ext uri="{C807C97D-BFC1-408E-A445-0C87EB9F89A2}">
                <ask:lineSketchStyleProps xmlns:ask="http://schemas.microsoft.com/office/drawing/2018/sketchyshapes" xmlns="" sd="852854689">
                  <a:prstGeom prst="round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ạt</a:t>
            </a:r>
            <a:r>
              <a:rPr kumimoji="0" lang="en-US" sz="4600" b="1" i="0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sng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động</a:t>
            </a:r>
            <a:r>
              <a:rPr kumimoji="0" lang="en-US" sz="4600" b="1" i="0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ìm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ểu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ột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ố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ểu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ện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ủa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ệc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n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âm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àng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óm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áng</a:t>
            </a:r>
            <a:r>
              <a:rPr kumimoji="0" lang="en-US" sz="4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4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iềng</a:t>
            </a:r>
            <a:endParaRPr kumimoji="0" lang="en-US" sz="4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87" name="Picture 1386">
            <a:extLst>
              <a:ext uri="{FF2B5EF4-FFF2-40B4-BE49-F238E27FC236}">
                <a16:creationId xmlns:a16="http://schemas.microsoft.com/office/drawing/2014/main" xmlns="" id="{87D2D4ED-5F6F-EEEF-DD30-C26B949E7A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393" y="694544"/>
            <a:ext cx="1082040" cy="1077252"/>
          </a:xfrm>
          <a:prstGeom prst="rect">
            <a:avLst/>
          </a:prstGeom>
        </p:spPr>
      </p:pic>
      <p:pic>
        <p:nvPicPr>
          <p:cNvPr id="1388" name="Picture 1387">
            <a:extLst>
              <a:ext uri="{FF2B5EF4-FFF2-40B4-BE49-F238E27FC236}">
                <a16:creationId xmlns:a16="http://schemas.microsoft.com/office/drawing/2014/main" xmlns="" id="{BBB6014F-65FB-AB10-2040-97B5913B8A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47212" y="2555404"/>
            <a:ext cx="1082040" cy="1077252"/>
          </a:xfrm>
          <a:prstGeom prst="rect">
            <a:avLst/>
          </a:prstGeom>
        </p:spPr>
      </p:pic>
      <p:sp>
        <p:nvSpPr>
          <p:cNvPr id="479" name="Freeform 9">
            <a:extLst>
              <a:ext uri="{FF2B5EF4-FFF2-40B4-BE49-F238E27FC236}">
                <a16:creationId xmlns:a16="http://schemas.microsoft.com/office/drawing/2014/main" xmlns="" id="{29903B9B-3E4C-E025-01EA-929DE79BEAB8}"/>
              </a:ext>
            </a:extLst>
          </p:cNvPr>
          <p:cNvSpPr/>
          <p:nvPr/>
        </p:nvSpPr>
        <p:spPr>
          <a:xfrm>
            <a:off x="0" y="2844572"/>
            <a:ext cx="2953599" cy="3715809"/>
          </a:xfrm>
          <a:custGeom>
            <a:avLst/>
            <a:gdLst/>
            <a:ahLst/>
            <a:cxnLst/>
            <a:rect l="l" t="t" r="r" b="b"/>
            <a:pathLst>
              <a:path w="5894451" h="8229600">
                <a:moveTo>
                  <a:pt x="0" y="0"/>
                </a:moveTo>
                <a:lnTo>
                  <a:pt x="5894451" y="0"/>
                </a:lnTo>
                <a:lnTo>
                  <a:pt x="5894451" y="8229600"/>
                </a:lnTo>
                <a:lnTo>
                  <a:pt x="0" y="822960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2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2B1A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37661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A7777E3-6F4C-A722-E321-DF4EB89C18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40528" y="0"/>
            <a:ext cx="12473055" cy="6857999"/>
          </a:xfrm>
          <a:prstGeom prst="rect">
            <a:avLst/>
          </a:prstGeom>
        </p:spPr>
      </p:pic>
      <p:grpSp>
        <p:nvGrpSpPr>
          <p:cNvPr id="8" name="组合 6">
            <a:extLst>
              <a:ext uri="{FF2B5EF4-FFF2-40B4-BE49-F238E27FC236}">
                <a16:creationId xmlns:a16="http://schemas.microsoft.com/office/drawing/2014/main" xmlns="" id="{56524EE4-4B98-6AFE-6E80-C7F6D5ED6450}"/>
              </a:ext>
            </a:extLst>
          </p:cNvPr>
          <p:cNvGrpSpPr/>
          <p:nvPr/>
        </p:nvGrpSpPr>
        <p:grpSpPr>
          <a:xfrm rot="21212966">
            <a:off x="-218172" y="401364"/>
            <a:ext cx="4269942" cy="3055619"/>
            <a:chOff x="789" y="5"/>
            <a:chExt cx="12230" cy="10310"/>
          </a:xfrm>
        </p:grpSpPr>
        <p:pic>
          <p:nvPicPr>
            <p:cNvPr id="9" name="图片 1" descr="ea4a2198006eddee86aff87bdbc24b16">
              <a:extLst>
                <a:ext uri="{FF2B5EF4-FFF2-40B4-BE49-F238E27FC236}">
                  <a16:creationId xmlns:a16="http://schemas.microsoft.com/office/drawing/2014/main" xmlns="" id="{501A4281-9594-DE24-4264-CD66569FB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0940000">
              <a:off x="789" y="5"/>
              <a:ext cx="12230" cy="10310"/>
            </a:xfrm>
            <a:prstGeom prst="rect">
              <a:avLst/>
            </a:prstGeom>
          </p:spPr>
        </p:pic>
        <p:sp>
          <p:nvSpPr>
            <p:cNvPr id="10" name="椭圆 4">
              <a:extLst>
                <a:ext uri="{FF2B5EF4-FFF2-40B4-BE49-F238E27FC236}">
                  <a16:creationId xmlns:a16="http://schemas.microsoft.com/office/drawing/2014/main" xmlns="" id="{86E392ED-1C78-AC64-727B-7522C21D5738}"/>
                </a:ext>
              </a:extLst>
            </p:cNvPr>
            <p:cNvSpPr/>
            <p:nvPr/>
          </p:nvSpPr>
          <p:spPr>
            <a:xfrm rot="387034">
              <a:off x="1288" y="825"/>
              <a:ext cx="10781" cy="735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17D13">
                    <a:lumMod val="50000"/>
                  </a:srgb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B15ACFFF-5074-983D-BA25-BCD6499583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232" y="-30160"/>
            <a:ext cx="8581768" cy="6853081"/>
          </a:xfrm>
          <a:prstGeom prst="rect">
            <a:avLst/>
          </a:prstGeom>
        </p:spPr>
      </p:pic>
      <p:sp>
        <p:nvSpPr>
          <p:cNvPr id="3" name="矩形 28">
            <a:extLst>
              <a:ext uri="{FF2B5EF4-FFF2-40B4-BE49-F238E27FC236}">
                <a16:creationId xmlns:a16="http://schemas.microsoft.com/office/drawing/2014/main" xmlns="" id="{13FCAA7E-2B24-8B85-9275-D3D10DA14FBF}"/>
              </a:ext>
            </a:extLst>
          </p:cNvPr>
          <p:cNvSpPr/>
          <p:nvPr/>
        </p:nvSpPr>
        <p:spPr>
          <a:xfrm>
            <a:off x="182746" y="821203"/>
            <a:ext cx="3056940" cy="23083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defTabSz="914217">
              <a:defRPr/>
            </a:pPr>
            <a:r>
              <a:rPr lang="en-US" altLang="zh-CN" sz="3000" b="1" spc="-150" noProof="1">
                <a:solidFill>
                  <a:srgbClr val="FF0000"/>
                </a:solidFill>
                <a:latin typeface="Times New Roman" panose="02020603050405020304" pitchFamily="18" charset="0"/>
                <a:ea typeface="华文新魏" panose="02010800040101010101" pitchFamily="2" charset="-122"/>
                <a:cs typeface="Times New Roman" panose="02020603050405020304" pitchFamily="18" charset="0"/>
                <a:sym typeface="Arial" panose="020B0604020202020204" pitchFamily="34" charset="0"/>
              </a:rPr>
              <a:t>Quan sát tranh  trang 35 và cho biết bạn nào đã quan tâm đến hàng xóm láng giềng.</a:t>
            </a:r>
            <a:endParaRPr kumimoji="0" lang="zh-CN" altLang="en-US" sz="3000" b="1" i="0" u="none" strike="noStrike" kern="1200" cap="none" spc="-15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华文新魏" panose="02010800040101010101" pitchFamily="2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7" name="Cloud 16">
            <a:extLst>
              <a:ext uri="{FF2B5EF4-FFF2-40B4-BE49-F238E27FC236}">
                <a16:creationId xmlns:a16="http://schemas.microsoft.com/office/drawing/2014/main" xmlns="" id="{40B49236-4576-DA12-6874-9074507E543E}"/>
              </a:ext>
            </a:extLst>
          </p:cNvPr>
          <p:cNvSpPr/>
          <p:nvPr/>
        </p:nvSpPr>
        <p:spPr>
          <a:xfrm>
            <a:off x="328542" y="4291007"/>
            <a:ext cx="2375071" cy="1152922"/>
          </a:xfrm>
          <a:prstGeom prst="cloud">
            <a:avLst/>
          </a:prstGeom>
          <a:solidFill>
            <a:srgbClr val="FFFFCC"/>
          </a:solidFill>
          <a:ln w="38100">
            <a:solidFill>
              <a:srgbClr val="CC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8D7545"/>
                </a:solidFill>
                <a:effectLst/>
                <a:uLnTx/>
                <a:uFillTx/>
                <a:latin typeface="UTM Cookies" panose="02040603050506020204" pitchFamily="18" charset="0"/>
                <a:ea typeface="+mn-ea"/>
                <a:cs typeface="+mn-cs"/>
              </a:rPr>
              <a:t>Thảo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D7545"/>
                </a:solidFill>
                <a:effectLst/>
                <a:uLnTx/>
                <a:uFillTx/>
                <a:latin typeface="UTM Cookies" panose="02040603050506020204" pitchFamily="18" charset="0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8D7545"/>
                </a:solidFill>
                <a:effectLst/>
                <a:uLnTx/>
                <a:uFillTx/>
                <a:latin typeface="UTM Cookies" panose="02040603050506020204" pitchFamily="18" charset="0"/>
                <a:ea typeface="+mn-ea"/>
                <a:cs typeface="+mn-cs"/>
              </a:rPr>
              <a:t>luậ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D7545"/>
                </a:solidFill>
                <a:effectLst/>
                <a:uLnTx/>
                <a:uFillTx/>
                <a:latin typeface="UTM Cookies" panose="02040603050506020204" pitchFamily="18" charset="0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8D7545"/>
                </a:solidFill>
                <a:effectLst/>
                <a:uLnTx/>
                <a:uFillTx/>
                <a:latin typeface="UTM Cookies" panose="02040603050506020204" pitchFamily="18" charset="0"/>
                <a:ea typeface="+mn-ea"/>
                <a:cs typeface="+mn-cs"/>
              </a:rPr>
              <a:t>nhóm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D7545"/>
                </a:solidFill>
                <a:effectLst/>
                <a:uLnTx/>
                <a:uFillTx/>
                <a:latin typeface="UTM Cookies" panose="02040603050506020204" pitchFamily="18" charset="0"/>
                <a:ea typeface="+mn-ea"/>
                <a:cs typeface="+mn-cs"/>
              </a:rPr>
              <a:t> 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D1F6BA6D-CF5E-4464-F26C-7255C0FB33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5191" y="5200651"/>
            <a:ext cx="3570477" cy="162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72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FB4DD10-4CDE-E27E-0204-B901601B74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8CF7FDB4-EEED-B7F4-CBA1-DBA28F7857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907024"/>
            <a:ext cx="12192000" cy="95097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29C9AAA-E135-1256-4610-4479EDACB9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96403" y="0"/>
            <a:ext cx="4395597" cy="17253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074CB321-203C-DB55-A5C6-3606C75B7C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0" y="-1"/>
            <a:ext cx="4395597" cy="1725318"/>
          </a:xfrm>
          <a:prstGeom prst="rect">
            <a:avLst/>
          </a:prstGeom>
        </p:spPr>
      </p:pic>
      <p:pic>
        <p:nvPicPr>
          <p:cNvPr id="8" name="NHẠC DẠO NGẮN 10S">
            <a:hlinkClick r:id="" action="ppaction://media"/>
            <a:extLst>
              <a:ext uri="{FF2B5EF4-FFF2-40B4-BE49-F238E27FC236}">
                <a16:creationId xmlns:a16="http://schemas.microsoft.com/office/drawing/2014/main" xmlns="" id="{56C0001E-D003-C3EB-B07E-1F2F18B9318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2220637" y="-28363"/>
            <a:ext cx="487363" cy="487363"/>
          </a:xfrm>
          <a:prstGeom prst="rect">
            <a:avLst/>
          </a:prstGeom>
        </p:spPr>
      </p:pic>
      <p:sp>
        <p:nvSpPr>
          <p:cNvPr id="9" name="Rectangle: Rounded Corners 16">
            <a:extLst>
              <a:ext uri="{FF2B5EF4-FFF2-40B4-BE49-F238E27FC236}">
                <a16:creationId xmlns:a16="http://schemas.microsoft.com/office/drawing/2014/main" xmlns="" id="{4BCCC3E1-331C-2007-0B85-76E79C94BCA3}"/>
              </a:ext>
            </a:extLst>
          </p:cNvPr>
          <p:cNvSpPr/>
          <p:nvPr/>
        </p:nvSpPr>
        <p:spPr>
          <a:xfrm>
            <a:off x="540774" y="459000"/>
            <a:ext cx="11208774" cy="5961465"/>
          </a:xfrm>
          <a:custGeom>
            <a:avLst/>
            <a:gdLst>
              <a:gd name="connsiteX0" fmla="*/ 0 w 7661923"/>
              <a:gd name="connsiteY0" fmla="*/ 590674 h 3543972"/>
              <a:gd name="connsiteX1" fmla="*/ 590674 w 7661923"/>
              <a:gd name="connsiteY1" fmla="*/ 0 h 3543972"/>
              <a:gd name="connsiteX2" fmla="*/ 7071249 w 7661923"/>
              <a:gd name="connsiteY2" fmla="*/ 0 h 3543972"/>
              <a:gd name="connsiteX3" fmla="*/ 7661923 w 7661923"/>
              <a:gd name="connsiteY3" fmla="*/ 590674 h 3543972"/>
              <a:gd name="connsiteX4" fmla="*/ 7661923 w 7661923"/>
              <a:gd name="connsiteY4" fmla="*/ 2953298 h 3543972"/>
              <a:gd name="connsiteX5" fmla="*/ 7071249 w 7661923"/>
              <a:gd name="connsiteY5" fmla="*/ 3543972 h 3543972"/>
              <a:gd name="connsiteX6" fmla="*/ 590674 w 7661923"/>
              <a:gd name="connsiteY6" fmla="*/ 3543972 h 3543972"/>
              <a:gd name="connsiteX7" fmla="*/ 0 w 7661923"/>
              <a:gd name="connsiteY7" fmla="*/ 2953298 h 3543972"/>
              <a:gd name="connsiteX8" fmla="*/ 0 w 7661923"/>
              <a:gd name="connsiteY8" fmla="*/ 590674 h 354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61923" h="3543972" fill="none" extrusionOk="0">
                <a:moveTo>
                  <a:pt x="0" y="590674"/>
                </a:moveTo>
                <a:cubicBezTo>
                  <a:pt x="-3129" y="320218"/>
                  <a:pt x="266416" y="35318"/>
                  <a:pt x="590674" y="0"/>
                </a:cubicBezTo>
                <a:cubicBezTo>
                  <a:pt x="1794467" y="-123866"/>
                  <a:pt x="6042098" y="81108"/>
                  <a:pt x="7071249" y="0"/>
                </a:cubicBezTo>
                <a:cubicBezTo>
                  <a:pt x="7404141" y="-10251"/>
                  <a:pt x="7623705" y="267606"/>
                  <a:pt x="7661923" y="590674"/>
                </a:cubicBezTo>
                <a:cubicBezTo>
                  <a:pt x="7829640" y="866682"/>
                  <a:pt x="7532024" y="2657065"/>
                  <a:pt x="7661923" y="2953298"/>
                </a:cubicBezTo>
                <a:cubicBezTo>
                  <a:pt x="7682195" y="3225688"/>
                  <a:pt x="7408293" y="3563608"/>
                  <a:pt x="7071249" y="3543972"/>
                </a:cubicBezTo>
                <a:cubicBezTo>
                  <a:pt x="5427670" y="3526117"/>
                  <a:pt x="3047081" y="3434628"/>
                  <a:pt x="590674" y="3543972"/>
                </a:cubicBezTo>
                <a:cubicBezTo>
                  <a:pt x="279635" y="3506129"/>
                  <a:pt x="27738" y="3331312"/>
                  <a:pt x="0" y="2953298"/>
                </a:cubicBezTo>
                <a:cubicBezTo>
                  <a:pt x="118672" y="2050218"/>
                  <a:pt x="-34222" y="1755439"/>
                  <a:pt x="0" y="590674"/>
                </a:cubicBezTo>
                <a:close/>
              </a:path>
              <a:path w="7661923" h="3543972" stroke="0" extrusionOk="0">
                <a:moveTo>
                  <a:pt x="0" y="590674"/>
                </a:moveTo>
                <a:cubicBezTo>
                  <a:pt x="9589" y="265019"/>
                  <a:pt x="246261" y="36136"/>
                  <a:pt x="590674" y="0"/>
                </a:cubicBezTo>
                <a:cubicBezTo>
                  <a:pt x="2619233" y="96512"/>
                  <a:pt x="3878262" y="-165548"/>
                  <a:pt x="7071249" y="0"/>
                </a:cubicBezTo>
                <a:cubicBezTo>
                  <a:pt x="7459543" y="1557"/>
                  <a:pt x="7711327" y="272522"/>
                  <a:pt x="7661923" y="590674"/>
                </a:cubicBezTo>
                <a:cubicBezTo>
                  <a:pt x="7531710" y="1385815"/>
                  <a:pt x="7786896" y="1901943"/>
                  <a:pt x="7661923" y="2953298"/>
                </a:cubicBezTo>
                <a:cubicBezTo>
                  <a:pt x="7670145" y="3235322"/>
                  <a:pt x="7423708" y="3532093"/>
                  <a:pt x="7071249" y="3543972"/>
                </a:cubicBezTo>
                <a:cubicBezTo>
                  <a:pt x="6392904" y="3705684"/>
                  <a:pt x="3771159" y="3687594"/>
                  <a:pt x="590674" y="3543972"/>
                </a:cubicBezTo>
                <a:cubicBezTo>
                  <a:pt x="308331" y="3520807"/>
                  <a:pt x="52007" y="3257170"/>
                  <a:pt x="0" y="2953298"/>
                </a:cubicBezTo>
                <a:cubicBezTo>
                  <a:pt x="128997" y="2318506"/>
                  <a:pt x="-102252" y="1067692"/>
                  <a:pt x="0" y="590674"/>
                </a:cubicBezTo>
                <a:close/>
              </a:path>
            </a:pathLst>
          </a:custGeom>
          <a:solidFill>
            <a:srgbClr val="FFFF99">
              <a:alpha val="96000"/>
            </a:srgbClr>
          </a:solidFill>
          <a:ln w="38100">
            <a:solidFill>
              <a:srgbClr val="795C4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2499348D-D81D-484C-597C-E202F8659858}"/>
              </a:ext>
            </a:extLst>
          </p:cNvPr>
          <p:cNvGrpSpPr/>
          <p:nvPr/>
        </p:nvGrpSpPr>
        <p:grpSpPr>
          <a:xfrm>
            <a:off x="1203679" y="1978321"/>
            <a:ext cx="2016905" cy="3960000"/>
            <a:chOff x="1203679" y="1978321"/>
            <a:chExt cx="2016905" cy="39600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xmlns="" id="{AE7D129D-163D-483B-7AEF-E1DFCC4552F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203679" y="1978321"/>
              <a:ext cx="2016905" cy="396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F27FCE2D-2D92-85E5-9970-48A4AEDA4234}"/>
                </a:ext>
              </a:extLst>
            </p:cNvPr>
            <p:cNvSpPr txBox="1"/>
            <p:nvPr/>
          </p:nvSpPr>
          <p:spPr>
            <a:xfrm>
              <a:off x="1497755" y="4076700"/>
              <a:ext cx="154700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rgbClr val="FC2F6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Poky's" panose="020B0606040200020203" pitchFamily="34" charset="0"/>
                </a:rPr>
                <a:t>CHIA</a:t>
              </a:r>
              <a:endPara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C2F6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VN-Poky's" panose="020B0606040200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1F138C5A-CF80-A3B3-FE22-C45FA0343582}"/>
              </a:ext>
            </a:extLst>
          </p:cNvPr>
          <p:cNvGrpSpPr/>
          <p:nvPr/>
        </p:nvGrpSpPr>
        <p:grpSpPr>
          <a:xfrm>
            <a:off x="8932640" y="1947023"/>
            <a:ext cx="2055681" cy="3960000"/>
            <a:chOff x="8932640" y="1947023"/>
            <a:chExt cx="2055681" cy="39600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xmlns="" id="{9A9A71A3-A8B0-13B6-F269-9E10EC37D4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932640" y="1947023"/>
              <a:ext cx="2055681" cy="396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C2A38C19-20A0-7B0C-90D6-A81199CD59B9}"/>
                </a:ext>
              </a:extLst>
            </p:cNvPr>
            <p:cNvSpPr txBox="1"/>
            <p:nvPr/>
          </p:nvSpPr>
          <p:spPr>
            <a:xfrm>
              <a:off x="9184691" y="4235451"/>
              <a:ext cx="155157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9D5FC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VN-Poky's" panose="020B0606040200020203" pitchFamily="34" charset="0"/>
                  <a:ea typeface="+mn-ea"/>
                  <a:cs typeface="+mn-cs"/>
                </a:rPr>
                <a:t>LỚP</a:t>
              </a:r>
              <a:endPara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9D5FC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VN-Poky's" panose="020B0606040200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535595E3-353A-461F-FA12-9A5D62AC3ED1}"/>
              </a:ext>
            </a:extLst>
          </p:cNvPr>
          <p:cNvGrpSpPr/>
          <p:nvPr/>
        </p:nvGrpSpPr>
        <p:grpSpPr>
          <a:xfrm>
            <a:off x="3560763" y="867023"/>
            <a:ext cx="2419200" cy="5040000"/>
            <a:chOff x="3560763" y="867023"/>
            <a:chExt cx="2419200" cy="50400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xmlns="" id="{68B954DA-056C-A2E6-E263-5B4065D267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560763" y="867023"/>
              <a:ext cx="2419200" cy="504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78D42228-B806-D3CC-7261-0BFFF3370E9E}"/>
                </a:ext>
              </a:extLst>
            </p:cNvPr>
            <p:cNvSpPr txBox="1"/>
            <p:nvPr/>
          </p:nvSpPr>
          <p:spPr>
            <a:xfrm>
              <a:off x="4055987" y="1295090"/>
              <a:ext cx="142875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VN-Poky's" panose="020B0606040200020203" pitchFamily="34" charset="0"/>
                  <a:ea typeface="+mn-ea"/>
                  <a:cs typeface="+mn-cs"/>
                </a:rPr>
                <a:t>SẺ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2A4620DE-4A66-9DE0-4CBC-CC8D27142C9B}"/>
              </a:ext>
            </a:extLst>
          </p:cNvPr>
          <p:cNvGrpSpPr/>
          <p:nvPr/>
        </p:nvGrpSpPr>
        <p:grpSpPr>
          <a:xfrm>
            <a:off x="6320142" y="1047023"/>
            <a:ext cx="2272320" cy="4860000"/>
            <a:chOff x="6320142" y="1047023"/>
            <a:chExt cx="2272320" cy="486000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xmlns="" id="{138C5B5C-0838-D3BD-95B6-42FACB86F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320142" y="1047023"/>
              <a:ext cx="2272320" cy="486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4B85D062-EE4B-F774-FB6A-17F1A3DE3CA0}"/>
                </a:ext>
              </a:extLst>
            </p:cNvPr>
            <p:cNvSpPr txBox="1"/>
            <p:nvPr/>
          </p:nvSpPr>
          <p:spPr>
            <a:xfrm>
              <a:off x="6495963" y="1513005"/>
              <a:ext cx="175690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D7D31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VN-Poky's" panose="020B0606040200020203" pitchFamily="34" charset="0"/>
                  <a:ea typeface="+mn-ea"/>
                  <a:cs typeface="+mn-cs"/>
                </a:rPr>
                <a:t>TRƯỚC</a:t>
              </a:r>
              <a:endPara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VN-Poky's" panose="020B06060402000202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8566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9291" fill="hold"/>
                                            <p:tgtEl>
                                              <p:spTgt spid="8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  <p:par>
                                    <p:cTn id="7" presetID="2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9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2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5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2" presetClass="entr" presetSubtype="4" fill="hold" nodeType="clickEffect" p14:presetBounceEnd="53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000">
                                          <p:cBhvr additive="base">
                                            <p:cTn id="20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000">
                                          <p:cBhvr additive="base">
                                            <p:cTn id="21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18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4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23" presetID="2" presetClass="entr" presetSubtype="4" fill="hold" nodeType="afterEffect" p14:presetBounceEnd="53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000">
                                          <p:cBhvr additive="base">
                                            <p:cTn id="25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000">
                                          <p:cBhvr additive="base">
                                            <p:cTn id="26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23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4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8" presetID="2" presetClass="entr" presetSubtype="4" fill="hold" nodeType="afterEffect" p14:presetBounceEnd="53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000">
                                          <p:cBhvr additive="base">
                                            <p:cTn id="30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000">
                                          <p:cBhvr additive="base">
                                            <p:cTn id="31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28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4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33" presetID="2" presetClass="entr" presetSubtype="4" fill="hold" nodeType="afterEffect" p14:presetBounceEnd="53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000">
                                          <p:cBhvr additive="base">
                                            <p:cTn id="35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000">
                                          <p:cBhvr additive="base">
                                            <p:cTn id="36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33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4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audio>
                  <p:cMediaNode vol="80000">
                    <p:cTn id="37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8"/>
                    </p:tgtEl>
                  </p:cMediaNode>
                </p:audio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9291" fill="hold"/>
                                            <p:tgtEl>
                                              <p:spTgt spid="8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  <p:par>
                                    <p:cTn id="7" presetID="2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9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2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5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2" presetClass="entr" presetSubtype="4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18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13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23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23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13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8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0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1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28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13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33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  <p:subTnLst>
                                        <p:audio>
                                          <p:cMediaNode>
                                            <p:cTn display="0" masterRel="sameClick">
                                              <p:stCondLst>
                                                <p:cond evt="begin" delay="0">
                                                  <p:tn val="33"/>
                                                </p:cond>
                                              </p:stCondLst>
                                              <p:endCondLst>
                                                <p:cond evt="onStopAudio" delay="0">
                                                  <p:tgtEl>
                                                    <p:sldTgt/>
                                                  </p:tgtEl>
                                                </p:cond>
                                              </p:endCondLst>
                                            </p:cTn>
                                            <p:tgtEl>
                                              <p:sndTgt r:embed="rId13" name="âm-thanh-nhảy-nhẹ.wav"/>
                                            </p:tgtEl>
                                          </p:cMediaNode>
                                        </p:audio>
                                      </p:sub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38" presetID="1" presetClass="mediacall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39" dur="1" fill="hold"/>
                                            <p:tgtEl>
                                              <p:spTgt spid="2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audio>
                  <p:cMediaNode vol="80000">
                    <p:cTn id="40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8"/>
                    </p:tgtEl>
                  </p:cMediaNode>
                </p:audio>
                <p:audio>
                  <p:cMediaNode vol="80000" numSld="999" showWhenStopped="0">
                    <p:cTn id="41" repeatCount="indefinite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"/>
                    </p:tgtEl>
                  </p:cMediaNode>
                </p:audio>
              </p:childTnLst>
            </p:cTn>
          </p:par>
        </p:tn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UIDATA" val="&lt;database version=&quot;11.0&quot;&gt;&lt;object type=&quot;1&quot; unique_id=&quot;10001&quot;&gt;&lt;object type=&quot;2&quot; unique_id=&quot;10167&quot;&gt;&lt;object type=&quot;3&quot; unique_id=&quot;10168&quot;&gt;&lt;property id=&quot;20148&quot; value=&quot;5&quot;/&gt;&lt;property id=&quot;20300&quot; value=&quot;Slide 1&quot;/&gt;&lt;property id=&quot;20307&quot; value=&quot;337&quot;/&gt;&lt;/object&gt;&lt;object type=&quot;3&quot; unique_id=&quot;10169&quot;&gt;&lt;property id=&quot;20148&quot; value=&quot;5&quot;/&gt;&lt;property id=&quot;20300&quot; value=&quot;Slide 2&quot;/&gt;&lt;property id=&quot;20307&quot; value=&quot;319&quot;/&gt;&lt;/object&gt;&lt;object type=&quot;3&quot; unique_id=&quot;10170&quot;&gt;&lt;property id=&quot;20148&quot; value=&quot;5&quot;/&gt;&lt;property id=&quot;20300&quot; value=&quot;Slide 3&quot;/&gt;&lt;property id=&quot;20307&quot; value=&quot;320&quot;/&gt;&lt;/object&gt;&lt;object type=&quot;3&quot; unique_id=&quot;10171&quot;&gt;&lt;property id=&quot;20148&quot; value=&quot;5&quot;/&gt;&lt;property id=&quot;20300&quot; value=&quot;Slide 4&quot;/&gt;&lt;property id=&quot;20307&quot; value=&quot;294&quot;/&gt;&lt;/object&gt;&lt;object type=&quot;3&quot; unique_id=&quot;10172&quot;&gt;&lt;property id=&quot;20148&quot; value=&quot;5&quot;/&gt;&lt;property id=&quot;20300&quot; value=&quot;Slide 5&quot;/&gt;&lt;property id=&quot;20307&quot; value=&quot;258&quot;/&gt;&lt;/object&gt;&lt;object type=&quot;3&quot; unique_id=&quot;10173&quot;&gt;&lt;property id=&quot;20148&quot; value=&quot;5&quot;/&gt;&lt;property id=&quot;20300&quot; value=&quot;Slide 6&quot;/&gt;&lt;property id=&quot;20307&quot; value=&quot;338&quot;/&gt;&lt;/object&gt;&lt;object type=&quot;3&quot; unique_id=&quot;10174&quot;&gt;&lt;property id=&quot;20148&quot; value=&quot;5&quot;/&gt;&lt;property id=&quot;20300&quot; value=&quot;Slide 7&quot;/&gt;&lt;property id=&quot;20307&quot; value=&quot;324&quot;/&gt;&lt;/object&gt;&lt;object type=&quot;3&quot; unique_id=&quot;10175&quot;&gt;&lt;property id=&quot;20148&quot; value=&quot;5&quot;/&gt;&lt;property id=&quot;20300&quot; value=&quot;Slide 8&quot;/&gt;&lt;property id=&quot;20307&quot; value=&quot;339&quot;/&gt;&lt;/object&gt;&lt;object type=&quot;3&quot; unique_id=&quot;10176&quot;&gt;&lt;property id=&quot;20148&quot; value=&quot;5&quot;/&gt;&lt;property id=&quot;20300&quot; value=&quot;Slide 9&quot;/&gt;&lt;property id=&quot;20307&quot; value=&quot;340&quot;/&gt;&lt;/object&gt;&lt;object type=&quot;3&quot; unique_id=&quot;10177&quot;&gt;&lt;property id=&quot;20148&quot; value=&quot;5&quot;/&gt;&lt;property id=&quot;20300&quot; value=&quot;Slide 10&quot;/&gt;&lt;property id=&quot;20307&quot; value=&quot;274&quot;/&gt;&lt;/object&gt;&lt;object type=&quot;3&quot; unique_id=&quot;10178&quot;&gt;&lt;property id=&quot;20148&quot; value=&quot;5&quot;/&gt;&lt;property id=&quot;20300&quot; value=&quot;Slide 11&quot;/&gt;&lt;property id=&quot;20307&quot; value=&quot;330&quot;/&gt;&lt;/object&gt;&lt;object type=&quot;3&quot; unique_id=&quot;10179&quot;&gt;&lt;property id=&quot;20148&quot; value=&quot;5&quot;/&gt;&lt;property id=&quot;20300&quot; value=&quot;Slide 12&quot;/&gt;&lt;property id=&quot;20307&quot; value=&quot;325&quot;/&gt;&lt;/object&gt;&lt;object type=&quot;3&quot; unique_id=&quot;10180&quot;&gt;&lt;property id=&quot;20148&quot; value=&quot;5&quot;/&gt;&lt;property id=&quot;20300&quot; value=&quot;Slide 13&quot;/&gt;&lt;property id=&quot;20307&quot; value=&quot;341&quot;/&gt;&lt;/object&gt;&lt;object type=&quot;3&quot; unique_id=&quot;10181&quot;&gt;&lt;property id=&quot;20148&quot; value=&quot;5&quot;/&gt;&lt;property id=&quot;20300&quot; value=&quot;Slide 14&quot;/&gt;&lt;property id=&quot;20307&quot; value=&quot;342&quot;/&gt;&lt;/object&gt;&lt;object type=&quot;3&quot; unique_id=&quot;10182&quot;&gt;&lt;property id=&quot;20148&quot; value=&quot;5&quot;/&gt;&lt;property id=&quot;20300&quot; value=&quot;Slide 15&quot;/&gt;&lt;property id=&quot;20307&quot; value=&quot;343&quot;/&gt;&lt;/object&gt;&lt;object type=&quot;3&quot; unique_id=&quot;10183&quot;&gt;&lt;property id=&quot;20148&quot; value=&quot;5&quot;/&gt;&lt;property id=&quot;20300&quot; value=&quot;Slide 16&quot;/&gt;&lt;property id=&quot;20307&quot; value=&quot;346&quot;/&gt;&lt;/object&gt;&lt;object type=&quot;3&quot; unique_id=&quot;10184&quot;&gt;&lt;property id=&quot;20148&quot; value=&quot;5&quot;/&gt;&lt;property id=&quot;20300&quot; value=&quot;Slide 17&quot;/&gt;&lt;property id=&quot;20307&quot; value=&quot;347&quot;/&gt;&lt;/object&gt;&lt;object type=&quot;3&quot; unique_id=&quot;10185&quot;&gt;&lt;property id=&quot;20148&quot; value=&quot;5&quot;/&gt;&lt;property id=&quot;20300&quot; value=&quot;Slide 18&quot;/&gt;&lt;property id=&quot;20307&quot; value=&quot;348&quot;/&gt;&lt;/object&gt;&lt;object type=&quot;3&quot; unique_id=&quot;10186&quot;&gt;&lt;property id=&quot;20148&quot; value=&quot;5&quot;/&gt;&lt;property id=&quot;20300&quot; value=&quot;Slide 19&quot;/&gt;&lt;property id=&quot;20307&quot; value=&quot;349&quot;/&gt;&lt;/object&gt;&lt;object type=&quot;3&quot; unique_id=&quot;10187&quot;&gt;&lt;property id=&quot;20148&quot; value=&quot;5&quot;/&gt;&lt;property id=&quot;20300&quot; value=&quot;Slide 20&quot;/&gt;&lt;property id=&quot;20307&quot; value=&quot;350&quot;/&gt;&lt;/object&gt;&lt;object type=&quot;3&quot; unique_id=&quot;10188&quot;&gt;&lt;property id=&quot;20148&quot; value=&quot;5&quot;/&gt;&lt;property id=&quot;20300&quot; value=&quot;Slide 21&quot;/&gt;&lt;property id=&quot;20307&quot; value=&quot;344&quot;/&gt;&lt;/object&gt;&lt;object type=&quot;3&quot; unique_id=&quot;10189&quot;&gt;&lt;property id=&quot;20148&quot; value=&quot;5&quot;/&gt;&lt;property id=&quot;20300&quot; value=&quot;Slide 22&quot;/&gt;&lt;property id=&quot;20307&quot; value=&quot;332&quot;/&gt;&lt;/object&gt;&lt;object type=&quot;3&quot; unique_id=&quot;10190&quot;&gt;&lt;property id=&quot;20148&quot; value=&quot;5&quot;/&gt;&lt;property id=&quot;20300&quot; value=&quot;Slide 23&quot;/&gt;&lt;property id=&quot;20307&quot; value=&quot;345&quot;/&gt;&lt;/object&gt;&lt;object type=&quot;3&quot; unique_id=&quot;10191&quot;&gt;&lt;property id=&quot;20148&quot; value=&quot;5&quot;/&gt;&lt;property id=&quot;20300&quot; value=&quot;Slide 24&quot;/&gt;&lt;property id=&quot;20307&quot; value=&quot;313&quot;/&gt;&lt;/object&gt;&lt;/object&gt;&lt;object type=&quot;8&quot; unique_id=&quot;10217&quot;&gt;&lt;/object&gt;&lt;/object&gt;&lt;/database&gt;"/>
  <p:tag name="MMPROD_NEXTUNIQUEID" val="10010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510155349"/>
  <p:tag name="MH_LIBRARY" val="GRAPHIC"/>
  <p:tag name="MH_TYPE" val="SubTitle"/>
  <p:tag name="MH_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510155349"/>
  <p:tag name="MH_LIBRARY" val="GRAPHIC"/>
  <p:tag name="MH_TYPE" val="Other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510155349"/>
  <p:tag name="MH_LIBRARY" val="GRAPHIC"/>
  <p:tag name="MH_TYPE" val="SubTitle"/>
  <p:tag name="MH_OR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510155349"/>
  <p:tag name="MH_LIBRARY" val="GRAPHIC"/>
  <p:tag name="MH_TYPE" val="Other"/>
  <p:tag name="MH_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510155349"/>
  <p:tag name="MH_LIBRARY" val="GRAPHIC"/>
  <p:tag name="MH_TYPE" val="SubTitle"/>
  <p:tag name="MH_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510155349"/>
  <p:tag name="MH_LIBRARY" val="GRAPHIC"/>
  <p:tag name="MH_TYPE" val="Other"/>
  <p:tag name="MH_ORDER" val="1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Bunnies Planner for Pre-K by Slidesgo">
  <a:themeElements>
    <a:clrScheme name="Simple Light">
      <a:dk1>
        <a:srgbClr val="266B69"/>
      </a:dk1>
      <a:lt1>
        <a:srgbClr val="93CCCB"/>
      </a:lt1>
      <a:dk2>
        <a:srgbClr val="FEFAF4"/>
      </a:dk2>
      <a:lt2>
        <a:srgbClr val="FFA799"/>
      </a:lt2>
      <a:accent1>
        <a:srgbClr val="FCB18B"/>
      </a:accent1>
      <a:accent2>
        <a:srgbClr val="FCC581"/>
      </a:accent2>
      <a:accent3>
        <a:srgbClr val="F5E8E1"/>
      </a:accent3>
      <a:accent4>
        <a:srgbClr val="2B2B2B"/>
      </a:accent4>
      <a:accent5>
        <a:srgbClr val="FFFFFF"/>
      </a:accent5>
      <a:accent6>
        <a:srgbClr val="FFFFFF"/>
      </a:accent6>
      <a:hlink>
        <a:srgbClr val="5EAEA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2_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炫彩扁平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FBF53"/>
      </a:accent1>
      <a:accent2>
        <a:srgbClr val="F17475"/>
      </a:accent2>
      <a:accent3>
        <a:srgbClr val="01B3C5"/>
      </a:accent3>
      <a:accent4>
        <a:srgbClr val="77448C"/>
      </a:accent4>
      <a:accent5>
        <a:srgbClr val="00AF92"/>
      </a:accent5>
      <a:accent6>
        <a:srgbClr val="C65885"/>
      </a:accent6>
      <a:hlink>
        <a:srgbClr val="FCC79F"/>
      </a:hlink>
      <a:folHlink>
        <a:srgbClr val="869FB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318C80"/>
      </a:accent1>
      <a:accent2>
        <a:srgbClr val="F2CF61"/>
      </a:accent2>
      <a:accent3>
        <a:srgbClr val="A6E582"/>
      </a:accent3>
      <a:accent4>
        <a:srgbClr val="51D9B5"/>
      </a:accent4>
      <a:accent5>
        <a:srgbClr val="D95B5B"/>
      </a:accent5>
      <a:accent6>
        <a:srgbClr val="BFBFBF"/>
      </a:accent6>
      <a:hlink>
        <a:srgbClr val="318C80"/>
      </a:hlink>
      <a:folHlink>
        <a:srgbClr val="BFBFBF"/>
      </a:folHlink>
    </a:clrScheme>
    <a:fontScheme name="ary5y2yg">
      <a:majorFont>
        <a:latin typeface="Helvetica"/>
        <a:ea typeface="Helvetica"/>
        <a:cs typeface=""/>
      </a:majorFont>
      <a:minorFont>
        <a:latin typeface="Helvetica"/>
        <a:ea typeface="Helvetic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Weltkindertag! by Slidego">
  <a:themeElements>
    <a:clrScheme name="Simple Light">
      <a:dk1>
        <a:srgbClr val="000000"/>
      </a:dk1>
      <a:lt1>
        <a:srgbClr val="FFFFFF"/>
      </a:lt1>
      <a:dk2>
        <a:srgbClr val="A3EEFF"/>
      </a:dk2>
      <a:lt2>
        <a:srgbClr val="FFC600"/>
      </a:lt2>
      <a:accent1>
        <a:srgbClr val="FF8C00"/>
      </a:accent1>
      <a:accent2>
        <a:srgbClr val="F7727B"/>
      </a:accent2>
      <a:accent3>
        <a:srgbClr val="621B21"/>
      </a:accent3>
      <a:accent4>
        <a:srgbClr val="CEDE86"/>
      </a:accent4>
      <a:accent5>
        <a:srgbClr val="9DCA55"/>
      </a:accent5>
      <a:accent6>
        <a:srgbClr val="3D7D40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Weltkindertag! by Slidego">
  <a:themeElements>
    <a:clrScheme name="Simple Light">
      <a:dk1>
        <a:srgbClr val="000000"/>
      </a:dk1>
      <a:lt1>
        <a:srgbClr val="FFFFFF"/>
      </a:lt1>
      <a:dk2>
        <a:srgbClr val="A3EEFF"/>
      </a:dk2>
      <a:lt2>
        <a:srgbClr val="FFC600"/>
      </a:lt2>
      <a:accent1>
        <a:srgbClr val="FF8C00"/>
      </a:accent1>
      <a:accent2>
        <a:srgbClr val="F7727B"/>
      </a:accent2>
      <a:accent3>
        <a:srgbClr val="621B21"/>
      </a:accent3>
      <a:accent4>
        <a:srgbClr val="CEDE86"/>
      </a:accent4>
      <a:accent5>
        <a:srgbClr val="9DCA55"/>
      </a:accent5>
      <a:accent6>
        <a:srgbClr val="3D7D40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World Bee Day by Slidesgo">
  <a:themeElements>
    <a:clrScheme name="Simple Light">
      <a:dk1>
        <a:srgbClr val="2B1A18"/>
      </a:dk1>
      <a:lt1>
        <a:srgbClr val="F4FEFF"/>
      </a:lt1>
      <a:dk2>
        <a:srgbClr val="FFF76A"/>
      </a:dk2>
      <a:lt2>
        <a:srgbClr val="F1B400"/>
      </a:lt2>
      <a:accent1>
        <a:srgbClr val="91F7FF"/>
      </a:accent1>
      <a:accent2>
        <a:srgbClr val="97D830"/>
      </a:accent2>
      <a:accent3>
        <a:srgbClr val="349319"/>
      </a:accent3>
      <a:accent4>
        <a:srgbClr val="FC518A"/>
      </a:accent4>
      <a:accent5>
        <a:srgbClr val="9B5C31"/>
      </a:accent5>
      <a:accent6>
        <a:srgbClr val="6B452B"/>
      </a:accent6>
      <a:hlink>
        <a:srgbClr val="2B1A18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78495"/>
    </a:dk2>
    <a:lt2>
      <a:srgbClr val="F0F0F0"/>
    </a:lt2>
    <a:accent1>
      <a:srgbClr val="318C80"/>
    </a:accent1>
    <a:accent2>
      <a:srgbClr val="F2CF61"/>
    </a:accent2>
    <a:accent3>
      <a:srgbClr val="A6E582"/>
    </a:accent3>
    <a:accent4>
      <a:srgbClr val="51D9B5"/>
    </a:accent4>
    <a:accent5>
      <a:srgbClr val="D95B5B"/>
    </a:accent5>
    <a:accent6>
      <a:srgbClr val="BFBFBF"/>
    </a:accent6>
    <a:hlink>
      <a:srgbClr val="318C80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9Slide.vn</Template>
  <TotalTime>1970</TotalTime>
  <Words>638</Words>
  <Application>Microsoft Office PowerPoint</Application>
  <PresentationFormat>Custom</PresentationFormat>
  <Paragraphs>69</Paragraphs>
  <Slides>25</Slides>
  <Notes>13</Notes>
  <HiddenSlides>0</HiddenSlides>
  <MMClips>3</MMClips>
  <ScaleCrop>false</ScaleCrop>
  <HeadingPairs>
    <vt:vector size="4" baseType="variant">
      <vt:variant>
        <vt:lpstr>Theme</vt:lpstr>
      </vt:variant>
      <vt:variant>
        <vt:i4>13</vt:i4>
      </vt:variant>
      <vt:variant>
        <vt:lpstr>Slide Titles</vt:lpstr>
      </vt:variant>
      <vt:variant>
        <vt:i4>25</vt:i4>
      </vt:variant>
    </vt:vector>
  </HeadingPairs>
  <TitlesOfParts>
    <vt:vector size="38" baseType="lpstr">
      <vt:lpstr>Custom Design</vt:lpstr>
      <vt:lpstr>1_Office Theme</vt:lpstr>
      <vt:lpstr>Office 主题​​</vt:lpstr>
      <vt:lpstr>5_Office Theme</vt:lpstr>
      <vt:lpstr>Office Theme</vt:lpstr>
      <vt:lpstr>Weltkindertag! by Slidego</vt:lpstr>
      <vt:lpstr>1_Weltkindertag! by Slidego</vt:lpstr>
      <vt:lpstr>World Bee Day by Slidesgo</vt:lpstr>
      <vt:lpstr>2_Office Theme</vt:lpstr>
      <vt:lpstr>Bunnies Planner for Pre-K by Slidesgo</vt:lpstr>
      <vt:lpstr>1_Custom Design</vt:lpstr>
      <vt:lpstr>6_Office Theme</vt:lpstr>
      <vt:lpstr>2_Office 主题​​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̉n trình bày PowerPoint</dc:title>
  <dc:creator>HỒNG LOAN</dc:creator>
  <cp:lastModifiedBy>Huong VT62</cp:lastModifiedBy>
  <cp:revision>36</cp:revision>
  <dcterms:created xsi:type="dcterms:W3CDTF">2020-10-17T01:03:04Z</dcterms:created>
  <dcterms:modified xsi:type="dcterms:W3CDTF">2025-12-29T13:38:10Z</dcterms:modified>
</cp:coreProperties>
</file>